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notesSlides/notesSlide16.xml" ContentType="application/vnd.openxmlformats-officedocument.presentationml.notesSlide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47.xml" ContentType="application/vnd.openxmlformats-officedocument.presentationml.tags+xml"/>
  <Override PartName="/ppt/tags/tag35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tags/tag336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377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notesSlides/notesSlide9.xml" ContentType="application/vnd.openxmlformats-officedocument.presentationml.notesSlide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4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311.xml" ContentType="application/vnd.openxmlformats-officedocument.presentationml.tags+xml"/>
  <Override PartName="/ppt/slideMasters/slideMaster2.xml" ContentType="application/vnd.openxmlformats-officedocument.presentationml.slideMaster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38.xml" ContentType="application/vnd.openxmlformats-officedocument.presentationml.tags+xml"/>
  <Override PartName="/ppt/tags/tag349.xml" ContentType="application/vnd.openxmlformats-officedocument.presentationml.tags+xml"/>
  <Override PartName="/ppt/notesSlides/notesSlide15.xml" ContentType="application/vnd.openxmlformats-officedocument.presentationml.notes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68.xml" ContentType="application/vnd.openxmlformats-officedocument.presentationml.tags+xml"/>
  <Override PartName="/ppt/tags/tag379.xml" ContentType="application/vnd.openxmlformats-officedocument.presentationml.tags+xml"/>
  <Default Extension="fntdata" ContentType="application/x-fontdata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37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Default Extension="gif" ContentType="image/gif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notesSlides/notesSlide5.xml" ContentType="application/vnd.openxmlformats-officedocument.presentationml.notesSlide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3" r:id="rId1"/>
    <p:sldMasterId id="2147483664" r:id="rId2"/>
  </p:sldMasterIdLst>
  <p:notesMasterIdLst>
    <p:notesMasterId r:id="rId19"/>
  </p:notesMasterIdLst>
  <p:sldIdLst>
    <p:sldId id="286" r:id="rId3"/>
    <p:sldId id="256" r:id="rId4"/>
    <p:sldId id="259" r:id="rId5"/>
    <p:sldId id="261" r:id="rId6"/>
    <p:sldId id="263" r:id="rId7"/>
    <p:sldId id="265" r:id="rId8"/>
    <p:sldId id="266" r:id="rId9"/>
    <p:sldId id="284" r:id="rId10"/>
    <p:sldId id="270" r:id="rId11"/>
    <p:sldId id="273" r:id="rId12"/>
    <p:sldId id="274" r:id="rId13"/>
    <p:sldId id="277" r:id="rId14"/>
    <p:sldId id="279" r:id="rId15"/>
    <p:sldId id="281" r:id="rId16"/>
    <p:sldId id="275" r:id="rId17"/>
    <p:sldId id="280" r:id="rId18"/>
  </p:sldIdLst>
  <p:sldSz cx="9144000" cy="5143500" type="screen16x9"/>
  <p:notesSz cx="6858000" cy="9144000"/>
  <p:embeddedFontLst>
    <p:embeddedFont>
      <p:font typeface="tahoma" pitchFamily="34" charset="0"/>
      <p:regular r:id="rId20"/>
      <p:bold r:id="rId21"/>
    </p:embeddedFont>
    <p:embeddedFont>
      <p:font typeface="Montserrat" charset="0"/>
      <p:regular r:id="rId22"/>
      <p:bold r:id="rId23"/>
    </p:embeddedFont>
    <p:embeddedFont>
      <p:font typeface="Montserrat ExtraLight" charset="0"/>
      <p:regular r:id="rId24"/>
      <p:bold r:id="rId25"/>
    </p:embeddedFont>
    <p:embeddedFont>
      <p:font typeface="Basic" charset="0"/>
      <p:regular r:id="rId26"/>
    </p:embeddedFont>
    <p:embeddedFont>
      <p:font typeface="Montserrat Black" charset="0"/>
      <p:bold r:id="rId27"/>
    </p:embeddedFont>
    <p:embeddedFont>
      <p:font typeface="Roboto" charset="0"/>
      <p:regular r:id="rId28"/>
      <p:bold r:id="rId29"/>
      <p:italic r:id="rId30"/>
      <p:boldItalic r:id="rId31"/>
    </p:embeddedFont>
    <p:embeddedFont>
      <p:font typeface="Calibri" pitchFamily="34" charset="0"/>
      <p:regular r:id="rId32"/>
      <p:bold r:id="rId33"/>
      <p:italic r:id="rId34"/>
      <p:boldItalic r:id="rId3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" initials="" lastIdx="1" clrIdx="0"/>
  <p:cmAuthor id="1" name="Juan Ignacio Gonzalez" initials="" lastIdx="1" clrIdx="1"/>
  <p:cmAuthor id="2" name="Santiago Rubio" initials="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F4E79"/>
    <a:srgbClr val="E9EFF7"/>
    <a:srgbClr val="0000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F09B3BC0-31AC-4512-8F80-F2E6E48409D9}">
  <a:tblStyle styleId="{F09B3BC0-31AC-4512-8F80-F2E6E48409D9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E9EFF7"/>
          </a:solidFill>
        </a:fill>
      </a:tcStyle>
    </a:wholeTbl>
    <a:band1H>
      <a:tcTxStyle/>
      <a:tcStyle>
        <a:tcBdr/>
        <a:fill>
          <a:solidFill>
            <a:srgbClr val="D0DEEF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0DEEF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4660"/>
  </p:normalViewPr>
  <p:slideViewPr>
    <p:cSldViewPr snapToGrid="0">
      <p:cViewPr varScale="1">
        <p:scale>
          <a:sx n="91" d="100"/>
          <a:sy n="91" d="100"/>
        </p:scale>
        <p:origin x="-768" y="-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7.fntdata"/><Relationship Id="rId39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69850" algn="l" rtl="0">
              <a:spcBef>
                <a:spcPts val="0"/>
              </a:spcBef>
              <a:buSzPct val="100000"/>
              <a:buFont typeface="Arial"/>
              <a:buChar char="●"/>
              <a:defRPr sz="1100" b="0" i="0" u="none" strike="noStrike" cap="none"/>
            </a:lvl1pPr>
            <a:lvl2pPr marL="0" marR="0" lvl="1" indent="69850" algn="l" rtl="0">
              <a:spcBef>
                <a:spcPts val="0"/>
              </a:spcBef>
              <a:buSzPct val="100000"/>
              <a:buFont typeface="Arial"/>
              <a:buChar char="○"/>
              <a:defRPr sz="1100" b="0" i="0" u="none" strike="noStrike" cap="none"/>
            </a:lvl2pPr>
            <a:lvl3pPr marL="0" marR="0" lvl="2" indent="69850" algn="l" rtl="0">
              <a:spcBef>
                <a:spcPts val="0"/>
              </a:spcBef>
              <a:buSzPct val="100000"/>
              <a:buFont typeface="Arial"/>
              <a:buChar char="■"/>
              <a:defRPr sz="1100" b="0" i="0" u="none" strike="noStrike" cap="none"/>
            </a:lvl3pPr>
            <a:lvl4pPr marL="0" marR="0" lvl="3" indent="69850" algn="l" rtl="0">
              <a:spcBef>
                <a:spcPts val="0"/>
              </a:spcBef>
              <a:buSzPct val="100000"/>
              <a:buFont typeface="Arial"/>
              <a:buChar char="●"/>
              <a:defRPr sz="1100" b="0" i="0" u="none" strike="noStrike" cap="none"/>
            </a:lvl4pPr>
            <a:lvl5pPr marL="0" marR="0" lvl="4" indent="69850" algn="l" rtl="0">
              <a:spcBef>
                <a:spcPts val="0"/>
              </a:spcBef>
              <a:buSzPct val="100000"/>
              <a:buFont typeface="Arial"/>
              <a:buChar char="○"/>
              <a:defRPr sz="1100" b="0" i="0" u="none" strike="noStrike" cap="none"/>
            </a:lvl5pPr>
            <a:lvl6pPr marL="0" marR="0" lvl="5" indent="69850" algn="l" rtl="0">
              <a:spcBef>
                <a:spcPts val="0"/>
              </a:spcBef>
              <a:buSzPct val="100000"/>
              <a:buFont typeface="Arial"/>
              <a:buChar char="■"/>
              <a:defRPr sz="1100" b="0" i="0" u="none" strike="noStrike" cap="none"/>
            </a:lvl6pPr>
            <a:lvl7pPr marL="0" marR="0" lvl="6" indent="69850" algn="l" rtl="0">
              <a:spcBef>
                <a:spcPts val="0"/>
              </a:spcBef>
              <a:buSzPct val="100000"/>
              <a:buFont typeface="Arial"/>
              <a:buChar char="●"/>
              <a:defRPr sz="1100" b="0" i="0" u="none" strike="noStrike" cap="none"/>
            </a:lvl7pPr>
            <a:lvl8pPr marL="0" marR="0" lvl="7" indent="69850" algn="l" rtl="0">
              <a:spcBef>
                <a:spcPts val="0"/>
              </a:spcBef>
              <a:buSzPct val="100000"/>
              <a:buFont typeface="Arial"/>
              <a:buChar char="○"/>
              <a:defRPr sz="1100" b="0" i="0" u="none" strike="noStrike" cap="none"/>
            </a:lvl8pPr>
            <a:lvl9pPr marL="0" marR="0" lvl="8" indent="69850" algn="l" rtl="0">
              <a:spcBef>
                <a:spcPts val="0"/>
              </a:spcBef>
              <a:buSzPct val="100000"/>
              <a:buFont typeface="Arial"/>
              <a:buChar char="■"/>
              <a:defRPr sz="1100" b="0" i="0" u="none" strike="noStrike" cap="none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7" name="Shape 6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</p:spTree>
    <p:extLst>
      <p:ext uri="{BB962C8B-B14F-4D97-AF65-F5344CB8AC3E}">
        <p14:creationId xmlns:p14="http://schemas.microsoft.com/office/powerpoint/2010/main" xmlns="" val="6563535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Shape 68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88" name="Shape 68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0" name="Shape 73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731" name="Shape 73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" name="Shape 800"/>
          <p:cNvSpPr txBox="1">
            <a:spLocks noGrp="1"/>
          </p:cNvSpPr>
          <p:nvPr>
            <p:ph type="body" idx="1"/>
          </p:nvPr>
        </p:nvSpPr>
        <p:spPr>
          <a:xfrm>
            <a:off x="685800" y="4400549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wrap="square" lIns="89600" tIns="89600" rIns="89600" bIns="896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  <p:sp>
        <p:nvSpPr>
          <p:cNvPr id="801" name="Shape 80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" name="Shape 835"/>
          <p:cNvSpPr txBox="1">
            <a:spLocks noGrp="1"/>
          </p:cNvSpPr>
          <p:nvPr>
            <p:ph type="body" idx="1"/>
          </p:nvPr>
        </p:nvSpPr>
        <p:spPr>
          <a:xfrm>
            <a:off x="685800" y="4400549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wrap="square" lIns="89600" tIns="89600" rIns="89600" bIns="896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  <p:sp>
        <p:nvSpPr>
          <p:cNvPr id="836" name="Shape 836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2" name="Shape 812"/>
          <p:cNvSpPr txBox="1">
            <a:spLocks noGrp="1"/>
          </p:cNvSpPr>
          <p:nvPr>
            <p:ph type="body" idx="1"/>
          </p:nvPr>
        </p:nvSpPr>
        <p:spPr>
          <a:xfrm>
            <a:off x="685800" y="4400549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wrap="square" lIns="89600" tIns="89600" rIns="89600" bIns="896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  <p:sp>
        <p:nvSpPr>
          <p:cNvPr id="813" name="Shape 81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xmlns="" val="7812316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9" name="Shape 77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780" name="Shape 78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" name="Shape 873"/>
          <p:cNvSpPr txBox="1">
            <a:spLocks noGrp="1"/>
          </p:cNvSpPr>
          <p:nvPr>
            <p:ph type="body" idx="1"/>
          </p:nvPr>
        </p:nvSpPr>
        <p:spPr>
          <a:xfrm>
            <a:off x="685800" y="4400549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wrap="square" lIns="89600" tIns="89600" rIns="89600" bIns="896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  <p:sp>
        <p:nvSpPr>
          <p:cNvPr id="874" name="Shape 87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7" name="Shape 6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Shape 188"/>
          <p:cNvSpPr txBox="1">
            <a:spLocks noGrp="1"/>
          </p:cNvSpPr>
          <p:nvPr>
            <p:ph type="body" idx="1"/>
          </p:nvPr>
        </p:nvSpPr>
        <p:spPr>
          <a:xfrm>
            <a:off x="685800" y="4400549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wrap="square" lIns="89600" tIns="89600" rIns="89600" bIns="896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  <p:sp>
        <p:nvSpPr>
          <p:cNvPr id="189" name="Shape 189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Shape 22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28" name="Shape 22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Shape 32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28" name="Shape 32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Shape 392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93" name="Shape 39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Shape 462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63" name="Shape 46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" name="Shape 63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37" name="Shape 63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xmlns="" val="5843698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Shape 60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01" name="Shape 60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5200">
                <a:solidFill>
                  <a:schemeClr val="dk1"/>
                </a:solidFill>
              </a:defRPr>
            </a:lvl2pPr>
            <a:lvl3pPr lvl="2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5200">
                <a:solidFill>
                  <a:schemeClr val="dk1"/>
                </a:solidFill>
              </a:defRPr>
            </a:lvl3pPr>
            <a:lvl4pPr lvl="3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5200">
                <a:solidFill>
                  <a:schemeClr val="dk1"/>
                </a:solidFill>
              </a:defRPr>
            </a:lvl4pPr>
            <a:lvl5pPr lvl="4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5200">
                <a:solidFill>
                  <a:schemeClr val="dk1"/>
                </a:solidFill>
              </a:defRPr>
            </a:lvl5pPr>
            <a:lvl6pPr lvl="5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5200">
                <a:solidFill>
                  <a:schemeClr val="dk1"/>
                </a:solidFill>
              </a:defRPr>
            </a:lvl6pPr>
            <a:lvl7pPr lvl="6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5200">
                <a:solidFill>
                  <a:schemeClr val="dk1"/>
                </a:solidFill>
              </a:defRPr>
            </a:lvl7pPr>
            <a:lvl8pPr lvl="7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5200">
                <a:solidFill>
                  <a:schemeClr val="dk1"/>
                </a:solidFill>
              </a:defRPr>
            </a:lvl8pPr>
            <a:lvl9pPr lvl="8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5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</a:pPr>
              <a:t>‹Nº›</a:t>
            </a:fld>
            <a:endParaRPr lang="es"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12000">
                <a:solidFill>
                  <a:schemeClr val="dk1"/>
                </a:solidFill>
              </a:defRPr>
            </a:lvl2pPr>
            <a:lvl3pPr lvl="2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12000">
                <a:solidFill>
                  <a:schemeClr val="dk1"/>
                </a:solidFill>
              </a:defRPr>
            </a:lvl3pPr>
            <a:lvl4pPr lvl="3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12000">
                <a:solidFill>
                  <a:schemeClr val="dk1"/>
                </a:solidFill>
              </a:defRPr>
            </a:lvl4pPr>
            <a:lvl5pPr lvl="4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12000">
                <a:solidFill>
                  <a:schemeClr val="dk1"/>
                </a:solidFill>
              </a:defRPr>
            </a:lvl5pPr>
            <a:lvl6pPr lvl="5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12000">
                <a:solidFill>
                  <a:schemeClr val="dk1"/>
                </a:solidFill>
              </a:defRPr>
            </a:lvl6pPr>
            <a:lvl7pPr lvl="6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12000">
                <a:solidFill>
                  <a:schemeClr val="dk1"/>
                </a:solidFill>
              </a:defRPr>
            </a:lvl7pPr>
            <a:lvl8pPr lvl="7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12000">
                <a:solidFill>
                  <a:schemeClr val="dk1"/>
                </a:solidFill>
              </a:defRPr>
            </a:lvl8pPr>
            <a:lvl9pPr lvl="8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120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11430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8890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8890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8890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8890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8890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8890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8890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88900" algn="ctr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</a:pPr>
              <a:t>‹Nº›</a:t>
            </a:fld>
            <a:endParaRPr lang="es"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</a:pPr>
              <a:t>‹Nº›</a:t>
            </a:fld>
            <a:endParaRPr lang="es"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147927" y="110343"/>
            <a:ext cx="5916900" cy="33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Font typeface="Arial"/>
              <a:buNone/>
              <a:defRPr sz="1600"/>
            </a:lvl2pPr>
            <a:lvl3pPr lvl="2" indent="0" rtl="0">
              <a:spcBef>
                <a:spcPts val="0"/>
              </a:spcBef>
              <a:buFont typeface="Arial"/>
              <a:buNone/>
              <a:defRPr sz="1600"/>
            </a:lvl3pPr>
            <a:lvl4pPr lvl="3" indent="0" rtl="0">
              <a:spcBef>
                <a:spcPts val="0"/>
              </a:spcBef>
              <a:buFont typeface="Arial"/>
              <a:buNone/>
              <a:defRPr sz="1600"/>
            </a:lvl4pPr>
            <a:lvl5pPr lvl="4" indent="0" rtl="0">
              <a:spcBef>
                <a:spcPts val="0"/>
              </a:spcBef>
              <a:buFont typeface="Arial"/>
              <a:buNone/>
              <a:defRPr sz="1600"/>
            </a:lvl5pPr>
            <a:lvl6pPr lvl="5" indent="0" rtl="0">
              <a:spcBef>
                <a:spcPts val="0"/>
              </a:spcBef>
              <a:buFont typeface="Arial"/>
              <a:buNone/>
              <a:defRPr sz="1600"/>
            </a:lvl6pPr>
            <a:lvl7pPr lvl="6" indent="0" rtl="0">
              <a:spcBef>
                <a:spcPts val="0"/>
              </a:spcBef>
              <a:buFont typeface="Arial"/>
              <a:buNone/>
              <a:defRPr sz="1600"/>
            </a:lvl7pPr>
            <a:lvl8pPr lvl="7" indent="0" rtl="0">
              <a:spcBef>
                <a:spcPts val="0"/>
              </a:spcBef>
              <a:buFont typeface="Arial"/>
              <a:buNone/>
              <a:defRPr sz="1600"/>
            </a:lvl8pPr>
            <a:lvl9pPr lvl="8" indent="0" rtl="0">
              <a:spcBef>
                <a:spcPts val="0"/>
              </a:spcBef>
              <a:buFont typeface="Arial"/>
              <a:buNone/>
              <a:defRPr sz="1600"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28650" y="1369218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03200" marR="0" lvl="0" indent="101600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596900" marR="0" lvl="1" indent="69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90600" marR="0" lvl="2" indent="190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84300" marR="0" lvl="3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78000" marR="0" lvl="4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171700" marR="0" lvl="5" indent="127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578100" marR="0" lvl="6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971800" marR="0" lvl="7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365500" marR="0" lvl="8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ítulo y objetos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/>
          <p:nvPr/>
        </p:nvSpPr>
        <p:spPr>
          <a:xfrm>
            <a:off x="1465" y="1191"/>
            <a:ext cx="1200" cy="1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64" name="Shape 64"/>
          <p:cNvSpPr txBox="1">
            <a:spLocks noGrp="1"/>
          </p:cNvSpPr>
          <p:nvPr>
            <p:ph type="title"/>
          </p:nvPr>
        </p:nvSpPr>
        <p:spPr>
          <a:xfrm>
            <a:off x="628650" y="273843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3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Font typeface="Arial"/>
              <a:buNone/>
              <a:defRPr sz="1600"/>
            </a:lvl2pPr>
            <a:lvl3pPr lvl="2" indent="0" rtl="0">
              <a:spcBef>
                <a:spcPts val="0"/>
              </a:spcBef>
              <a:buFont typeface="Arial"/>
              <a:buNone/>
              <a:defRPr sz="1600"/>
            </a:lvl3pPr>
            <a:lvl4pPr lvl="3" indent="0" rtl="0">
              <a:spcBef>
                <a:spcPts val="0"/>
              </a:spcBef>
              <a:buFont typeface="Arial"/>
              <a:buNone/>
              <a:defRPr sz="1600"/>
            </a:lvl4pPr>
            <a:lvl5pPr lvl="4" indent="0" rtl="0">
              <a:spcBef>
                <a:spcPts val="0"/>
              </a:spcBef>
              <a:buFont typeface="Arial"/>
              <a:buNone/>
              <a:defRPr sz="1600"/>
            </a:lvl5pPr>
            <a:lvl6pPr lvl="5" indent="0" rtl="0">
              <a:spcBef>
                <a:spcPts val="0"/>
              </a:spcBef>
              <a:buFont typeface="Arial"/>
              <a:buNone/>
              <a:defRPr sz="1600"/>
            </a:lvl6pPr>
            <a:lvl7pPr lvl="6" indent="0" rtl="0">
              <a:spcBef>
                <a:spcPts val="0"/>
              </a:spcBef>
              <a:buFont typeface="Arial"/>
              <a:buNone/>
              <a:defRPr sz="1600"/>
            </a:lvl7pPr>
            <a:lvl8pPr lvl="7" indent="0" rtl="0">
              <a:spcBef>
                <a:spcPts val="0"/>
              </a:spcBef>
              <a:buFont typeface="Arial"/>
              <a:buNone/>
              <a:defRPr sz="1600"/>
            </a:lvl8pPr>
            <a:lvl9pPr lvl="8" indent="0" rtl="0">
              <a:spcBef>
                <a:spcPts val="0"/>
              </a:spcBef>
              <a:buFont typeface="Arial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3600">
                <a:solidFill>
                  <a:schemeClr val="dk1"/>
                </a:solidFill>
              </a:defRPr>
            </a:lvl2pPr>
            <a:lvl3pPr lvl="2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3600">
                <a:solidFill>
                  <a:schemeClr val="dk1"/>
                </a:solidFill>
              </a:defRPr>
            </a:lvl3pPr>
            <a:lvl4pPr lvl="3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3600">
                <a:solidFill>
                  <a:schemeClr val="dk1"/>
                </a:solidFill>
              </a:defRPr>
            </a:lvl4pPr>
            <a:lvl5pPr lvl="4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3600">
                <a:solidFill>
                  <a:schemeClr val="dk1"/>
                </a:solidFill>
              </a:defRPr>
            </a:lvl5pPr>
            <a:lvl6pPr lvl="5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3600">
                <a:solidFill>
                  <a:schemeClr val="dk1"/>
                </a:solidFill>
              </a:defRPr>
            </a:lvl6pPr>
            <a:lvl7pPr lvl="6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3600">
                <a:solidFill>
                  <a:schemeClr val="dk1"/>
                </a:solidFill>
              </a:defRPr>
            </a:lvl7pPr>
            <a:lvl8pPr lvl="7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3600">
                <a:solidFill>
                  <a:schemeClr val="dk1"/>
                </a:solidFill>
              </a:defRPr>
            </a:lvl8pPr>
            <a:lvl9pPr lvl="8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36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</a:pPr>
              <a:t>‹Nº›</a:t>
            </a:fld>
            <a:endParaRPr lang="es"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2pPr>
            <a:lvl3pPr lvl="2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3pPr>
            <a:lvl4pPr lvl="3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4pPr>
            <a:lvl5pPr lvl="4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5pPr>
            <a:lvl6pPr lvl="5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6pPr>
            <a:lvl7pPr lvl="6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7pPr>
            <a:lvl8pPr lvl="7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8pPr>
            <a:lvl9pPr lvl="8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1143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</a:pPr>
              <a:t>‹Nº›</a:t>
            </a:fld>
            <a:endParaRPr lang="es"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2pPr>
            <a:lvl3pPr lvl="2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3pPr>
            <a:lvl4pPr lvl="3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4pPr>
            <a:lvl5pPr lvl="4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5pPr>
            <a:lvl6pPr lvl="5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6pPr>
            <a:lvl7pPr lvl="6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7pPr>
            <a:lvl8pPr lvl="7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8pPr>
            <a:lvl9pPr lvl="8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</a:pPr>
              <a:t>‹Nº›</a:t>
            </a:fld>
            <a:endParaRPr lang="es"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2pPr>
            <a:lvl3pPr lvl="2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3pPr>
            <a:lvl4pPr lvl="3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4pPr>
            <a:lvl5pPr lvl="4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5pPr>
            <a:lvl6pPr lvl="5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6pPr>
            <a:lvl7pPr lvl="6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7pPr>
            <a:lvl8pPr lvl="7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8pPr>
            <a:lvl9pPr lvl="8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</a:pPr>
              <a:t>‹Nº›</a:t>
            </a:fld>
            <a:endParaRPr lang="es"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400">
                <a:solidFill>
                  <a:schemeClr val="dk1"/>
                </a:solidFill>
              </a:defRPr>
            </a:lvl2pPr>
            <a:lvl3pPr lvl="2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400">
                <a:solidFill>
                  <a:schemeClr val="dk1"/>
                </a:solidFill>
              </a:defRPr>
            </a:lvl3pPr>
            <a:lvl4pPr lvl="3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400">
                <a:solidFill>
                  <a:schemeClr val="dk1"/>
                </a:solidFill>
              </a:defRPr>
            </a:lvl4pPr>
            <a:lvl5pPr lvl="4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400">
                <a:solidFill>
                  <a:schemeClr val="dk1"/>
                </a:solidFill>
              </a:defRPr>
            </a:lvl5pPr>
            <a:lvl6pPr lvl="5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400">
                <a:solidFill>
                  <a:schemeClr val="dk1"/>
                </a:solidFill>
              </a:defRPr>
            </a:lvl6pPr>
            <a:lvl7pPr lvl="6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400">
                <a:solidFill>
                  <a:schemeClr val="dk1"/>
                </a:solidFill>
              </a:defRPr>
            </a:lvl7pPr>
            <a:lvl8pPr lvl="7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400">
                <a:solidFill>
                  <a:schemeClr val="dk1"/>
                </a:solidFill>
              </a:defRPr>
            </a:lvl8pPr>
            <a:lvl9pPr lvl="8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4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762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</a:pPr>
              <a:t>‹Nº›</a:t>
            </a:fld>
            <a:endParaRPr lang="es"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4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4800">
                <a:solidFill>
                  <a:schemeClr val="dk1"/>
                </a:solidFill>
              </a:defRPr>
            </a:lvl2pPr>
            <a:lvl3pPr lvl="2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4800">
                <a:solidFill>
                  <a:schemeClr val="dk1"/>
                </a:solidFill>
              </a:defRPr>
            </a:lvl3pPr>
            <a:lvl4pPr lvl="3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4800">
                <a:solidFill>
                  <a:schemeClr val="dk1"/>
                </a:solidFill>
              </a:defRPr>
            </a:lvl4pPr>
            <a:lvl5pPr lvl="4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4800">
                <a:solidFill>
                  <a:schemeClr val="dk1"/>
                </a:solidFill>
              </a:defRPr>
            </a:lvl5pPr>
            <a:lvl6pPr lvl="5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4800">
                <a:solidFill>
                  <a:schemeClr val="dk1"/>
                </a:solidFill>
              </a:defRPr>
            </a:lvl6pPr>
            <a:lvl7pPr lvl="6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4800">
                <a:solidFill>
                  <a:schemeClr val="dk1"/>
                </a:solidFill>
              </a:defRPr>
            </a:lvl7pPr>
            <a:lvl8pPr lvl="7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4800">
                <a:solidFill>
                  <a:schemeClr val="dk1"/>
                </a:solidFill>
              </a:defRPr>
            </a:lvl8pPr>
            <a:lvl9pPr lvl="8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4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</a:pPr>
              <a:t>‹Nº›</a:t>
            </a:fld>
            <a:endParaRPr lang="es"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4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4200">
                <a:solidFill>
                  <a:schemeClr val="dk1"/>
                </a:solidFill>
              </a:defRPr>
            </a:lvl2pPr>
            <a:lvl3pPr lvl="2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4200">
                <a:solidFill>
                  <a:schemeClr val="dk1"/>
                </a:solidFill>
              </a:defRPr>
            </a:lvl3pPr>
            <a:lvl4pPr lvl="3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4200">
                <a:solidFill>
                  <a:schemeClr val="dk1"/>
                </a:solidFill>
              </a:defRPr>
            </a:lvl4pPr>
            <a:lvl5pPr lvl="4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4200">
                <a:solidFill>
                  <a:schemeClr val="dk1"/>
                </a:solidFill>
              </a:defRPr>
            </a:lvl5pPr>
            <a:lvl6pPr lvl="5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4200">
                <a:solidFill>
                  <a:schemeClr val="dk1"/>
                </a:solidFill>
              </a:defRPr>
            </a:lvl6pPr>
            <a:lvl7pPr lvl="6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4200">
                <a:solidFill>
                  <a:schemeClr val="dk1"/>
                </a:solidFill>
              </a:defRPr>
            </a:lvl7pPr>
            <a:lvl8pPr lvl="7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4200">
                <a:solidFill>
                  <a:schemeClr val="dk1"/>
                </a:solidFill>
              </a:defRPr>
            </a:lvl8pPr>
            <a:lvl9pPr lvl="8" indent="0" algn="ctr">
              <a:spcBef>
                <a:spcPts val="0"/>
              </a:spcBef>
              <a:buClr>
                <a:schemeClr val="dk1"/>
              </a:buClr>
              <a:buFont typeface="Arial"/>
              <a:buNone/>
              <a:defRPr sz="42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2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1143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</a:pPr>
              <a:t>‹Nº›</a:t>
            </a:fld>
            <a:endParaRPr lang="es"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</a:pPr>
              <a:t>‹Nº›</a:t>
            </a:fld>
            <a:endParaRPr lang="es"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2pPr>
            <a:lvl3pPr lvl="2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3pPr>
            <a:lvl4pPr lvl="3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4pPr>
            <a:lvl5pPr lvl="4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5pPr>
            <a:lvl6pPr lvl="5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6pPr>
            <a:lvl7pPr lvl="6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7pPr>
            <a:lvl8pPr lvl="7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8pPr>
            <a:lvl9pPr lvl="8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1143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8890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7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ct val="25000"/>
              <a:buFont typeface="Arial"/>
              <a:buNone/>
            </a:pPr>
            <a:fld id="{00000000-1234-1234-1234-123412341234}" type="slidenum">
              <a:rPr lang="es"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ct val="25000"/>
                <a:buFont typeface="Arial"/>
                <a:buNone/>
              </a:pPr>
              <a:t>‹Nº›</a:t>
            </a:fld>
            <a:endParaRPr lang="es" sz="1000" b="0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/>
          <p:nvPr/>
        </p:nvSpPr>
        <p:spPr>
          <a:xfrm>
            <a:off x="1465" y="1191"/>
            <a:ext cx="1200" cy="1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1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10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://ppt/slides/slide10.xml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png"/><Relationship Id="rId5" Type="http://schemas.openxmlformats.org/officeDocument/2006/relationships/image" Target="../media/image12.gif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pn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Shape 69"/>
          <p:cNvPicPr preferRelativeResize="0"/>
          <p:nvPr/>
        </p:nvPicPr>
        <p:blipFill rotWithShape="1">
          <a:blip r:embed="rId3">
            <a:alphaModFix/>
          </a:blip>
          <a:srcRect t="-5911" b="18583"/>
          <a:stretch/>
        </p:blipFill>
        <p:spPr>
          <a:xfrm>
            <a:off x="-18475" y="-471176"/>
            <a:ext cx="9157201" cy="453015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0" name="Shape 70"/>
          <p:cNvCxnSpPr/>
          <p:nvPr/>
        </p:nvCxnSpPr>
        <p:spPr>
          <a:xfrm>
            <a:off x="1129300" y="4828900"/>
            <a:ext cx="7620300" cy="0"/>
          </a:xfrm>
          <a:prstGeom prst="straightConnector1">
            <a:avLst/>
          </a:prstGeom>
          <a:noFill/>
          <a:ln w="3810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1" name="Shape 71"/>
          <p:cNvSpPr/>
          <p:nvPr/>
        </p:nvSpPr>
        <p:spPr>
          <a:xfrm>
            <a:off x="1220053" y="671056"/>
            <a:ext cx="6743733" cy="351806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CA297020-8366-45B8-AB9E-0796A649E40D}"/>
              </a:ext>
            </a:extLst>
          </p:cNvPr>
          <p:cNvSpPr/>
          <p:nvPr/>
        </p:nvSpPr>
        <p:spPr>
          <a:xfrm>
            <a:off x="1281223" y="836132"/>
            <a:ext cx="7214191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AR" sz="1600" dirty="0">
                <a:latin typeface="tahoma" panose="020B0604030504040204" pitchFamily="34" charset="0"/>
              </a:rPr>
              <a:t>Herramientas para el exportador: Cómo conseguir clientes en el exterior?​</a:t>
            </a:r>
          </a:p>
          <a:p>
            <a:endParaRPr lang="es-AR" sz="1600" dirty="0">
              <a:solidFill>
                <a:srgbClr val="777777"/>
              </a:solidFill>
              <a:latin typeface="tahoma" panose="020B0604030504040204" pitchFamily="34" charset="0"/>
            </a:endParaRPr>
          </a:p>
          <a:p>
            <a:r>
              <a:rPr lang="es-AR" dirty="0">
                <a:solidFill>
                  <a:srgbClr val="777777"/>
                </a:solidFill>
                <a:latin typeface="tahoma, arial, helvetica, sans-serif"/>
              </a:rPr>
              <a:t>10:00 - Palabras de apertura. AAICI.</a:t>
            </a:r>
            <a:endParaRPr lang="es-AR" dirty="0">
              <a:solidFill>
                <a:srgbClr val="777777"/>
              </a:solidFill>
              <a:latin typeface="Lato"/>
            </a:endParaRPr>
          </a:p>
          <a:p>
            <a:r>
              <a:rPr lang="es-AR" dirty="0"/>
              <a:t/>
            </a:r>
            <a:br>
              <a:rPr lang="es-AR" dirty="0"/>
            </a:br>
            <a:r>
              <a:rPr lang="es-AR" dirty="0">
                <a:solidFill>
                  <a:srgbClr val="777777"/>
                </a:solidFill>
                <a:latin typeface="tahoma, arial, helvetica, sans-serif"/>
              </a:rPr>
              <a:t>10:15 - Cómo conseguir clientes en el exterior? </a:t>
            </a:r>
            <a:br>
              <a:rPr lang="es-AR" dirty="0">
                <a:solidFill>
                  <a:srgbClr val="777777"/>
                </a:solidFill>
                <a:latin typeface="tahoma, arial, helvetica, sans-serif"/>
              </a:rPr>
            </a:br>
            <a:r>
              <a:rPr lang="es-AR" dirty="0">
                <a:solidFill>
                  <a:srgbClr val="777777"/>
                </a:solidFill>
                <a:latin typeface="tahoma, arial, helvetica, sans-serif"/>
              </a:rPr>
              <a:t>           Manejo de bases de datos y aplicaciones. AAICI</a:t>
            </a:r>
            <a:endParaRPr lang="es-AR" dirty="0">
              <a:solidFill>
                <a:srgbClr val="777777"/>
              </a:solidFill>
              <a:latin typeface="Lato"/>
            </a:endParaRPr>
          </a:p>
          <a:p>
            <a:r>
              <a:rPr lang="es-AR" dirty="0"/>
              <a:t/>
            </a:r>
            <a:br>
              <a:rPr lang="es-AR" dirty="0"/>
            </a:br>
            <a:r>
              <a:rPr lang="es-AR" dirty="0">
                <a:solidFill>
                  <a:srgbClr val="777777"/>
                </a:solidFill>
                <a:latin typeface="tahoma, arial, helvetica, sans-serif"/>
              </a:rPr>
              <a:t>11:00 - Herramientas de Marketing Digital. </a:t>
            </a:r>
            <a:r>
              <a:rPr lang="es-AR" dirty="0" err="1">
                <a:solidFill>
                  <a:srgbClr val="777777"/>
                </a:solidFill>
                <a:latin typeface="tahoma, arial, helvetica, sans-serif"/>
              </a:rPr>
              <a:t>Godixital</a:t>
            </a:r>
            <a:endParaRPr lang="es-AR" dirty="0">
              <a:solidFill>
                <a:srgbClr val="777777"/>
              </a:solidFill>
              <a:latin typeface="Lato"/>
            </a:endParaRPr>
          </a:p>
          <a:p>
            <a:r>
              <a:rPr lang="es-AR" dirty="0"/>
              <a:t/>
            </a:r>
            <a:br>
              <a:rPr lang="es-AR" dirty="0"/>
            </a:br>
            <a:r>
              <a:rPr lang="es-AR" dirty="0">
                <a:solidFill>
                  <a:srgbClr val="777777"/>
                </a:solidFill>
                <a:latin typeface="tahoma, arial, helvetica, sans-serif"/>
              </a:rPr>
              <a:t>11:45 - </a:t>
            </a:r>
            <a:r>
              <a:rPr lang="es-AR" dirty="0" err="1">
                <a:solidFill>
                  <a:srgbClr val="777777"/>
                </a:solidFill>
                <a:latin typeface="tahoma, arial, helvetica, sans-serif"/>
              </a:rPr>
              <a:t>Coffee</a:t>
            </a:r>
            <a:r>
              <a:rPr lang="es-AR" dirty="0">
                <a:solidFill>
                  <a:srgbClr val="777777"/>
                </a:solidFill>
                <a:latin typeface="tahoma, arial, helvetica, sans-serif"/>
              </a:rPr>
              <a:t> break</a:t>
            </a:r>
            <a:endParaRPr lang="es-AR" dirty="0">
              <a:solidFill>
                <a:srgbClr val="777777"/>
              </a:solidFill>
              <a:latin typeface="Lato"/>
            </a:endParaRPr>
          </a:p>
          <a:p>
            <a:r>
              <a:rPr lang="es-AR" dirty="0"/>
              <a:t/>
            </a:r>
            <a:br>
              <a:rPr lang="es-AR" dirty="0"/>
            </a:br>
            <a:r>
              <a:rPr lang="es-AR" dirty="0">
                <a:solidFill>
                  <a:srgbClr val="777777"/>
                </a:solidFill>
                <a:latin typeface="tahoma" panose="020B0604030504040204" pitchFamily="34" charset="0"/>
              </a:rPr>
              <a:t>12:00 - Herramientas de financiamiento para comercio exterior. BNA y BICE</a:t>
            </a:r>
            <a:endParaRPr lang="es-AR" dirty="0">
              <a:solidFill>
                <a:srgbClr val="777777"/>
              </a:solidFill>
              <a:latin typeface="Lato"/>
            </a:endParaRPr>
          </a:p>
          <a:p>
            <a:r>
              <a:rPr lang="es-AR" dirty="0"/>
              <a:t/>
            </a:r>
            <a:br>
              <a:rPr lang="es-AR" dirty="0"/>
            </a:br>
            <a:r>
              <a:rPr lang="es-AR" dirty="0">
                <a:solidFill>
                  <a:srgbClr val="777777"/>
                </a:solidFill>
                <a:latin typeface="tahoma" panose="020B0604030504040204" pitchFamily="34" charset="0"/>
              </a:rPr>
              <a:t>12.45 - Preguntas y cierre de actividad</a:t>
            </a:r>
            <a:endParaRPr lang="es-AR" dirty="0">
              <a:solidFill>
                <a:srgbClr val="777777"/>
              </a:solidFill>
              <a:latin typeface="Lato"/>
            </a:endParaRPr>
          </a:p>
        </p:txBody>
      </p:sp>
      <p:sp>
        <p:nvSpPr>
          <p:cNvPr id="9" name="Shape 93">
            <a:extLst>
              <a:ext uri="{FF2B5EF4-FFF2-40B4-BE49-F238E27FC236}">
                <a16:creationId xmlns:a16="http://schemas.microsoft.com/office/drawing/2014/main" xmlns="" id="{DCB30484-BFE8-42C0-A631-EA65551F2921}"/>
              </a:ext>
            </a:extLst>
          </p:cNvPr>
          <p:cNvSpPr txBox="1"/>
          <p:nvPr/>
        </p:nvSpPr>
        <p:spPr>
          <a:xfrm>
            <a:off x="5996763" y="4345244"/>
            <a:ext cx="2116213" cy="247993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-AR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gosto </a:t>
            </a:r>
            <a:r>
              <a:rPr lang="es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2018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097057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EFEF"/>
        </a:solidFill>
        <a:effectLst/>
      </p:bgPr>
    </p:bg>
    <p:spTree>
      <p:nvGrpSpPr>
        <p:cNvPr id="1" name="Shape 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" name="Shape 690"/>
          <p:cNvSpPr txBox="1"/>
          <p:nvPr/>
        </p:nvSpPr>
        <p:spPr>
          <a:xfrm>
            <a:off x="1092574" y="2120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cxnSp>
        <p:nvCxnSpPr>
          <p:cNvPr id="691" name="Shape 691"/>
          <p:cNvCxnSpPr/>
          <p:nvPr/>
        </p:nvCxnSpPr>
        <p:spPr>
          <a:xfrm>
            <a:off x="1129300" y="4828900"/>
            <a:ext cx="7620300" cy="0"/>
          </a:xfrm>
          <a:prstGeom prst="straightConnector1">
            <a:avLst/>
          </a:prstGeom>
          <a:noFill/>
          <a:ln w="38100" cap="flat" cmpd="sng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92" name="Shape 692"/>
          <p:cNvSpPr txBox="1"/>
          <p:nvPr/>
        </p:nvSpPr>
        <p:spPr>
          <a:xfrm>
            <a:off x="1129300" y="984250"/>
            <a:ext cx="7746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E</a:t>
            </a:r>
          </a:p>
        </p:txBody>
      </p:sp>
      <p:sp>
        <p:nvSpPr>
          <p:cNvPr id="693" name="Shape 693"/>
          <p:cNvSpPr txBox="1"/>
          <p:nvPr/>
        </p:nvSpPr>
        <p:spPr>
          <a:xfrm>
            <a:off x="8351075" y="212050"/>
            <a:ext cx="450000" cy="2544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2018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694" name="Shape 694"/>
          <p:cNvSpPr txBox="1"/>
          <p:nvPr/>
        </p:nvSpPr>
        <p:spPr>
          <a:xfrm>
            <a:off x="1092575" y="212050"/>
            <a:ext cx="44100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COMPAÑAMIENTO EN PROCESO EXPORTADO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695" name="Shape 695"/>
          <p:cNvSpPr txBox="1"/>
          <p:nvPr/>
        </p:nvSpPr>
        <p:spPr>
          <a:xfrm>
            <a:off x="7855125" y="984250"/>
            <a:ext cx="9150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</a:t>
            </a:r>
            <a:r>
              <a:rPr lang="es" sz="1400" b="1" i="0" u="none" strike="noStrike" cap="none">
                <a:solidFill>
                  <a:srgbClr val="00BCF1"/>
                </a:solidFill>
                <a:latin typeface="Montserrat"/>
                <a:ea typeface="Montserrat"/>
                <a:cs typeface="Montserrat"/>
                <a:sym typeface="Montserrat"/>
              </a:rPr>
              <a:t>Ex</a:t>
            </a:r>
          </a:p>
        </p:txBody>
      </p:sp>
      <p:sp>
        <p:nvSpPr>
          <p:cNvPr id="696" name="Shape 696"/>
          <p:cNvSpPr/>
          <p:nvPr/>
        </p:nvSpPr>
        <p:spPr>
          <a:xfrm>
            <a:off x="6961821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>
            <a:noFill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7" name="Shape 697"/>
          <p:cNvSpPr/>
          <p:nvPr/>
        </p:nvSpPr>
        <p:spPr>
          <a:xfrm>
            <a:off x="6133115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8" name="Shape 698"/>
          <p:cNvSpPr/>
          <p:nvPr/>
        </p:nvSpPr>
        <p:spPr>
          <a:xfrm>
            <a:off x="5308540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9" name="Shape 699"/>
          <p:cNvSpPr/>
          <p:nvPr/>
        </p:nvSpPr>
        <p:spPr>
          <a:xfrm>
            <a:off x="4501084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0" name="Shape 700"/>
          <p:cNvSpPr/>
          <p:nvPr/>
        </p:nvSpPr>
        <p:spPr>
          <a:xfrm>
            <a:off x="3655288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1" name="Shape 701"/>
          <p:cNvSpPr/>
          <p:nvPr/>
        </p:nvSpPr>
        <p:spPr>
          <a:xfrm>
            <a:off x="2814192" y="8620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2" name="Shape 702"/>
          <p:cNvSpPr/>
          <p:nvPr/>
        </p:nvSpPr>
        <p:spPr>
          <a:xfrm>
            <a:off x="2257381" y="8620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3" name="Shape 703"/>
          <p:cNvSpPr/>
          <p:nvPr/>
        </p:nvSpPr>
        <p:spPr>
          <a:xfrm>
            <a:off x="1954497" y="864894"/>
            <a:ext cx="608400" cy="589500"/>
          </a:xfrm>
          <a:prstGeom prst="ellipse">
            <a:avLst/>
          </a:prstGeom>
          <a:solidFill>
            <a:srgbClr val="B8E4FA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04" name="Shape 704"/>
          <p:cNvSpPr txBox="1"/>
          <p:nvPr/>
        </p:nvSpPr>
        <p:spPr>
          <a:xfrm>
            <a:off x="1946162" y="916150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Vis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exportadora</a:t>
            </a:r>
          </a:p>
        </p:txBody>
      </p:sp>
      <p:sp>
        <p:nvSpPr>
          <p:cNvPr id="705" name="Shape 705"/>
          <p:cNvSpPr txBox="1"/>
          <p:nvPr/>
        </p:nvSpPr>
        <p:spPr>
          <a:xfrm>
            <a:off x="2857095" y="984250"/>
            <a:ext cx="1007399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Mercados</a:t>
            </a:r>
          </a:p>
        </p:txBody>
      </p:sp>
      <p:sp>
        <p:nvSpPr>
          <p:cNvPr id="706" name="Shape 706"/>
          <p:cNvSpPr txBox="1"/>
          <p:nvPr/>
        </p:nvSpPr>
        <p:spPr>
          <a:xfrm>
            <a:off x="3676751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Adecua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ducto</a:t>
            </a:r>
          </a:p>
        </p:txBody>
      </p:sp>
      <p:sp>
        <p:nvSpPr>
          <p:cNvPr id="707" name="Shape 707"/>
          <p:cNvSpPr txBox="1"/>
          <p:nvPr/>
        </p:nvSpPr>
        <p:spPr>
          <a:xfrm>
            <a:off x="4495114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apacidad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producción</a:t>
            </a:r>
          </a:p>
        </p:txBody>
      </p:sp>
      <p:sp>
        <p:nvSpPr>
          <p:cNvPr id="708" name="Shape 708"/>
          <p:cNvSpPr txBox="1"/>
          <p:nvPr/>
        </p:nvSpPr>
        <p:spPr>
          <a:xfrm>
            <a:off x="5432300" y="984250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Negocios</a:t>
            </a:r>
          </a:p>
        </p:txBody>
      </p:sp>
      <p:sp>
        <p:nvSpPr>
          <p:cNvPr id="709" name="Shape 709"/>
          <p:cNvSpPr txBox="1"/>
          <p:nvPr/>
        </p:nvSpPr>
        <p:spPr>
          <a:xfrm>
            <a:off x="6242987" y="984239"/>
            <a:ext cx="839399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Logística</a:t>
            </a:r>
          </a:p>
        </p:txBody>
      </p:sp>
      <p:sp>
        <p:nvSpPr>
          <p:cNvPr id="710" name="Shape 710"/>
          <p:cNvSpPr txBox="1"/>
          <p:nvPr/>
        </p:nvSpPr>
        <p:spPr>
          <a:xfrm>
            <a:off x="7073664" y="996318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branza</a:t>
            </a:r>
          </a:p>
        </p:txBody>
      </p:sp>
      <p:sp>
        <p:nvSpPr>
          <p:cNvPr id="711" name="Shape 711"/>
          <p:cNvSpPr/>
          <p:nvPr/>
        </p:nvSpPr>
        <p:spPr>
          <a:xfrm>
            <a:off x="5308540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2" name="Shape 712"/>
          <p:cNvSpPr/>
          <p:nvPr/>
        </p:nvSpPr>
        <p:spPr>
          <a:xfrm>
            <a:off x="4501084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3" name="Shape 713"/>
          <p:cNvSpPr/>
          <p:nvPr/>
        </p:nvSpPr>
        <p:spPr>
          <a:xfrm>
            <a:off x="3655288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4" name="Shape 714"/>
          <p:cNvSpPr/>
          <p:nvPr/>
        </p:nvSpPr>
        <p:spPr>
          <a:xfrm>
            <a:off x="2814192" y="15399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5" name="Shape 715"/>
          <p:cNvSpPr/>
          <p:nvPr/>
        </p:nvSpPr>
        <p:spPr>
          <a:xfrm>
            <a:off x="2257381" y="15399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6" name="Shape 716"/>
          <p:cNvSpPr/>
          <p:nvPr/>
        </p:nvSpPr>
        <p:spPr>
          <a:xfrm>
            <a:off x="1954497" y="1542794"/>
            <a:ext cx="608400" cy="589500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7" name="Shape 717"/>
          <p:cNvSpPr txBox="1"/>
          <p:nvPr/>
        </p:nvSpPr>
        <p:spPr>
          <a:xfrm>
            <a:off x="1946150" y="1668481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ormación</a:t>
            </a:r>
          </a:p>
        </p:txBody>
      </p:sp>
      <p:sp>
        <p:nvSpPr>
          <p:cNvPr id="718" name="Shape 718"/>
          <p:cNvSpPr txBox="1"/>
          <p:nvPr/>
        </p:nvSpPr>
        <p:spPr>
          <a:xfrm>
            <a:off x="2815064" y="1629756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Inteligencia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</p:txBody>
      </p:sp>
      <p:sp>
        <p:nvSpPr>
          <p:cNvPr id="719" name="Shape 719"/>
          <p:cNvSpPr txBox="1"/>
          <p:nvPr/>
        </p:nvSpPr>
        <p:spPr>
          <a:xfrm>
            <a:off x="3698374" y="1667308"/>
            <a:ext cx="9642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ertificaciones</a:t>
            </a:r>
          </a:p>
        </p:txBody>
      </p:sp>
      <p:sp>
        <p:nvSpPr>
          <p:cNvPr id="720" name="Shape 720"/>
          <p:cNvSpPr txBox="1"/>
          <p:nvPr/>
        </p:nvSpPr>
        <p:spPr>
          <a:xfrm>
            <a:off x="4479614" y="1667300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inanciamiento</a:t>
            </a:r>
          </a:p>
        </p:txBody>
      </p:sp>
      <p:sp>
        <p:nvSpPr>
          <p:cNvPr id="721" name="Shape 721"/>
          <p:cNvSpPr txBox="1"/>
          <p:nvPr/>
        </p:nvSpPr>
        <p:spPr>
          <a:xfrm>
            <a:off x="5265472" y="1634141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mo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800" b="0" i="0" u="none" strike="noStrike" cap="none">
              <a:solidFill>
                <a:srgbClr val="FFFFFF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722" name="Shape 722"/>
          <p:cNvSpPr/>
          <p:nvPr/>
        </p:nvSpPr>
        <p:spPr>
          <a:xfrm>
            <a:off x="1946152" y="2217800"/>
            <a:ext cx="4325700" cy="333300"/>
          </a:xfrm>
          <a:prstGeom prst="roundRect">
            <a:avLst>
              <a:gd name="adj" fmla="val 50000"/>
            </a:avLst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  <p:sp>
        <p:nvSpPr>
          <p:cNvPr id="723" name="Shape 723"/>
          <p:cNvSpPr/>
          <p:nvPr/>
        </p:nvSpPr>
        <p:spPr>
          <a:xfrm>
            <a:off x="2106900" y="28378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ct val="25000"/>
              <a:buFont typeface="Montserrat"/>
              <a:buNone/>
            </a:pPr>
            <a:r>
              <a:rPr lang="es" sz="1200" b="1" i="0" u="none" strike="noStrike" cap="none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Acciones y herramientas de la Agencia</a:t>
            </a:r>
          </a:p>
        </p:txBody>
      </p:sp>
      <p:cxnSp>
        <p:nvCxnSpPr>
          <p:cNvPr id="724" name="Shape 724"/>
          <p:cNvCxnSpPr/>
          <p:nvPr/>
        </p:nvCxnSpPr>
        <p:spPr>
          <a:xfrm>
            <a:off x="2163000" y="3121127"/>
            <a:ext cx="35526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25" name="Shape 725"/>
          <p:cNvSpPr txBox="1"/>
          <p:nvPr/>
        </p:nvSpPr>
        <p:spPr>
          <a:xfrm>
            <a:off x="2042325" y="3096350"/>
            <a:ext cx="3918900" cy="1101366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2413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b="1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Hub logísticos.</a:t>
            </a:r>
          </a:p>
          <a:p>
            <a:pPr marL="254000" lvl="2" indent="-228600">
              <a:buClr>
                <a:schemeClr val="dk1"/>
              </a:buClr>
              <a:buSzPct val="100000"/>
              <a:buFont typeface="+mj-lt"/>
              <a:buAutoNum type="arabicPeriod"/>
            </a:pPr>
            <a:r>
              <a:rPr lang="es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China: </a:t>
            </a:r>
            <a:r>
              <a:rPr lang="es-AR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integración e-</a:t>
            </a:r>
            <a:r>
              <a:rPr lang="es-AR" sz="10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commerce</a:t>
            </a:r>
            <a:endParaRPr lang="es" sz="10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254000" lvl="2" indent="-228600">
              <a:buClr>
                <a:schemeClr val="dk1"/>
              </a:buClr>
              <a:buSzPct val="100000"/>
              <a:buFont typeface="+mj-lt"/>
              <a:buAutoNum type="arabicPeriod"/>
            </a:pPr>
            <a:r>
              <a:rPr lang="es-AR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Emiratos Árabes: Medio Oriente y Sudeste </a:t>
            </a:r>
            <a:r>
              <a:rPr lang="es-AR" sz="1000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Asíatico</a:t>
            </a:r>
            <a:endParaRPr lang="es" sz="10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254000" lvl="2" indent="-228600">
              <a:buClr>
                <a:schemeClr val="dk1"/>
              </a:buClr>
              <a:buSzPct val="100000"/>
              <a:buFont typeface="+mj-lt"/>
              <a:buAutoNum type="arabicPeriod"/>
            </a:pPr>
            <a:r>
              <a:rPr lang="es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USA: </a:t>
            </a:r>
            <a:r>
              <a:rPr lang="es-AR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alcance </a:t>
            </a:r>
            <a:r>
              <a:rPr lang="es-AR" sz="1000" b="0" i="0" u="none" strike="noStrike" cap="none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America</a:t>
            </a:r>
            <a:r>
              <a:rPr lang="es-AR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del Norte y Central</a:t>
            </a:r>
          </a:p>
          <a:p>
            <a:pPr marL="254000" lvl="2" indent="-228600">
              <a:buClr>
                <a:schemeClr val="dk1"/>
              </a:buClr>
              <a:buSzPct val="100000"/>
              <a:buFont typeface="+mj-lt"/>
              <a:buAutoNum type="arabicPeriod"/>
            </a:pPr>
            <a:r>
              <a:rPr lang="es-AR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Brasil</a:t>
            </a:r>
            <a:endParaRPr lang="es" sz="1000" b="0" i="0" u="none" strike="noStrike" cap="none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254000" lvl="2" indent="-228600">
              <a:buClr>
                <a:schemeClr val="dk1"/>
              </a:buClr>
              <a:buSzPct val="100000"/>
              <a:buFont typeface="+mj-lt"/>
              <a:buAutoNum type="arabicPeriod"/>
            </a:pPr>
            <a:r>
              <a:rPr lang="es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aíses Bajos</a:t>
            </a:r>
            <a:endParaRPr lang="es" sz="1000" b="0" i="0" u="none" strike="noStrike" cap="none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726" name="Shape 726"/>
          <p:cNvCxnSpPr/>
          <p:nvPr/>
        </p:nvCxnSpPr>
        <p:spPr>
          <a:xfrm>
            <a:off x="711596" y="832784"/>
            <a:ext cx="0" cy="1160100"/>
          </a:xfrm>
          <a:prstGeom prst="straightConnector1">
            <a:avLst/>
          </a:prstGeom>
          <a:noFill/>
          <a:ln w="9525" cap="flat" cmpd="sng">
            <a:solidFill>
              <a:srgbClr val="37475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27" name="Shape 727"/>
          <p:cNvSpPr txBox="1"/>
          <p:nvPr/>
        </p:nvSpPr>
        <p:spPr>
          <a:xfrm>
            <a:off x="218550" y="794800"/>
            <a:ext cx="450000" cy="179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fld id="{00000000-1234-1234-1234-123412341234}" type="slidenum"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74756"/>
                </a:buClr>
                <a:buSzPct val="25000"/>
                <a:buFont typeface="Montserrat"/>
                <a:buNone/>
              </a:pPr>
              <a:t>10</a:t>
            </a:fld>
            <a:endParaRPr lang="es" sz="1200" b="0" i="0" u="none" strike="noStrike" cap="none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728" name="Shape 728"/>
          <p:cNvSpPr/>
          <p:nvPr/>
        </p:nvSpPr>
        <p:spPr>
          <a:xfrm>
            <a:off x="1946149" y="2217800"/>
            <a:ext cx="5127600" cy="333300"/>
          </a:xfrm>
          <a:prstGeom prst="roundRect">
            <a:avLst>
              <a:gd name="adj" fmla="val 50000"/>
            </a:avLst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xmlns="" id="{D19C4D4A-0E1B-44C7-AC72-889AE1467C89}"/>
              </a:ext>
            </a:extLst>
          </p:cNvPr>
          <p:cNvGrpSpPr/>
          <p:nvPr/>
        </p:nvGrpSpPr>
        <p:grpSpPr>
          <a:xfrm>
            <a:off x="5144435" y="2951734"/>
            <a:ext cx="3905759" cy="2415031"/>
            <a:chOff x="2934592" y="2934597"/>
            <a:chExt cx="6270844" cy="3030282"/>
          </a:xfrm>
        </p:grpSpPr>
        <p:grpSp>
          <p:nvGrpSpPr>
            <p:cNvPr id="42" name="Grupo 41">
              <a:extLst>
                <a:ext uri="{FF2B5EF4-FFF2-40B4-BE49-F238E27FC236}">
                  <a16:creationId xmlns:a16="http://schemas.microsoft.com/office/drawing/2014/main" xmlns="" id="{4D293EA4-446F-4E11-8F59-20BC5EE83092}"/>
                </a:ext>
              </a:extLst>
            </p:cNvPr>
            <p:cNvGrpSpPr/>
            <p:nvPr/>
          </p:nvGrpSpPr>
          <p:grpSpPr>
            <a:xfrm>
              <a:off x="2934592" y="2934597"/>
              <a:ext cx="6270844" cy="3030282"/>
              <a:chOff x="-805582" y="1414145"/>
              <a:chExt cx="9247907" cy="5227740"/>
            </a:xfrm>
          </p:grpSpPr>
          <p:grpSp>
            <p:nvGrpSpPr>
              <p:cNvPr id="44" name="Grupo 43">
                <a:extLst>
                  <a:ext uri="{FF2B5EF4-FFF2-40B4-BE49-F238E27FC236}">
                    <a16:creationId xmlns:a16="http://schemas.microsoft.com/office/drawing/2014/main" xmlns="" id="{4C31B2A0-C5DF-423D-AA0E-8CD8DB4B4887}"/>
                  </a:ext>
                </a:extLst>
              </p:cNvPr>
              <p:cNvGrpSpPr/>
              <p:nvPr/>
            </p:nvGrpSpPr>
            <p:grpSpPr>
              <a:xfrm>
                <a:off x="1105199" y="1538690"/>
                <a:ext cx="7337126" cy="3561031"/>
                <a:chOff x="677863" y="1196975"/>
                <a:chExt cx="7500937" cy="4260850"/>
              </a:xfrm>
            </p:grpSpPr>
            <p:sp>
              <p:nvSpPr>
                <p:cNvPr id="54" name="Freeform 4">
                  <a:extLst>
                    <a:ext uri="{FF2B5EF4-FFF2-40B4-BE49-F238E27FC236}">
                      <a16:creationId xmlns:a16="http://schemas.microsoft.com/office/drawing/2014/main" xmlns="" id="{F3C17C46-4B54-4A79-AE68-EE6807DAB2C9}"/>
                    </a:ext>
                  </a:extLst>
                </p:cNvPr>
                <p:cNvSpPr>
                  <a:spLocks/>
                </p:cNvSpPr>
                <p:nvPr>
                  <p:custDataLst>
                    <p:tags r:id="rId1"/>
                  </p:custDataLst>
                </p:nvPr>
              </p:nvSpPr>
              <p:spPr bwMode="auto">
                <a:xfrm>
                  <a:off x="2519363" y="5394325"/>
                  <a:ext cx="33337" cy="57150"/>
                </a:xfrm>
                <a:custGeom>
                  <a:avLst/>
                  <a:gdLst>
                    <a:gd name="T0" fmla="*/ 0 w 73"/>
                    <a:gd name="T1" fmla="*/ 0 h 20"/>
                    <a:gd name="T2" fmla="*/ 2147483646 w 73"/>
                    <a:gd name="T3" fmla="*/ 2147483646 h 20"/>
                    <a:gd name="T4" fmla="*/ 2147483646 w 73"/>
                    <a:gd name="T5" fmla="*/ 2147483646 h 20"/>
                    <a:gd name="T6" fmla="*/ 2147483646 w 73"/>
                    <a:gd name="T7" fmla="*/ 2147483646 h 20"/>
                    <a:gd name="T8" fmla="*/ 2147483646 w 73"/>
                    <a:gd name="T9" fmla="*/ 2147483646 h 20"/>
                    <a:gd name="T10" fmla="*/ 2147483646 w 73"/>
                    <a:gd name="T11" fmla="*/ 2147483646 h 20"/>
                    <a:gd name="T12" fmla="*/ 2147483646 w 73"/>
                    <a:gd name="T13" fmla="*/ 2147483646 h 20"/>
                    <a:gd name="T14" fmla="*/ 2147483646 w 73"/>
                    <a:gd name="T15" fmla="*/ 2147483646 h 20"/>
                    <a:gd name="T16" fmla="*/ 2147483646 w 73"/>
                    <a:gd name="T17" fmla="*/ 2147483646 h 20"/>
                    <a:gd name="T18" fmla="*/ 2147483646 w 73"/>
                    <a:gd name="T19" fmla="*/ 2147483646 h 20"/>
                    <a:gd name="T20" fmla="*/ 2147483646 w 73"/>
                    <a:gd name="T21" fmla="*/ 2147483646 h 20"/>
                    <a:gd name="T22" fmla="*/ 2147483646 w 73"/>
                    <a:gd name="T23" fmla="*/ 2147483646 h 20"/>
                    <a:gd name="T24" fmla="*/ 2147483646 w 73"/>
                    <a:gd name="T25" fmla="*/ 2147483646 h 20"/>
                    <a:gd name="T26" fmla="*/ 2147483646 w 73"/>
                    <a:gd name="T27" fmla="*/ 2147483646 h 20"/>
                    <a:gd name="T28" fmla="*/ 2147483646 w 73"/>
                    <a:gd name="T29" fmla="*/ 2147483646 h 20"/>
                    <a:gd name="T30" fmla="*/ 2147483646 w 73"/>
                    <a:gd name="T31" fmla="*/ 2147483646 h 20"/>
                    <a:gd name="T32" fmla="*/ 2147483646 w 73"/>
                    <a:gd name="T33" fmla="*/ 0 h 20"/>
                    <a:gd name="T34" fmla="*/ 0 w 73"/>
                    <a:gd name="T35" fmla="*/ 0 h 2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3"/>
                    <a:gd name="T55" fmla="*/ 0 h 20"/>
                    <a:gd name="T56" fmla="*/ 73 w 73"/>
                    <a:gd name="T57" fmla="*/ 20 h 2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3" h="20">
                      <a:moveTo>
                        <a:pt x="0" y="0"/>
                      </a:moveTo>
                      <a:lnTo>
                        <a:pt x="1" y="5"/>
                      </a:lnTo>
                      <a:lnTo>
                        <a:pt x="4" y="10"/>
                      </a:lnTo>
                      <a:lnTo>
                        <a:pt x="8" y="14"/>
                      </a:lnTo>
                      <a:lnTo>
                        <a:pt x="13" y="20"/>
                      </a:lnTo>
                      <a:lnTo>
                        <a:pt x="16" y="17"/>
                      </a:lnTo>
                      <a:lnTo>
                        <a:pt x="19" y="13"/>
                      </a:lnTo>
                      <a:lnTo>
                        <a:pt x="23" y="11"/>
                      </a:lnTo>
                      <a:lnTo>
                        <a:pt x="27" y="10"/>
                      </a:lnTo>
                      <a:lnTo>
                        <a:pt x="36" y="8"/>
                      </a:lnTo>
                      <a:lnTo>
                        <a:pt x="46" y="7"/>
                      </a:lnTo>
                      <a:lnTo>
                        <a:pt x="54" y="7"/>
                      </a:lnTo>
                      <a:lnTo>
                        <a:pt x="63" y="6"/>
                      </a:lnTo>
                      <a:lnTo>
                        <a:pt x="66" y="5"/>
                      </a:lnTo>
                      <a:lnTo>
                        <a:pt x="69" y="4"/>
                      </a:lnTo>
                      <a:lnTo>
                        <a:pt x="71" y="2"/>
                      </a:lnTo>
                      <a:lnTo>
                        <a:pt x="7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5" name="Freeform 5">
                  <a:extLst>
                    <a:ext uri="{FF2B5EF4-FFF2-40B4-BE49-F238E27FC236}">
                      <a16:creationId xmlns:a16="http://schemas.microsoft.com/office/drawing/2014/main" xmlns="" id="{BA76823F-369D-49FD-A7BA-190C7AC76184}"/>
                    </a:ext>
                  </a:extLst>
                </p:cNvPr>
                <p:cNvSpPr>
                  <a:spLocks/>
                </p:cNvSpPr>
                <p:nvPr>
                  <p:custDataLst>
                    <p:tags r:id="rId2"/>
                  </p:custDataLst>
                </p:nvPr>
              </p:nvSpPr>
              <p:spPr bwMode="auto">
                <a:xfrm>
                  <a:off x="677863" y="1495425"/>
                  <a:ext cx="784225" cy="446088"/>
                </a:xfrm>
                <a:custGeom>
                  <a:avLst/>
                  <a:gdLst>
                    <a:gd name="T0" fmla="*/ 2147483646 w 1808"/>
                    <a:gd name="T1" fmla="*/ 2147483646 h 850"/>
                    <a:gd name="T2" fmla="*/ 2147483646 w 1808"/>
                    <a:gd name="T3" fmla="*/ 2147483646 h 850"/>
                    <a:gd name="T4" fmla="*/ 2147483646 w 1808"/>
                    <a:gd name="T5" fmla="*/ 2147483646 h 850"/>
                    <a:gd name="T6" fmla="*/ 2147483646 w 1808"/>
                    <a:gd name="T7" fmla="*/ 2147483646 h 850"/>
                    <a:gd name="T8" fmla="*/ 2147483646 w 1808"/>
                    <a:gd name="T9" fmla="*/ 2147483646 h 850"/>
                    <a:gd name="T10" fmla="*/ 2147483646 w 1808"/>
                    <a:gd name="T11" fmla="*/ 2147483646 h 850"/>
                    <a:gd name="T12" fmla="*/ 2147483646 w 1808"/>
                    <a:gd name="T13" fmla="*/ 2147483646 h 850"/>
                    <a:gd name="T14" fmla="*/ 2147483646 w 1808"/>
                    <a:gd name="T15" fmla="*/ 2147483646 h 850"/>
                    <a:gd name="T16" fmla="*/ 2147483646 w 1808"/>
                    <a:gd name="T17" fmla="*/ 2147483646 h 850"/>
                    <a:gd name="T18" fmla="*/ 2147483646 w 1808"/>
                    <a:gd name="T19" fmla="*/ 2147483646 h 850"/>
                    <a:gd name="T20" fmla="*/ 2147483646 w 1808"/>
                    <a:gd name="T21" fmla="*/ 2147483646 h 850"/>
                    <a:gd name="T22" fmla="*/ 2147483646 w 1808"/>
                    <a:gd name="T23" fmla="*/ 2147483646 h 850"/>
                    <a:gd name="T24" fmla="*/ 2147483646 w 1808"/>
                    <a:gd name="T25" fmla="*/ 2147483646 h 850"/>
                    <a:gd name="T26" fmla="*/ 2147483646 w 1808"/>
                    <a:gd name="T27" fmla="*/ 2147483646 h 850"/>
                    <a:gd name="T28" fmla="*/ 2147483646 w 1808"/>
                    <a:gd name="T29" fmla="*/ 2147483646 h 850"/>
                    <a:gd name="T30" fmla="*/ 2147483646 w 1808"/>
                    <a:gd name="T31" fmla="*/ 2147483646 h 850"/>
                    <a:gd name="T32" fmla="*/ 2147483646 w 1808"/>
                    <a:gd name="T33" fmla="*/ 2147483646 h 850"/>
                    <a:gd name="T34" fmla="*/ 2147483646 w 1808"/>
                    <a:gd name="T35" fmla="*/ 2147483646 h 850"/>
                    <a:gd name="T36" fmla="*/ 2147483646 w 1808"/>
                    <a:gd name="T37" fmla="*/ 2147483646 h 850"/>
                    <a:gd name="T38" fmla="*/ 2147483646 w 1808"/>
                    <a:gd name="T39" fmla="*/ 2147483646 h 850"/>
                    <a:gd name="T40" fmla="*/ 2147483646 w 1808"/>
                    <a:gd name="T41" fmla="*/ 2147483646 h 850"/>
                    <a:gd name="T42" fmla="*/ 2147483646 w 1808"/>
                    <a:gd name="T43" fmla="*/ 2147483646 h 850"/>
                    <a:gd name="T44" fmla="*/ 2147483646 w 1808"/>
                    <a:gd name="T45" fmla="*/ 2147483646 h 850"/>
                    <a:gd name="T46" fmla="*/ 2147483646 w 1808"/>
                    <a:gd name="T47" fmla="*/ 2147483646 h 850"/>
                    <a:gd name="T48" fmla="*/ 2147483646 w 1808"/>
                    <a:gd name="T49" fmla="*/ 2147483646 h 850"/>
                    <a:gd name="T50" fmla="*/ 2147483646 w 1808"/>
                    <a:gd name="T51" fmla="*/ 2147483646 h 850"/>
                    <a:gd name="T52" fmla="*/ 2147483646 w 1808"/>
                    <a:gd name="T53" fmla="*/ 2147483646 h 850"/>
                    <a:gd name="T54" fmla="*/ 2147483646 w 1808"/>
                    <a:gd name="T55" fmla="*/ 2147483646 h 850"/>
                    <a:gd name="T56" fmla="*/ 2147483646 w 1808"/>
                    <a:gd name="T57" fmla="*/ 2147483646 h 850"/>
                    <a:gd name="T58" fmla="*/ 2147483646 w 1808"/>
                    <a:gd name="T59" fmla="*/ 2147483646 h 850"/>
                    <a:gd name="T60" fmla="*/ 2147483646 w 1808"/>
                    <a:gd name="T61" fmla="*/ 2147483646 h 850"/>
                    <a:gd name="T62" fmla="*/ 2147483646 w 1808"/>
                    <a:gd name="T63" fmla="*/ 2147483646 h 850"/>
                    <a:gd name="T64" fmla="*/ 2147483646 w 1808"/>
                    <a:gd name="T65" fmla="*/ 2147483646 h 850"/>
                    <a:gd name="T66" fmla="*/ 2147483646 w 1808"/>
                    <a:gd name="T67" fmla="*/ 2147483646 h 850"/>
                    <a:gd name="T68" fmla="*/ 2147483646 w 1808"/>
                    <a:gd name="T69" fmla="*/ 2147483646 h 850"/>
                    <a:gd name="T70" fmla="*/ 2147483646 w 1808"/>
                    <a:gd name="T71" fmla="*/ 2147483646 h 850"/>
                    <a:gd name="T72" fmla="*/ 2147483646 w 1808"/>
                    <a:gd name="T73" fmla="*/ 2147483646 h 850"/>
                    <a:gd name="T74" fmla="*/ 2147483646 w 1808"/>
                    <a:gd name="T75" fmla="*/ 2147483646 h 850"/>
                    <a:gd name="T76" fmla="*/ 2147483646 w 1808"/>
                    <a:gd name="T77" fmla="*/ 2147483646 h 850"/>
                    <a:gd name="T78" fmla="*/ 2147483646 w 1808"/>
                    <a:gd name="T79" fmla="*/ 2147483646 h 850"/>
                    <a:gd name="T80" fmla="*/ 2147483646 w 1808"/>
                    <a:gd name="T81" fmla="*/ 2147483646 h 850"/>
                    <a:gd name="T82" fmla="*/ 2147483646 w 1808"/>
                    <a:gd name="T83" fmla="*/ 2147483646 h 850"/>
                    <a:gd name="T84" fmla="*/ 2147483646 w 1808"/>
                    <a:gd name="T85" fmla="*/ 2147483646 h 850"/>
                    <a:gd name="T86" fmla="*/ 2147483646 w 1808"/>
                    <a:gd name="T87" fmla="*/ 2147483646 h 850"/>
                    <a:gd name="T88" fmla="*/ 2147483646 w 1808"/>
                    <a:gd name="T89" fmla="*/ 2147483646 h 850"/>
                    <a:gd name="T90" fmla="*/ 2147483646 w 1808"/>
                    <a:gd name="T91" fmla="*/ 2147483646 h 850"/>
                    <a:gd name="T92" fmla="*/ 2147483646 w 1808"/>
                    <a:gd name="T93" fmla="*/ 2147483646 h 850"/>
                    <a:gd name="T94" fmla="*/ 2147483646 w 1808"/>
                    <a:gd name="T95" fmla="*/ 2147483646 h 850"/>
                    <a:gd name="T96" fmla="*/ 2147483646 w 1808"/>
                    <a:gd name="T97" fmla="*/ 2147483646 h 850"/>
                    <a:gd name="T98" fmla="*/ 2147483646 w 1808"/>
                    <a:gd name="T99" fmla="*/ 2147483646 h 850"/>
                    <a:gd name="T100" fmla="*/ 2147483646 w 1808"/>
                    <a:gd name="T101" fmla="*/ 2147483646 h 850"/>
                    <a:gd name="T102" fmla="*/ 2147483646 w 1808"/>
                    <a:gd name="T103" fmla="*/ 2147483646 h 850"/>
                    <a:gd name="T104" fmla="*/ 2147483646 w 1808"/>
                    <a:gd name="T105" fmla="*/ 2147483646 h 850"/>
                    <a:gd name="T106" fmla="*/ 2147483646 w 1808"/>
                    <a:gd name="T107" fmla="*/ 2147483646 h 850"/>
                    <a:gd name="T108" fmla="*/ 2147483646 w 1808"/>
                    <a:gd name="T109" fmla="*/ 2147483646 h 850"/>
                    <a:gd name="T110" fmla="*/ 2147483646 w 1808"/>
                    <a:gd name="T111" fmla="*/ 2147483646 h 850"/>
                    <a:gd name="T112" fmla="*/ 2147483646 w 1808"/>
                    <a:gd name="T113" fmla="*/ 2147483646 h 850"/>
                    <a:gd name="T114" fmla="*/ 2147483646 w 1808"/>
                    <a:gd name="T115" fmla="*/ 2147483646 h 850"/>
                    <a:gd name="T116" fmla="*/ 2147483646 w 1808"/>
                    <a:gd name="T117" fmla="*/ 2147483646 h 850"/>
                    <a:gd name="T118" fmla="*/ 2147483646 w 1808"/>
                    <a:gd name="T119" fmla="*/ 2147483646 h 850"/>
                    <a:gd name="T120" fmla="*/ 2147483646 w 1808"/>
                    <a:gd name="T121" fmla="*/ 2147483646 h 850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808"/>
                    <a:gd name="T184" fmla="*/ 0 h 850"/>
                    <a:gd name="T185" fmla="*/ 1808 w 1808"/>
                    <a:gd name="T186" fmla="*/ 850 h 850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808" h="850">
                      <a:moveTo>
                        <a:pt x="1410" y="842"/>
                      </a:moveTo>
                      <a:lnTo>
                        <a:pt x="1405" y="841"/>
                      </a:lnTo>
                      <a:lnTo>
                        <a:pt x="1403" y="838"/>
                      </a:lnTo>
                      <a:lnTo>
                        <a:pt x="1401" y="834"/>
                      </a:lnTo>
                      <a:lnTo>
                        <a:pt x="1399" y="830"/>
                      </a:lnTo>
                      <a:lnTo>
                        <a:pt x="1396" y="819"/>
                      </a:lnTo>
                      <a:lnTo>
                        <a:pt x="1395" y="807"/>
                      </a:lnTo>
                      <a:lnTo>
                        <a:pt x="1396" y="795"/>
                      </a:lnTo>
                      <a:lnTo>
                        <a:pt x="1398" y="784"/>
                      </a:lnTo>
                      <a:lnTo>
                        <a:pt x="1400" y="775"/>
                      </a:lnTo>
                      <a:lnTo>
                        <a:pt x="1402" y="769"/>
                      </a:lnTo>
                      <a:lnTo>
                        <a:pt x="1399" y="764"/>
                      </a:lnTo>
                      <a:lnTo>
                        <a:pt x="1396" y="760"/>
                      </a:lnTo>
                      <a:lnTo>
                        <a:pt x="1394" y="753"/>
                      </a:lnTo>
                      <a:lnTo>
                        <a:pt x="1392" y="746"/>
                      </a:lnTo>
                      <a:lnTo>
                        <a:pt x="1390" y="729"/>
                      </a:lnTo>
                      <a:lnTo>
                        <a:pt x="1389" y="708"/>
                      </a:lnTo>
                      <a:lnTo>
                        <a:pt x="1389" y="670"/>
                      </a:lnTo>
                      <a:lnTo>
                        <a:pt x="1389" y="645"/>
                      </a:lnTo>
                      <a:lnTo>
                        <a:pt x="1382" y="647"/>
                      </a:lnTo>
                      <a:lnTo>
                        <a:pt x="1373" y="648"/>
                      </a:lnTo>
                      <a:lnTo>
                        <a:pt x="1362" y="648"/>
                      </a:lnTo>
                      <a:lnTo>
                        <a:pt x="1351" y="648"/>
                      </a:lnTo>
                      <a:lnTo>
                        <a:pt x="1340" y="647"/>
                      </a:lnTo>
                      <a:lnTo>
                        <a:pt x="1332" y="645"/>
                      </a:lnTo>
                      <a:lnTo>
                        <a:pt x="1327" y="644"/>
                      </a:lnTo>
                      <a:lnTo>
                        <a:pt x="1325" y="642"/>
                      </a:lnTo>
                      <a:lnTo>
                        <a:pt x="1323" y="641"/>
                      </a:lnTo>
                      <a:lnTo>
                        <a:pt x="1323" y="638"/>
                      </a:lnTo>
                      <a:lnTo>
                        <a:pt x="1290" y="682"/>
                      </a:lnTo>
                      <a:lnTo>
                        <a:pt x="1284" y="668"/>
                      </a:lnTo>
                      <a:lnTo>
                        <a:pt x="1279" y="659"/>
                      </a:lnTo>
                      <a:lnTo>
                        <a:pt x="1273" y="650"/>
                      </a:lnTo>
                      <a:lnTo>
                        <a:pt x="1268" y="645"/>
                      </a:lnTo>
                      <a:lnTo>
                        <a:pt x="1264" y="639"/>
                      </a:lnTo>
                      <a:lnTo>
                        <a:pt x="1259" y="631"/>
                      </a:lnTo>
                      <a:lnTo>
                        <a:pt x="1257" y="622"/>
                      </a:lnTo>
                      <a:lnTo>
                        <a:pt x="1256" y="608"/>
                      </a:lnTo>
                      <a:lnTo>
                        <a:pt x="1226" y="602"/>
                      </a:lnTo>
                      <a:lnTo>
                        <a:pt x="1195" y="595"/>
                      </a:lnTo>
                      <a:lnTo>
                        <a:pt x="1165" y="588"/>
                      </a:lnTo>
                      <a:lnTo>
                        <a:pt x="1134" y="582"/>
                      </a:lnTo>
                      <a:lnTo>
                        <a:pt x="1104" y="576"/>
                      </a:lnTo>
                      <a:lnTo>
                        <a:pt x="1074" y="569"/>
                      </a:lnTo>
                      <a:lnTo>
                        <a:pt x="1045" y="561"/>
                      </a:lnTo>
                      <a:lnTo>
                        <a:pt x="1018" y="553"/>
                      </a:lnTo>
                      <a:lnTo>
                        <a:pt x="984" y="553"/>
                      </a:lnTo>
                      <a:lnTo>
                        <a:pt x="977" y="546"/>
                      </a:lnTo>
                      <a:lnTo>
                        <a:pt x="973" y="537"/>
                      </a:lnTo>
                      <a:lnTo>
                        <a:pt x="969" y="528"/>
                      </a:lnTo>
                      <a:lnTo>
                        <a:pt x="966" y="521"/>
                      </a:lnTo>
                      <a:lnTo>
                        <a:pt x="962" y="514"/>
                      </a:lnTo>
                      <a:lnTo>
                        <a:pt x="956" y="508"/>
                      </a:lnTo>
                      <a:lnTo>
                        <a:pt x="952" y="506"/>
                      </a:lnTo>
                      <a:lnTo>
                        <a:pt x="948" y="505"/>
                      </a:lnTo>
                      <a:lnTo>
                        <a:pt x="943" y="504"/>
                      </a:lnTo>
                      <a:lnTo>
                        <a:pt x="937" y="503"/>
                      </a:lnTo>
                      <a:lnTo>
                        <a:pt x="929" y="504"/>
                      </a:lnTo>
                      <a:lnTo>
                        <a:pt x="922" y="505"/>
                      </a:lnTo>
                      <a:lnTo>
                        <a:pt x="916" y="507"/>
                      </a:lnTo>
                      <a:lnTo>
                        <a:pt x="910" y="509"/>
                      </a:lnTo>
                      <a:lnTo>
                        <a:pt x="906" y="512"/>
                      </a:lnTo>
                      <a:lnTo>
                        <a:pt x="901" y="516"/>
                      </a:lnTo>
                      <a:lnTo>
                        <a:pt x="898" y="519"/>
                      </a:lnTo>
                      <a:lnTo>
                        <a:pt x="895" y="523"/>
                      </a:lnTo>
                      <a:lnTo>
                        <a:pt x="886" y="539"/>
                      </a:lnTo>
                      <a:lnTo>
                        <a:pt x="877" y="553"/>
                      </a:lnTo>
                      <a:lnTo>
                        <a:pt x="870" y="559"/>
                      </a:lnTo>
                      <a:lnTo>
                        <a:pt x="861" y="564"/>
                      </a:lnTo>
                      <a:lnTo>
                        <a:pt x="849" y="570"/>
                      </a:lnTo>
                      <a:lnTo>
                        <a:pt x="835" y="576"/>
                      </a:lnTo>
                      <a:lnTo>
                        <a:pt x="806" y="587"/>
                      </a:lnTo>
                      <a:lnTo>
                        <a:pt x="772" y="597"/>
                      </a:lnTo>
                      <a:lnTo>
                        <a:pt x="738" y="607"/>
                      </a:lnTo>
                      <a:lnTo>
                        <a:pt x="705" y="614"/>
                      </a:lnTo>
                      <a:lnTo>
                        <a:pt x="689" y="617"/>
                      </a:lnTo>
                      <a:lnTo>
                        <a:pt x="675" y="619"/>
                      </a:lnTo>
                      <a:lnTo>
                        <a:pt x="663" y="620"/>
                      </a:lnTo>
                      <a:lnTo>
                        <a:pt x="652" y="620"/>
                      </a:lnTo>
                      <a:lnTo>
                        <a:pt x="656" y="614"/>
                      </a:lnTo>
                      <a:lnTo>
                        <a:pt x="667" y="597"/>
                      </a:lnTo>
                      <a:lnTo>
                        <a:pt x="673" y="589"/>
                      </a:lnTo>
                      <a:lnTo>
                        <a:pt x="677" y="581"/>
                      </a:lnTo>
                      <a:lnTo>
                        <a:pt x="678" y="578"/>
                      </a:lnTo>
                      <a:lnTo>
                        <a:pt x="679" y="575"/>
                      </a:lnTo>
                      <a:lnTo>
                        <a:pt x="679" y="572"/>
                      </a:lnTo>
                      <a:lnTo>
                        <a:pt x="678" y="571"/>
                      </a:lnTo>
                      <a:lnTo>
                        <a:pt x="689" y="562"/>
                      </a:lnTo>
                      <a:lnTo>
                        <a:pt x="700" y="555"/>
                      </a:lnTo>
                      <a:lnTo>
                        <a:pt x="711" y="551"/>
                      </a:lnTo>
                      <a:lnTo>
                        <a:pt x="721" y="548"/>
                      </a:lnTo>
                      <a:lnTo>
                        <a:pt x="732" y="546"/>
                      </a:lnTo>
                      <a:lnTo>
                        <a:pt x="742" y="546"/>
                      </a:lnTo>
                      <a:lnTo>
                        <a:pt x="751" y="546"/>
                      </a:lnTo>
                      <a:lnTo>
                        <a:pt x="761" y="546"/>
                      </a:lnTo>
                      <a:lnTo>
                        <a:pt x="769" y="546"/>
                      </a:lnTo>
                      <a:lnTo>
                        <a:pt x="778" y="546"/>
                      </a:lnTo>
                      <a:lnTo>
                        <a:pt x="786" y="545"/>
                      </a:lnTo>
                      <a:lnTo>
                        <a:pt x="794" y="543"/>
                      </a:lnTo>
                      <a:lnTo>
                        <a:pt x="800" y="538"/>
                      </a:lnTo>
                      <a:lnTo>
                        <a:pt x="807" y="533"/>
                      </a:lnTo>
                      <a:lnTo>
                        <a:pt x="812" y="525"/>
                      </a:lnTo>
                      <a:lnTo>
                        <a:pt x="818" y="515"/>
                      </a:lnTo>
                      <a:lnTo>
                        <a:pt x="744" y="515"/>
                      </a:lnTo>
                      <a:lnTo>
                        <a:pt x="724" y="528"/>
                      </a:lnTo>
                      <a:lnTo>
                        <a:pt x="705" y="540"/>
                      </a:lnTo>
                      <a:lnTo>
                        <a:pt x="685" y="551"/>
                      </a:lnTo>
                      <a:lnTo>
                        <a:pt x="664" y="560"/>
                      </a:lnTo>
                      <a:lnTo>
                        <a:pt x="643" y="568"/>
                      </a:lnTo>
                      <a:lnTo>
                        <a:pt x="622" y="575"/>
                      </a:lnTo>
                      <a:lnTo>
                        <a:pt x="600" y="582"/>
                      </a:lnTo>
                      <a:lnTo>
                        <a:pt x="578" y="589"/>
                      </a:lnTo>
                      <a:lnTo>
                        <a:pt x="573" y="592"/>
                      </a:lnTo>
                      <a:lnTo>
                        <a:pt x="567" y="594"/>
                      </a:lnTo>
                      <a:lnTo>
                        <a:pt x="564" y="599"/>
                      </a:lnTo>
                      <a:lnTo>
                        <a:pt x="560" y="602"/>
                      </a:lnTo>
                      <a:lnTo>
                        <a:pt x="554" y="609"/>
                      </a:lnTo>
                      <a:lnTo>
                        <a:pt x="550" y="617"/>
                      </a:lnTo>
                      <a:lnTo>
                        <a:pt x="547" y="625"/>
                      </a:lnTo>
                      <a:lnTo>
                        <a:pt x="543" y="633"/>
                      </a:lnTo>
                      <a:lnTo>
                        <a:pt x="541" y="636"/>
                      </a:lnTo>
                      <a:lnTo>
                        <a:pt x="539" y="639"/>
                      </a:lnTo>
                      <a:lnTo>
                        <a:pt x="536" y="642"/>
                      </a:lnTo>
                      <a:lnTo>
                        <a:pt x="532" y="645"/>
                      </a:lnTo>
                      <a:lnTo>
                        <a:pt x="529" y="648"/>
                      </a:lnTo>
                      <a:lnTo>
                        <a:pt x="526" y="650"/>
                      </a:lnTo>
                      <a:lnTo>
                        <a:pt x="521" y="652"/>
                      </a:lnTo>
                      <a:lnTo>
                        <a:pt x="517" y="654"/>
                      </a:lnTo>
                      <a:lnTo>
                        <a:pt x="507" y="655"/>
                      </a:lnTo>
                      <a:lnTo>
                        <a:pt x="496" y="655"/>
                      </a:lnTo>
                      <a:lnTo>
                        <a:pt x="474" y="652"/>
                      </a:lnTo>
                      <a:lnTo>
                        <a:pt x="459" y="651"/>
                      </a:lnTo>
                      <a:lnTo>
                        <a:pt x="452" y="654"/>
                      </a:lnTo>
                      <a:lnTo>
                        <a:pt x="444" y="657"/>
                      </a:lnTo>
                      <a:lnTo>
                        <a:pt x="438" y="661"/>
                      </a:lnTo>
                      <a:lnTo>
                        <a:pt x="430" y="665"/>
                      </a:lnTo>
                      <a:lnTo>
                        <a:pt x="417" y="674"/>
                      </a:lnTo>
                      <a:lnTo>
                        <a:pt x="405" y="684"/>
                      </a:lnTo>
                      <a:lnTo>
                        <a:pt x="394" y="694"/>
                      </a:lnTo>
                      <a:lnTo>
                        <a:pt x="383" y="702"/>
                      </a:lnTo>
                      <a:lnTo>
                        <a:pt x="374" y="708"/>
                      </a:lnTo>
                      <a:lnTo>
                        <a:pt x="367" y="713"/>
                      </a:lnTo>
                      <a:lnTo>
                        <a:pt x="335" y="722"/>
                      </a:lnTo>
                      <a:lnTo>
                        <a:pt x="309" y="729"/>
                      </a:lnTo>
                      <a:lnTo>
                        <a:pt x="287" y="737"/>
                      </a:lnTo>
                      <a:lnTo>
                        <a:pt x="270" y="743"/>
                      </a:lnTo>
                      <a:lnTo>
                        <a:pt x="252" y="750"/>
                      </a:lnTo>
                      <a:lnTo>
                        <a:pt x="235" y="757"/>
                      </a:lnTo>
                      <a:lnTo>
                        <a:pt x="216" y="766"/>
                      </a:lnTo>
                      <a:lnTo>
                        <a:pt x="193" y="775"/>
                      </a:lnTo>
                      <a:lnTo>
                        <a:pt x="168" y="786"/>
                      </a:lnTo>
                      <a:lnTo>
                        <a:pt x="145" y="795"/>
                      </a:lnTo>
                      <a:lnTo>
                        <a:pt x="124" y="802"/>
                      </a:lnTo>
                      <a:lnTo>
                        <a:pt x="105" y="807"/>
                      </a:lnTo>
                      <a:lnTo>
                        <a:pt x="87" y="812"/>
                      </a:lnTo>
                      <a:lnTo>
                        <a:pt x="68" y="818"/>
                      </a:lnTo>
                      <a:lnTo>
                        <a:pt x="48" y="826"/>
                      </a:lnTo>
                      <a:lnTo>
                        <a:pt x="27" y="836"/>
                      </a:lnTo>
                      <a:lnTo>
                        <a:pt x="1" y="824"/>
                      </a:lnTo>
                      <a:lnTo>
                        <a:pt x="4" y="817"/>
                      </a:lnTo>
                      <a:lnTo>
                        <a:pt x="4" y="813"/>
                      </a:lnTo>
                      <a:lnTo>
                        <a:pt x="3" y="810"/>
                      </a:lnTo>
                      <a:lnTo>
                        <a:pt x="2" y="808"/>
                      </a:lnTo>
                      <a:lnTo>
                        <a:pt x="0" y="806"/>
                      </a:lnTo>
                      <a:lnTo>
                        <a:pt x="0" y="803"/>
                      </a:lnTo>
                      <a:lnTo>
                        <a:pt x="2" y="799"/>
                      </a:lnTo>
                      <a:lnTo>
                        <a:pt x="7" y="793"/>
                      </a:lnTo>
                      <a:lnTo>
                        <a:pt x="14" y="789"/>
                      </a:lnTo>
                      <a:lnTo>
                        <a:pt x="21" y="785"/>
                      </a:lnTo>
                      <a:lnTo>
                        <a:pt x="28" y="782"/>
                      </a:lnTo>
                      <a:lnTo>
                        <a:pt x="36" y="779"/>
                      </a:lnTo>
                      <a:lnTo>
                        <a:pt x="52" y="774"/>
                      </a:lnTo>
                      <a:lnTo>
                        <a:pt x="70" y="771"/>
                      </a:lnTo>
                      <a:lnTo>
                        <a:pt x="102" y="766"/>
                      </a:lnTo>
                      <a:lnTo>
                        <a:pt x="127" y="761"/>
                      </a:lnTo>
                      <a:lnTo>
                        <a:pt x="143" y="757"/>
                      </a:lnTo>
                      <a:lnTo>
                        <a:pt x="158" y="751"/>
                      </a:lnTo>
                      <a:lnTo>
                        <a:pt x="173" y="746"/>
                      </a:lnTo>
                      <a:lnTo>
                        <a:pt x="188" y="739"/>
                      </a:lnTo>
                      <a:lnTo>
                        <a:pt x="215" y="726"/>
                      </a:lnTo>
                      <a:lnTo>
                        <a:pt x="240" y="712"/>
                      </a:lnTo>
                      <a:lnTo>
                        <a:pt x="265" y="696"/>
                      </a:lnTo>
                      <a:lnTo>
                        <a:pt x="291" y="681"/>
                      </a:lnTo>
                      <a:lnTo>
                        <a:pt x="315" y="666"/>
                      </a:lnTo>
                      <a:lnTo>
                        <a:pt x="339" y="651"/>
                      </a:lnTo>
                      <a:lnTo>
                        <a:pt x="327" y="643"/>
                      </a:lnTo>
                      <a:lnTo>
                        <a:pt x="317" y="636"/>
                      </a:lnTo>
                      <a:lnTo>
                        <a:pt x="308" y="631"/>
                      </a:lnTo>
                      <a:lnTo>
                        <a:pt x="300" y="626"/>
                      </a:lnTo>
                      <a:lnTo>
                        <a:pt x="292" y="629"/>
                      </a:lnTo>
                      <a:lnTo>
                        <a:pt x="285" y="634"/>
                      </a:lnTo>
                      <a:lnTo>
                        <a:pt x="280" y="639"/>
                      </a:lnTo>
                      <a:lnTo>
                        <a:pt x="273" y="644"/>
                      </a:lnTo>
                      <a:lnTo>
                        <a:pt x="267" y="649"/>
                      </a:lnTo>
                      <a:lnTo>
                        <a:pt x="260" y="654"/>
                      </a:lnTo>
                      <a:lnTo>
                        <a:pt x="253" y="657"/>
                      </a:lnTo>
                      <a:lnTo>
                        <a:pt x="247" y="658"/>
                      </a:lnTo>
                      <a:lnTo>
                        <a:pt x="225" y="657"/>
                      </a:lnTo>
                      <a:lnTo>
                        <a:pt x="192" y="652"/>
                      </a:lnTo>
                      <a:lnTo>
                        <a:pt x="174" y="650"/>
                      </a:lnTo>
                      <a:lnTo>
                        <a:pt x="160" y="646"/>
                      </a:lnTo>
                      <a:lnTo>
                        <a:pt x="155" y="645"/>
                      </a:lnTo>
                      <a:lnTo>
                        <a:pt x="150" y="643"/>
                      </a:lnTo>
                      <a:lnTo>
                        <a:pt x="148" y="641"/>
                      </a:lnTo>
                      <a:lnTo>
                        <a:pt x="147" y="638"/>
                      </a:lnTo>
                      <a:lnTo>
                        <a:pt x="148" y="635"/>
                      </a:lnTo>
                      <a:lnTo>
                        <a:pt x="150" y="631"/>
                      </a:lnTo>
                      <a:lnTo>
                        <a:pt x="155" y="626"/>
                      </a:lnTo>
                      <a:lnTo>
                        <a:pt x="159" y="621"/>
                      </a:lnTo>
                      <a:lnTo>
                        <a:pt x="172" y="610"/>
                      </a:lnTo>
                      <a:lnTo>
                        <a:pt x="189" y="597"/>
                      </a:lnTo>
                      <a:lnTo>
                        <a:pt x="204" y="584"/>
                      </a:lnTo>
                      <a:lnTo>
                        <a:pt x="219" y="571"/>
                      </a:lnTo>
                      <a:lnTo>
                        <a:pt x="226" y="565"/>
                      </a:lnTo>
                      <a:lnTo>
                        <a:pt x="231" y="559"/>
                      </a:lnTo>
                      <a:lnTo>
                        <a:pt x="237" y="553"/>
                      </a:lnTo>
                      <a:lnTo>
                        <a:pt x="240" y="547"/>
                      </a:lnTo>
                      <a:lnTo>
                        <a:pt x="223" y="550"/>
                      </a:lnTo>
                      <a:lnTo>
                        <a:pt x="207" y="556"/>
                      </a:lnTo>
                      <a:lnTo>
                        <a:pt x="191" y="562"/>
                      </a:lnTo>
                      <a:lnTo>
                        <a:pt x="175" y="568"/>
                      </a:lnTo>
                      <a:lnTo>
                        <a:pt x="168" y="571"/>
                      </a:lnTo>
                      <a:lnTo>
                        <a:pt x="160" y="573"/>
                      </a:lnTo>
                      <a:lnTo>
                        <a:pt x="152" y="575"/>
                      </a:lnTo>
                      <a:lnTo>
                        <a:pt x="144" y="576"/>
                      </a:lnTo>
                      <a:lnTo>
                        <a:pt x="135" y="576"/>
                      </a:lnTo>
                      <a:lnTo>
                        <a:pt x="126" y="575"/>
                      </a:lnTo>
                      <a:lnTo>
                        <a:pt x="116" y="574"/>
                      </a:lnTo>
                      <a:lnTo>
                        <a:pt x="107" y="571"/>
                      </a:lnTo>
                      <a:lnTo>
                        <a:pt x="107" y="565"/>
                      </a:lnTo>
                      <a:lnTo>
                        <a:pt x="143" y="536"/>
                      </a:lnTo>
                      <a:lnTo>
                        <a:pt x="182" y="508"/>
                      </a:lnTo>
                      <a:lnTo>
                        <a:pt x="223" y="476"/>
                      </a:lnTo>
                      <a:lnTo>
                        <a:pt x="267" y="442"/>
                      </a:lnTo>
                      <a:lnTo>
                        <a:pt x="286" y="426"/>
                      </a:lnTo>
                      <a:lnTo>
                        <a:pt x="306" y="411"/>
                      </a:lnTo>
                      <a:lnTo>
                        <a:pt x="326" y="395"/>
                      </a:lnTo>
                      <a:lnTo>
                        <a:pt x="346" y="380"/>
                      </a:lnTo>
                      <a:lnTo>
                        <a:pt x="386" y="411"/>
                      </a:lnTo>
                      <a:lnTo>
                        <a:pt x="393" y="405"/>
                      </a:lnTo>
                      <a:lnTo>
                        <a:pt x="399" y="400"/>
                      </a:lnTo>
                      <a:lnTo>
                        <a:pt x="406" y="396"/>
                      </a:lnTo>
                      <a:lnTo>
                        <a:pt x="414" y="393"/>
                      </a:lnTo>
                      <a:lnTo>
                        <a:pt x="428" y="386"/>
                      </a:lnTo>
                      <a:lnTo>
                        <a:pt x="444" y="382"/>
                      </a:lnTo>
                      <a:lnTo>
                        <a:pt x="476" y="374"/>
                      </a:lnTo>
                      <a:lnTo>
                        <a:pt x="509" y="370"/>
                      </a:lnTo>
                      <a:lnTo>
                        <a:pt x="524" y="367"/>
                      </a:lnTo>
                      <a:lnTo>
                        <a:pt x="539" y="363"/>
                      </a:lnTo>
                      <a:lnTo>
                        <a:pt x="552" y="359"/>
                      </a:lnTo>
                      <a:lnTo>
                        <a:pt x="563" y="353"/>
                      </a:lnTo>
                      <a:lnTo>
                        <a:pt x="569" y="349"/>
                      </a:lnTo>
                      <a:lnTo>
                        <a:pt x="574" y="345"/>
                      </a:lnTo>
                      <a:lnTo>
                        <a:pt x="578" y="340"/>
                      </a:lnTo>
                      <a:lnTo>
                        <a:pt x="582" y="335"/>
                      </a:lnTo>
                      <a:lnTo>
                        <a:pt x="585" y="329"/>
                      </a:lnTo>
                      <a:lnTo>
                        <a:pt x="588" y="322"/>
                      </a:lnTo>
                      <a:lnTo>
                        <a:pt x="590" y="314"/>
                      </a:lnTo>
                      <a:lnTo>
                        <a:pt x="592" y="306"/>
                      </a:lnTo>
                      <a:lnTo>
                        <a:pt x="559" y="306"/>
                      </a:lnTo>
                      <a:lnTo>
                        <a:pt x="548" y="312"/>
                      </a:lnTo>
                      <a:lnTo>
                        <a:pt x="535" y="321"/>
                      </a:lnTo>
                      <a:lnTo>
                        <a:pt x="528" y="325"/>
                      </a:lnTo>
                      <a:lnTo>
                        <a:pt x="520" y="328"/>
                      </a:lnTo>
                      <a:lnTo>
                        <a:pt x="513" y="330"/>
                      </a:lnTo>
                      <a:lnTo>
                        <a:pt x="506" y="331"/>
                      </a:lnTo>
                      <a:lnTo>
                        <a:pt x="495" y="330"/>
                      </a:lnTo>
                      <a:lnTo>
                        <a:pt x="485" y="327"/>
                      </a:lnTo>
                      <a:lnTo>
                        <a:pt x="474" y="324"/>
                      </a:lnTo>
                      <a:lnTo>
                        <a:pt x="463" y="321"/>
                      </a:lnTo>
                      <a:lnTo>
                        <a:pt x="453" y="318"/>
                      </a:lnTo>
                      <a:lnTo>
                        <a:pt x="443" y="317"/>
                      </a:lnTo>
                      <a:lnTo>
                        <a:pt x="438" y="318"/>
                      </a:lnTo>
                      <a:lnTo>
                        <a:pt x="433" y="319"/>
                      </a:lnTo>
                      <a:lnTo>
                        <a:pt x="430" y="322"/>
                      </a:lnTo>
                      <a:lnTo>
                        <a:pt x="426" y="325"/>
                      </a:lnTo>
                      <a:lnTo>
                        <a:pt x="432" y="316"/>
                      </a:lnTo>
                      <a:lnTo>
                        <a:pt x="443" y="307"/>
                      </a:lnTo>
                      <a:lnTo>
                        <a:pt x="457" y="297"/>
                      </a:lnTo>
                      <a:lnTo>
                        <a:pt x="472" y="287"/>
                      </a:lnTo>
                      <a:lnTo>
                        <a:pt x="506" y="265"/>
                      </a:lnTo>
                      <a:lnTo>
                        <a:pt x="539" y="244"/>
                      </a:lnTo>
                      <a:lnTo>
                        <a:pt x="698" y="250"/>
                      </a:lnTo>
                      <a:lnTo>
                        <a:pt x="701" y="246"/>
                      </a:lnTo>
                      <a:lnTo>
                        <a:pt x="704" y="243"/>
                      </a:lnTo>
                      <a:lnTo>
                        <a:pt x="708" y="240"/>
                      </a:lnTo>
                      <a:lnTo>
                        <a:pt x="711" y="238"/>
                      </a:lnTo>
                      <a:lnTo>
                        <a:pt x="719" y="236"/>
                      </a:lnTo>
                      <a:lnTo>
                        <a:pt x="728" y="234"/>
                      </a:lnTo>
                      <a:lnTo>
                        <a:pt x="745" y="234"/>
                      </a:lnTo>
                      <a:lnTo>
                        <a:pt x="758" y="232"/>
                      </a:lnTo>
                      <a:lnTo>
                        <a:pt x="756" y="224"/>
                      </a:lnTo>
                      <a:lnTo>
                        <a:pt x="753" y="216"/>
                      </a:lnTo>
                      <a:lnTo>
                        <a:pt x="749" y="210"/>
                      </a:lnTo>
                      <a:lnTo>
                        <a:pt x="742" y="204"/>
                      </a:lnTo>
                      <a:lnTo>
                        <a:pt x="737" y="199"/>
                      </a:lnTo>
                      <a:lnTo>
                        <a:pt x="729" y="195"/>
                      </a:lnTo>
                      <a:lnTo>
                        <a:pt x="721" y="191"/>
                      </a:lnTo>
                      <a:lnTo>
                        <a:pt x="713" y="188"/>
                      </a:lnTo>
                      <a:lnTo>
                        <a:pt x="698" y="182"/>
                      </a:lnTo>
                      <a:lnTo>
                        <a:pt x="684" y="176"/>
                      </a:lnTo>
                      <a:lnTo>
                        <a:pt x="678" y="172"/>
                      </a:lnTo>
                      <a:lnTo>
                        <a:pt x="673" y="168"/>
                      </a:lnTo>
                      <a:lnTo>
                        <a:pt x="668" y="164"/>
                      </a:lnTo>
                      <a:lnTo>
                        <a:pt x="665" y="159"/>
                      </a:lnTo>
                      <a:lnTo>
                        <a:pt x="687" y="143"/>
                      </a:lnTo>
                      <a:lnTo>
                        <a:pt x="712" y="127"/>
                      </a:lnTo>
                      <a:lnTo>
                        <a:pt x="739" y="109"/>
                      </a:lnTo>
                      <a:lnTo>
                        <a:pt x="765" y="90"/>
                      </a:lnTo>
                      <a:lnTo>
                        <a:pt x="812" y="78"/>
                      </a:lnTo>
                      <a:lnTo>
                        <a:pt x="858" y="65"/>
                      </a:lnTo>
                      <a:lnTo>
                        <a:pt x="902" y="52"/>
                      </a:lnTo>
                      <a:lnTo>
                        <a:pt x="945" y="38"/>
                      </a:lnTo>
                      <a:lnTo>
                        <a:pt x="966" y="33"/>
                      </a:lnTo>
                      <a:lnTo>
                        <a:pt x="988" y="27"/>
                      </a:lnTo>
                      <a:lnTo>
                        <a:pt x="1010" y="22"/>
                      </a:lnTo>
                      <a:lnTo>
                        <a:pt x="1033" y="18"/>
                      </a:lnTo>
                      <a:lnTo>
                        <a:pt x="1056" y="15"/>
                      </a:lnTo>
                      <a:lnTo>
                        <a:pt x="1080" y="12"/>
                      </a:lnTo>
                      <a:lnTo>
                        <a:pt x="1104" y="11"/>
                      </a:lnTo>
                      <a:lnTo>
                        <a:pt x="1130" y="10"/>
                      </a:lnTo>
                      <a:lnTo>
                        <a:pt x="1157" y="9"/>
                      </a:lnTo>
                      <a:lnTo>
                        <a:pt x="1176" y="7"/>
                      </a:lnTo>
                      <a:lnTo>
                        <a:pt x="1192" y="5"/>
                      </a:lnTo>
                      <a:lnTo>
                        <a:pt x="1216" y="4"/>
                      </a:lnTo>
                      <a:lnTo>
                        <a:pt x="1241" y="3"/>
                      </a:lnTo>
                      <a:lnTo>
                        <a:pt x="1262" y="0"/>
                      </a:lnTo>
                      <a:lnTo>
                        <a:pt x="1270" y="0"/>
                      </a:lnTo>
                      <a:lnTo>
                        <a:pt x="1277" y="2"/>
                      </a:lnTo>
                      <a:lnTo>
                        <a:pt x="1280" y="3"/>
                      </a:lnTo>
                      <a:lnTo>
                        <a:pt x="1281" y="5"/>
                      </a:lnTo>
                      <a:lnTo>
                        <a:pt x="1282" y="7"/>
                      </a:lnTo>
                      <a:lnTo>
                        <a:pt x="1283" y="10"/>
                      </a:lnTo>
                      <a:lnTo>
                        <a:pt x="1306" y="10"/>
                      </a:lnTo>
                      <a:lnTo>
                        <a:pt x="1333" y="10"/>
                      </a:lnTo>
                      <a:lnTo>
                        <a:pt x="1354" y="10"/>
                      </a:lnTo>
                      <a:lnTo>
                        <a:pt x="1362" y="10"/>
                      </a:lnTo>
                      <a:lnTo>
                        <a:pt x="1380" y="11"/>
                      </a:lnTo>
                      <a:lnTo>
                        <a:pt x="1399" y="12"/>
                      </a:lnTo>
                      <a:lnTo>
                        <a:pt x="1417" y="15"/>
                      </a:lnTo>
                      <a:lnTo>
                        <a:pt x="1437" y="18"/>
                      </a:lnTo>
                      <a:lnTo>
                        <a:pt x="1475" y="26"/>
                      </a:lnTo>
                      <a:lnTo>
                        <a:pt x="1516" y="34"/>
                      </a:lnTo>
                      <a:lnTo>
                        <a:pt x="1557" y="44"/>
                      </a:lnTo>
                      <a:lnTo>
                        <a:pt x="1597" y="52"/>
                      </a:lnTo>
                      <a:lnTo>
                        <a:pt x="1617" y="55"/>
                      </a:lnTo>
                      <a:lnTo>
                        <a:pt x="1637" y="58"/>
                      </a:lnTo>
                      <a:lnTo>
                        <a:pt x="1656" y="59"/>
                      </a:lnTo>
                      <a:lnTo>
                        <a:pt x="1675" y="60"/>
                      </a:lnTo>
                      <a:lnTo>
                        <a:pt x="1761" y="41"/>
                      </a:lnTo>
                      <a:lnTo>
                        <a:pt x="1772" y="46"/>
                      </a:lnTo>
                      <a:lnTo>
                        <a:pt x="1784" y="51"/>
                      </a:lnTo>
                      <a:lnTo>
                        <a:pt x="1797" y="55"/>
                      </a:lnTo>
                      <a:lnTo>
                        <a:pt x="1808" y="60"/>
                      </a:lnTo>
                      <a:lnTo>
                        <a:pt x="1223" y="540"/>
                      </a:lnTo>
                      <a:lnTo>
                        <a:pt x="1258" y="540"/>
                      </a:lnTo>
                      <a:lnTo>
                        <a:pt x="1287" y="540"/>
                      </a:lnTo>
                      <a:lnTo>
                        <a:pt x="1309" y="540"/>
                      </a:lnTo>
                      <a:lnTo>
                        <a:pt x="1329" y="540"/>
                      </a:lnTo>
                      <a:lnTo>
                        <a:pt x="1328" y="547"/>
                      </a:lnTo>
                      <a:lnTo>
                        <a:pt x="1327" y="553"/>
                      </a:lnTo>
                      <a:lnTo>
                        <a:pt x="1325" y="559"/>
                      </a:lnTo>
                      <a:lnTo>
                        <a:pt x="1323" y="565"/>
                      </a:lnTo>
                      <a:lnTo>
                        <a:pt x="1321" y="571"/>
                      </a:lnTo>
                      <a:lnTo>
                        <a:pt x="1318" y="576"/>
                      </a:lnTo>
                      <a:lnTo>
                        <a:pt x="1316" y="583"/>
                      </a:lnTo>
                      <a:lnTo>
                        <a:pt x="1316" y="589"/>
                      </a:lnTo>
                      <a:lnTo>
                        <a:pt x="1317" y="592"/>
                      </a:lnTo>
                      <a:lnTo>
                        <a:pt x="1320" y="595"/>
                      </a:lnTo>
                      <a:lnTo>
                        <a:pt x="1323" y="599"/>
                      </a:lnTo>
                      <a:lnTo>
                        <a:pt x="1327" y="601"/>
                      </a:lnTo>
                      <a:lnTo>
                        <a:pt x="1336" y="606"/>
                      </a:lnTo>
                      <a:lnTo>
                        <a:pt x="1343" y="608"/>
                      </a:lnTo>
                      <a:lnTo>
                        <a:pt x="1351" y="608"/>
                      </a:lnTo>
                      <a:lnTo>
                        <a:pt x="1358" y="607"/>
                      </a:lnTo>
                      <a:lnTo>
                        <a:pt x="1365" y="605"/>
                      </a:lnTo>
                      <a:lnTo>
                        <a:pt x="1371" y="604"/>
                      </a:lnTo>
                      <a:lnTo>
                        <a:pt x="1382" y="599"/>
                      </a:lnTo>
                      <a:lnTo>
                        <a:pt x="1391" y="592"/>
                      </a:lnTo>
                      <a:lnTo>
                        <a:pt x="1400" y="587"/>
                      </a:lnTo>
                      <a:lnTo>
                        <a:pt x="1409" y="582"/>
                      </a:lnTo>
                      <a:lnTo>
                        <a:pt x="1413" y="580"/>
                      </a:lnTo>
                      <a:lnTo>
                        <a:pt x="1417" y="578"/>
                      </a:lnTo>
                      <a:lnTo>
                        <a:pt x="1423" y="577"/>
                      </a:lnTo>
                      <a:lnTo>
                        <a:pt x="1429" y="577"/>
                      </a:lnTo>
                      <a:lnTo>
                        <a:pt x="1441" y="596"/>
                      </a:lnTo>
                      <a:lnTo>
                        <a:pt x="1457" y="617"/>
                      </a:lnTo>
                      <a:lnTo>
                        <a:pt x="1465" y="629"/>
                      </a:lnTo>
                      <a:lnTo>
                        <a:pt x="1470" y="643"/>
                      </a:lnTo>
                      <a:lnTo>
                        <a:pt x="1472" y="650"/>
                      </a:lnTo>
                      <a:lnTo>
                        <a:pt x="1474" y="659"/>
                      </a:lnTo>
                      <a:lnTo>
                        <a:pt x="1475" y="667"/>
                      </a:lnTo>
                      <a:lnTo>
                        <a:pt x="1475" y="676"/>
                      </a:lnTo>
                      <a:lnTo>
                        <a:pt x="1475" y="681"/>
                      </a:lnTo>
                      <a:lnTo>
                        <a:pt x="1474" y="686"/>
                      </a:lnTo>
                      <a:lnTo>
                        <a:pt x="1473" y="690"/>
                      </a:lnTo>
                      <a:lnTo>
                        <a:pt x="1471" y="694"/>
                      </a:lnTo>
                      <a:lnTo>
                        <a:pt x="1467" y="700"/>
                      </a:lnTo>
                      <a:lnTo>
                        <a:pt x="1462" y="706"/>
                      </a:lnTo>
                      <a:lnTo>
                        <a:pt x="1457" y="713"/>
                      </a:lnTo>
                      <a:lnTo>
                        <a:pt x="1454" y="719"/>
                      </a:lnTo>
                      <a:lnTo>
                        <a:pt x="1451" y="723"/>
                      </a:lnTo>
                      <a:lnTo>
                        <a:pt x="1450" y="727"/>
                      </a:lnTo>
                      <a:lnTo>
                        <a:pt x="1449" y="732"/>
                      </a:lnTo>
                      <a:lnTo>
                        <a:pt x="1449" y="737"/>
                      </a:lnTo>
                      <a:lnTo>
                        <a:pt x="1449" y="742"/>
                      </a:lnTo>
                      <a:lnTo>
                        <a:pt x="1450" y="746"/>
                      </a:lnTo>
                      <a:lnTo>
                        <a:pt x="1452" y="750"/>
                      </a:lnTo>
                      <a:lnTo>
                        <a:pt x="1455" y="754"/>
                      </a:lnTo>
                      <a:lnTo>
                        <a:pt x="1459" y="761"/>
                      </a:lnTo>
                      <a:lnTo>
                        <a:pt x="1466" y="769"/>
                      </a:lnTo>
                      <a:lnTo>
                        <a:pt x="1471" y="775"/>
                      </a:lnTo>
                      <a:lnTo>
                        <a:pt x="1477" y="783"/>
                      </a:lnTo>
                      <a:lnTo>
                        <a:pt x="1479" y="786"/>
                      </a:lnTo>
                      <a:lnTo>
                        <a:pt x="1481" y="790"/>
                      </a:lnTo>
                      <a:lnTo>
                        <a:pt x="1482" y="794"/>
                      </a:lnTo>
                      <a:lnTo>
                        <a:pt x="1482" y="799"/>
                      </a:lnTo>
                      <a:lnTo>
                        <a:pt x="1482" y="802"/>
                      </a:lnTo>
                      <a:lnTo>
                        <a:pt x="1480" y="807"/>
                      </a:lnTo>
                      <a:lnTo>
                        <a:pt x="1477" y="811"/>
                      </a:lnTo>
                      <a:lnTo>
                        <a:pt x="1473" y="816"/>
                      </a:lnTo>
                      <a:lnTo>
                        <a:pt x="1463" y="826"/>
                      </a:lnTo>
                      <a:lnTo>
                        <a:pt x="1452" y="835"/>
                      </a:lnTo>
                      <a:lnTo>
                        <a:pt x="1446" y="839"/>
                      </a:lnTo>
                      <a:lnTo>
                        <a:pt x="1439" y="843"/>
                      </a:lnTo>
                      <a:lnTo>
                        <a:pt x="1433" y="846"/>
                      </a:lnTo>
                      <a:lnTo>
                        <a:pt x="1426" y="848"/>
                      </a:lnTo>
                      <a:lnTo>
                        <a:pt x="1419" y="850"/>
                      </a:lnTo>
                      <a:lnTo>
                        <a:pt x="1414" y="850"/>
                      </a:lnTo>
                      <a:lnTo>
                        <a:pt x="1407" y="850"/>
                      </a:lnTo>
                      <a:lnTo>
                        <a:pt x="1402" y="848"/>
                      </a:lnTo>
                      <a:lnTo>
                        <a:pt x="1410" y="842"/>
                      </a:ln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6" name="Freeform 6">
                  <a:extLst>
                    <a:ext uri="{FF2B5EF4-FFF2-40B4-BE49-F238E27FC236}">
                      <a16:creationId xmlns:a16="http://schemas.microsoft.com/office/drawing/2014/main" xmlns="" id="{D57BFD21-8FC2-4242-AA19-37CD491FDE70}"/>
                    </a:ext>
                  </a:extLst>
                </p:cNvPr>
                <p:cNvSpPr>
                  <a:spLocks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1138238" y="2111375"/>
                  <a:ext cx="1381125" cy="769938"/>
                </a:xfrm>
                <a:custGeom>
                  <a:avLst/>
                  <a:gdLst>
                    <a:gd name="T0" fmla="*/ 2147483646 w 3175"/>
                    <a:gd name="T1" fmla="*/ 2147483646 h 1472"/>
                    <a:gd name="T2" fmla="*/ 2147483646 w 3175"/>
                    <a:gd name="T3" fmla="*/ 2147483646 h 1472"/>
                    <a:gd name="T4" fmla="*/ 2147483646 w 3175"/>
                    <a:gd name="T5" fmla="*/ 2147483646 h 1472"/>
                    <a:gd name="T6" fmla="*/ 2147483646 w 3175"/>
                    <a:gd name="T7" fmla="*/ 2147483646 h 1472"/>
                    <a:gd name="T8" fmla="*/ 2147483646 w 3175"/>
                    <a:gd name="T9" fmla="*/ 2147483646 h 1472"/>
                    <a:gd name="T10" fmla="*/ 2147483646 w 3175"/>
                    <a:gd name="T11" fmla="*/ 2147483646 h 1472"/>
                    <a:gd name="T12" fmla="*/ 2147483646 w 3175"/>
                    <a:gd name="T13" fmla="*/ 2147483646 h 1472"/>
                    <a:gd name="T14" fmla="*/ 2147483646 w 3175"/>
                    <a:gd name="T15" fmla="*/ 2147483646 h 1472"/>
                    <a:gd name="T16" fmla="*/ 2147483646 w 3175"/>
                    <a:gd name="T17" fmla="*/ 2147483646 h 1472"/>
                    <a:gd name="T18" fmla="*/ 2147483646 w 3175"/>
                    <a:gd name="T19" fmla="*/ 2147483646 h 1472"/>
                    <a:gd name="T20" fmla="*/ 2147483646 w 3175"/>
                    <a:gd name="T21" fmla="*/ 2147483646 h 1472"/>
                    <a:gd name="T22" fmla="*/ 2147483646 w 3175"/>
                    <a:gd name="T23" fmla="*/ 2147483646 h 1472"/>
                    <a:gd name="T24" fmla="*/ 2147483646 w 3175"/>
                    <a:gd name="T25" fmla="*/ 2147483646 h 1472"/>
                    <a:gd name="T26" fmla="*/ 2147483646 w 3175"/>
                    <a:gd name="T27" fmla="*/ 2147483646 h 1472"/>
                    <a:gd name="T28" fmla="*/ 2147483646 w 3175"/>
                    <a:gd name="T29" fmla="*/ 2147483646 h 1472"/>
                    <a:gd name="T30" fmla="*/ 2147483646 w 3175"/>
                    <a:gd name="T31" fmla="*/ 2147483646 h 1472"/>
                    <a:gd name="T32" fmla="*/ 2147483646 w 3175"/>
                    <a:gd name="T33" fmla="*/ 2147483646 h 1472"/>
                    <a:gd name="T34" fmla="*/ 2147483646 w 3175"/>
                    <a:gd name="T35" fmla="*/ 2147483646 h 1472"/>
                    <a:gd name="T36" fmla="*/ 2147483646 w 3175"/>
                    <a:gd name="T37" fmla="*/ 2147483646 h 1472"/>
                    <a:gd name="T38" fmla="*/ 2147483646 w 3175"/>
                    <a:gd name="T39" fmla="*/ 2147483646 h 1472"/>
                    <a:gd name="T40" fmla="*/ 2147483646 w 3175"/>
                    <a:gd name="T41" fmla="*/ 2147483646 h 1472"/>
                    <a:gd name="T42" fmla="*/ 2147483646 w 3175"/>
                    <a:gd name="T43" fmla="*/ 2147483646 h 1472"/>
                    <a:gd name="T44" fmla="*/ 2147483646 w 3175"/>
                    <a:gd name="T45" fmla="*/ 2147483646 h 1472"/>
                    <a:gd name="T46" fmla="*/ 2147483646 w 3175"/>
                    <a:gd name="T47" fmla="*/ 2147483646 h 1472"/>
                    <a:gd name="T48" fmla="*/ 2147483646 w 3175"/>
                    <a:gd name="T49" fmla="*/ 2147483646 h 1472"/>
                    <a:gd name="T50" fmla="*/ 2147483646 w 3175"/>
                    <a:gd name="T51" fmla="*/ 2147483646 h 1472"/>
                    <a:gd name="T52" fmla="*/ 2147483646 w 3175"/>
                    <a:gd name="T53" fmla="*/ 2147483646 h 1472"/>
                    <a:gd name="T54" fmla="*/ 2147483646 w 3175"/>
                    <a:gd name="T55" fmla="*/ 2147483646 h 1472"/>
                    <a:gd name="T56" fmla="*/ 2147483646 w 3175"/>
                    <a:gd name="T57" fmla="*/ 2147483646 h 1472"/>
                    <a:gd name="T58" fmla="*/ 2147483646 w 3175"/>
                    <a:gd name="T59" fmla="*/ 2147483646 h 1472"/>
                    <a:gd name="T60" fmla="*/ 2147483646 w 3175"/>
                    <a:gd name="T61" fmla="*/ 2147483646 h 1472"/>
                    <a:gd name="T62" fmla="*/ 2147483646 w 3175"/>
                    <a:gd name="T63" fmla="*/ 2147483646 h 1472"/>
                    <a:gd name="T64" fmla="*/ 2147483646 w 3175"/>
                    <a:gd name="T65" fmla="*/ 2147483646 h 1472"/>
                    <a:gd name="T66" fmla="*/ 2147483646 w 3175"/>
                    <a:gd name="T67" fmla="*/ 2147483646 h 1472"/>
                    <a:gd name="T68" fmla="*/ 2147483646 w 3175"/>
                    <a:gd name="T69" fmla="*/ 2147483646 h 1472"/>
                    <a:gd name="T70" fmla="*/ 0 w 3175"/>
                    <a:gd name="T71" fmla="*/ 2147483646 h 1472"/>
                    <a:gd name="T72" fmla="*/ 2147483646 w 3175"/>
                    <a:gd name="T73" fmla="*/ 2147483646 h 1472"/>
                    <a:gd name="T74" fmla="*/ 2147483646 w 3175"/>
                    <a:gd name="T75" fmla="*/ 2147483646 h 1472"/>
                    <a:gd name="T76" fmla="*/ 2147483646 w 3175"/>
                    <a:gd name="T77" fmla="*/ 2147483646 h 1472"/>
                    <a:gd name="T78" fmla="*/ 2147483646 w 3175"/>
                    <a:gd name="T79" fmla="*/ 2147483646 h 1472"/>
                    <a:gd name="T80" fmla="*/ 2147483646 w 3175"/>
                    <a:gd name="T81" fmla="*/ 0 h 1472"/>
                    <a:gd name="T82" fmla="*/ 2147483646 w 3175"/>
                    <a:gd name="T83" fmla="*/ 2147483646 h 1472"/>
                    <a:gd name="T84" fmla="*/ 2147483646 w 3175"/>
                    <a:gd name="T85" fmla="*/ 2147483646 h 1472"/>
                    <a:gd name="T86" fmla="*/ 2147483646 w 3175"/>
                    <a:gd name="T87" fmla="*/ 2147483646 h 1472"/>
                    <a:gd name="T88" fmla="*/ 2147483646 w 3175"/>
                    <a:gd name="T89" fmla="*/ 2147483646 h 1472"/>
                    <a:gd name="T90" fmla="*/ 2147483646 w 3175"/>
                    <a:gd name="T91" fmla="*/ 2147483646 h 1472"/>
                    <a:gd name="T92" fmla="*/ 2147483646 w 3175"/>
                    <a:gd name="T93" fmla="*/ 2147483646 h 1472"/>
                    <a:gd name="T94" fmla="*/ 2147483646 w 3175"/>
                    <a:gd name="T95" fmla="*/ 2147483646 h 1472"/>
                    <a:gd name="T96" fmla="*/ 2147483646 w 3175"/>
                    <a:gd name="T97" fmla="*/ 2147483646 h 1472"/>
                    <a:gd name="T98" fmla="*/ 2147483646 w 3175"/>
                    <a:gd name="T99" fmla="*/ 2147483646 h 1472"/>
                    <a:gd name="T100" fmla="*/ 2147483646 w 3175"/>
                    <a:gd name="T101" fmla="*/ 2147483646 h 1472"/>
                    <a:gd name="T102" fmla="*/ 2147483646 w 3175"/>
                    <a:gd name="T103" fmla="*/ 2147483646 h 1472"/>
                    <a:gd name="T104" fmla="*/ 2147483646 w 3175"/>
                    <a:gd name="T105" fmla="*/ 2147483646 h 1472"/>
                    <a:gd name="T106" fmla="*/ 2147483646 w 3175"/>
                    <a:gd name="T107" fmla="*/ 2147483646 h 1472"/>
                    <a:gd name="T108" fmla="*/ 2147483646 w 3175"/>
                    <a:gd name="T109" fmla="*/ 2147483646 h 1472"/>
                    <a:gd name="T110" fmla="*/ 2147483646 w 3175"/>
                    <a:gd name="T111" fmla="*/ 2147483646 h 1472"/>
                    <a:gd name="T112" fmla="*/ 2147483646 w 3175"/>
                    <a:gd name="T113" fmla="*/ 2147483646 h 1472"/>
                    <a:gd name="T114" fmla="*/ 2147483646 w 3175"/>
                    <a:gd name="T115" fmla="*/ 2147483646 h 1472"/>
                    <a:gd name="T116" fmla="*/ 2147483646 w 3175"/>
                    <a:gd name="T117" fmla="*/ 2147483646 h 1472"/>
                    <a:gd name="T118" fmla="*/ 2147483646 w 3175"/>
                    <a:gd name="T119" fmla="*/ 2147483646 h 1472"/>
                    <a:gd name="T120" fmla="*/ 2147483646 w 3175"/>
                    <a:gd name="T121" fmla="*/ 2147483646 h 1472"/>
                    <a:gd name="T122" fmla="*/ 2147483646 w 3175"/>
                    <a:gd name="T123" fmla="*/ 2147483646 h 1472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175"/>
                    <a:gd name="T187" fmla="*/ 0 h 1472"/>
                    <a:gd name="T188" fmla="*/ 3175 w 3175"/>
                    <a:gd name="T189" fmla="*/ 1472 h 1472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175" h="1472">
                      <a:moveTo>
                        <a:pt x="3155" y="258"/>
                      </a:moveTo>
                      <a:lnTo>
                        <a:pt x="3129" y="270"/>
                      </a:lnTo>
                      <a:lnTo>
                        <a:pt x="3104" y="281"/>
                      </a:lnTo>
                      <a:lnTo>
                        <a:pt x="3079" y="291"/>
                      </a:lnTo>
                      <a:lnTo>
                        <a:pt x="3055" y="300"/>
                      </a:lnTo>
                      <a:lnTo>
                        <a:pt x="3032" y="309"/>
                      </a:lnTo>
                      <a:lnTo>
                        <a:pt x="3008" y="317"/>
                      </a:lnTo>
                      <a:lnTo>
                        <a:pt x="2983" y="326"/>
                      </a:lnTo>
                      <a:lnTo>
                        <a:pt x="2956" y="333"/>
                      </a:lnTo>
                      <a:lnTo>
                        <a:pt x="2948" y="337"/>
                      </a:lnTo>
                      <a:lnTo>
                        <a:pt x="2940" y="341"/>
                      </a:lnTo>
                      <a:lnTo>
                        <a:pt x="2933" y="347"/>
                      </a:lnTo>
                      <a:lnTo>
                        <a:pt x="2928" y="353"/>
                      </a:lnTo>
                      <a:lnTo>
                        <a:pt x="2917" y="366"/>
                      </a:lnTo>
                      <a:lnTo>
                        <a:pt x="2909" y="382"/>
                      </a:lnTo>
                      <a:lnTo>
                        <a:pt x="2900" y="397"/>
                      </a:lnTo>
                      <a:lnTo>
                        <a:pt x="2894" y="410"/>
                      </a:lnTo>
                      <a:lnTo>
                        <a:pt x="2889" y="416"/>
                      </a:lnTo>
                      <a:lnTo>
                        <a:pt x="2885" y="422"/>
                      </a:lnTo>
                      <a:lnTo>
                        <a:pt x="2881" y="427"/>
                      </a:lnTo>
                      <a:lnTo>
                        <a:pt x="2876" y="431"/>
                      </a:lnTo>
                      <a:lnTo>
                        <a:pt x="2876" y="436"/>
                      </a:lnTo>
                      <a:lnTo>
                        <a:pt x="2877" y="440"/>
                      </a:lnTo>
                      <a:lnTo>
                        <a:pt x="2880" y="445"/>
                      </a:lnTo>
                      <a:lnTo>
                        <a:pt x="2883" y="450"/>
                      </a:lnTo>
                      <a:lnTo>
                        <a:pt x="2896" y="440"/>
                      </a:lnTo>
                      <a:lnTo>
                        <a:pt x="2909" y="431"/>
                      </a:lnTo>
                      <a:lnTo>
                        <a:pt x="2910" y="438"/>
                      </a:lnTo>
                      <a:lnTo>
                        <a:pt x="2910" y="443"/>
                      </a:lnTo>
                      <a:lnTo>
                        <a:pt x="2909" y="448"/>
                      </a:lnTo>
                      <a:lnTo>
                        <a:pt x="2907" y="451"/>
                      </a:lnTo>
                      <a:lnTo>
                        <a:pt x="2905" y="455"/>
                      </a:lnTo>
                      <a:lnTo>
                        <a:pt x="2902" y="457"/>
                      </a:lnTo>
                      <a:lnTo>
                        <a:pt x="2898" y="459"/>
                      </a:lnTo>
                      <a:lnTo>
                        <a:pt x="2894" y="460"/>
                      </a:lnTo>
                      <a:lnTo>
                        <a:pt x="2883" y="462"/>
                      </a:lnTo>
                      <a:lnTo>
                        <a:pt x="2871" y="462"/>
                      </a:lnTo>
                      <a:lnTo>
                        <a:pt x="2858" y="462"/>
                      </a:lnTo>
                      <a:lnTo>
                        <a:pt x="2843" y="462"/>
                      </a:lnTo>
                      <a:lnTo>
                        <a:pt x="2820" y="463"/>
                      </a:lnTo>
                      <a:lnTo>
                        <a:pt x="2796" y="466"/>
                      </a:lnTo>
                      <a:lnTo>
                        <a:pt x="2773" y="470"/>
                      </a:lnTo>
                      <a:lnTo>
                        <a:pt x="2750" y="476"/>
                      </a:lnTo>
                      <a:lnTo>
                        <a:pt x="2728" y="483"/>
                      </a:lnTo>
                      <a:lnTo>
                        <a:pt x="2708" y="491"/>
                      </a:lnTo>
                      <a:lnTo>
                        <a:pt x="2691" y="498"/>
                      </a:lnTo>
                      <a:lnTo>
                        <a:pt x="2678" y="505"/>
                      </a:lnTo>
                      <a:lnTo>
                        <a:pt x="2678" y="542"/>
                      </a:lnTo>
                      <a:lnTo>
                        <a:pt x="2675" y="549"/>
                      </a:lnTo>
                      <a:lnTo>
                        <a:pt x="2673" y="555"/>
                      </a:lnTo>
                      <a:lnTo>
                        <a:pt x="2670" y="561"/>
                      </a:lnTo>
                      <a:lnTo>
                        <a:pt x="2667" y="566"/>
                      </a:lnTo>
                      <a:lnTo>
                        <a:pt x="2658" y="575"/>
                      </a:lnTo>
                      <a:lnTo>
                        <a:pt x="2649" y="584"/>
                      </a:lnTo>
                      <a:lnTo>
                        <a:pt x="2639" y="592"/>
                      </a:lnTo>
                      <a:lnTo>
                        <a:pt x="2628" y="602"/>
                      </a:lnTo>
                      <a:lnTo>
                        <a:pt x="2619" y="611"/>
                      </a:lnTo>
                      <a:lnTo>
                        <a:pt x="2611" y="622"/>
                      </a:lnTo>
                      <a:lnTo>
                        <a:pt x="2611" y="613"/>
                      </a:lnTo>
                      <a:lnTo>
                        <a:pt x="2611" y="604"/>
                      </a:lnTo>
                      <a:lnTo>
                        <a:pt x="2606" y="603"/>
                      </a:lnTo>
                      <a:lnTo>
                        <a:pt x="2602" y="600"/>
                      </a:lnTo>
                      <a:lnTo>
                        <a:pt x="2598" y="595"/>
                      </a:lnTo>
                      <a:lnTo>
                        <a:pt x="2596" y="590"/>
                      </a:lnTo>
                      <a:lnTo>
                        <a:pt x="2595" y="585"/>
                      </a:lnTo>
                      <a:lnTo>
                        <a:pt x="2595" y="580"/>
                      </a:lnTo>
                      <a:lnTo>
                        <a:pt x="2595" y="576"/>
                      </a:lnTo>
                      <a:lnTo>
                        <a:pt x="2597" y="573"/>
                      </a:lnTo>
                      <a:lnTo>
                        <a:pt x="2578" y="573"/>
                      </a:lnTo>
                      <a:lnTo>
                        <a:pt x="2575" y="587"/>
                      </a:lnTo>
                      <a:lnTo>
                        <a:pt x="2574" y="600"/>
                      </a:lnTo>
                      <a:lnTo>
                        <a:pt x="2574" y="610"/>
                      </a:lnTo>
                      <a:lnTo>
                        <a:pt x="2574" y="619"/>
                      </a:lnTo>
                      <a:lnTo>
                        <a:pt x="2577" y="633"/>
                      </a:lnTo>
                      <a:lnTo>
                        <a:pt x="2578" y="646"/>
                      </a:lnTo>
                      <a:lnTo>
                        <a:pt x="2577" y="658"/>
                      </a:lnTo>
                      <a:lnTo>
                        <a:pt x="2574" y="668"/>
                      </a:lnTo>
                      <a:lnTo>
                        <a:pt x="2570" y="677"/>
                      </a:lnTo>
                      <a:lnTo>
                        <a:pt x="2564" y="685"/>
                      </a:lnTo>
                      <a:lnTo>
                        <a:pt x="2559" y="693"/>
                      </a:lnTo>
                      <a:lnTo>
                        <a:pt x="2552" y="700"/>
                      </a:lnTo>
                      <a:lnTo>
                        <a:pt x="2545" y="707"/>
                      </a:lnTo>
                      <a:lnTo>
                        <a:pt x="2537" y="715"/>
                      </a:lnTo>
                      <a:lnTo>
                        <a:pt x="2538" y="684"/>
                      </a:lnTo>
                      <a:lnTo>
                        <a:pt x="2538" y="657"/>
                      </a:lnTo>
                      <a:lnTo>
                        <a:pt x="2540" y="630"/>
                      </a:lnTo>
                      <a:lnTo>
                        <a:pt x="2544" y="604"/>
                      </a:lnTo>
                      <a:lnTo>
                        <a:pt x="2535" y="607"/>
                      </a:lnTo>
                      <a:lnTo>
                        <a:pt x="2527" y="611"/>
                      </a:lnTo>
                      <a:lnTo>
                        <a:pt x="2519" y="615"/>
                      </a:lnTo>
                      <a:lnTo>
                        <a:pt x="2514" y="621"/>
                      </a:lnTo>
                      <a:lnTo>
                        <a:pt x="2510" y="628"/>
                      </a:lnTo>
                      <a:lnTo>
                        <a:pt x="2506" y="635"/>
                      </a:lnTo>
                      <a:lnTo>
                        <a:pt x="2505" y="643"/>
                      </a:lnTo>
                      <a:lnTo>
                        <a:pt x="2504" y="653"/>
                      </a:lnTo>
                      <a:lnTo>
                        <a:pt x="2491" y="653"/>
                      </a:lnTo>
                      <a:lnTo>
                        <a:pt x="2478" y="653"/>
                      </a:lnTo>
                      <a:lnTo>
                        <a:pt x="2478" y="658"/>
                      </a:lnTo>
                      <a:lnTo>
                        <a:pt x="2479" y="662"/>
                      </a:lnTo>
                      <a:lnTo>
                        <a:pt x="2480" y="666"/>
                      </a:lnTo>
                      <a:lnTo>
                        <a:pt x="2482" y="670"/>
                      </a:lnTo>
                      <a:lnTo>
                        <a:pt x="2486" y="678"/>
                      </a:lnTo>
                      <a:lnTo>
                        <a:pt x="2493" y="684"/>
                      </a:lnTo>
                      <a:lnTo>
                        <a:pt x="2499" y="690"/>
                      </a:lnTo>
                      <a:lnTo>
                        <a:pt x="2505" y="695"/>
                      </a:lnTo>
                      <a:lnTo>
                        <a:pt x="2512" y="699"/>
                      </a:lnTo>
                      <a:lnTo>
                        <a:pt x="2517" y="702"/>
                      </a:lnTo>
                      <a:lnTo>
                        <a:pt x="2517" y="727"/>
                      </a:lnTo>
                      <a:lnTo>
                        <a:pt x="2496" y="730"/>
                      </a:lnTo>
                      <a:lnTo>
                        <a:pt x="2479" y="730"/>
                      </a:lnTo>
                      <a:lnTo>
                        <a:pt x="2472" y="730"/>
                      </a:lnTo>
                      <a:lnTo>
                        <a:pt x="2466" y="730"/>
                      </a:lnTo>
                      <a:lnTo>
                        <a:pt x="2458" y="731"/>
                      </a:lnTo>
                      <a:lnTo>
                        <a:pt x="2451" y="733"/>
                      </a:lnTo>
                      <a:lnTo>
                        <a:pt x="2455" y="737"/>
                      </a:lnTo>
                      <a:lnTo>
                        <a:pt x="2459" y="741"/>
                      </a:lnTo>
                      <a:lnTo>
                        <a:pt x="2465" y="744"/>
                      </a:lnTo>
                      <a:lnTo>
                        <a:pt x="2471" y="747"/>
                      </a:lnTo>
                      <a:lnTo>
                        <a:pt x="2483" y="750"/>
                      </a:lnTo>
                      <a:lnTo>
                        <a:pt x="2491" y="751"/>
                      </a:lnTo>
                      <a:lnTo>
                        <a:pt x="2492" y="756"/>
                      </a:lnTo>
                      <a:lnTo>
                        <a:pt x="2493" y="760"/>
                      </a:lnTo>
                      <a:lnTo>
                        <a:pt x="2495" y="765"/>
                      </a:lnTo>
                      <a:lnTo>
                        <a:pt x="2499" y="769"/>
                      </a:lnTo>
                      <a:lnTo>
                        <a:pt x="2505" y="777"/>
                      </a:lnTo>
                      <a:lnTo>
                        <a:pt x="2511" y="782"/>
                      </a:lnTo>
                      <a:lnTo>
                        <a:pt x="2500" y="792"/>
                      </a:lnTo>
                      <a:lnTo>
                        <a:pt x="2489" y="802"/>
                      </a:lnTo>
                      <a:lnTo>
                        <a:pt x="2480" y="812"/>
                      </a:lnTo>
                      <a:lnTo>
                        <a:pt x="2471" y="823"/>
                      </a:lnTo>
                      <a:lnTo>
                        <a:pt x="2456" y="841"/>
                      </a:lnTo>
                      <a:lnTo>
                        <a:pt x="2441" y="859"/>
                      </a:lnTo>
                      <a:lnTo>
                        <a:pt x="2434" y="867"/>
                      </a:lnTo>
                      <a:lnTo>
                        <a:pt x="2425" y="876"/>
                      </a:lnTo>
                      <a:lnTo>
                        <a:pt x="2416" y="884"/>
                      </a:lnTo>
                      <a:lnTo>
                        <a:pt x="2406" y="892"/>
                      </a:lnTo>
                      <a:lnTo>
                        <a:pt x="2395" y="899"/>
                      </a:lnTo>
                      <a:lnTo>
                        <a:pt x="2382" y="905"/>
                      </a:lnTo>
                      <a:lnTo>
                        <a:pt x="2368" y="912"/>
                      </a:lnTo>
                      <a:lnTo>
                        <a:pt x="2351" y="917"/>
                      </a:lnTo>
                      <a:lnTo>
                        <a:pt x="2346" y="919"/>
                      </a:lnTo>
                      <a:lnTo>
                        <a:pt x="2339" y="923"/>
                      </a:lnTo>
                      <a:lnTo>
                        <a:pt x="2332" y="928"/>
                      </a:lnTo>
                      <a:lnTo>
                        <a:pt x="2324" y="935"/>
                      </a:lnTo>
                      <a:lnTo>
                        <a:pt x="2307" y="950"/>
                      </a:lnTo>
                      <a:lnTo>
                        <a:pt x="2289" y="967"/>
                      </a:lnTo>
                      <a:lnTo>
                        <a:pt x="2271" y="984"/>
                      </a:lnTo>
                      <a:lnTo>
                        <a:pt x="2255" y="999"/>
                      </a:lnTo>
                      <a:lnTo>
                        <a:pt x="2248" y="1006"/>
                      </a:lnTo>
                      <a:lnTo>
                        <a:pt x="2242" y="1011"/>
                      </a:lnTo>
                      <a:lnTo>
                        <a:pt x="2236" y="1014"/>
                      </a:lnTo>
                      <a:lnTo>
                        <a:pt x="2232" y="1016"/>
                      </a:lnTo>
                      <a:lnTo>
                        <a:pt x="2208" y="1025"/>
                      </a:lnTo>
                      <a:lnTo>
                        <a:pt x="2186" y="1034"/>
                      </a:lnTo>
                      <a:lnTo>
                        <a:pt x="2175" y="1039"/>
                      </a:lnTo>
                      <a:lnTo>
                        <a:pt x="2165" y="1045"/>
                      </a:lnTo>
                      <a:lnTo>
                        <a:pt x="2156" y="1051"/>
                      </a:lnTo>
                      <a:lnTo>
                        <a:pt x="2147" y="1057"/>
                      </a:lnTo>
                      <a:lnTo>
                        <a:pt x="2140" y="1064"/>
                      </a:lnTo>
                      <a:lnTo>
                        <a:pt x="2133" y="1072"/>
                      </a:lnTo>
                      <a:lnTo>
                        <a:pt x="2126" y="1080"/>
                      </a:lnTo>
                      <a:lnTo>
                        <a:pt x="2122" y="1090"/>
                      </a:lnTo>
                      <a:lnTo>
                        <a:pt x="2118" y="1101"/>
                      </a:lnTo>
                      <a:lnTo>
                        <a:pt x="2114" y="1113"/>
                      </a:lnTo>
                      <a:lnTo>
                        <a:pt x="2113" y="1125"/>
                      </a:lnTo>
                      <a:lnTo>
                        <a:pt x="2112" y="1139"/>
                      </a:lnTo>
                      <a:lnTo>
                        <a:pt x="2112" y="1151"/>
                      </a:lnTo>
                      <a:lnTo>
                        <a:pt x="2112" y="1174"/>
                      </a:lnTo>
                      <a:lnTo>
                        <a:pt x="2112" y="1195"/>
                      </a:lnTo>
                      <a:lnTo>
                        <a:pt x="2112" y="1207"/>
                      </a:lnTo>
                      <a:lnTo>
                        <a:pt x="2114" y="1223"/>
                      </a:lnTo>
                      <a:lnTo>
                        <a:pt x="2118" y="1240"/>
                      </a:lnTo>
                      <a:lnTo>
                        <a:pt x="2120" y="1249"/>
                      </a:lnTo>
                      <a:lnTo>
                        <a:pt x="2121" y="1259"/>
                      </a:lnTo>
                      <a:lnTo>
                        <a:pt x="2121" y="1270"/>
                      </a:lnTo>
                      <a:lnTo>
                        <a:pt x="2119" y="1281"/>
                      </a:lnTo>
                      <a:lnTo>
                        <a:pt x="2132" y="1343"/>
                      </a:lnTo>
                      <a:lnTo>
                        <a:pt x="2126" y="1379"/>
                      </a:lnTo>
                      <a:lnTo>
                        <a:pt x="2118" y="1417"/>
                      </a:lnTo>
                      <a:lnTo>
                        <a:pt x="2112" y="1435"/>
                      </a:lnTo>
                      <a:lnTo>
                        <a:pt x="2105" y="1450"/>
                      </a:lnTo>
                      <a:lnTo>
                        <a:pt x="2103" y="1457"/>
                      </a:lnTo>
                      <a:lnTo>
                        <a:pt x="2100" y="1463"/>
                      </a:lnTo>
                      <a:lnTo>
                        <a:pt x="2096" y="1468"/>
                      </a:lnTo>
                      <a:lnTo>
                        <a:pt x="2092" y="1472"/>
                      </a:lnTo>
                      <a:lnTo>
                        <a:pt x="2059" y="1472"/>
                      </a:lnTo>
                      <a:lnTo>
                        <a:pt x="2058" y="1464"/>
                      </a:lnTo>
                      <a:lnTo>
                        <a:pt x="2057" y="1456"/>
                      </a:lnTo>
                      <a:lnTo>
                        <a:pt x="2055" y="1450"/>
                      </a:lnTo>
                      <a:lnTo>
                        <a:pt x="2053" y="1445"/>
                      </a:lnTo>
                      <a:lnTo>
                        <a:pt x="2047" y="1437"/>
                      </a:lnTo>
                      <a:lnTo>
                        <a:pt x="2040" y="1430"/>
                      </a:lnTo>
                      <a:lnTo>
                        <a:pt x="2033" y="1425"/>
                      </a:lnTo>
                      <a:lnTo>
                        <a:pt x="2029" y="1418"/>
                      </a:lnTo>
                      <a:lnTo>
                        <a:pt x="2026" y="1414"/>
                      </a:lnTo>
                      <a:lnTo>
                        <a:pt x="2025" y="1410"/>
                      </a:lnTo>
                      <a:lnTo>
                        <a:pt x="2025" y="1405"/>
                      </a:lnTo>
                      <a:lnTo>
                        <a:pt x="2026" y="1398"/>
                      </a:lnTo>
                      <a:lnTo>
                        <a:pt x="2026" y="1373"/>
                      </a:lnTo>
                      <a:lnTo>
                        <a:pt x="2022" y="1373"/>
                      </a:lnTo>
                      <a:lnTo>
                        <a:pt x="2019" y="1372"/>
                      </a:lnTo>
                      <a:lnTo>
                        <a:pt x="2015" y="1370"/>
                      </a:lnTo>
                      <a:lnTo>
                        <a:pt x="2012" y="1367"/>
                      </a:lnTo>
                      <a:lnTo>
                        <a:pt x="2007" y="1361"/>
                      </a:lnTo>
                      <a:lnTo>
                        <a:pt x="2002" y="1353"/>
                      </a:lnTo>
                      <a:lnTo>
                        <a:pt x="1998" y="1344"/>
                      </a:lnTo>
                      <a:lnTo>
                        <a:pt x="1995" y="1335"/>
                      </a:lnTo>
                      <a:lnTo>
                        <a:pt x="1993" y="1326"/>
                      </a:lnTo>
                      <a:lnTo>
                        <a:pt x="1992" y="1318"/>
                      </a:lnTo>
                      <a:lnTo>
                        <a:pt x="1992" y="1298"/>
                      </a:lnTo>
                      <a:lnTo>
                        <a:pt x="1992" y="1281"/>
                      </a:lnTo>
                      <a:lnTo>
                        <a:pt x="1992" y="1265"/>
                      </a:lnTo>
                      <a:lnTo>
                        <a:pt x="1992" y="1244"/>
                      </a:lnTo>
                      <a:lnTo>
                        <a:pt x="1991" y="1234"/>
                      </a:lnTo>
                      <a:lnTo>
                        <a:pt x="1989" y="1224"/>
                      </a:lnTo>
                      <a:lnTo>
                        <a:pt x="1985" y="1212"/>
                      </a:lnTo>
                      <a:lnTo>
                        <a:pt x="1978" y="1201"/>
                      </a:lnTo>
                      <a:lnTo>
                        <a:pt x="1974" y="1196"/>
                      </a:lnTo>
                      <a:lnTo>
                        <a:pt x="1969" y="1191"/>
                      </a:lnTo>
                      <a:lnTo>
                        <a:pt x="1964" y="1187"/>
                      </a:lnTo>
                      <a:lnTo>
                        <a:pt x="1959" y="1184"/>
                      </a:lnTo>
                      <a:lnTo>
                        <a:pt x="1953" y="1181"/>
                      </a:lnTo>
                      <a:lnTo>
                        <a:pt x="1947" y="1178"/>
                      </a:lnTo>
                      <a:lnTo>
                        <a:pt x="1940" y="1177"/>
                      </a:lnTo>
                      <a:lnTo>
                        <a:pt x="1933" y="1177"/>
                      </a:lnTo>
                      <a:lnTo>
                        <a:pt x="1918" y="1177"/>
                      </a:lnTo>
                      <a:lnTo>
                        <a:pt x="1906" y="1177"/>
                      </a:lnTo>
                      <a:lnTo>
                        <a:pt x="1897" y="1177"/>
                      </a:lnTo>
                      <a:lnTo>
                        <a:pt x="1894" y="1177"/>
                      </a:lnTo>
                      <a:lnTo>
                        <a:pt x="1880" y="1176"/>
                      </a:lnTo>
                      <a:lnTo>
                        <a:pt x="1869" y="1175"/>
                      </a:lnTo>
                      <a:lnTo>
                        <a:pt x="1857" y="1173"/>
                      </a:lnTo>
                      <a:lnTo>
                        <a:pt x="1845" y="1171"/>
                      </a:lnTo>
                      <a:lnTo>
                        <a:pt x="1832" y="1168"/>
                      </a:lnTo>
                      <a:lnTo>
                        <a:pt x="1818" y="1166"/>
                      </a:lnTo>
                      <a:lnTo>
                        <a:pt x="1804" y="1165"/>
                      </a:lnTo>
                      <a:lnTo>
                        <a:pt x="1787" y="1164"/>
                      </a:lnTo>
                      <a:lnTo>
                        <a:pt x="1773" y="1164"/>
                      </a:lnTo>
                      <a:lnTo>
                        <a:pt x="1762" y="1162"/>
                      </a:lnTo>
                      <a:lnTo>
                        <a:pt x="1753" y="1159"/>
                      </a:lnTo>
                      <a:lnTo>
                        <a:pt x="1745" y="1155"/>
                      </a:lnTo>
                      <a:lnTo>
                        <a:pt x="1738" y="1151"/>
                      </a:lnTo>
                      <a:lnTo>
                        <a:pt x="1731" y="1148"/>
                      </a:lnTo>
                      <a:lnTo>
                        <a:pt x="1722" y="1146"/>
                      </a:lnTo>
                      <a:lnTo>
                        <a:pt x="1713" y="1145"/>
                      </a:lnTo>
                      <a:lnTo>
                        <a:pt x="1688" y="1144"/>
                      </a:lnTo>
                      <a:lnTo>
                        <a:pt x="1653" y="1143"/>
                      </a:lnTo>
                      <a:lnTo>
                        <a:pt x="1644" y="1144"/>
                      </a:lnTo>
                      <a:lnTo>
                        <a:pt x="1636" y="1144"/>
                      </a:lnTo>
                      <a:lnTo>
                        <a:pt x="1628" y="1146"/>
                      </a:lnTo>
                      <a:lnTo>
                        <a:pt x="1621" y="1148"/>
                      </a:lnTo>
                      <a:lnTo>
                        <a:pt x="1616" y="1151"/>
                      </a:lnTo>
                      <a:lnTo>
                        <a:pt x="1611" y="1155"/>
                      </a:lnTo>
                      <a:lnTo>
                        <a:pt x="1608" y="1159"/>
                      </a:lnTo>
                      <a:lnTo>
                        <a:pt x="1607" y="1164"/>
                      </a:lnTo>
                      <a:lnTo>
                        <a:pt x="1608" y="1169"/>
                      </a:lnTo>
                      <a:lnTo>
                        <a:pt x="1608" y="1173"/>
                      </a:lnTo>
                      <a:lnTo>
                        <a:pt x="1610" y="1176"/>
                      </a:lnTo>
                      <a:lnTo>
                        <a:pt x="1611" y="1180"/>
                      </a:lnTo>
                      <a:lnTo>
                        <a:pt x="1616" y="1186"/>
                      </a:lnTo>
                      <a:lnTo>
                        <a:pt x="1621" y="1192"/>
                      </a:lnTo>
                      <a:lnTo>
                        <a:pt x="1627" y="1197"/>
                      </a:lnTo>
                      <a:lnTo>
                        <a:pt x="1632" y="1204"/>
                      </a:lnTo>
                      <a:lnTo>
                        <a:pt x="1638" y="1212"/>
                      </a:lnTo>
                      <a:lnTo>
                        <a:pt x="1641" y="1220"/>
                      </a:lnTo>
                      <a:lnTo>
                        <a:pt x="1628" y="1221"/>
                      </a:lnTo>
                      <a:lnTo>
                        <a:pt x="1615" y="1223"/>
                      </a:lnTo>
                      <a:lnTo>
                        <a:pt x="1601" y="1226"/>
                      </a:lnTo>
                      <a:lnTo>
                        <a:pt x="1589" y="1229"/>
                      </a:lnTo>
                      <a:lnTo>
                        <a:pt x="1577" y="1232"/>
                      </a:lnTo>
                      <a:lnTo>
                        <a:pt x="1565" y="1235"/>
                      </a:lnTo>
                      <a:lnTo>
                        <a:pt x="1555" y="1237"/>
                      </a:lnTo>
                      <a:lnTo>
                        <a:pt x="1548" y="1238"/>
                      </a:lnTo>
                      <a:lnTo>
                        <a:pt x="1544" y="1237"/>
                      </a:lnTo>
                      <a:lnTo>
                        <a:pt x="1539" y="1233"/>
                      </a:lnTo>
                      <a:lnTo>
                        <a:pt x="1533" y="1228"/>
                      </a:lnTo>
                      <a:lnTo>
                        <a:pt x="1528" y="1222"/>
                      </a:lnTo>
                      <a:lnTo>
                        <a:pt x="1516" y="1210"/>
                      </a:lnTo>
                      <a:lnTo>
                        <a:pt x="1508" y="1201"/>
                      </a:lnTo>
                      <a:lnTo>
                        <a:pt x="1474" y="1214"/>
                      </a:lnTo>
                      <a:lnTo>
                        <a:pt x="1468" y="1213"/>
                      </a:lnTo>
                      <a:lnTo>
                        <a:pt x="1461" y="1210"/>
                      </a:lnTo>
                      <a:lnTo>
                        <a:pt x="1454" y="1205"/>
                      </a:lnTo>
                      <a:lnTo>
                        <a:pt x="1448" y="1201"/>
                      </a:lnTo>
                      <a:lnTo>
                        <a:pt x="1441" y="1196"/>
                      </a:lnTo>
                      <a:lnTo>
                        <a:pt x="1436" y="1192"/>
                      </a:lnTo>
                      <a:lnTo>
                        <a:pt x="1428" y="1190"/>
                      </a:lnTo>
                      <a:lnTo>
                        <a:pt x="1421" y="1189"/>
                      </a:lnTo>
                      <a:lnTo>
                        <a:pt x="1406" y="1190"/>
                      </a:lnTo>
                      <a:lnTo>
                        <a:pt x="1390" y="1192"/>
                      </a:lnTo>
                      <a:lnTo>
                        <a:pt x="1372" y="1197"/>
                      </a:lnTo>
                      <a:lnTo>
                        <a:pt x="1354" y="1203"/>
                      </a:lnTo>
                      <a:lnTo>
                        <a:pt x="1337" y="1211"/>
                      </a:lnTo>
                      <a:lnTo>
                        <a:pt x="1318" y="1219"/>
                      </a:lnTo>
                      <a:lnTo>
                        <a:pt x="1301" y="1228"/>
                      </a:lnTo>
                      <a:lnTo>
                        <a:pt x="1283" y="1238"/>
                      </a:lnTo>
                      <a:lnTo>
                        <a:pt x="1265" y="1249"/>
                      </a:lnTo>
                      <a:lnTo>
                        <a:pt x="1248" y="1259"/>
                      </a:lnTo>
                      <a:lnTo>
                        <a:pt x="1231" y="1272"/>
                      </a:lnTo>
                      <a:lnTo>
                        <a:pt x="1217" y="1283"/>
                      </a:lnTo>
                      <a:lnTo>
                        <a:pt x="1203" y="1294"/>
                      </a:lnTo>
                      <a:lnTo>
                        <a:pt x="1190" y="1304"/>
                      </a:lnTo>
                      <a:lnTo>
                        <a:pt x="1179" y="1314"/>
                      </a:lnTo>
                      <a:lnTo>
                        <a:pt x="1169" y="1325"/>
                      </a:lnTo>
                      <a:lnTo>
                        <a:pt x="1166" y="1328"/>
                      </a:lnTo>
                      <a:lnTo>
                        <a:pt x="1163" y="1333"/>
                      </a:lnTo>
                      <a:lnTo>
                        <a:pt x="1162" y="1337"/>
                      </a:lnTo>
                      <a:lnTo>
                        <a:pt x="1161" y="1342"/>
                      </a:lnTo>
                      <a:lnTo>
                        <a:pt x="1161" y="1354"/>
                      </a:lnTo>
                      <a:lnTo>
                        <a:pt x="1161" y="1366"/>
                      </a:lnTo>
                      <a:lnTo>
                        <a:pt x="1161" y="1379"/>
                      </a:lnTo>
                      <a:lnTo>
                        <a:pt x="1160" y="1392"/>
                      </a:lnTo>
                      <a:lnTo>
                        <a:pt x="1159" y="1399"/>
                      </a:lnTo>
                      <a:lnTo>
                        <a:pt x="1157" y="1405"/>
                      </a:lnTo>
                      <a:lnTo>
                        <a:pt x="1153" y="1411"/>
                      </a:lnTo>
                      <a:lnTo>
                        <a:pt x="1149" y="1417"/>
                      </a:lnTo>
                      <a:lnTo>
                        <a:pt x="1143" y="1416"/>
                      </a:lnTo>
                      <a:lnTo>
                        <a:pt x="1136" y="1415"/>
                      </a:lnTo>
                      <a:lnTo>
                        <a:pt x="1129" y="1414"/>
                      </a:lnTo>
                      <a:lnTo>
                        <a:pt x="1124" y="1412"/>
                      </a:lnTo>
                      <a:lnTo>
                        <a:pt x="1111" y="1408"/>
                      </a:lnTo>
                      <a:lnTo>
                        <a:pt x="1100" y="1401"/>
                      </a:lnTo>
                      <a:lnTo>
                        <a:pt x="1090" y="1394"/>
                      </a:lnTo>
                      <a:lnTo>
                        <a:pt x="1082" y="1386"/>
                      </a:lnTo>
                      <a:lnTo>
                        <a:pt x="1080" y="1382"/>
                      </a:lnTo>
                      <a:lnTo>
                        <a:pt x="1078" y="1377"/>
                      </a:lnTo>
                      <a:lnTo>
                        <a:pt x="1077" y="1372"/>
                      </a:lnTo>
                      <a:lnTo>
                        <a:pt x="1076" y="1367"/>
                      </a:lnTo>
                      <a:lnTo>
                        <a:pt x="1076" y="1356"/>
                      </a:lnTo>
                      <a:lnTo>
                        <a:pt x="1074" y="1344"/>
                      </a:lnTo>
                      <a:lnTo>
                        <a:pt x="1072" y="1330"/>
                      </a:lnTo>
                      <a:lnTo>
                        <a:pt x="1070" y="1315"/>
                      </a:lnTo>
                      <a:lnTo>
                        <a:pt x="1066" y="1300"/>
                      </a:lnTo>
                      <a:lnTo>
                        <a:pt x="1061" y="1285"/>
                      </a:lnTo>
                      <a:lnTo>
                        <a:pt x="1057" y="1270"/>
                      </a:lnTo>
                      <a:lnTo>
                        <a:pt x="1051" y="1254"/>
                      </a:lnTo>
                      <a:lnTo>
                        <a:pt x="1044" y="1240"/>
                      </a:lnTo>
                      <a:lnTo>
                        <a:pt x="1037" y="1227"/>
                      </a:lnTo>
                      <a:lnTo>
                        <a:pt x="1028" y="1215"/>
                      </a:lnTo>
                      <a:lnTo>
                        <a:pt x="1020" y="1203"/>
                      </a:lnTo>
                      <a:lnTo>
                        <a:pt x="1015" y="1199"/>
                      </a:lnTo>
                      <a:lnTo>
                        <a:pt x="1010" y="1195"/>
                      </a:lnTo>
                      <a:lnTo>
                        <a:pt x="1005" y="1191"/>
                      </a:lnTo>
                      <a:lnTo>
                        <a:pt x="1000" y="1188"/>
                      </a:lnTo>
                      <a:lnTo>
                        <a:pt x="994" y="1186"/>
                      </a:lnTo>
                      <a:lnTo>
                        <a:pt x="988" y="1184"/>
                      </a:lnTo>
                      <a:lnTo>
                        <a:pt x="982" y="1183"/>
                      </a:lnTo>
                      <a:lnTo>
                        <a:pt x="977" y="1183"/>
                      </a:lnTo>
                      <a:lnTo>
                        <a:pt x="964" y="1183"/>
                      </a:lnTo>
                      <a:lnTo>
                        <a:pt x="951" y="1186"/>
                      </a:lnTo>
                      <a:lnTo>
                        <a:pt x="940" y="1190"/>
                      </a:lnTo>
                      <a:lnTo>
                        <a:pt x="931" y="1195"/>
                      </a:lnTo>
                      <a:lnTo>
                        <a:pt x="926" y="1199"/>
                      </a:lnTo>
                      <a:lnTo>
                        <a:pt x="922" y="1202"/>
                      </a:lnTo>
                      <a:lnTo>
                        <a:pt x="919" y="1206"/>
                      </a:lnTo>
                      <a:lnTo>
                        <a:pt x="915" y="1212"/>
                      </a:lnTo>
                      <a:lnTo>
                        <a:pt x="913" y="1216"/>
                      </a:lnTo>
                      <a:lnTo>
                        <a:pt x="911" y="1221"/>
                      </a:lnTo>
                      <a:lnTo>
                        <a:pt x="910" y="1227"/>
                      </a:lnTo>
                      <a:lnTo>
                        <a:pt x="910" y="1232"/>
                      </a:lnTo>
                      <a:lnTo>
                        <a:pt x="883" y="1232"/>
                      </a:lnTo>
                      <a:lnTo>
                        <a:pt x="878" y="1229"/>
                      </a:lnTo>
                      <a:lnTo>
                        <a:pt x="872" y="1225"/>
                      </a:lnTo>
                      <a:lnTo>
                        <a:pt x="867" y="1219"/>
                      </a:lnTo>
                      <a:lnTo>
                        <a:pt x="861" y="1212"/>
                      </a:lnTo>
                      <a:lnTo>
                        <a:pt x="850" y="1196"/>
                      </a:lnTo>
                      <a:lnTo>
                        <a:pt x="839" y="1179"/>
                      </a:lnTo>
                      <a:lnTo>
                        <a:pt x="830" y="1161"/>
                      </a:lnTo>
                      <a:lnTo>
                        <a:pt x="821" y="1144"/>
                      </a:lnTo>
                      <a:lnTo>
                        <a:pt x="814" y="1131"/>
                      </a:lnTo>
                      <a:lnTo>
                        <a:pt x="810" y="1121"/>
                      </a:lnTo>
                      <a:lnTo>
                        <a:pt x="805" y="1120"/>
                      </a:lnTo>
                      <a:lnTo>
                        <a:pt x="801" y="1118"/>
                      </a:lnTo>
                      <a:lnTo>
                        <a:pt x="798" y="1115"/>
                      </a:lnTo>
                      <a:lnTo>
                        <a:pt x="794" y="1111"/>
                      </a:lnTo>
                      <a:lnTo>
                        <a:pt x="789" y="1100"/>
                      </a:lnTo>
                      <a:lnTo>
                        <a:pt x="782" y="1087"/>
                      </a:lnTo>
                      <a:lnTo>
                        <a:pt x="779" y="1081"/>
                      </a:lnTo>
                      <a:lnTo>
                        <a:pt x="775" y="1075"/>
                      </a:lnTo>
                      <a:lnTo>
                        <a:pt x="770" y="1069"/>
                      </a:lnTo>
                      <a:lnTo>
                        <a:pt x="765" y="1064"/>
                      </a:lnTo>
                      <a:lnTo>
                        <a:pt x="757" y="1060"/>
                      </a:lnTo>
                      <a:lnTo>
                        <a:pt x="749" y="1056"/>
                      </a:lnTo>
                      <a:lnTo>
                        <a:pt x="741" y="1054"/>
                      </a:lnTo>
                      <a:lnTo>
                        <a:pt x="731" y="1054"/>
                      </a:lnTo>
                      <a:lnTo>
                        <a:pt x="718" y="1054"/>
                      </a:lnTo>
                      <a:lnTo>
                        <a:pt x="706" y="1055"/>
                      </a:lnTo>
                      <a:lnTo>
                        <a:pt x="696" y="1057"/>
                      </a:lnTo>
                      <a:lnTo>
                        <a:pt x="687" y="1059"/>
                      </a:lnTo>
                      <a:lnTo>
                        <a:pt x="670" y="1065"/>
                      </a:lnTo>
                      <a:lnTo>
                        <a:pt x="656" y="1072"/>
                      </a:lnTo>
                      <a:lnTo>
                        <a:pt x="642" y="1078"/>
                      </a:lnTo>
                      <a:lnTo>
                        <a:pt x="624" y="1084"/>
                      </a:lnTo>
                      <a:lnTo>
                        <a:pt x="615" y="1087"/>
                      </a:lnTo>
                      <a:lnTo>
                        <a:pt x="604" y="1088"/>
                      </a:lnTo>
                      <a:lnTo>
                        <a:pt x="591" y="1089"/>
                      </a:lnTo>
                      <a:lnTo>
                        <a:pt x="577" y="1090"/>
                      </a:lnTo>
                      <a:lnTo>
                        <a:pt x="555" y="1089"/>
                      </a:lnTo>
                      <a:lnTo>
                        <a:pt x="533" y="1086"/>
                      </a:lnTo>
                      <a:lnTo>
                        <a:pt x="514" y="1083"/>
                      </a:lnTo>
                      <a:lnTo>
                        <a:pt x="496" y="1078"/>
                      </a:lnTo>
                      <a:lnTo>
                        <a:pt x="478" y="1072"/>
                      </a:lnTo>
                      <a:lnTo>
                        <a:pt x="462" y="1065"/>
                      </a:lnTo>
                      <a:lnTo>
                        <a:pt x="445" y="1058"/>
                      </a:lnTo>
                      <a:lnTo>
                        <a:pt x="430" y="1051"/>
                      </a:lnTo>
                      <a:lnTo>
                        <a:pt x="415" y="1043"/>
                      </a:lnTo>
                      <a:lnTo>
                        <a:pt x="398" y="1035"/>
                      </a:lnTo>
                      <a:lnTo>
                        <a:pt x="383" y="1028"/>
                      </a:lnTo>
                      <a:lnTo>
                        <a:pt x="366" y="1023"/>
                      </a:lnTo>
                      <a:lnTo>
                        <a:pt x="350" y="1017"/>
                      </a:lnTo>
                      <a:lnTo>
                        <a:pt x="331" y="1014"/>
                      </a:lnTo>
                      <a:lnTo>
                        <a:pt x="312" y="1011"/>
                      </a:lnTo>
                      <a:lnTo>
                        <a:pt x="292" y="1010"/>
                      </a:lnTo>
                      <a:lnTo>
                        <a:pt x="263" y="1012"/>
                      </a:lnTo>
                      <a:lnTo>
                        <a:pt x="234" y="1015"/>
                      </a:lnTo>
                      <a:lnTo>
                        <a:pt x="220" y="1016"/>
                      </a:lnTo>
                      <a:lnTo>
                        <a:pt x="205" y="1015"/>
                      </a:lnTo>
                      <a:lnTo>
                        <a:pt x="189" y="1014"/>
                      </a:lnTo>
                      <a:lnTo>
                        <a:pt x="172" y="1010"/>
                      </a:lnTo>
                      <a:lnTo>
                        <a:pt x="173" y="998"/>
                      </a:lnTo>
                      <a:lnTo>
                        <a:pt x="175" y="988"/>
                      </a:lnTo>
                      <a:lnTo>
                        <a:pt x="175" y="982"/>
                      </a:lnTo>
                      <a:lnTo>
                        <a:pt x="175" y="979"/>
                      </a:lnTo>
                      <a:lnTo>
                        <a:pt x="174" y="975"/>
                      </a:lnTo>
                      <a:lnTo>
                        <a:pt x="172" y="973"/>
                      </a:lnTo>
                      <a:lnTo>
                        <a:pt x="141" y="952"/>
                      </a:lnTo>
                      <a:lnTo>
                        <a:pt x="107" y="931"/>
                      </a:lnTo>
                      <a:lnTo>
                        <a:pt x="97" y="925"/>
                      </a:lnTo>
                      <a:lnTo>
                        <a:pt x="88" y="920"/>
                      </a:lnTo>
                      <a:lnTo>
                        <a:pt x="79" y="916"/>
                      </a:lnTo>
                      <a:lnTo>
                        <a:pt x="69" y="912"/>
                      </a:lnTo>
                      <a:lnTo>
                        <a:pt x="59" y="909"/>
                      </a:lnTo>
                      <a:lnTo>
                        <a:pt x="48" y="907"/>
                      </a:lnTo>
                      <a:lnTo>
                        <a:pt x="37" y="906"/>
                      </a:lnTo>
                      <a:lnTo>
                        <a:pt x="26" y="905"/>
                      </a:lnTo>
                      <a:lnTo>
                        <a:pt x="27" y="899"/>
                      </a:lnTo>
                      <a:lnTo>
                        <a:pt x="28" y="893"/>
                      </a:lnTo>
                      <a:lnTo>
                        <a:pt x="30" y="888"/>
                      </a:lnTo>
                      <a:lnTo>
                        <a:pt x="32" y="883"/>
                      </a:lnTo>
                      <a:lnTo>
                        <a:pt x="37" y="874"/>
                      </a:lnTo>
                      <a:lnTo>
                        <a:pt x="39" y="868"/>
                      </a:lnTo>
                      <a:lnTo>
                        <a:pt x="39" y="848"/>
                      </a:lnTo>
                      <a:lnTo>
                        <a:pt x="36" y="826"/>
                      </a:lnTo>
                      <a:lnTo>
                        <a:pt x="32" y="801"/>
                      </a:lnTo>
                      <a:lnTo>
                        <a:pt x="29" y="777"/>
                      </a:lnTo>
                      <a:lnTo>
                        <a:pt x="24" y="752"/>
                      </a:lnTo>
                      <a:lnTo>
                        <a:pt x="19" y="729"/>
                      </a:lnTo>
                      <a:lnTo>
                        <a:pt x="16" y="707"/>
                      </a:lnTo>
                      <a:lnTo>
                        <a:pt x="13" y="690"/>
                      </a:lnTo>
                      <a:lnTo>
                        <a:pt x="17" y="687"/>
                      </a:lnTo>
                      <a:lnTo>
                        <a:pt x="25" y="680"/>
                      </a:lnTo>
                      <a:lnTo>
                        <a:pt x="28" y="675"/>
                      </a:lnTo>
                      <a:lnTo>
                        <a:pt x="29" y="669"/>
                      </a:lnTo>
                      <a:lnTo>
                        <a:pt x="30" y="666"/>
                      </a:lnTo>
                      <a:lnTo>
                        <a:pt x="29" y="662"/>
                      </a:lnTo>
                      <a:lnTo>
                        <a:pt x="28" y="658"/>
                      </a:lnTo>
                      <a:lnTo>
                        <a:pt x="26" y="653"/>
                      </a:lnTo>
                      <a:lnTo>
                        <a:pt x="21" y="658"/>
                      </a:lnTo>
                      <a:lnTo>
                        <a:pt x="16" y="663"/>
                      </a:lnTo>
                      <a:lnTo>
                        <a:pt x="12" y="669"/>
                      </a:lnTo>
                      <a:lnTo>
                        <a:pt x="6" y="677"/>
                      </a:lnTo>
                      <a:lnTo>
                        <a:pt x="4" y="672"/>
                      </a:lnTo>
                      <a:lnTo>
                        <a:pt x="3" y="667"/>
                      </a:lnTo>
                      <a:lnTo>
                        <a:pt x="2" y="660"/>
                      </a:lnTo>
                      <a:lnTo>
                        <a:pt x="1" y="653"/>
                      </a:lnTo>
                      <a:lnTo>
                        <a:pt x="0" y="639"/>
                      </a:lnTo>
                      <a:lnTo>
                        <a:pt x="0" y="628"/>
                      </a:lnTo>
                      <a:lnTo>
                        <a:pt x="0" y="604"/>
                      </a:lnTo>
                      <a:lnTo>
                        <a:pt x="2" y="581"/>
                      </a:lnTo>
                      <a:lnTo>
                        <a:pt x="3" y="570"/>
                      </a:lnTo>
                      <a:lnTo>
                        <a:pt x="5" y="558"/>
                      </a:lnTo>
                      <a:lnTo>
                        <a:pt x="8" y="545"/>
                      </a:lnTo>
                      <a:lnTo>
                        <a:pt x="13" y="529"/>
                      </a:lnTo>
                      <a:lnTo>
                        <a:pt x="26" y="514"/>
                      </a:lnTo>
                      <a:lnTo>
                        <a:pt x="38" y="499"/>
                      </a:lnTo>
                      <a:lnTo>
                        <a:pt x="50" y="482"/>
                      </a:lnTo>
                      <a:lnTo>
                        <a:pt x="61" y="467"/>
                      </a:lnTo>
                      <a:lnTo>
                        <a:pt x="81" y="434"/>
                      </a:lnTo>
                      <a:lnTo>
                        <a:pt x="101" y="401"/>
                      </a:lnTo>
                      <a:lnTo>
                        <a:pt x="119" y="368"/>
                      </a:lnTo>
                      <a:lnTo>
                        <a:pt x="141" y="336"/>
                      </a:lnTo>
                      <a:lnTo>
                        <a:pt x="152" y="321"/>
                      </a:lnTo>
                      <a:lnTo>
                        <a:pt x="164" y="305"/>
                      </a:lnTo>
                      <a:lnTo>
                        <a:pt x="177" y="291"/>
                      </a:lnTo>
                      <a:lnTo>
                        <a:pt x="193" y="277"/>
                      </a:lnTo>
                      <a:lnTo>
                        <a:pt x="198" y="271"/>
                      </a:lnTo>
                      <a:lnTo>
                        <a:pt x="204" y="265"/>
                      </a:lnTo>
                      <a:lnTo>
                        <a:pt x="208" y="257"/>
                      </a:lnTo>
                      <a:lnTo>
                        <a:pt x="213" y="250"/>
                      </a:lnTo>
                      <a:lnTo>
                        <a:pt x="219" y="234"/>
                      </a:lnTo>
                      <a:lnTo>
                        <a:pt x="227" y="218"/>
                      </a:lnTo>
                      <a:lnTo>
                        <a:pt x="233" y="200"/>
                      </a:lnTo>
                      <a:lnTo>
                        <a:pt x="242" y="184"/>
                      </a:lnTo>
                      <a:lnTo>
                        <a:pt x="247" y="176"/>
                      </a:lnTo>
                      <a:lnTo>
                        <a:pt x="252" y="169"/>
                      </a:lnTo>
                      <a:lnTo>
                        <a:pt x="259" y="161"/>
                      </a:lnTo>
                      <a:lnTo>
                        <a:pt x="265" y="154"/>
                      </a:lnTo>
                      <a:lnTo>
                        <a:pt x="266" y="131"/>
                      </a:lnTo>
                      <a:lnTo>
                        <a:pt x="270" y="109"/>
                      </a:lnTo>
                      <a:lnTo>
                        <a:pt x="274" y="89"/>
                      </a:lnTo>
                      <a:lnTo>
                        <a:pt x="278" y="73"/>
                      </a:lnTo>
                      <a:lnTo>
                        <a:pt x="299" y="74"/>
                      </a:lnTo>
                      <a:lnTo>
                        <a:pt x="326" y="77"/>
                      </a:lnTo>
                      <a:lnTo>
                        <a:pt x="349" y="79"/>
                      </a:lnTo>
                      <a:lnTo>
                        <a:pt x="359" y="80"/>
                      </a:lnTo>
                      <a:lnTo>
                        <a:pt x="357" y="91"/>
                      </a:lnTo>
                      <a:lnTo>
                        <a:pt x="355" y="102"/>
                      </a:lnTo>
                      <a:lnTo>
                        <a:pt x="352" y="112"/>
                      </a:lnTo>
                      <a:lnTo>
                        <a:pt x="349" y="121"/>
                      </a:lnTo>
                      <a:lnTo>
                        <a:pt x="344" y="130"/>
                      </a:lnTo>
                      <a:lnTo>
                        <a:pt x="341" y="138"/>
                      </a:lnTo>
                      <a:lnTo>
                        <a:pt x="339" y="146"/>
                      </a:lnTo>
                      <a:lnTo>
                        <a:pt x="339" y="154"/>
                      </a:lnTo>
                      <a:lnTo>
                        <a:pt x="343" y="153"/>
                      </a:lnTo>
                      <a:lnTo>
                        <a:pt x="348" y="150"/>
                      </a:lnTo>
                      <a:lnTo>
                        <a:pt x="352" y="147"/>
                      </a:lnTo>
                      <a:lnTo>
                        <a:pt x="356" y="144"/>
                      </a:lnTo>
                      <a:lnTo>
                        <a:pt x="364" y="137"/>
                      </a:lnTo>
                      <a:lnTo>
                        <a:pt x="371" y="129"/>
                      </a:lnTo>
                      <a:lnTo>
                        <a:pt x="376" y="120"/>
                      </a:lnTo>
                      <a:lnTo>
                        <a:pt x="381" y="110"/>
                      </a:lnTo>
                      <a:lnTo>
                        <a:pt x="385" y="99"/>
                      </a:lnTo>
                      <a:lnTo>
                        <a:pt x="388" y="87"/>
                      </a:lnTo>
                      <a:lnTo>
                        <a:pt x="394" y="66"/>
                      </a:lnTo>
                      <a:lnTo>
                        <a:pt x="396" y="48"/>
                      </a:lnTo>
                      <a:lnTo>
                        <a:pt x="398" y="35"/>
                      </a:lnTo>
                      <a:lnTo>
                        <a:pt x="398" y="30"/>
                      </a:lnTo>
                      <a:lnTo>
                        <a:pt x="1827" y="30"/>
                      </a:lnTo>
                      <a:lnTo>
                        <a:pt x="1825" y="21"/>
                      </a:lnTo>
                      <a:lnTo>
                        <a:pt x="1823" y="13"/>
                      </a:lnTo>
                      <a:lnTo>
                        <a:pt x="1821" y="5"/>
                      </a:lnTo>
                      <a:lnTo>
                        <a:pt x="1820" y="0"/>
                      </a:lnTo>
                      <a:lnTo>
                        <a:pt x="1827" y="0"/>
                      </a:lnTo>
                      <a:lnTo>
                        <a:pt x="1853" y="0"/>
                      </a:lnTo>
                      <a:lnTo>
                        <a:pt x="1854" y="11"/>
                      </a:lnTo>
                      <a:lnTo>
                        <a:pt x="1856" y="21"/>
                      </a:lnTo>
                      <a:lnTo>
                        <a:pt x="1861" y="30"/>
                      </a:lnTo>
                      <a:lnTo>
                        <a:pt x="1866" y="38"/>
                      </a:lnTo>
                      <a:lnTo>
                        <a:pt x="1873" y="46"/>
                      </a:lnTo>
                      <a:lnTo>
                        <a:pt x="1881" y="51"/>
                      </a:lnTo>
                      <a:lnTo>
                        <a:pt x="1886" y="53"/>
                      </a:lnTo>
                      <a:lnTo>
                        <a:pt x="1890" y="54"/>
                      </a:lnTo>
                      <a:lnTo>
                        <a:pt x="1895" y="55"/>
                      </a:lnTo>
                      <a:lnTo>
                        <a:pt x="1900" y="55"/>
                      </a:lnTo>
                      <a:lnTo>
                        <a:pt x="1910" y="55"/>
                      </a:lnTo>
                      <a:lnTo>
                        <a:pt x="1926" y="55"/>
                      </a:lnTo>
                      <a:lnTo>
                        <a:pt x="1935" y="56"/>
                      </a:lnTo>
                      <a:lnTo>
                        <a:pt x="1944" y="58"/>
                      </a:lnTo>
                      <a:lnTo>
                        <a:pt x="1952" y="61"/>
                      </a:lnTo>
                      <a:lnTo>
                        <a:pt x="1958" y="64"/>
                      </a:lnTo>
                      <a:lnTo>
                        <a:pt x="1965" y="68"/>
                      </a:lnTo>
                      <a:lnTo>
                        <a:pt x="1972" y="71"/>
                      </a:lnTo>
                      <a:lnTo>
                        <a:pt x="1979" y="73"/>
                      </a:lnTo>
                      <a:lnTo>
                        <a:pt x="1986" y="73"/>
                      </a:lnTo>
                      <a:lnTo>
                        <a:pt x="1992" y="72"/>
                      </a:lnTo>
                      <a:lnTo>
                        <a:pt x="1999" y="67"/>
                      </a:lnTo>
                      <a:lnTo>
                        <a:pt x="2003" y="63"/>
                      </a:lnTo>
                      <a:lnTo>
                        <a:pt x="2006" y="61"/>
                      </a:lnTo>
                      <a:lnTo>
                        <a:pt x="2015" y="69"/>
                      </a:lnTo>
                      <a:lnTo>
                        <a:pt x="2024" y="75"/>
                      </a:lnTo>
                      <a:lnTo>
                        <a:pt x="2035" y="81"/>
                      </a:lnTo>
                      <a:lnTo>
                        <a:pt x="2046" y="86"/>
                      </a:lnTo>
                      <a:lnTo>
                        <a:pt x="2038" y="93"/>
                      </a:lnTo>
                      <a:lnTo>
                        <a:pt x="2031" y="100"/>
                      </a:lnTo>
                      <a:lnTo>
                        <a:pt x="2021" y="104"/>
                      </a:lnTo>
                      <a:lnTo>
                        <a:pt x="2011" y="108"/>
                      </a:lnTo>
                      <a:lnTo>
                        <a:pt x="1989" y="114"/>
                      </a:lnTo>
                      <a:lnTo>
                        <a:pt x="1967" y="118"/>
                      </a:lnTo>
                      <a:lnTo>
                        <a:pt x="1956" y="120"/>
                      </a:lnTo>
                      <a:lnTo>
                        <a:pt x="1946" y="122"/>
                      </a:lnTo>
                      <a:lnTo>
                        <a:pt x="1937" y="125"/>
                      </a:lnTo>
                      <a:lnTo>
                        <a:pt x="1929" y="128"/>
                      </a:lnTo>
                      <a:lnTo>
                        <a:pt x="1922" y="133"/>
                      </a:lnTo>
                      <a:lnTo>
                        <a:pt x="1918" y="138"/>
                      </a:lnTo>
                      <a:lnTo>
                        <a:pt x="1916" y="141"/>
                      </a:lnTo>
                      <a:lnTo>
                        <a:pt x="1914" y="145"/>
                      </a:lnTo>
                      <a:lnTo>
                        <a:pt x="1913" y="149"/>
                      </a:lnTo>
                      <a:lnTo>
                        <a:pt x="1913" y="154"/>
                      </a:lnTo>
                      <a:lnTo>
                        <a:pt x="1926" y="155"/>
                      </a:lnTo>
                      <a:lnTo>
                        <a:pt x="1937" y="156"/>
                      </a:lnTo>
                      <a:lnTo>
                        <a:pt x="1946" y="158"/>
                      </a:lnTo>
                      <a:lnTo>
                        <a:pt x="1954" y="160"/>
                      </a:lnTo>
                      <a:lnTo>
                        <a:pt x="1962" y="162"/>
                      </a:lnTo>
                      <a:lnTo>
                        <a:pt x="1969" y="164"/>
                      </a:lnTo>
                      <a:lnTo>
                        <a:pt x="1977" y="166"/>
                      </a:lnTo>
                      <a:lnTo>
                        <a:pt x="1986" y="166"/>
                      </a:lnTo>
                      <a:lnTo>
                        <a:pt x="1996" y="165"/>
                      </a:lnTo>
                      <a:lnTo>
                        <a:pt x="2011" y="161"/>
                      </a:lnTo>
                      <a:lnTo>
                        <a:pt x="2028" y="155"/>
                      </a:lnTo>
                      <a:lnTo>
                        <a:pt x="2047" y="147"/>
                      </a:lnTo>
                      <a:lnTo>
                        <a:pt x="2067" y="140"/>
                      </a:lnTo>
                      <a:lnTo>
                        <a:pt x="2087" y="135"/>
                      </a:lnTo>
                      <a:lnTo>
                        <a:pt x="2104" y="130"/>
                      </a:lnTo>
                      <a:lnTo>
                        <a:pt x="2119" y="129"/>
                      </a:lnTo>
                      <a:lnTo>
                        <a:pt x="2109" y="140"/>
                      </a:lnTo>
                      <a:lnTo>
                        <a:pt x="2101" y="147"/>
                      </a:lnTo>
                      <a:lnTo>
                        <a:pt x="2097" y="151"/>
                      </a:lnTo>
                      <a:lnTo>
                        <a:pt x="2094" y="155"/>
                      </a:lnTo>
                      <a:lnTo>
                        <a:pt x="2093" y="160"/>
                      </a:lnTo>
                      <a:lnTo>
                        <a:pt x="2092" y="166"/>
                      </a:lnTo>
                      <a:lnTo>
                        <a:pt x="2102" y="166"/>
                      </a:lnTo>
                      <a:lnTo>
                        <a:pt x="2112" y="166"/>
                      </a:lnTo>
                      <a:lnTo>
                        <a:pt x="2121" y="167"/>
                      </a:lnTo>
                      <a:lnTo>
                        <a:pt x="2138" y="169"/>
                      </a:lnTo>
                      <a:lnTo>
                        <a:pt x="2163" y="172"/>
                      </a:lnTo>
                      <a:lnTo>
                        <a:pt x="2191" y="175"/>
                      </a:lnTo>
                      <a:lnTo>
                        <a:pt x="2221" y="179"/>
                      </a:lnTo>
                      <a:lnTo>
                        <a:pt x="2248" y="182"/>
                      </a:lnTo>
                      <a:lnTo>
                        <a:pt x="2270" y="184"/>
                      </a:lnTo>
                      <a:lnTo>
                        <a:pt x="2286" y="184"/>
                      </a:lnTo>
                      <a:lnTo>
                        <a:pt x="2284" y="193"/>
                      </a:lnTo>
                      <a:lnTo>
                        <a:pt x="2282" y="199"/>
                      </a:lnTo>
                      <a:lnTo>
                        <a:pt x="2279" y="205"/>
                      </a:lnTo>
                      <a:lnTo>
                        <a:pt x="2275" y="210"/>
                      </a:lnTo>
                      <a:lnTo>
                        <a:pt x="2269" y="212"/>
                      </a:lnTo>
                      <a:lnTo>
                        <a:pt x="2262" y="214"/>
                      </a:lnTo>
                      <a:lnTo>
                        <a:pt x="2255" y="215"/>
                      </a:lnTo>
                      <a:lnTo>
                        <a:pt x="2245" y="216"/>
                      </a:lnTo>
                      <a:lnTo>
                        <a:pt x="2238" y="215"/>
                      </a:lnTo>
                      <a:lnTo>
                        <a:pt x="2233" y="214"/>
                      </a:lnTo>
                      <a:lnTo>
                        <a:pt x="2228" y="212"/>
                      </a:lnTo>
                      <a:lnTo>
                        <a:pt x="2225" y="210"/>
                      </a:lnTo>
                      <a:lnTo>
                        <a:pt x="2222" y="206"/>
                      </a:lnTo>
                      <a:lnTo>
                        <a:pt x="2217" y="204"/>
                      </a:lnTo>
                      <a:lnTo>
                        <a:pt x="2212" y="203"/>
                      </a:lnTo>
                      <a:lnTo>
                        <a:pt x="2205" y="203"/>
                      </a:lnTo>
                      <a:lnTo>
                        <a:pt x="2194" y="203"/>
                      </a:lnTo>
                      <a:lnTo>
                        <a:pt x="2185" y="205"/>
                      </a:lnTo>
                      <a:lnTo>
                        <a:pt x="2175" y="209"/>
                      </a:lnTo>
                      <a:lnTo>
                        <a:pt x="2166" y="213"/>
                      </a:lnTo>
                      <a:lnTo>
                        <a:pt x="2149" y="223"/>
                      </a:lnTo>
                      <a:lnTo>
                        <a:pt x="2135" y="234"/>
                      </a:lnTo>
                      <a:lnTo>
                        <a:pt x="2121" y="245"/>
                      </a:lnTo>
                      <a:lnTo>
                        <a:pt x="2108" y="255"/>
                      </a:lnTo>
                      <a:lnTo>
                        <a:pt x="2100" y="258"/>
                      </a:lnTo>
                      <a:lnTo>
                        <a:pt x="2093" y="261"/>
                      </a:lnTo>
                      <a:lnTo>
                        <a:pt x="2087" y="264"/>
                      </a:lnTo>
                      <a:lnTo>
                        <a:pt x="2079" y="265"/>
                      </a:lnTo>
                      <a:lnTo>
                        <a:pt x="2073" y="266"/>
                      </a:lnTo>
                      <a:lnTo>
                        <a:pt x="2068" y="268"/>
                      </a:lnTo>
                      <a:lnTo>
                        <a:pt x="2066" y="271"/>
                      </a:lnTo>
                      <a:lnTo>
                        <a:pt x="2064" y="276"/>
                      </a:lnTo>
                      <a:lnTo>
                        <a:pt x="2063" y="285"/>
                      </a:lnTo>
                      <a:lnTo>
                        <a:pt x="2059" y="295"/>
                      </a:lnTo>
                      <a:lnTo>
                        <a:pt x="2056" y="304"/>
                      </a:lnTo>
                      <a:lnTo>
                        <a:pt x="2053" y="312"/>
                      </a:lnTo>
                      <a:lnTo>
                        <a:pt x="2048" y="321"/>
                      </a:lnTo>
                      <a:lnTo>
                        <a:pt x="2043" y="328"/>
                      </a:lnTo>
                      <a:lnTo>
                        <a:pt x="2032" y="342"/>
                      </a:lnTo>
                      <a:lnTo>
                        <a:pt x="2021" y="355"/>
                      </a:lnTo>
                      <a:lnTo>
                        <a:pt x="2015" y="362"/>
                      </a:lnTo>
                      <a:lnTo>
                        <a:pt x="2010" y="369"/>
                      </a:lnTo>
                      <a:lnTo>
                        <a:pt x="2006" y="378"/>
                      </a:lnTo>
                      <a:lnTo>
                        <a:pt x="2001" y="386"/>
                      </a:lnTo>
                      <a:lnTo>
                        <a:pt x="1998" y="394"/>
                      </a:lnTo>
                      <a:lnTo>
                        <a:pt x="1995" y="404"/>
                      </a:lnTo>
                      <a:lnTo>
                        <a:pt x="1993" y="414"/>
                      </a:lnTo>
                      <a:lnTo>
                        <a:pt x="1992" y="424"/>
                      </a:lnTo>
                      <a:lnTo>
                        <a:pt x="1993" y="432"/>
                      </a:lnTo>
                      <a:lnTo>
                        <a:pt x="1997" y="438"/>
                      </a:lnTo>
                      <a:lnTo>
                        <a:pt x="2001" y="443"/>
                      </a:lnTo>
                      <a:lnTo>
                        <a:pt x="2007" y="447"/>
                      </a:lnTo>
                      <a:lnTo>
                        <a:pt x="2012" y="451"/>
                      </a:lnTo>
                      <a:lnTo>
                        <a:pt x="2018" y="453"/>
                      </a:lnTo>
                      <a:lnTo>
                        <a:pt x="2022" y="455"/>
                      </a:lnTo>
                      <a:lnTo>
                        <a:pt x="2026" y="456"/>
                      </a:lnTo>
                      <a:lnTo>
                        <a:pt x="2032" y="455"/>
                      </a:lnTo>
                      <a:lnTo>
                        <a:pt x="2037" y="454"/>
                      </a:lnTo>
                      <a:lnTo>
                        <a:pt x="2043" y="453"/>
                      </a:lnTo>
                      <a:lnTo>
                        <a:pt x="2047" y="451"/>
                      </a:lnTo>
                      <a:lnTo>
                        <a:pt x="2052" y="448"/>
                      </a:lnTo>
                      <a:lnTo>
                        <a:pt x="2056" y="445"/>
                      </a:lnTo>
                      <a:lnTo>
                        <a:pt x="2060" y="441"/>
                      </a:lnTo>
                      <a:lnTo>
                        <a:pt x="2064" y="437"/>
                      </a:lnTo>
                      <a:lnTo>
                        <a:pt x="2070" y="427"/>
                      </a:lnTo>
                      <a:lnTo>
                        <a:pt x="2076" y="417"/>
                      </a:lnTo>
                      <a:lnTo>
                        <a:pt x="2080" y="405"/>
                      </a:lnTo>
                      <a:lnTo>
                        <a:pt x="2085" y="393"/>
                      </a:lnTo>
                      <a:lnTo>
                        <a:pt x="2092" y="368"/>
                      </a:lnTo>
                      <a:lnTo>
                        <a:pt x="2100" y="344"/>
                      </a:lnTo>
                      <a:lnTo>
                        <a:pt x="2103" y="333"/>
                      </a:lnTo>
                      <a:lnTo>
                        <a:pt x="2108" y="323"/>
                      </a:lnTo>
                      <a:lnTo>
                        <a:pt x="2113" y="314"/>
                      </a:lnTo>
                      <a:lnTo>
                        <a:pt x="2119" y="307"/>
                      </a:lnTo>
                      <a:lnTo>
                        <a:pt x="2135" y="295"/>
                      </a:lnTo>
                      <a:lnTo>
                        <a:pt x="2152" y="283"/>
                      </a:lnTo>
                      <a:lnTo>
                        <a:pt x="2169" y="273"/>
                      </a:lnTo>
                      <a:lnTo>
                        <a:pt x="2188" y="262"/>
                      </a:lnTo>
                      <a:lnTo>
                        <a:pt x="2205" y="252"/>
                      </a:lnTo>
                      <a:lnTo>
                        <a:pt x="2223" y="243"/>
                      </a:lnTo>
                      <a:lnTo>
                        <a:pt x="2238" y="233"/>
                      </a:lnTo>
                      <a:lnTo>
                        <a:pt x="2251" y="222"/>
                      </a:lnTo>
                      <a:lnTo>
                        <a:pt x="2266" y="237"/>
                      </a:lnTo>
                      <a:lnTo>
                        <a:pt x="2278" y="249"/>
                      </a:lnTo>
                      <a:lnTo>
                        <a:pt x="2283" y="255"/>
                      </a:lnTo>
                      <a:lnTo>
                        <a:pt x="2288" y="261"/>
                      </a:lnTo>
                      <a:lnTo>
                        <a:pt x="2293" y="269"/>
                      </a:lnTo>
                      <a:lnTo>
                        <a:pt x="2299" y="277"/>
                      </a:lnTo>
                      <a:lnTo>
                        <a:pt x="2289" y="284"/>
                      </a:lnTo>
                      <a:lnTo>
                        <a:pt x="2281" y="290"/>
                      </a:lnTo>
                      <a:lnTo>
                        <a:pt x="2273" y="296"/>
                      </a:lnTo>
                      <a:lnTo>
                        <a:pt x="2267" y="303"/>
                      </a:lnTo>
                      <a:lnTo>
                        <a:pt x="2260" y="310"/>
                      </a:lnTo>
                      <a:lnTo>
                        <a:pt x="2255" y="318"/>
                      </a:lnTo>
                      <a:lnTo>
                        <a:pt x="2250" y="328"/>
                      </a:lnTo>
                      <a:lnTo>
                        <a:pt x="2245" y="339"/>
                      </a:lnTo>
                      <a:lnTo>
                        <a:pt x="2259" y="338"/>
                      </a:lnTo>
                      <a:lnTo>
                        <a:pt x="2271" y="336"/>
                      </a:lnTo>
                      <a:lnTo>
                        <a:pt x="2284" y="334"/>
                      </a:lnTo>
                      <a:lnTo>
                        <a:pt x="2299" y="333"/>
                      </a:lnTo>
                      <a:lnTo>
                        <a:pt x="2299" y="347"/>
                      </a:lnTo>
                      <a:lnTo>
                        <a:pt x="2299" y="363"/>
                      </a:lnTo>
                      <a:lnTo>
                        <a:pt x="2299" y="380"/>
                      </a:lnTo>
                      <a:lnTo>
                        <a:pt x="2299" y="394"/>
                      </a:lnTo>
                      <a:lnTo>
                        <a:pt x="2293" y="399"/>
                      </a:lnTo>
                      <a:lnTo>
                        <a:pt x="2288" y="404"/>
                      </a:lnTo>
                      <a:lnTo>
                        <a:pt x="2281" y="411"/>
                      </a:lnTo>
                      <a:lnTo>
                        <a:pt x="2276" y="418"/>
                      </a:lnTo>
                      <a:lnTo>
                        <a:pt x="2250" y="426"/>
                      </a:lnTo>
                      <a:lnTo>
                        <a:pt x="2228" y="435"/>
                      </a:lnTo>
                      <a:lnTo>
                        <a:pt x="2219" y="439"/>
                      </a:lnTo>
                      <a:lnTo>
                        <a:pt x="2212" y="443"/>
                      </a:lnTo>
                      <a:lnTo>
                        <a:pt x="2206" y="446"/>
                      </a:lnTo>
                      <a:lnTo>
                        <a:pt x="2205" y="450"/>
                      </a:lnTo>
                      <a:lnTo>
                        <a:pt x="2205" y="452"/>
                      </a:lnTo>
                      <a:lnTo>
                        <a:pt x="2206" y="454"/>
                      </a:lnTo>
                      <a:lnTo>
                        <a:pt x="2209" y="456"/>
                      </a:lnTo>
                      <a:lnTo>
                        <a:pt x="2212" y="458"/>
                      </a:lnTo>
                      <a:lnTo>
                        <a:pt x="2219" y="463"/>
                      </a:lnTo>
                      <a:lnTo>
                        <a:pt x="2227" y="466"/>
                      </a:lnTo>
                      <a:lnTo>
                        <a:pt x="2236" y="469"/>
                      </a:lnTo>
                      <a:lnTo>
                        <a:pt x="2245" y="472"/>
                      </a:lnTo>
                      <a:lnTo>
                        <a:pt x="2253" y="473"/>
                      </a:lnTo>
                      <a:lnTo>
                        <a:pt x="2258" y="474"/>
                      </a:lnTo>
                      <a:lnTo>
                        <a:pt x="2265" y="473"/>
                      </a:lnTo>
                      <a:lnTo>
                        <a:pt x="2273" y="472"/>
                      </a:lnTo>
                      <a:lnTo>
                        <a:pt x="2283" y="469"/>
                      </a:lnTo>
                      <a:lnTo>
                        <a:pt x="2293" y="466"/>
                      </a:lnTo>
                      <a:lnTo>
                        <a:pt x="2317" y="457"/>
                      </a:lnTo>
                      <a:lnTo>
                        <a:pt x="2343" y="447"/>
                      </a:lnTo>
                      <a:lnTo>
                        <a:pt x="2369" y="436"/>
                      </a:lnTo>
                      <a:lnTo>
                        <a:pt x="2393" y="425"/>
                      </a:lnTo>
                      <a:lnTo>
                        <a:pt x="2415" y="415"/>
                      </a:lnTo>
                      <a:lnTo>
                        <a:pt x="2433" y="408"/>
                      </a:lnTo>
                      <a:lnTo>
                        <a:pt x="2439" y="407"/>
                      </a:lnTo>
                      <a:lnTo>
                        <a:pt x="2446" y="405"/>
                      </a:lnTo>
                      <a:lnTo>
                        <a:pt x="2452" y="403"/>
                      </a:lnTo>
                      <a:lnTo>
                        <a:pt x="2458" y="400"/>
                      </a:lnTo>
                      <a:lnTo>
                        <a:pt x="2530" y="382"/>
                      </a:lnTo>
                      <a:lnTo>
                        <a:pt x="2544" y="380"/>
                      </a:lnTo>
                      <a:lnTo>
                        <a:pt x="2557" y="378"/>
                      </a:lnTo>
                      <a:lnTo>
                        <a:pt x="2570" y="373"/>
                      </a:lnTo>
                      <a:lnTo>
                        <a:pt x="2583" y="369"/>
                      </a:lnTo>
                      <a:lnTo>
                        <a:pt x="2597" y="364"/>
                      </a:lnTo>
                      <a:lnTo>
                        <a:pt x="2611" y="357"/>
                      </a:lnTo>
                      <a:lnTo>
                        <a:pt x="2625" y="350"/>
                      </a:lnTo>
                      <a:lnTo>
                        <a:pt x="2638" y="342"/>
                      </a:lnTo>
                      <a:lnTo>
                        <a:pt x="2651" y="334"/>
                      </a:lnTo>
                      <a:lnTo>
                        <a:pt x="2664" y="324"/>
                      </a:lnTo>
                      <a:lnTo>
                        <a:pt x="2676" y="313"/>
                      </a:lnTo>
                      <a:lnTo>
                        <a:pt x="2689" y="303"/>
                      </a:lnTo>
                      <a:lnTo>
                        <a:pt x="2701" y="291"/>
                      </a:lnTo>
                      <a:lnTo>
                        <a:pt x="2710" y="279"/>
                      </a:lnTo>
                      <a:lnTo>
                        <a:pt x="2721" y="266"/>
                      </a:lnTo>
                      <a:lnTo>
                        <a:pt x="2730" y="252"/>
                      </a:lnTo>
                      <a:lnTo>
                        <a:pt x="2817" y="252"/>
                      </a:lnTo>
                      <a:lnTo>
                        <a:pt x="2850" y="248"/>
                      </a:lnTo>
                      <a:lnTo>
                        <a:pt x="2880" y="246"/>
                      </a:lnTo>
                      <a:lnTo>
                        <a:pt x="2906" y="244"/>
                      </a:lnTo>
                      <a:lnTo>
                        <a:pt x="2931" y="241"/>
                      </a:lnTo>
                      <a:lnTo>
                        <a:pt x="2942" y="239"/>
                      </a:lnTo>
                      <a:lnTo>
                        <a:pt x="2954" y="237"/>
                      </a:lnTo>
                      <a:lnTo>
                        <a:pt x="2965" y="234"/>
                      </a:lnTo>
                      <a:lnTo>
                        <a:pt x="2975" y="230"/>
                      </a:lnTo>
                      <a:lnTo>
                        <a:pt x="2986" y="225"/>
                      </a:lnTo>
                      <a:lnTo>
                        <a:pt x="2996" y="219"/>
                      </a:lnTo>
                      <a:lnTo>
                        <a:pt x="3006" y="212"/>
                      </a:lnTo>
                      <a:lnTo>
                        <a:pt x="3016" y="203"/>
                      </a:lnTo>
                      <a:lnTo>
                        <a:pt x="3028" y="190"/>
                      </a:lnTo>
                      <a:lnTo>
                        <a:pt x="3038" y="177"/>
                      </a:lnTo>
                      <a:lnTo>
                        <a:pt x="3048" y="162"/>
                      </a:lnTo>
                      <a:lnTo>
                        <a:pt x="3059" y="148"/>
                      </a:lnTo>
                      <a:lnTo>
                        <a:pt x="3064" y="142"/>
                      </a:lnTo>
                      <a:lnTo>
                        <a:pt x="3070" y="136"/>
                      </a:lnTo>
                      <a:lnTo>
                        <a:pt x="3075" y="130"/>
                      </a:lnTo>
                      <a:lnTo>
                        <a:pt x="3082" y="126"/>
                      </a:lnTo>
                      <a:lnTo>
                        <a:pt x="3089" y="122"/>
                      </a:lnTo>
                      <a:lnTo>
                        <a:pt x="3097" y="119"/>
                      </a:lnTo>
                      <a:lnTo>
                        <a:pt x="3106" y="117"/>
                      </a:lnTo>
                      <a:lnTo>
                        <a:pt x="3116" y="117"/>
                      </a:lnTo>
                      <a:lnTo>
                        <a:pt x="3136" y="118"/>
                      </a:lnTo>
                      <a:lnTo>
                        <a:pt x="3153" y="119"/>
                      </a:lnTo>
                      <a:lnTo>
                        <a:pt x="3160" y="120"/>
                      </a:lnTo>
                      <a:lnTo>
                        <a:pt x="3165" y="119"/>
                      </a:lnTo>
                      <a:lnTo>
                        <a:pt x="3171" y="119"/>
                      </a:lnTo>
                      <a:lnTo>
                        <a:pt x="3175" y="117"/>
                      </a:lnTo>
                      <a:lnTo>
                        <a:pt x="3175" y="125"/>
                      </a:lnTo>
                      <a:lnTo>
                        <a:pt x="3172" y="134"/>
                      </a:lnTo>
                      <a:lnTo>
                        <a:pt x="3168" y="144"/>
                      </a:lnTo>
                      <a:lnTo>
                        <a:pt x="3164" y="156"/>
                      </a:lnTo>
                      <a:lnTo>
                        <a:pt x="3160" y="165"/>
                      </a:lnTo>
                      <a:lnTo>
                        <a:pt x="3155" y="174"/>
                      </a:lnTo>
                      <a:lnTo>
                        <a:pt x="3152" y="181"/>
                      </a:lnTo>
                      <a:lnTo>
                        <a:pt x="3149" y="184"/>
                      </a:lnTo>
                      <a:lnTo>
                        <a:pt x="3149" y="252"/>
                      </a:lnTo>
                      <a:lnTo>
                        <a:pt x="3155" y="258"/>
                      </a:ln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7" name="Freeform 7">
                  <a:extLst>
                    <a:ext uri="{FF2B5EF4-FFF2-40B4-BE49-F238E27FC236}">
                      <a16:creationId xmlns:a16="http://schemas.microsoft.com/office/drawing/2014/main" xmlns="" id="{DB5B9A1B-BF9C-4D58-B055-93BC93ABB5CD}"/>
                    </a:ext>
                  </a:extLst>
                </p:cNvPr>
                <p:cNvSpPr>
                  <a:spLocks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>
                  <a:off x="1971675" y="3662363"/>
                  <a:ext cx="339725" cy="590550"/>
                </a:xfrm>
                <a:custGeom>
                  <a:avLst/>
                  <a:gdLst>
                    <a:gd name="T0" fmla="*/ 2147483646 w 784"/>
                    <a:gd name="T1" fmla="*/ 2147483646 h 1128"/>
                    <a:gd name="T2" fmla="*/ 2147483646 w 784"/>
                    <a:gd name="T3" fmla="*/ 2147483646 h 1128"/>
                    <a:gd name="T4" fmla="*/ 2147483646 w 784"/>
                    <a:gd name="T5" fmla="*/ 2147483646 h 1128"/>
                    <a:gd name="T6" fmla="*/ 2147483646 w 784"/>
                    <a:gd name="T7" fmla="*/ 2147483646 h 1128"/>
                    <a:gd name="T8" fmla="*/ 2147483646 w 784"/>
                    <a:gd name="T9" fmla="*/ 2147483646 h 1128"/>
                    <a:gd name="T10" fmla="*/ 2147483646 w 784"/>
                    <a:gd name="T11" fmla="*/ 2147483646 h 1128"/>
                    <a:gd name="T12" fmla="*/ 2147483646 w 784"/>
                    <a:gd name="T13" fmla="*/ 2147483646 h 1128"/>
                    <a:gd name="T14" fmla="*/ 2147483646 w 784"/>
                    <a:gd name="T15" fmla="*/ 2147483646 h 1128"/>
                    <a:gd name="T16" fmla="*/ 2147483646 w 784"/>
                    <a:gd name="T17" fmla="*/ 2147483646 h 1128"/>
                    <a:gd name="T18" fmla="*/ 2147483646 w 784"/>
                    <a:gd name="T19" fmla="*/ 2147483646 h 1128"/>
                    <a:gd name="T20" fmla="*/ 2147483646 w 784"/>
                    <a:gd name="T21" fmla="*/ 2147483646 h 1128"/>
                    <a:gd name="T22" fmla="*/ 2147483646 w 784"/>
                    <a:gd name="T23" fmla="*/ 2147483646 h 1128"/>
                    <a:gd name="T24" fmla="*/ 2147483646 w 784"/>
                    <a:gd name="T25" fmla="*/ 2147483646 h 1128"/>
                    <a:gd name="T26" fmla="*/ 2147483646 w 784"/>
                    <a:gd name="T27" fmla="*/ 2147483646 h 1128"/>
                    <a:gd name="T28" fmla="*/ 2147483646 w 784"/>
                    <a:gd name="T29" fmla="*/ 2147483646 h 1128"/>
                    <a:gd name="T30" fmla="*/ 2147483646 w 784"/>
                    <a:gd name="T31" fmla="*/ 2147483646 h 1128"/>
                    <a:gd name="T32" fmla="*/ 2147483646 w 784"/>
                    <a:gd name="T33" fmla="*/ 2147483646 h 1128"/>
                    <a:gd name="T34" fmla="*/ 2147483646 w 784"/>
                    <a:gd name="T35" fmla="*/ 2147483646 h 1128"/>
                    <a:gd name="T36" fmla="*/ 2147483646 w 784"/>
                    <a:gd name="T37" fmla="*/ 2147483646 h 1128"/>
                    <a:gd name="T38" fmla="*/ 2147483646 w 784"/>
                    <a:gd name="T39" fmla="*/ 2147483646 h 1128"/>
                    <a:gd name="T40" fmla="*/ 2147483646 w 784"/>
                    <a:gd name="T41" fmla="*/ 2147483646 h 1128"/>
                    <a:gd name="T42" fmla="*/ 2147483646 w 784"/>
                    <a:gd name="T43" fmla="*/ 2147483646 h 1128"/>
                    <a:gd name="T44" fmla="*/ 2147483646 w 784"/>
                    <a:gd name="T45" fmla="*/ 2147483646 h 1128"/>
                    <a:gd name="T46" fmla="*/ 2147483646 w 784"/>
                    <a:gd name="T47" fmla="*/ 2147483646 h 1128"/>
                    <a:gd name="T48" fmla="*/ 2147483646 w 784"/>
                    <a:gd name="T49" fmla="*/ 2147483646 h 1128"/>
                    <a:gd name="T50" fmla="*/ 2147483646 w 784"/>
                    <a:gd name="T51" fmla="*/ 2147483646 h 1128"/>
                    <a:gd name="T52" fmla="*/ 2147483646 w 784"/>
                    <a:gd name="T53" fmla="*/ 2147483646 h 1128"/>
                    <a:gd name="T54" fmla="*/ 2147483646 w 784"/>
                    <a:gd name="T55" fmla="*/ 2147483646 h 1128"/>
                    <a:gd name="T56" fmla="*/ 2147483646 w 784"/>
                    <a:gd name="T57" fmla="*/ 2147483646 h 1128"/>
                    <a:gd name="T58" fmla="*/ 2147483646 w 784"/>
                    <a:gd name="T59" fmla="*/ 2147483646 h 1128"/>
                    <a:gd name="T60" fmla="*/ 2147483646 w 784"/>
                    <a:gd name="T61" fmla="*/ 2147483646 h 1128"/>
                    <a:gd name="T62" fmla="*/ 2147483646 w 784"/>
                    <a:gd name="T63" fmla="*/ 2147483646 h 1128"/>
                    <a:gd name="T64" fmla="*/ 2147483646 w 784"/>
                    <a:gd name="T65" fmla="*/ 2147483646 h 1128"/>
                    <a:gd name="T66" fmla="*/ 2147483646 w 784"/>
                    <a:gd name="T67" fmla="*/ 2147483646 h 1128"/>
                    <a:gd name="T68" fmla="*/ 0 w 784"/>
                    <a:gd name="T69" fmla="*/ 2147483646 h 1128"/>
                    <a:gd name="T70" fmla="*/ 2147483646 w 784"/>
                    <a:gd name="T71" fmla="*/ 2147483646 h 1128"/>
                    <a:gd name="T72" fmla="*/ 2147483646 w 784"/>
                    <a:gd name="T73" fmla="*/ 2147483646 h 1128"/>
                    <a:gd name="T74" fmla="*/ 2147483646 w 784"/>
                    <a:gd name="T75" fmla="*/ 2147483646 h 1128"/>
                    <a:gd name="T76" fmla="*/ 2147483646 w 784"/>
                    <a:gd name="T77" fmla="*/ 2147483646 h 1128"/>
                    <a:gd name="T78" fmla="*/ 2147483646 w 784"/>
                    <a:gd name="T79" fmla="*/ 2147483646 h 1128"/>
                    <a:gd name="T80" fmla="*/ 2147483646 w 784"/>
                    <a:gd name="T81" fmla="*/ 2147483646 h 1128"/>
                    <a:gd name="T82" fmla="*/ 2147483646 w 784"/>
                    <a:gd name="T83" fmla="*/ 2147483646 h 1128"/>
                    <a:gd name="T84" fmla="*/ 2147483646 w 784"/>
                    <a:gd name="T85" fmla="*/ 2147483646 h 1128"/>
                    <a:gd name="T86" fmla="*/ 2147483646 w 784"/>
                    <a:gd name="T87" fmla="*/ 2147483646 h 1128"/>
                    <a:gd name="T88" fmla="*/ 2147483646 w 784"/>
                    <a:gd name="T89" fmla="*/ 2147483646 h 1128"/>
                    <a:gd name="T90" fmla="*/ 2147483646 w 784"/>
                    <a:gd name="T91" fmla="*/ 2147483646 h 1128"/>
                    <a:gd name="T92" fmla="*/ 2147483646 w 784"/>
                    <a:gd name="T93" fmla="*/ 2147483646 h 1128"/>
                    <a:gd name="T94" fmla="*/ 2147483646 w 784"/>
                    <a:gd name="T95" fmla="*/ 2147483646 h 1128"/>
                    <a:gd name="T96" fmla="*/ 2147483646 w 784"/>
                    <a:gd name="T97" fmla="*/ 2147483646 h 1128"/>
                    <a:gd name="T98" fmla="*/ 2147483646 w 784"/>
                    <a:gd name="T99" fmla="*/ 2147483646 h 1128"/>
                    <a:gd name="T100" fmla="*/ 2147483646 w 784"/>
                    <a:gd name="T101" fmla="*/ 2147483646 h 1128"/>
                    <a:gd name="T102" fmla="*/ 2147483646 w 784"/>
                    <a:gd name="T103" fmla="*/ 2147483646 h 1128"/>
                    <a:gd name="T104" fmla="*/ 2147483646 w 784"/>
                    <a:gd name="T105" fmla="*/ 2147483646 h 1128"/>
                    <a:gd name="T106" fmla="*/ 2147483646 w 784"/>
                    <a:gd name="T107" fmla="*/ 2147483646 h 1128"/>
                    <a:gd name="T108" fmla="*/ 2147483646 w 784"/>
                    <a:gd name="T109" fmla="*/ 2147483646 h 1128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784"/>
                    <a:gd name="T166" fmla="*/ 0 h 1128"/>
                    <a:gd name="T167" fmla="*/ 784 w 784"/>
                    <a:gd name="T168" fmla="*/ 1128 h 1128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784" h="1128">
                      <a:moveTo>
                        <a:pt x="644" y="259"/>
                      </a:moveTo>
                      <a:lnTo>
                        <a:pt x="632" y="265"/>
                      </a:lnTo>
                      <a:lnTo>
                        <a:pt x="621" y="270"/>
                      </a:lnTo>
                      <a:lnTo>
                        <a:pt x="611" y="273"/>
                      </a:lnTo>
                      <a:lnTo>
                        <a:pt x="602" y="275"/>
                      </a:lnTo>
                      <a:lnTo>
                        <a:pt x="583" y="277"/>
                      </a:lnTo>
                      <a:lnTo>
                        <a:pt x="564" y="278"/>
                      </a:lnTo>
                      <a:lnTo>
                        <a:pt x="560" y="278"/>
                      </a:lnTo>
                      <a:lnTo>
                        <a:pt x="557" y="280"/>
                      </a:lnTo>
                      <a:lnTo>
                        <a:pt x="554" y="284"/>
                      </a:lnTo>
                      <a:lnTo>
                        <a:pt x="552" y="287"/>
                      </a:lnTo>
                      <a:lnTo>
                        <a:pt x="549" y="295"/>
                      </a:lnTo>
                      <a:lnTo>
                        <a:pt x="545" y="302"/>
                      </a:lnTo>
                      <a:lnTo>
                        <a:pt x="529" y="318"/>
                      </a:lnTo>
                      <a:lnTo>
                        <a:pt x="515" y="335"/>
                      </a:lnTo>
                      <a:lnTo>
                        <a:pt x="502" y="354"/>
                      </a:lnTo>
                      <a:lnTo>
                        <a:pt x="490" y="376"/>
                      </a:lnTo>
                      <a:lnTo>
                        <a:pt x="484" y="387"/>
                      </a:lnTo>
                      <a:lnTo>
                        <a:pt x="480" y="398"/>
                      </a:lnTo>
                      <a:lnTo>
                        <a:pt x="475" y="410"/>
                      </a:lnTo>
                      <a:lnTo>
                        <a:pt x="471" y="422"/>
                      </a:lnTo>
                      <a:lnTo>
                        <a:pt x="469" y="434"/>
                      </a:lnTo>
                      <a:lnTo>
                        <a:pt x="467" y="445"/>
                      </a:lnTo>
                      <a:lnTo>
                        <a:pt x="465" y="457"/>
                      </a:lnTo>
                      <a:lnTo>
                        <a:pt x="464" y="468"/>
                      </a:lnTo>
                      <a:lnTo>
                        <a:pt x="465" y="478"/>
                      </a:lnTo>
                      <a:lnTo>
                        <a:pt x="468" y="488"/>
                      </a:lnTo>
                      <a:lnTo>
                        <a:pt x="471" y="498"/>
                      </a:lnTo>
                      <a:lnTo>
                        <a:pt x="475" y="510"/>
                      </a:lnTo>
                      <a:lnTo>
                        <a:pt x="481" y="522"/>
                      </a:lnTo>
                      <a:lnTo>
                        <a:pt x="486" y="535"/>
                      </a:lnTo>
                      <a:lnTo>
                        <a:pt x="494" y="547"/>
                      </a:lnTo>
                      <a:lnTo>
                        <a:pt x="502" y="559"/>
                      </a:lnTo>
                      <a:lnTo>
                        <a:pt x="510" y="570"/>
                      </a:lnTo>
                      <a:lnTo>
                        <a:pt x="520" y="581"/>
                      </a:lnTo>
                      <a:lnTo>
                        <a:pt x="530" y="591"/>
                      </a:lnTo>
                      <a:lnTo>
                        <a:pt x="540" y="600"/>
                      </a:lnTo>
                      <a:lnTo>
                        <a:pt x="551" y="607"/>
                      </a:lnTo>
                      <a:lnTo>
                        <a:pt x="562" y="612"/>
                      </a:lnTo>
                      <a:lnTo>
                        <a:pt x="568" y="614"/>
                      </a:lnTo>
                      <a:lnTo>
                        <a:pt x="573" y="615"/>
                      </a:lnTo>
                      <a:lnTo>
                        <a:pt x="579" y="616"/>
                      </a:lnTo>
                      <a:lnTo>
                        <a:pt x="584" y="616"/>
                      </a:lnTo>
                      <a:lnTo>
                        <a:pt x="594" y="615"/>
                      </a:lnTo>
                      <a:lnTo>
                        <a:pt x="602" y="613"/>
                      </a:lnTo>
                      <a:lnTo>
                        <a:pt x="610" y="609"/>
                      </a:lnTo>
                      <a:lnTo>
                        <a:pt x="617" y="604"/>
                      </a:lnTo>
                      <a:lnTo>
                        <a:pt x="625" y="600"/>
                      </a:lnTo>
                      <a:lnTo>
                        <a:pt x="632" y="596"/>
                      </a:lnTo>
                      <a:lnTo>
                        <a:pt x="641" y="593"/>
                      </a:lnTo>
                      <a:lnTo>
                        <a:pt x="651" y="592"/>
                      </a:lnTo>
                      <a:lnTo>
                        <a:pt x="653" y="614"/>
                      </a:lnTo>
                      <a:lnTo>
                        <a:pt x="654" y="645"/>
                      </a:lnTo>
                      <a:lnTo>
                        <a:pt x="654" y="653"/>
                      </a:lnTo>
                      <a:lnTo>
                        <a:pt x="655" y="660"/>
                      </a:lnTo>
                      <a:lnTo>
                        <a:pt x="658" y="667"/>
                      </a:lnTo>
                      <a:lnTo>
                        <a:pt x="660" y="672"/>
                      </a:lnTo>
                      <a:lnTo>
                        <a:pt x="663" y="677"/>
                      </a:lnTo>
                      <a:lnTo>
                        <a:pt x="666" y="681"/>
                      </a:lnTo>
                      <a:lnTo>
                        <a:pt x="672" y="683"/>
                      </a:lnTo>
                      <a:lnTo>
                        <a:pt x="677" y="684"/>
                      </a:lnTo>
                      <a:lnTo>
                        <a:pt x="687" y="684"/>
                      </a:lnTo>
                      <a:lnTo>
                        <a:pt x="697" y="684"/>
                      </a:lnTo>
                      <a:lnTo>
                        <a:pt x="703" y="684"/>
                      </a:lnTo>
                      <a:lnTo>
                        <a:pt x="708" y="685"/>
                      </a:lnTo>
                      <a:lnTo>
                        <a:pt x="714" y="687"/>
                      </a:lnTo>
                      <a:lnTo>
                        <a:pt x="720" y="689"/>
                      </a:lnTo>
                      <a:lnTo>
                        <a:pt x="726" y="692"/>
                      </a:lnTo>
                      <a:lnTo>
                        <a:pt x="732" y="696"/>
                      </a:lnTo>
                      <a:lnTo>
                        <a:pt x="738" y="701"/>
                      </a:lnTo>
                      <a:lnTo>
                        <a:pt x="743" y="706"/>
                      </a:lnTo>
                      <a:lnTo>
                        <a:pt x="749" y="712"/>
                      </a:lnTo>
                      <a:lnTo>
                        <a:pt x="754" y="717"/>
                      </a:lnTo>
                      <a:lnTo>
                        <a:pt x="759" y="724"/>
                      </a:lnTo>
                      <a:lnTo>
                        <a:pt x="763" y="731"/>
                      </a:lnTo>
                      <a:lnTo>
                        <a:pt x="765" y="738"/>
                      </a:lnTo>
                      <a:lnTo>
                        <a:pt x="769" y="746"/>
                      </a:lnTo>
                      <a:lnTo>
                        <a:pt x="770" y="756"/>
                      </a:lnTo>
                      <a:lnTo>
                        <a:pt x="771" y="765"/>
                      </a:lnTo>
                      <a:lnTo>
                        <a:pt x="770" y="773"/>
                      </a:lnTo>
                      <a:lnTo>
                        <a:pt x="769" y="779"/>
                      </a:lnTo>
                      <a:lnTo>
                        <a:pt x="766" y="784"/>
                      </a:lnTo>
                      <a:lnTo>
                        <a:pt x="764" y="787"/>
                      </a:lnTo>
                      <a:lnTo>
                        <a:pt x="761" y="790"/>
                      </a:lnTo>
                      <a:lnTo>
                        <a:pt x="759" y="794"/>
                      </a:lnTo>
                      <a:lnTo>
                        <a:pt x="758" y="797"/>
                      </a:lnTo>
                      <a:lnTo>
                        <a:pt x="758" y="801"/>
                      </a:lnTo>
                      <a:lnTo>
                        <a:pt x="758" y="809"/>
                      </a:lnTo>
                      <a:lnTo>
                        <a:pt x="759" y="818"/>
                      </a:lnTo>
                      <a:lnTo>
                        <a:pt x="760" y="825"/>
                      </a:lnTo>
                      <a:lnTo>
                        <a:pt x="761" y="831"/>
                      </a:lnTo>
                      <a:lnTo>
                        <a:pt x="765" y="844"/>
                      </a:lnTo>
                      <a:lnTo>
                        <a:pt x="771" y="856"/>
                      </a:lnTo>
                      <a:lnTo>
                        <a:pt x="774" y="866"/>
                      </a:lnTo>
                      <a:lnTo>
                        <a:pt x="777" y="875"/>
                      </a:lnTo>
                      <a:lnTo>
                        <a:pt x="772" y="882"/>
                      </a:lnTo>
                      <a:lnTo>
                        <a:pt x="769" y="889"/>
                      </a:lnTo>
                      <a:lnTo>
                        <a:pt x="765" y="897"/>
                      </a:lnTo>
                      <a:lnTo>
                        <a:pt x="762" y="904"/>
                      </a:lnTo>
                      <a:lnTo>
                        <a:pt x="760" y="912"/>
                      </a:lnTo>
                      <a:lnTo>
                        <a:pt x="759" y="922"/>
                      </a:lnTo>
                      <a:lnTo>
                        <a:pt x="758" y="932"/>
                      </a:lnTo>
                      <a:lnTo>
                        <a:pt x="758" y="943"/>
                      </a:lnTo>
                      <a:lnTo>
                        <a:pt x="758" y="956"/>
                      </a:lnTo>
                      <a:lnTo>
                        <a:pt x="760" y="967"/>
                      </a:lnTo>
                      <a:lnTo>
                        <a:pt x="762" y="978"/>
                      </a:lnTo>
                      <a:lnTo>
                        <a:pt x="765" y="986"/>
                      </a:lnTo>
                      <a:lnTo>
                        <a:pt x="770" y="994"/>
                      </a:lnTo>
                      <a:lnTo>
                        <a:pt x="774" y="1000"/>
                      </a:lnTo>
                      <a:lnTo>
                        <a:pt x="778" y="1006"/>
                      </a:lnTo>
                      <a:lnTo>
                        <a:pt x="784" y="1011"/>
                      </a:lnTo>
                      <a:lnTo>
                        <a:pt x="775" y="1026"/>
                      </a:lnTo>
                      <a:lnTo>
                        <a:pt x="769" y="1041"/>
                      </a:lnTo>
                      <a:lnTo>
                        <a:pt x="763" y="1054"/>
                      </a:lnTo>
                      <a:lnTo>
                        <a:pt x="759" y="1067"/>
                      </a:lnTo>
                      <a:lnTo>
                        <a:pt x="753" y="1080"/>
                      </a:lnTo>
                      <a:lnTo>
                        <a:pt x="747" y="1095"/>
                      </a:lnTo>
                      <a:lnTo>
                        <a:pt x="737" y="1110"/>
                      </a:lnTo>
                      <a:lnTo>
                        <a:pt x="723" y="1128"/>
                      </a:lnTo>
                      <a:lnTo>
                        <a:pt x="691" y="1122"/>
                      </a:lnTo>
                      <a:lnTo>
                        <a:pt x="681" y="1121"/>
                      </a:lnTo>
                      <a:lnTo>
                        <a:pt x="673" y="1119"/>
                      </a:lnTo>
                      <a:lnTo>
                        <a:pt x="665" y="1116"/>
                      </a:lnTo>
                      <a:lnTo>
                        <a:pt x="659" y="1113"/>
                      </a:lnTo>
                      <a:lnTo>
                        <a:pt x="653" y="1108"/>
                      </a:lnTo>
                      <a:lnTo>
                        <a:pt x="648" y="1103"/>
                      </a:lnTo>
                      <a:lnTo>
                        <a:pt x="642" y="1098"/>
                      </a:lnTo>
                      <a:lnTo>
                        <a:pt x="638" y="1092"/>
                      </a:lnTo>
                      <a:lnTo>
                        <a:pt x="627" y="1079"/>
                      </a:lnTo>
                      <a:lnTo>
                        <a:pt x="616" y="1067"/>
                      </a:lnTo>
                      <a:lnTo>
                        <a:pt x="609" y="1061"/>
                      </a:lnTo>
                      <a:lnTo>
                        <a:pt x="602" y="1056"/>
                      </a:lnTo>
                      <a:lnTo>
                        <a:pt x="594" y="1052"/>
                      </a:lnTo>
                      <a:lnTo>
                        <a:pt x="584" y="1048"/>
                      </a:lnTo>
                      <a:lnTo>
                        <a:pt x="554" y="1038"/>
                      </a:lnTo>
                      <a:lnTo>
                        <a:pt x="507" y="1018"/>
                      </a:lnTo>
                      <a:lnTo>
                        <a:pt x="483" y="1008"/>
                      </a:lnTo>
                      <a:lnTo>
                        <a:pt x="463" y="998"/>
                      </a:lnTo>
                      <a:lnTo>
                        <a:pt x="456" y="993"/>
                      </a:lnTo>
                      <a:lnTo>
                        <a:pt x="450" y="988"/>
                      </a:lnTo>
                      <a:lnTo>
                        <a:pt x="446" y="984"/>
                      </a:lnTo>
                      <a:lnTo>
                        <a:pt x="445" y="980"/>
                      </a:lnTo>
                      <a:lnTo>
                        <a:pt x="436" y="975"/>
                      </a:lnTo>
                      <a:lnTo>
                        <a:pt x="425" y="967"/>
                      </a:lnTo>
                      <a:lnTo>
                        <a:pt x="413" y="956"/>
                      </a:lnTo>
                      <a:lnTo>
                        <a:pt x="398" y="944"/>
                      </a:lnTo>
                      <a:lnTo>
                        <a:pt x="383" y="931"/>
                      </a:lnTo>
                      <a:lnTo>
                        <a:pt x="367" y="916"/>
                      </a:lnTo>
                      <a:lnTo>
                        <a:pt x="349" y="904"/>
                      </a:lnTo>
                      <a:lnTo>
                        <a:pt x="331" y="894"/>
                      </a:lnTo>
                      <a:lnTo>
                        <a:pt x="326" y="890"/>
                      </a:lnTo>
                      <a:lnTo>
                        <a:pt x="323" y="886"/>
                      </a:lnTo>
                      <a:lnTo>
                        <a:pt x="319" y="882"/>
                      </a:lnTo>
                      <a:lnTo>
                        <a:pt x="318" y="877"/>
                      </a:lnTo>
                      <a:lnTo>
                        <a:pt x="318" y="872"/>
                      </a:lnTo>
                      <a:lnTo>
                        <a:pt x="318" y="867"/>
                      </a:lnTo>
                      <a:lnTo>
                        <a:pt x="319" y="860"/>
                      </a:lnTo>
                      <a:lnTo>
                        <a:pt x="321" y="854"/>
                      </a:lnTo>
                      <a:lnTo>
                        <a:pt x="324" y="842"/>
                      </a:lnTo>
                      <a:lnTo>
                        <a:pt x="327" y="829"/>
                      </a:lnTo>
                      <a:lnTo>
                        <a:pt x="328" y="822"/>
                      </a:lnTo>
                      <a:lnTo>
                        <a:pt x="328" y="815"/>
                      </a:lnTo>
                      <a:lnTo>
                        <a:pt x="327" y="808"/>
                      </a:lnTo>
                      <a:lnTo>
                        <a:pt x="325" y="801"/>
                      </a:lnTo>
                      <a:lnTo>
                        <a:pt x="318" y="795"/>
                      </a:lnTo>
                      <a:lnTo>
                        <a:pt x="310" y="789"/>
                      </a:lnTo>
                      <a:lnTo>
                        <a:pt x="300" y="784"/>
                      </a:lnTo>
                      <a:lnTo>
                        <a:pt x="290" y="778"/>
                      </a:lnTo>
                      <a:lnTo>
                        <a:pt x="279" y="772"/>
                      </a:lnTo>
                      <a:lnTo>
                        <a:pt x="270" y="765"/>
                      </a:lnTo>
                      <a:lnTo>
                        <a:pt x="266" y="761"/>
                      </a:lnTo>
                      <a:lnTo>
                        <a:pt x="263" y="757"/>
                      </a:lnTo>
                      <a:lnTo>
                        <a:pt x="260" y="751"/>
                      </a:lnTo>
                      <a:lnTo>
                        <a:pt x="259" y="745"/>
                      </a:lnTo>
                      <a:lnTo>
                        <a:pt x="255" y="735"/>
                      </a:lnTo>
                      <a:lnTo>
                        <a:pt x="251" y="725"/>
                      </a:lnTo>
                      <a:lnTo>
                        <a:pt x="249" y="716"/>
                      </a:lnTo>
                      <a:lnTo>
                        <a:pt x="248" y="707"/>
                      </a:lnTo>
                      <a:lnTo>
                        <a:pt x="246" y="697"/>
                      </a:lnTo>
                      <a:lnTo>
                        <a:pt x="243" y="689"/>
                      </a:lnTo>
                      <a:lnTo>
                        <a:pt x="238" y="681"/>
                      </a:lnTo>
                      <a:lnTo>
                        <a:pt x="232" y="672"/>
                      </a:lnTo>
                      <a:lnTo>
                        <a:pt x="211" y="635"/>
                      </a:lnTo>
                      <a:lnTo>
                        <a:pt x="192" y="603"/>
                      </a:lnTo>
                      <a:lnTo>
                        <a:pt x="174" y="570"/>
                      </a:lnTo>
                      <a:lnTo>
                        <a:pt x="153" y="530"/>
                      </a:lnTo>
                      <a:lnTo>
                        <a:pt x="146" y="521"/>
                      </a:lnTo>
                      <a:lnTo>
                        <a:pt x="138" y="513"/>
                      </a:lnTo>
                      <a:lnTo>
                        <a:pt x="134" y="508"/>
                      </a:lnTo>
                      <a:lnTo>
                        <a:pt x="129" y="502"/>
                      </a:lnTo>
                      <a:lnTo>
                        <a:pt x="124" y="496"/>
                      </a:lnTo>
                      <a:lnTo>
                        <a:pt x="120" y="487"/>
                      </a:lnTo>
                      <a:lnTo>
                        <a:pt x="116" y="478"/>
                      </a:lnTo>
                      <a:lnTo>
                        <a:pt x="113" y="467"/>
                      </a:lnTo>
                      <a:lnTo>
                        <a:pt x="109" y="458"/>
                      </a:lnTo>
                      <a:lnTo>
                        <a:pt x="103" y="448"/>
                      </a:lnTo>
                      <a:lnTo>
                        <a:pt x="98" y="440"/>
                      </a:lnTo>
                      <a:lnTo>
                        <a:pt x="90" y="432"/>
                      </a:lnTo>
                      <a:lnTo>
                        <a:pt x="82" y="425"/>
                      </a:lnTo>
                      <a:lnTo>
                        <a:pt x="72" y="419"/>
                      </a:lnTo>
                      <a:lnTo>
                        <a:pt x="52" y="411"/>
                      </a:lnTo>
                      <a:lnTo>
                        <a:pt x="31" y="403"/>
                      </a:lnTo>
                      <a:lnTo>
                        <a:pt x="26" y="400"/>
                      </a:lnTo>
                      <a:lnTo>
                        <a:pt x="22" y="397"/>
                      </a:lnTo>
                      <a:lnTo>
                        <a:pt x="17" y="393"/>
                      </a:lnTo>
                      <a:lnTo>
                        <a:pt x="13" y="389"/>
                      </a:lnTo>
                      <a:lnTo>
                        <a:pt x="9" y="384"/>
                      </a:lnTo>
                      <a:lnTo>
                        <a:pt x="5" y="378"/>
                      </a:lnTo>
                      <a:lnTo>
                        <a:pt x="2" y="372"/>
                      </a:lnTo>
                      <a:lnTo>
                        <a:pt x="0" y="363"/>
                      </a:lnTo>
                      <a:lnTo>
                        <a:pt x="20" y="345"/>
                      </a:lnTo>
                      <a:lnTo>
                        <a:pt x="15" y="331"/>
                      </a:lnTo>
                      <a:lnTo>
                        <a:pt x="14" y="317"/>
                      </a:lnTo>
                      <a:lnTo>
                        <a:pt x="13" y="301"/>
                      </a:lnTo>
                      <a:lnTo>
                        <a:pt x="13" y="284"/>
                      </a:lnTo>
                      <a:lnTo>
                        <a:pt x="13" y="276"/>
                      </a:lnTo>
                      <a:lnTo>
                        <a:pt x="14" y="270"/>
                      </a:lnTo>
                      <a:lnTo>
                        <a:pt x="16" y="264"/>
                      </a:lnTo>
                      <a:lnTo>
                        <a:pt x="19" y="259"/>
                      </a:lnTo>
                      <a:lnTo>
                        <a:pt x="21" y="254"/>
                      </a:lnTo>
                      <a:lnTo>
                        <a:pt x="24" y="249"/>
                      </a:lnTo>
                      <a:lnTo>
                        <a:pt x="28" y="246"/>
                      </a:lnTo>
                      <a:lnTo>
                        <a:pt x="32" y="243"/>
                      </a:lnTo>
                      <a:lnTo>
                        <a:pt x="41" y="237"/>
                      </a:lnTo>
                      <a:lnTo>
                        <a:pt x="49" y="231"/>
                      </a:lnTo>
                      <a:lnTo>
                        <a:pt x="58" y="224"/>
                      </a:lnTo>
                      <a:lnTo>
                        <a:pt x="66" y="216"/>
                      </a:lnTo>
                      <a:lnTo>
                        <a:pt x="72" y="222"/>
                      </a:lnTo>
                      <a:lnTo>
                        <a:pt x="79" y="228"/>
                      </a:lnTo>
                      <a:lnTo>
                        <a:pt x="83" y="235"/>
                      </a:lnTo>
                      <a:lnTo>
                        <a:pt x="86" y="240"/>
                      </a:lnTo>
                      <a:lnTo>
                        <a:pt x="86" y="252"/>
                      </a:lnTo>
                      <a:lnTo>
                        <a:pt x="86" y="265"/>
                      </a:lnTo>
                      <a:lnTo>
                        <a:pt x="95" y="272"/>
                      </a:lnTo>
                      <a:lnTo>
                        <a:pt x="116" y="287"/>
                      </a:lnTo>
                      <a:lnTo>
                        <a:pt x="128" y="294"/>
                      </a:lnTo>
                      <a:lnTo>
                        <a:pt x="139" y="301"/>
                      </a:lnTo>
                      <a:lnTo>
                        <a:pt x="148" y="306"/>
                      </a:lnTo>
                      <a:lnTo>
                        <a:pt x="153" y="308"/>
                      </a:lnTo>
                      <a:lnTo>
                        <a:pt x="158" y="307"/>
                      </a:lnTo>
                      <a:lnTo>
                        <a:pt x="164" y="303"/>
                      </a:lnTo>
                      <a:lnTo>
                        <a:pt x="169" y="298"/>
                      </a:lnTo>
                      <a:lnTo>
                        <a:pt x="174" y="291"/>
                      </a:lnTo>
                      <a:lnTo>
                        <a:pt x="179" y="284"/>
                      </a:lnTo>
                      <a:lnTo>
                        <a:pt x="182" y="277"/>
                      </a:lnTo>
                      <a:lnTo>
                        <a:pt x="184" y="271"/>
                      </a:lnTo>
                      <a:lnTo>
                        <a:pt x="185" y="265"/>
                      </a:lnTo>
                      <a:lnTo>
                        <a:pt x="187" y="259"/>
                      </a:lnTo>
                      <a:lnTo>
                        <a:pt x="188" y="251"/>
                      </a:lnTo>
                      <a:lnTo>
                        <a:pt x="190" y="244"/>
                      </a:lnTo>
                      <a:lnTo>
                        <a:pt x="193" y="238"/>
                      </a:lnTo>
                      <a:lnTo>
                        <a:pt x="201" y="225"/>
                      </a:lnTo>
                      <a:lnTo>
                        <a:pt x="212" y="213"/>
                      </a:lnTo>
                      <a:lnTo>
                        <a:pt x="222" y="202"/>
                      </a:lnTo>
                      <a:lnTo>
                        <a:pt x="234" y="192"/>
                      </a:lnTo>
                      <a:lnTo>
                        <a:pt x="244" y="184"/>
                      </a:lnTo>
                      <a:lnTo>
                        <a:pt x="252" y="179"/>
                      </a:lnTo>
                      <a:lnTo>
                        <a:pt x="270" y="170"/>
                      </a:lnTo>
                      <a:lnTo>
                        <a:pt x="289" y="160"/>
                      </a:lnTo>
                      <a:lnTo>
                        <a:pt x="306" y="150"/>
                      </a:lnTo>
                      <a:lnTo>
                        <a:pt x="323" y="138"/>
                      </a:lnTo>
                      <a:lnTo>
                        <a:pt x="330" y="133"/>
                      </a:lnTo>
                      <a:lnTo>
                        <a:pt x="337" y="126"/>
                      </a:lnTo>
                      <a:lnTo>
                        <a:pt x="344" y="120"/>
                      </a:lnTo>
                      <a:lnTo>
                        <a:pt x="348" y="113"/>
                      </a:lnTo>
                      <a:lnTo>
                        <a:pt x="352" y="106"/>
                      </a:lnTo>
                      <a:lnTo>
                        <a:pt x="356" y="98"/>
                      </a:lnTo>
                      <a:lnTo>
                        <a:pt x="358" y="90"/>
                      </a:lnTo>
                      <a:lnTo>
                        <a:pt x="358" y="80"/>
                      </a:lnTo>
                      <a:lnTo>
                        <a:pt x="357" y="70"/>
                      </a:lnTo>
                      <a:lnTo>
                        <a:pt x="355" y="58"/>
                      </a:lnTo>
                      <a:lnTo>
                        <a:pt x="350" y="46"/>
                      </a:lnTo>
                      <a:lnTo>
                        <a:pt x="345" y="34"/>
                      </a:lnTo>
                      <a:lnTo>
                        <a:pt x="336" y="12"/>
                      </a:lnTo>
                      <a:lnTo>
                        <a:pt x="331" y="0"/>
                      </a:lnTo>
                      <a:lnTo>
                        <a:pt x="347" y="5"/>
                      </a:lnTo>
                      <a:lnTo>
                        <a:pt x="360" y="11"/>
                      </a:lnTo>
                      <a:lnTo>
                        <a:pt x="374" y="18"/>
                      </a:lnTo>
                      <a:lnTo>
                        <a:pt x="386" y="26"/>
                      </a:lnTo>
                      <a:lnTo>
                        <a:pt x="398" y="35"/>
                      </a:lnTo>
                      <a:lnTo>
                        <a:pt x="411" y="44"/>
                      </a:lnTo>
                      <a:lnTo>
                        <a:pt x="422" y="53"/>
                      </a:lnTo>
                      <a:lnTo>
                        <a:pt x="431" y="62"/>
                      </a:lnTo>
                      <a:lnTo>
                        <a:pt x="438" y="68"/>
                      </a:lnTo>
                      <a:lnTo>
                        <a:pt x="445" y="75"/>
                      </a:lnTo>
                      <a:lnTo>
                        <a:pt x="451" y="82"/>
                      </a:lnTo>
                      <a:lnTo>
                        <a:pt x="457" y="91"/>
                      </a:lnTo>
                      <a:lnTo>
                        <a:pt x="467" y="107"/>
                      </a:lnTo>
                      <a:lnTo>
                        <a:pt x="476" y="123"/>
                      </a:lnTo>
                      <a:lnTo>
                        <a:pt x="481" y="130"/>
                      </a:lnTo>
                      <a:lnTo>
                        <a:pt x="486" y="137"/>
                      </a:lnTo>
                      <a:lnTo>
                        <a:pt x="493" y="144"/>
                      </a:lnTo>
                      <a:lnTo>
                        <a:pt x="498" y="150"/>
                      </a:lnTo>
                      <a:lnTo>
                        <a:pt x="506" y="154"/>
                      </a:lnTo>
                      <a:lnTo>
                        <a:pt x="513" y="158"/>
                      </a:lnTo>
                      <a:lnTo>
                        <a:pt x="521" y="160"/>
                      </a:lnTo>
                      <a:lnTo>
                        <a:pt x="531" y="161"/>
                      </a:lnTo>
                      <a:lnTo>
                        <a:pt x="541" y="160"/>
                      </a:lnTo>
                      <a:lnTo>
                        <a:pt x="551" y="159"/>
                      </a:lnTo>
                      <a:lnTo>
                        <a:pt x="561" y="157"/>
                      </a:lnTo>
                      <a:lnTo>
                        <a:pt x="571" y="155"/>
                      </a:lnTo>
                      <a:lnTo>
                        <a:pt x="581" y="152"/>
                      </a:lnTo>
                      <a:lnTo>
                        <a:pt x="591" y="150"/>
                      </a:lnTo>
                      <a:lnTo>
                        <a:pt x="601" y="149"/>
                      </a:lnTo>
                      <a:lnTo>
                        <a:pt x="610" y="148"/>
                      </a:lnTo>
                      <a:lnTo>
                        <a:pt x="617" y="149"/>
                      </a:lnTo>
                      <a:lnTo>
                        <a:pt x="624" y="151"/>
                      </a:lnTo>
                      <a:lnTo>
                        <a:pt x="628" y="151"/>
                      </a:lnTo>
                      <a:lnTo>
                        <a:pt x="631" y="151"/>
                      </a:lnTo>
                      <a:lnTo>
                        <a:pt x="635" y="150"/>
                      </a:lnTo>
                      <a:lnTo>
                        <a:pt x="638" y="148"/>
                      </a:lnTo>
                      <a:lnTo>
                        <a:pt x="640" y="156"/>
                      </a:lnTo>
                      <a:lnTo>
                        <a:pt x="648" y="167"/>
                      </a:lnTo>
                      <a:lnTo>
                        <a:pt x="654" y="177"/>
                      </a:lnTo>
                      <a:lnTo>
                        <a:pt x="658" y="185"/>
                      </a:lnTo>
                      <a:lnTo>
                        <a:pt x="657" y="188"/>
                      </a:lnTo>
                      <a:lnTo>
                        <a:pt x="655" y="191"/>
                      </a:lnTo>
                      <a:lnTo>
                        <a:pt x="654" y="193"/>
                      </a:lnTo>
                      <a:lnTo>
                        <a:pt x="652" y="195"/>
                      </a:lnTo>
                      <a:lnTo>
                        <a:pt x="647" y="200"/>
                      </a:lnTo>
                      <a:lnTo>
                        <a:pt x="641" y="203"/>
                      </a:lnTo>
                      <a:lnTo>
                        <a:pt x="635" y="206"/>
                      </a:lnTo>
                      <a:lnTo>
                        <a:pt x="629" y="209"/>
                      </a:lnTo>
                      <a:lnTo>
                        <a:pt x="627" y="210"/>
                      </a:lnTo>
                      <a:lnTo>
                        <a:pt x="626" y="212"/>
                      </a:lnTo>
                      <a:lnTo>
                        <a:pt x="625" y="214"/>
                      </a:lnTo>
                      <a:lnTo>
                        <a:pt x="624" y="216"/>
                      </a:lnTo>
                      <a:lnTo>
                        <a:pt x="625" y="226"/>
                      </a:lnTo>
                      <a:lnTo>
                        <a:pt x="626" y="234"/>
                      </a:lnTo>
                      <a:lnTo>
                        <a:pt x="627" y="240"/>
                      </a:lnTo>
                      <a:lnTo>
                        <a:pt x="629" y="244"/>
                      </a:lnTo>
                      <a:lnTo>
                        <a:pt x="636" y="251"/>
                      </a:lnTo>
                      <a:lnTo>
                        <a:pt x="644" y="25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8" name="Freeform 8">
                  <a:extLst>
                    <a:ext uri="{FF2B5EF4-FFF2-40B4-BE49-F238E27FC236}">
                      <a16:creationId xmlns:a16="http://schemas.microsoft.com/office/drawing/2014/main" xmlns="" id="{FDA8E695-68F1-463C-A78C-E09FDB53FE78}"/>
                    </a:ext>
                  </a:extLst>
                </p:cNvPr>
                <p:cNvSpPr>
                  <a:spLocks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2271713" y="4225925"/>
                  <a:ext cx="261937" cy="1130300"/>
                </a:xfrm>
                <a:custGeom>
                  <a:avLst/>
                  <a:gdLst>
                    <a:gd name="T0" fmla="*/ 2147483646 w 598"/>
                    <a:gd name="T1" fmla="*/ 2147483646 h 2158"/>
                    <a:gd name="T2" fmla="*/ 2147483646 w 598"/>
                    <a:gd name="T3" fmla="*/ 2147483646 h 2158"/>
                    <a:gd name="T4" fmla="*/ 2147483646 w 598"/>
                    <a:gd name="T5" fmla="*/ 2147483646 h 2158"/>
                    <a:gd name="T6" fmla="*/ 2147483646 w 598"/>
                    <a:gd name="T7" fmla="*/ 2147483646 h 2158"/>
                    <a:gd name="T8" fmla="*/ 2147483646 w 598"/>
                    <a:gd name="T9" fmla="*/ 2147483646 h 2158"/>
                    <a:gd name="T10" fmla="*/ 2147483646 w 598"/>
                    <a:gd name="T11" fmla="*/ 2147483646 h 2158"/>
                    <a:gd name="T12" fmla="*/ 2147483646 w 598"/>
                    <a:gd name="T13" fmla="*/ 2147483646 h 2158"/>
                    <a:gd name="T14" fmla="*/ 2147483646 w 598"/>
                    <a:gd name="T15" fmla="*/ 2147483646 h 2158"/>
                    <a:gd name="T16" fmla="*/ 2147483646 w 598"/>
                    <a:gd name="T17" fmla="*/ 2147483646 h 2158"/>
                    <a:gd name="T18" fmla="*/ 2147483646 w 598"/>
                    <a:gd name="T19" fmla="*/ 2147483646 h 2158"/>
                    <a:gd name="T20" fmla="*/ 2147483646 w 598"/>
                    <a:gd name="T21" fmla="*/ 2147483646 h 2158"/>
                    <a:gd name="T22" fmla="*/ 2147483646 w 598"/>
                    <a:gd name="T23" fmla="*/ 2147483646 h 2158"/>
                    <a:gd name="T24" fmla="*/ 2147483646 w 598"/>
                    <a:gd name="T25" fmla="*/ 2147483646 h 2158"/>
                    <a:gd name="T26" fmla="*/ 2147483646 w 598"/>
                    <a:gd name="T27" fmla="*/ 2147483646 h 2158"/>
                    <a:gd name="T28" fmla="*/ 2147483646 w 598"/>
                    <a:gd name="T29" fmla="*/ 2147483646 h 2158"/>
                    <a:gd name="T30" fmla="*/ 2147483646 w 598"/>
                    <a:gd name="T31" fmla="*/ 2147483646 h 2158"/>
                    <a:gd name="T32" fmla="*/ 2147483646 w 598"/>
                    <a:gd name="T33" fmla="*/ 2147483646 h 2158"/>
                    <a:gd name="T34" fmla="*/ 2147483646 w 598"/>
                    <a:gd name="T35" fmla="*/ 2147483646 h 2158"/>
                    <a:gd name="T36" fmla="*/ 2147483646 w 598"/>
                    <a:gd name="T37" fmla="*/ 2147483646 h 2158"/>
                    <a:gd name="T38" fmla="*/ 2147483646 w 598"/>
                    <a:gd name="T39" fmla="*/ 2147483646 h 2158"/>
                    <a:gd name="T40" fmla="*/ 2147483646 w 598"/>
                    <a:gd name="T41" fmla="*/ 2147483646 h 2158"/>
                    <a:gd name="T42" fmla="*/ 2147483646 w 598"/>
                    <a:gd name="T43" fmla="*/ 2147483646 h 2158"/>
                    <a:gd name="T44" fmla="*/ 2147483646 w 598"/>
                    <a:gd name="T45" fmla="*/ 2147483646 h 2158"/>
                    <a:gd name="T46" fmla="*/ 2147483646 w 598"/>
                    <a:gd name="T47" fmla="*/ 2147483646 h 2158"/>
                    <a:gd name="T48" fmla="*/ 2147483646 w 598"/>
                    <a:gd name="T49" fmla="*/ 2147483646 h 2158"/>
                    <a:gd name="T50" fmla="*/ 2147483646 w 598"/>
                    <a:gd name="T51" fmla="*/ 2147483646 h 2158"/>
                    <a:gd name="T52" fmla="*/ 2147483646 w 598"/>
                    <a:gd name="T53" fmla="*/ 2147483646 h 2158"/>
                    <a:gd name="T54" fmla="*/ 2147483646 w 598"/>
                    <a:gd name="T55" fmla="*/ 2147483646 h 2158"/>
                    <a:gd name="T56" fmla="*/ 2147483646 w 598"/>
                    <a:gd name="T57" fmla="*/ 2147483646 h 2158"/>
                    <a:gd name="T58" fmla="*/ 0 w 598"/>
                    <a:gd name="T59" fmla="*/ 2147483646 h 2158"/>
                    <a:gd name="T60" fmla="*/ 2147483646 w 598"/>
                    <a:gd name="T61" fmla="*/ 2147483646 h 2158"/>
                    <a:gd name="T62" fmla="*/ 2147483646 w 598"/>
                    <a:gd name="T63" fmla="*/ 2147483646 h 2158"/>
                    <a:gd name="T64" fmla="*/ 2147483646 w 598"/>
                    <a:gd name="T65" fmla="*/ 2147483646 h 2158"/>
                    <a:gd name="T66" fmla="*/ 2147483646 w 598"/>
                    <a:gd name="T67" fmla="*/ 2147483646 h 2158"/>
                    <a:gd name="T68" fmla="*/ 2147483646 w 598"/>
                    <a:gd name="T69" fmla="*/ 2147483646 h 2158"/>
                    <a:gd name="T70" fmla="*/ 2147483646 w 598"/>
                    <a:gd name="T71" fmla="*/ 2147483646 h 2158"/>
                    <a:gd name="T72" fmla="*/ 2147483646 w 598"/>
                    <a:gd name="T73" fmla="*/ 2147483646 h 2158"/>
                    <a:gd name="T74" fmla="*/ 2147483646 w 598"/>
                    <a:gd name="T75" fmla="*/ 2147483646 h 2158"/>
                    <a:gd name="T76" fmla="*/ 2147483646 w 598"/>
                    <a:gd name="T77" fmla="*/ 2147483646 h 2158"/>
                    <a:gd name="T78" fmla="*/ 2147483646 w 598"/>
                    <a:gd name="T79" fmla="*/ 2147483646 h 2158"/>
                    <a:gd name="T80" fmla="*/ 2147483646 w 598"/>
                    <a:gd name="T81" fmla="*/ 2147483646 h 2158"/>
                    <a:gd name="T82" fmla="*/ 2147483646 w 598"/>
                    <a:gd name="T83" fmla="*/ 2147483646 h 2158"/>
                    <a:gd name="T84" fmla="*/ 2147483646 w 598"/>
                    <a:gd name="T85" fmla="*/ 2147483646 h 2158"/>
                    <a:gd name="T86" fmla="*/ 2147483646 w 598"/>
                    <a:gd name="T87" fmla="*/ 2147483646 h 2158"/>
                    <a:gd name="T88" fmla="*/ 2147483646 w 598"/>
                    <a:gd name="T89" fmla="*/ 2147483646 h 2158"/>
                    <a:gd name="T90" fmla="*/ 2147483646 w 598"/>
                    <a:gd name="T91" fmla="*/ 2147483646 h 2158"/>
                    <a:gd name="T92" fmla="*/ 2147483646 w 598"/>
                    <a:gd name="T93" fmla="*/ 2147483646 h 2158"/>
                    <a:gd name="T94" fmla="*/ 2147483646 w 598"/>
                    <a:gd name="T95" fmla="*/ 2147483646 h 2158"/>
                    <a:gd name="T96" fmla="*/ 2147483646 w 598"/>
                    <a:gd name="T97" fmla="*/ 2147483646 h 2158"/>
                    <a:gd name="T98" fmla="*/ 2147483646 w 598"/>
                    <a:gd name="T99" fmla="*/ 2147483646 h 2158"/>
                    <a:gd name="T100" fmla="*/ 2147483646 w 598"/>
                    <a:gd name="T101" fmla="*/ 2147483646 h 2158"/>
                    <a:gd name="T102" fmla="*/ 2147483646 w 598"/>
                    <a:gd name="T103" fmla="*/ 2147483646 h 2158"/>
                    <a:gd name="T104" fmla="*/ 2147483646 w 598"/>
                    <a:gd name="T105" fmla="*/ 2147483646 h 2158"/>
                    <a:gd name="T106" fmla="*/ 2147483646 w 598"/>
                    <a:gd name="T107" fmla="*/ 2147483646 h 2158"/>
                    <a:gd name="T108" fmla="*/ 2147483646 w 598"/>
                    <a:gd name="T109" fmla="*/ 2147483646 h 2158"/>
                    <a:gd name="T110" fmla="*/ 2147483646 w 598"/>
                    <a:gd name="T111" fmla="*/ 2147483646 h 2158"/>
                    <a:gd name="T112" fmla="*/ 2147483646 w 598"/>
                    <a:gd name="T113" fmla="*/ 2147483646 h 2158"/>
                    <a:gd name="T114" fmla="*/ 2147483646 w 598"/>
                    <a:gd name="T115" fmla="*/ 2147483646 h 2158"/>
                    <a:gd name="T116" fmla="*/ 2147483646 w 598"/>
                    <a:gd name="T117" fmla="*/ 2147483646 h 2158"/>
                    <a:gd name="T118" fmla="*/ 2147483646 w 598"/>
                    <a:gd name="T119" fmla="*/ 2147483646 h 2158"/>
                    <a:gd name="T120" fmla="*/ 2147483646 w 598"/>
                    <a:gd name="T121" fmla="*/ 2147483646 h 2158"/>
                    <a:gd name="T122" fmla="*/ 2147483646 w 598"/>
                    <a:gd name="T123" fmla="*/ 2147483646 h 215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598"/>
                    <a:gd name="T187" fmla="*/ 0 h 2158"/>
                    <a:gd name="T188" fmla="*/ 598 w 598"/>
                    <a:gd name="T189" fmla="*/ 2158 h 215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598" h="2158">
                      <a:moveTo>
                        <a:pt x="491" y="2046"/>
                      </a:moveTo>
                      <a:lnTo>
                        <a:pt x="480" y="2045"/>
                      </a:lnTo>
                      <a:lnTo>
                        <a:pt x="469" y="2043"/>
                      </a:lnTo>
                      <a:lnTo>
                        <a:pt x="456" y="2039"/>
                      </a:lnTo>
                      <a:lnTo>
                        <a:pt x="444" y="2034"/>
                      </a:lnTo>
                      <a:lnTo>
                        <a:pt x="431" y="2028"/>
                      </a:lnTo>
                      <a:lnTo>
                        <a:pt x="418" y="2021"/>
                      </a:lnTo>
                      <a:lnTo>
                        <a:pt x="405" y="2013"/>
                      </a:lnTo>
                      <a:lnTo>
                        <a:pt x="392" y="2003"/>
                      </a:lnTo>
                      <a:lnTo>
                        <a:pt x="379" y="1994"/>
                      </a:lnTo>
                      <a:lnTo>
                        <a:pt x="368" y="1985"/>
                      </a:lnTo>
                      <a:lnTo>
                        <a:pt x="357" y="1976"/>
                      </a:lnTo>
                      <a:lnTo>
                        <a:pt x="349" y="1966"/>
                      </a:lnTo>
                      <a:lnTo>
                        <a:pt x="342" y="1955"/>
                      </a:lnTo>
                      <a:lnTo>
                        <a:pt x="337" y="1946"/>
                      </a:lnTo>
                      <a:lnTo>
                        <a:pt x="333" y="1937"/>
                      </a:lnTo>
                      <a:lnTo>
                        <a:pt x="332" y="1929"/>
                      </a:lnTo>
                      <a:lnTo>
                        <a:pt x="332" y="1919"/>
                      </a:lnTo>
                      <a:lnTo>
                        <a:pt x="333" y="1909"/>
                      </a:lnTo>
                      <a:lnTo>
                        <a:pt x="336" y="1900"/>
                      </a:lnTo>
                      <a:lnTo>
                        <a:pt x="339" y="1893"/>
                      </a:lnTo>
                      <a:lnTo>
                        <a:pt x="341" y="1887"/>
                      </a:lnTo>
                      <a:lnTo>
                        <a:pt x="343" y="1880"/>
                      </a:lnTo>
                      <a:lnTo>
                        <a:pt x="344" y="1874"/>
                      </a:lnTo>
                      <a:lnTo>
                        <a:pt x="345" y="1868"/>
                      </a:lnTo>
                      <a:lnTo>
                        <a:pt x="345" y="1863"/>
                      </a:lnTo>
                      <a:lnTo>
                        <a:pt x="345" y="1855"/>
                      </a:lnTo>
                      <a:lnTo>
                        <a:pt x="345" y="1843"/>
                      </a:lnTo>
                      <a:lnTo>
                        <a:pt x="345" y="1824"/>
                      </a:lnTo>
                      <a:lnTo>
                        <a:pt x="345" y="1818"/>
                      </a:lnTo>
                      <a:lnTo>
                        <a:pt x="348" y="1812"/>
                      </a:lnTo>
                      <a:lnTo>
                        <a:pt x="351" y="1807"/>
                      </a:lnTo>
                      <a:lnTo>
                        <a:pt x="355" y="1802"/>
                      </a:lnTo>
                      <a:lnTo>
                        <a:pt x="359" y="1797"/>
                      </a:lnTo>
                      <a:lnTo>
                        <a:pt x="362" y="1791"/>
                      </a:lnTo>
                      <a:lnTo>
                        <a:pt x="364" y="1783"/>
                      </a:lnTo>
                      <a:lnTo>
                        <a:pt x="365" y="1775"/>
                      </a:lnTo>
                      <a:lnTo>
                        <a:pt x="364" y="1768"/>
                      </a:lnTo>
                      <a:lnTo>
                        <a:pt x="363" y="1762"/>
                      </a:lnTo>
                      <a:lnTo>
                        <a:pt x="362" y="1756"/>
                      </a:lnTo>
                      <a:lnTo>
                        <a:pt x="360" y="1750"/>
                      </a:lnTo>
                      <a:lnTo>
                        <a:pt x="354" y="1740"/>
                      </a:lnTo>
                      <a:lnTo>
                        <a:pt x="349" y="1728"/>
                      </a:lnTo>
                      <a:lnTo>
                        <a:pt x="342" y="1718"/>
                      </a:lnTo>
                      <a:lnTo>
                        <a:pt x="337" y="1707"/>
                      </a:lnTo>
                      <a:lnTo>
                        <a:pt x="334" y="1702"/>
                      </a:lnTo>
                      <a:lnTo>
                        <a:pt x="333" y="1696"/>
                      </a:lnTo>
                      <a:lnTo>
                        <a:pt x="332" y="1690"/>
                      </a:lnTo>
                      <a:lnTo>
                        <a:pt x="332" y="1683"/>
                      </a:lnTo>
                      <a:lnTo>
                        <a:pt x="331" y="1670"/>
                      </a:lnTo>
                      <a:lnTo>
                        <a:pt x="330" y="1659"/>
                      </a:lnTo>
                      <a:lnTo>
                        <a:pt x="329" y="1648"/>
                      </a:lnTo>
                      <a:lnTo>
                        <a:pt x="327" y="1638"/>
                      </a:lnTo>
                      <a:lnTo>
                        <a:pt x="320" y="1617"/>
                      </a:lnTo>
                      <a:lnTo>
                        <a:pt x="312" y="1599"/>
                      </a:lnTo>
                      <a:lnTo>
                        <a:pt x="303" y="1581"/>
                      </a:lnTo>
                      <a:lnTo>
                        <a:pt x="292" y="1563"/>
                      </a:lnTo>
                      <a:lnTo>
                        <a:pt x="281" y="1547"/>
                      </a:lnTo>
                      <a:lnTo>
                        <a:pt x="269" y="1530"/>
                      </a:lnTo>
                      <a:lnTo>
                        <a:pt x="256" y="1514"/>
                      </a:lnTo>
                      <a:lnTo>
                        <a:pt x="245" y="1496"/>
                      </a:lnTo>
                      <a:lnTo>
                        <a:pt x="235" y="1478"/>
                      </a:lnTo>
                      <a:lnTo>
                        <a:pt x="226" y="1460"/>
                      </a:lnTo>
                      <a:lnTo>
                        <a:pt x="221" y="1449"/>
                      </a:lnTo>
                      <a:lnTo>
                        <a:pt x="217" y="1439"/>
                      </a:lnTo>
                      <a:lnTo>
                        <a:pt x="214" y="1428"/>
                      </a:lnTo>
                      <a:lnTo>
                        <a:pt x="210" y="1417"/>
                      </a:lnTo>
                      <a:lnTo>
                        <a:pt x="208" y="1406"/>
                      </a:lnTo>
                      <a:lnTo>
                        <a:pt x="207" y="1393"/>
                      </a:lnTo>
                      <a:lnTo>
                        <a:pt x="206" y="1381"/>
                      </a:lnTo>
                      <a:lnTo>
                        <a:pt x="206" y="1368"/>
                      </a:lnTo>
                      <a:lnTo>
                        <a:pt x="206" y="1355"/>
                      </a:lnTo>
                      <a:lnTo>
                        <a:pt x="207" y="1342"/>
                      </a:lnTo>
                      <a:lnTo>
                        <a:pt x="209" y="1331"/>
                      </a:lnTo>
                      <a:lnTo>
                        <a:pt x="213" y="1320"/>
                      </a:lnTo>
                      <a:lnTo>
                        <a:pt x="215" y="1309"/>
                      </a:lnTo>
                      <a:lnTo>
                        <a:pt x="217" y="1299"/>
                      </a:lnTo>
                      <a:lnTo>
                        <a:pt x="218" y="1287"/>
                      </a:lnTo>
                      <a:lnTo>
                        <a:pt x="219" y="1276"/>
                      </a:lnTo>
                      <a:lnTo>
                        <a:pt x="218" y="1268"/>
                      </a:lnTo>
                      <a:lnTo>
                        <a:pt x="217" y="1261"/>
                      </a:lnTo>
                      <a:lnTo>
                        <a:pt x="216" y="1254"/>
                      </a:lnTo>
                      <a:lnTo>
                        <a:pt x="214" y="1248"/>
                      </a:lnTo>
                      <a:lnTo>
                        <a:pt x="208" y="1235"/>
                      </a:lnTo>
                      <a:lnTo>
                        <a:pt x="203" y="1223"/>
                      </a:lnTo>
                      <a:lnTo>
                        <a:pt x="196" y="1210"/>
                      </a:lnTo>
                      <a:lnTo>
                        <a:pt x="191" y="1197"/>
                      </a:lnTo>
                      <a:lnTo>
                        <a:pt x="188" y="1190"/>
                      </a:lnTo>
                      <a:lnTo>
                        <a:pt x="187" y="1183"/>
                      </a:lnTo>
                      <a:lnTo>
                        <a:pt x="186" y="1174"/>
                      </a:lnTo>
                      <a:lnTo>
                        <a:pt x="185" y="1165"/>
                      </a:lnTo>
                      <a:lnTo>
                        <a:pt x="186" y="1158"/>
                      </a:lnTo>
                      <a:lnTo>
                        <a:pt x="189" y="1152"/>
                      </a:lnTo>
                      <a:lnTo>
                        <a:pt x="194" y="1146"/>
                      </a:lnTo>
                      <a:lnTo>
                        <a:pt x="199" y="1141"/>
                      </a:lnTo>
                      <a:lnTo>
                        <a:pt x="204" y="1135"/>
                      </a:lnTo>
                      <a:lnTo>
                        <a:pt x="208" y="1129"/>
                      </a:lnTo>
                      <a:lnTo>
                        <a:pt x="211" y="1123"/>
                      </a:lnTo>
                      <a:lnTo>
                        <a:pt x="213" y="1115"/>
                      </a:lnTo>
                      <a:lnTo>
                        <a:pt x="211" y="1109"/>
                      </a:lnTo>
                      <a:lnTo>
                        <a:pt x="209" y="1103"/>
                      </a:lnTo>
                      <a:lnTo>
                        <a:pt x="206" y="1097"/>
                      </a:lnTo>
                      <a:lnTo>
                        <a:pt x="203" y="1092"/>
                      </a:lnTo>
                      <a:lnTo>
                        <a:pt x="198" y="1087"/>
                      </a:lnTo>
                      <a:lnTo>
                        <a:pt x="195" y="1082"/>
                      </a:lnTo>
                      <a:lnTo>
                        <a:pt x="193" y="1078"/>
                      </a:lnTo>
                      <a:lnTo>
                        <a:pt x="192" y="1073"/>
                      </a:lnTo>
                      <a:lnTo>
                        <a:pt x="195" y="1064"/>
                      </a:lnTo>
                      <a:lnTo>
                        <a:pt x="203" y="1049"/>
                      </a:lnTo>
                      <a:lnTo>
                        <a:pt x="206" y="1041"/>
                      </a:lnTo>
                      <a:lnTo>
                        <a:pt x="209" y="1033"/>
                      </a:lnTo>
                      <a:lnTo>
                        <a:pt x="211" y="1025"/>
                      </a:lnTo>
                      <a:lnTo>
                        <a:pt x="213" y="1018"/>
                      </a:lnTo>
                      <a:lnTo>
                        <a:pt x="203" y="1018"/>
                      </a:lnTo>
                      <a:lnTo>
                        <a:pt x="192" y="1018"/>
                      </a:lnTo>
                      <a:lnTo>
                        <a:pt x="198" y="1012"/>
                      </a:lnTo>
                      <a:lnTo>
                        <a:pt x="205" y="1003"/>
                      </a:lnTo>
                      <a:lnTo>
                        <a:pt x="207" y="998"/>
                      </a:lnTo>
                      <a:lnTo>
                        <a:pt x="210" y="993"/>
                      </a:lnTo>
                      <a:lnTo>
                        <a:pt x="211" y="987"/>
                      </a:lnTo>
                      <a:lnTo>
                        <a:pt x="213" y="980"/>
                      </a:lnTo>
                      <a:lnTo>
                        <a:pt x="211" y="970"/>
                      </a:lnTo>
                      <a:lnTo>
                        <a:pt x="208" y="961"/>
                      </a:lnTo>
                      <a:lnTo>
                        <a:pt x="205" y="951"/>
                      </a:lnTo>
                      <a:lnTo>
                        <a:pt x="199" y="943"/>
                      </a:lnTo>
                      <a:lnTo>
                        <a:pt x="187" y="927"/>
                      </a:lnTo>
                      <a:lnTo>
                        <a:pt x="172" y="910"/>
                      </a:lnTo>
                      <a:lnTo>
                        <a:pt x="165" y="902"/>
                      </a:lnTo>
                      <a:lnTo>
                        <a:pt x="158" y="892"/>
                      </a:lnTo>
                      <a:lnTo>
                        <a:pt x="151" y="883"/>
                      </a:lnTo>
                      <a:lnTo>
                        <a:pt x="144" y="874"/>
                      </a:lnTo>
                      <a:lnTo>
                        <a:pt x="140" y="863"/>
                      </a:lnTo>
                      <a:lnTo>
                        <a:pt x="136" y="852"/>
                      </a:lnTo>
                      <a:lnTo>
                        <a:pt x="134" y="839"/>
                      </a:lnTo>
                      <a:lnTo>
                        <a:pt x="132" y="826"/>
                      </a:lnTo>
                      <a:lnTo>
                        <a:pt x="132" y="794"/>
                      </a:lnTo>
                      <a:lnTo>
                        <a:pt x="132" y="766"/>
                      </a:lnTo>
                      <a:lnTo>
                        <a:pt x="132" y="736"/>
                      </a:lnTo>
                      <a:lnTo>
                        <a:pt x="132" y="697"/>
                      </a:lnTo>
                      <a:lnTo>
                        <a:pt x="134" y="686"/>
                      </a:lnTo>
                      <a:lnTo>
                        <a:pt x="135" y="675"/>
                      </a:lnTo>
                      <a:lnTo>
                        <a:pt x="138" y="665"/>
                      </a:lnTo>
                      <a:lnTo>
                        <a:pt x="141" y="655"/>
                      </a:lnTo>
                      <a:lnTo>
                        <a:pt x="151" y="637"/>
                      </a:lnTo>
                      <a:lnTo>
                        <a:pt x="162" y="619"/>
                      </a:lnTo>
                      <a:lnTo>
                        <a:pt x="173" y="602"/>
                      </a:lnTo>
                      <a:lnTo>
                        <a:pt x="183" y="584"/>
                      </a:lnTo>
                      <a:lnTo>
                        <a:pt x="186" y="575"/>
                      </a:lnTo>
                      <a:lnTo>
                        <a:pt x="189" y="564"/>
                      </a:lnTo>
                      <a:lnTo>
                        <a:pt x="192" y="554"/>
                      </a:lnTo>
                      <a:lnTo>
                        <a:pt x="192" y="543"/>
                      </a:lnTo>
                      <a:lnTo>
                        <a:pt x="192" y="535"/>
                      </a:lnTo>
                      <a:lnTo>
                        <a:pt x="191" y="528"/>
                      </a:lnTo>
                      <a:lnTo>
                        <a:pt x="189" y="522"/>
                      </a:lnTo>
                      <a:lnTo>
                        <a:pt x="187" y="516"/>
                      </a:lnTo>
                      <a:lnTo>
                        <a:pt x="182" y="504"/>
                      </a:lnTo>
                      <a:lnTo>
                        <a:pt x="175" y="493"/>
                      </a:lnTo>
                      <a:lnTo>
                        <a:pt x="170" y="483"/>
                      </a:lnTo>
                      <a:lnTo>
                        <a:pt x="164" y="472"/>
                      </a:lnTo>
                      <a:lnTo>
                        <a:pt x="162" y="466"/>
                      </a:lnTo>
                      <a:lnTo>
                        <a:pt x="160" y="459"/>
                      </a:lnTo>
                      <a:lnTo>
                        <a:pt x="160" y="451"/>
                      </a:lnTo>
                      <a:lnTo>
                        <a:pt x="159" y="444"/>
                      </a:lnTo>
                      <a:lnTo>
                        <a:pt x="160" y="436"/>
                      </a:lnTo>
                      <a:lnTo>
                        <a:pt x="162" y="429"/>
                      </a:lnTo>
                      <a:lnTo>
                        <a:pt x="165" y="423"/>
                      </a:lnTo>
                      <a:lnTo>
                        <a:pt x="171" y="417"/>
                      </a:lnTo>
                      <a:lnTo>
                        <a:pt x="182" y="406"/>
                      </a:lnTo>
                      <a:lnTo>
                        <a:pt x="195" y="394"/>
                      </a:lnTo>
                      <a:lnTo>
                        <a:pt x="203" y="388"/>
                      </a:lnTo>
                      <a:lnTo>
                        <a:pt x="209" y="381"/>
                      </a:lnTo>
                      <a:lnTo>
                        <a:pt x="215" y="374"/>
                      </a:lnTo>
                      <a:lnTo>
                        <a:pt x="220" y="365"/>
                      </a:lnTo>
                      <a:lnTo>
                        <a:pt x="226" y="356"/>
                      </a:lnTo>
                      <a:lnTo>
                        <a:pt x="229" y="346"/>
                      </a:lnTo>
                      <a:lnTo>
                        <a:pt x="231" y="334"/>
                      </a:lnTo>
                      <a:lnTo>
                        <a:pt x="232" y="321"/>
                      </a:lnTo>
                      <a:lnTo>
                        <a:pt x="227" y="320"/>
                      </a:lnTo>
                      <a:lnTo>
                        <a:pt x="221" y="319"/>
                      </a:lnTo>
                      <a:lnTo>
                        <a:pt x="216" y="318"/>
                      </a:lnTo>
                      <a:lnTo>
                        <a:pt x="210" y="315"/>
                      </a:lnTo>
                      <a:lnTo>
                        <a:pt x="200" y="308"/>
                      </a:lnTo>
                      <a:lnTo>
                        <a:pt x="192" y="300"/>
                      </a:lnTo>
                      <a:lnTo>
                        <a:pt x="183" y="289"/>
                      </a:lnTo>
                      <a:lnTo>
                        <a:pt x="174" y="276"/>
                      </a:lnTo>
                      <a:lnTo>
                        <a:pt x="166" y="264"/>
                      </a:lnTo>
                      <a:lnTo>
                        <a:pt x="160" y="250"/>
                      </a:lnTo>
                      <a:lnTo>
                        <a:pt x="153" y="237"/>
                      </a:lnTo>
                      <a:lnTo>
                        <a:pt x="148" y="222"/>
                      </a:lnTo>
                      <a:lnTo>
                        <a:pt x="143" y="209"/>
                      </a:lnTo>
                      <a:lnTo>
                        <a:pt x="140" y="196"/>
                      </a:lnTo>
                      <a:lnTo>
                        <a:pt x="135" y="174"/>
                      </a:lnTo>
                      <a:lnTo>
                        <a:pt x="132" y="160"/>
                      </a:lnTo>
                      <a:lnTo>
                        <a:pt x="132" y="148"/>
                      </a:lnTo>
                      <a:lnTo>
                        <a:pt x="131" y="137"/>
                      </a:lnTo>
                      <a:lnTo>
                        <a:pt x="129" y="125"/>
                      </a:lnTo>
                      <a:lnTo>
                        <a:pt x="128" y="114"/>
                      </a:lnTo>
                      <a:lnTo>
                        <a:pt x="125" y="103"/>
                      </a:lnTo>
                      <a:lnTo>
                        <a:pt x="121" y="93"/>
                      </a:lnTo>
                      <a:lnTo>
                        <a:pt x="118" y="84"/>
                      </a:lnTo>
                      <a:lnTo>
                        <a:pt x="114" y="74"/>
                      </a:lnTo>
                      <a:lnTo>
                        <a:pt x="103" y="55"/>
                      </a:lnTo>
                      <a:lnTo>
                        <a:pt x="91" y="37"/>
                      </a:lnTo>
                      <a:lnTo>
                        <a:pt x="75" y="19"/>
                      </a:lnTo>
                      <a:lnTo>
                        <a:pt x="59" y="0"/>
                      </a:lnTo>
                      <a:lnTo>
                        <a:pt x="54" y="14"/>
                      </a:lnTo>
                      <a:lnTo>
                        <a:pt x="49" y="25"/>
                      </a:lnTo>
                      <a:lnTo>
                        <a:pt x="41" y="37"/>
                      </a:lnTo>
                      <a:lnTo>
                        <a:pt x="32" y="50"/>
                      </a:lnTo>
                      <a:lnTo>
                        <a:pt x="0" y="44"/>
                      </a:lnTo>
                      <a:lnTo>
                        <a:pt x="0" y="62"/>
                      </a:lnTo>
                      <a:lnTo>
                        <a:pt x="2" y="81"/>
                      </a:lnTo>
                      <a:lnTo>
                        <a:pt x="4" y="98"/>
                      </a:lnTo>
                      <a:lnTo>
                        <a:pt x="7" y="114"/>
                      </a:lnTo>
                      <a:lnTo>
                        <a:pt x="14" y="145"/>
                      </a:lnTo>
                      <a:lnTo>
                        <a:pt x="23" y="173"/>
                      </a:lnTo>
                      <a:lnTo>
                        <a:pt x="31" y="200"/>
                      </a:lnTo>
                      <a:lnTo>
                        <a:pt x="39" y="227"/>
                      </a:lnTo>
                      <a:lnTo>
                        <a:pt x="41" y="241"/>
                      </a:lnTo>
                      <a:lnTo>
                        <a:pt x="45" y="255"/>
                      </a:lnTo>
                      <a:lnTo>
                        <a:pt x="46" y="269"/>
                      </a:lnTo>
                      <a:lnTo>
                        <a:pt x="46" y="283"/>
                      </a:lnTo>
                      <a:lnTo>
                        <a:pt x="46" y="295"/>
                      </a:lnTo>
                      <a:lnTo>
                        <a:pt x="42" y="304"/>
                      </a:lnTo>
                      <a:lnTo>
                        <a:pt x="40" y="313"/>
                      </a:lnTo>
                      <a:lnTo>
                        <a:pt x="36" y="320"/>
                      </a:lnTo>
                      <a:lnTo>
                        <a:pt x="32" y="327"/>
                      </a:lnTo>
                      <a:lnTo>
                        <a:pt x="29" y="335"/>
                      </a:lnTo>
                      <a:lnTo>
                        <a:pt x="27" y="342"/>
                      </a:lnTo>
                      <a:lnTo>
                        <a:pt x="26" y="352"/>
                      </a:lnTo>
                      <a:lnTo>
                        <a:pt x="27" y="374"/>
                      </a:lnTo>
                      <a:lnTo>
                        <a:pt x="30" y="395"/>
                      </a:lnTo>
                      <a:lnTo>
                        <a:pt x="35" y="416"/>
                      </a:lnTo>
                      <a:lnTo>
                        <a:pt x="39" y="435"/>
                      </a:lnTo>
                      <a:lnTo>
                        <a:pt x="45" y="457"/>
                      </a:lnTo>
                      <a:lnTo>
                        <a:pt x="49" y="477"/>
                      </a:lnTo>
                      <a:lnTo>
                        <a:pt x="51" y="500"/>
                      </a:lnTo>
                      <a:lnTo>
                        <a:pt x="52" y="524"/>
                      </a:lnTo>
                      <a:lnTo>
                        <a:pt x="51" y="553"/>
                      </a:lnTo>
                      <a:lnTo>
                        <a:pt x="49" y="572"/>
                      </a:lnTo>
                      <a:lnTo>
                        <a:pt x="47" y="588"/>
                      </a:lnTo>
                      <a:lnTo>
                        <a:pt x="46" y="610"/>
                      </a:lnTo>
                      <a:lnTo>
                        <a:pt x="46" y="622"/>
                      </a:lnTo>
                      <a:lnTo>
                        <a:pt x="46" y="635"/>
                      </a:lnTo>
                      <a:lnTo>
                        <a:pt x="46" y="649"/>
                      </a:lnTo>
                      <a:lnTo>
                        <a:pt x="46" y="660"/>
                      </a:lnTo>
                      <a:lnTo>
                        <a:pt x="41" y="666"/>
                      </a:lnTo>
                      <a:lnTo>
                        <a:pt x="37" y="675"/>
                      </a:lnTo>
                      <a:lnTo>
                        <a:pt x="34" y="687"/>
                      </a:lnTo>
                      <a:lnTo>
                        <a:pt x="32" y="697"/>
                      </a:lnTo>
                      <a:lnTo>
                        <a:pt x="34" y="709"/>
                      </a:lnTo>
                      <a:lnTo>
                        <a:pt x="36" y="718"/>
                      </a:lnTo>
                      <a:lnTo>
                        <a:pt x="39" y="725"/>
                      </a:lnTo>
                      <a:lnTo>
                        <a:pt x="42" y="731"/>
                      </a:lnTo>
                      <a:lnTo>
                        <a:pt x="47" y="737"/>
                      </a:lnTo>
                      <a:lnTo>
                        <a:pt x="50" y="741"/>
                      </a:lnTo>
                      <a:lnTo>
                        <a:pt x="52" y="746"/>
                      </a:lnTo>
                      <a:lnTo>
                        <a:pt x="52" y="752"/>
                      </a:lnTo>
                      <a:lnTo>
                        <a:pt x="52" y="767"/>
                      </a:lnTo>
                      <a:lnTo>
                        <a:pt x="52" y="782"/>
                      </a:lnTo>
                      <a:lnTo>
                        <a:pt x="52" y="797"/>
                      </a:lnTo>
                      <a:lnTo>
                        <a:pt x="52" y="808"/>
                      </a:lnTo>
                      <a:lnTo>
                        <a:pt x="53" y="822"/>
                      </a:lnTo>
                      <a:lnTo>
                        <a:pt x="58" y="847"/>
                      </a:lnTo>
                      <a:lnTo>
                        <a:pt x="60" y="860"/>
                      </a:lnTo>
                      <a:lnTo>
                        <a:pt x="64" y="871"/>
                      </a:lnTo>
                      <a:lnTo>
                        <a:pt x="65" y="875"/>
                      </a:lnTo>
                      <a:lnTo>
                        <a:pt x="68" y="879"/>
                      </a:lnTo>
                      <a:lnTo>
                        <a:pt x="70" y="881"/>
                      </a:lnTo>
                      <a:lnTo>
                        <a:pt x="73" y="881"/>
                      </a:lnTo>
                      <a:lnTo>
                        <a:pt x="76" y="894"/>
                      </a:lnTo>
                      <a:lnTo>
                        <a:pt x="80" y="905"/>
                      </a:lnTo>
                      <a:lnTo>
                        <a:pt x="81" y="913"/>
                      </a:lnTo>
                      <a:lnTo>
                        <a:pt x="81" y="921"/>
                      </a:lnTo>
                      <a:lnTo>
                        <a:pt x="80" y="936"/>
                      </a:lnTo>
                      <a:lnTo>
                        <a:pt x="80" y="956"/>
                      </a:lnTo>
                      <a:lnTo>
                        <a:pt x="79" y="980"/>
                      </a:lnTo>
                      <a:lnTo>
                        <a:pt x="78" y="1002"/>
                      </a:lnTo>
                      <a:lnTo>
                        <a:pt x="75" y="1024"/>
                      </a:lnTo>
                      <a:lnTo>
                        <a:pt x="73" y="1045"/>
                      </a:lnTo>
                      <a:lnTo>
                        <a:pt x="70" y="1065"/>
                      </a:lnTo>
                      <a:lnTo>
                        <a:pt x="68" y="1087"/>
                      </a:lnTo>
                      <a:lnTo>
                        <a:pt x="67" y="1110"/>
                      </a:lnTo>
                      <a:lnTo>
                        <a:pt x="67" y="1135"/>
                      </a:lnTo>
                      <a:lnTo>
                        <a:pt x="65" y="1141"/>
                      </a:lnTo>
                      <a:lnTo>
                        <a:pt x="64" y="1147"/>
                      </a:lnTo>
                      <a:lnTo>
                        <a:pt x="63" y="1152"/>
                      </a:lnTo>
                      <a:lnTo>
                        <a:pt x="62" y="1156"/>
                      </a:lnTo>
                      <a:lnTo>
                        <a:pt x="58" y="1163"/>
                      </a:lnTo>
                      <a:lnTo>
                        <a:pt x="52" y="1169"/>
                      </a:lnTo>
                      <a:lnTo>
                        <a:pt x="48" y="1175"/>
                      </a:lnTo>
                      <a:lnTo>
                        <a:pt x="43" y="1181"/>
                      </a:lnTo>
                      <a:lnTo>
                        <a:pt x="41" y="1185"/>
                      </a:lnTo>
                      <a:lnTo>
                        <a:pt x="40" y="1188"/>
                      </a:lnTo>
                      <a:lnTo>
                        <a:pt x="40" y="1192"/>
                      </a:lnTo>
                      <a:lnTo>
                        <a:pt x="39" y="1196"/>
                      </a:lnTo>
                      <a:lnTo>
                        <a:pt x="40" y="1205"/>
                      </a:lnTo>
                      <a:lnTo>
                        <a:pt x="42" y="1215"/>
                      </a:lnTo>
                      <a:lnTo>
                        <a:pt x="46" y="1225"/>
                      </a:lnTo>
                      <a:lnTo>
                        <a:pt x="50" y="1237"/>
                      </a:lnTo>
                      <a:lnTo>
                        <a:pt x="60" y="1258"/>
                      </a:lnTo>
                      <a:lnTo>
                        <a:pt x="73" y="1279"/>
                      </a:lnTo>
                      <a:lnTo>
                        <a:pt x="85" y="1299"/>
                      </a:lnTo>
                      <a:lnTo>
                        <a:pt x="95" y="1317"/>
                      </a:lnTo>
                      <a:lnTo>
                        <a:pt x="99" y="1325"/>
                      </a:lnTo>
                      <a:lnTo>
                        <a:pt x="103" y="1332"/>
                      </a:lnTo>
                      <a:lnTo>
                        <a:pt x="105" y="1338"/>
                      </a:lnTo>
                      <a:lnTo>
                        <a:pt x="106" y="1343"/>
                      </a:lnTo>
                      <a:lnTo>
                        <a:pt x="105" y="1351"/>
                      </a:lnTo>
                      <a:lnTo>
                        <a:pt x="104" y="1358"/>
                      </a:lnTo>
                      <a:lnTo>
                        <a:pt x="102" y="1365"/>
                      </a:lnTo>
                      <a:lnTo>
                        <a:pt x="99" y="1372"/>
                      </a:lnTo>
                      <a:lnTo>
                        <a:pt x="97" y="1380"/>
                      </a:lnTo>
                      <a:lnTo>
                        <a:pt x="95" y="1388"/>
                      </a:lnTo>
                      <a:lnTo>
                        <a:pt x="93" y="1396"/>
                      </a:lnTo>
                      <a:lnTo>
                        <a:pt x="93" y="1406"/>
                      </a:lnTo>
                      <a:lnTo>
                        <a:pt x="93" y="1415"/>
                      </a:lnTo>
                      <a:lnTo>
                        <a:pt x="94" y="1424"/>
                      </a:lnTo>
                      <a:lnTo>
                        <a:pt x="96" y="1432"/>
                      </a:lnTo>
                      <a:lnTo>
                        <a:pt x="98" y="1438"/>
                      </a:lnTo>
                      <a:lnTo>
                        <a:pt x="102" y="1444"/>
                      </a:lnTo>
                      <a:lnTo>
                        <a:pt x="106" y="1449"/>
                      </a:lnTo>
                      <a:lnTo>
                        <a:pt x="112" y="1453"/>
                      </a:lnTo>
                      <a:lnTo>
                        <a:pt x="117" y="1457"/>
                      </a:lnTo>
                      <a:lnTo>
                        <a:pt x="123" y="1460"/>
                      </a:lnTo>
                      <a:lnTo>
                        <a:pt x="130" y="1463"/>
                      </a:lnTo>
                      <a:lnTo>
                        <a:pt x="138" y="1464"/>
                      </a:lnTo>
                      <a:lnTo>
                        <a:pt x="146" y="1465"/>
                      </a:lnTo>
                      <a:lnTo>
                        <a:pt x="164" y="1467"/>
                      </a:lnTo>
                      <a:lnTo>
                        <a:pt x="185" y="1467"/>
                      </a:lnTo>
                      <a:lnTo>
                        <a:pt x="191" y="1501"/>
                      </a:lnTo>
                      <a:lnTo>
                        <a:pt x="195" y="1531"/>
                      </a:lnTo>
                      <a:lnTo>
                        <a:pt x="197" y="1559"/>
                      </a:lnTo>
                      <a:lnTo>
                        <a:pt x="199" y="1590"/>
                      </a:lnTo>
                      <a:lnTo>
                        <a:pt x="202" y="1602"/>
                      </a:lnTo>
                      <a:lnTo>
                        <a:pt x="209" y="1621"/>
                      </a:lnTo>
                      <a:lnTo>
                        <a:pt x="216" y="1643"/>
                      </a:lnTo>
                      <a:lnTo>
                        <a:pt x="219" y="1658"/>
                      </a:lnTo>
                      <a:lnTo>
                        <a:pt x="219" y="1668"/>
                      </a:lnTo>
                      <a:lnTo>
                        <a:pt x="220" y="1679"/>
                      </a:lnTo>
                      <a:lnTo>
                        <a:pt x="221" y="1687"/>
                      </a:lnTo>
                      <a:lnTo>
                        <a:pt x="222" y="1694"/>
                      </a:lnTo>
                      <a:lnTo>
                        <a:pt x="227" y="1709"/>
                      </a:lnTo>
                      <a:lnTo>
                        <a:pt x="232" y="1725"/>
                      </a:lnTo>
                      <a:lnTo>
                        <a:pt x="202" y="1732"/>
                      </a:lnTo>
                      <a:lnTo>
                        <a:pt x="173" y="1739"/>
                      </a:lnTo>
                      <a:lnTo>
                        <a:pt x="166" y="1740"/>
                      </a:lnTo>
                      <a:lnTo>
                        <a:pt x="161" y="1743"/>
                      </a:lnTo>
                      <a:lnTo>
                        <a:pt x="155" y="1745"/>
                      </a:lnTo>
                      <a:lnTo>
                        <a:pt x="151" y="1749"/>
                      </a:lnTo>
                      <a:lnTo>
                        <a:pt x="147" y="1752"/>
                      </a:lnTo>
                      <a:lnTo>
                        <a:pt x="143" y="1757"/>
                      </a:lnTo>
                      <a:lnTo>
                        <a:pt x="141" y="1762"/>
                      </a:lnTo>
                      <a:lnTo>
                        <a:pt x="139" y="1769"/>
                      </a:lnTo>
                      <a:lnTo>
                        <a:pt x="164" y="1770"/>
                      </a:lnTo>
                      <a:lnTo>
                        <a:pt x="193" y="1773"/>
                      </a:lnTo>
                      <a:lnTo>
                        <a:pt x="207" y="1776"/>
                      </a:lnTo>
                      <a:lnTo>
                        <a:pt x="218" y="1779"/>
                      </a:lnTo>
                      <a:lnTo>
                        <a:pt x="224" y="1781"/>
                      </a:lnTo>
                      <a:lnTo>
                        <a:pt x="227" y="1783"/>
                      </a:lnTo>
                      <a:lnTo>
                        <a:pt x="230" y="1785"/>
                      </a:lnTo>
                      <a:lnTo>
                        <a:pt x="232" y="1787"/>
                      </a:lnTo>
                      <a:lnTo>
                        <a:pt x="243" y="1807"/>
                      </a:lnTo>
                      <a:lnTo>
                        <a:pt x="250" y="1820"/>
                      </a:lnTo>
                      <a:lnTo>
                        <a:pt x="253" y="1825"/>
                      </a:lnTo>
                      <a:lnTo>
                        <a:pt x="258" y="1828"/>
                      </a:lnTo>
                      <a:lnTo>
                        <a:pt x="263" y="1830"/>
                      </a:lnTo>
                      <a:lnTo>
                        <a:pt x="272" y="1830"/>
                      </a:lnTo>
                      <a:lnTo>
                        <a:pt x="272" y="1843"/>
                      </a:lnTo>
                      <a:lnTo>
                        <a:pt x="273" y="1857"/>
                      </a:lnTo>
                      <a:lnTo>
                        <a:pt x="275" y="1871"/>
                      </a:lnTo>
                      <a:lnTo>
                        <a:pt x="278" y="1884"/>
                      </a:lnTo>
                      <a:lnTo>
                        <a:pt x="282" y="1898"/>
                      </a:lnTo>
                      <a:lnTo>
                        <a:pt x="285" y="1912"/>
                      </a:lnTo>
                      <a:lnTo>
                        <a:pt x="289" y="1925"/>
                      </a:lnTo>
                      <a:lnTo>
                        <a:pt x="295" y="1937"/>
                      </a:lnTo>
                      <a:lnTo>
                        <a:pt x="301" y="1949"/>
                      </a:lnTo>
                      <a:lnTo>
                        <a:pt x="308" y="1961"/>
                      </a:lnTo>
                      <a:lnTo>
                        <a:pt x="315" y="1971"/>
                      </a:lnTo>
                      <a:lnTo>
                        <a:pt x="322" y="1980"/>
                      </a:lnTo>
                      <a:lnTo>
                        <a:pt x="330" y="1988"/>
                      </a:lnTo>
                      <a:lnTo>
                        <a:pt x="339" y="1995"/>
                      </a:lnTo>
                      <a:lnTo>
                        <a:pt x="349" y="2000"/>
                      </a:lnTo>
                      <a:lnTo>
                        <a:pt x="359" y="2003"/>
                      </a:lnTo>
                      <a:lnTo>
                        <a:pt x="359" y="2013"/>
                      </a:lnTo>
                      <a:lnTo>
                        <a:pt x="361" y="2021"/>
                      </a:lnTo>
                      <a:lnTo>
                        <a:pt x="364" y="2028"/>
                      </a:lnTo>
                      <a:lnTo>
                        <a:pt x="368" y="2034"/>
                      </a:lnTo>
                      <a:lnTo>
                        <a:pt x="374" y="2038"/>
                      </a:lnTo>
                      <a:lnTo>
                        <a:pt x="379" y="2042"/>
                      </a:lnTo>
                      <a:lnTo>
                        <a:pt x="386" y="2046"/>
                      </a:lnTo>
                      <a:lnTo>
                        <a:pt x="393" y="2048"/>
                      </a:lnTo>
                      <a:lnTo>
                        <a:pt x="407" y="2053"/>
                      </a:lnTo>
                      <a:lnTo>
                        <a:pt x="420" y="2057"/>
                      </a:lnTo>
                      <a:lnTo>
                        <a:pt x="426" y="2060"/>
                      </a:lnTo>
                      <a:lnTo>
                        <a:pt x="431" y="2063"/>
                      </a:lnTo>
                      <a:lnTo>
                        <a:pt x="435" y="2066"/>
                      </a:lnTo>
                      <a:lnTo>
                        <a:pt x="438" y="2071"/>
                      </a:lnTo>
                      <a:lnTo>
                        <a:pt x="424" y="2074"/>
                      </a:lnTo>
                      <a:lnTo>
                        <a:pt x="411" y="2077"/>
                      </a:lnTo>
                      <a:lnTo>
                        <a:pt x="415" y="2084"/>
                      </a:lnTo>
                      <a:lnTo>
                        <a:pt x="421" y="2091"/>
                      </a:lnTo>
                      <a:lnTo>
                        <a:pt x="429" y="2097"/>
                      </a:lnTo>
                      <a:lnTo>
                        <a:pt x="440" y="2102"/>
                      </a:lnTo>
                      <a:lnTo>
                        <a:pt x="452" y="2107"/>
                      </a:lnTo>
                      <a:lnTo>
                        <a:pt x="465" y="2110"/>
                      </a:lnTo>
                      <a:lnTo>
                        <a:pt x="480" y="2113"/>
                      </a:lnTo>
                      <a:lnTo>
                        <a:pt x="498" y="2114"/>
                      </a:lnTo>
                      <a:lnTo>
                        <a:pt x="502" y="2117"/>
                      </a:lnTo>
                      <a:lnTo>
                        <a:pt x="507" y="2121"/>
                      </a:lnTo>
                      <a:lnTo>
                        <a:pt x="510" y="2127"/>
                      </a:lnTo>
                      <a:lnTo>
                        <a:pt x="513" y="2131"/>
                      </a:lnTo>
                      <a:lnTo>
                        <a:pt x="519" y="2140"/>
                      </a:lnTo>
                      <a:lnTo>
                        <a:pt x="522" y="2149"/>
                      </a:lnTo>
                      <a:lnTo>
                        <a:pt x="527" y="2155"/>
                      </a:lnTo>
                      <a:lnTo>
                        <a:pt x="530" y="2158"/>
                      </a:lnTo>
                      <a:lnTo>
                        <a:pt x="531" y="2158"/>
                      </a:lnTo>
                      <a:lnTo>
                        <a:pt x="533" y="2157"/>
                      </a:lnTo>
                      <a:lnTo>
                        <a:pt x="535" y="2155"/>
                      </a:lnTo>
                      <a:lnTo>
                        <a:pt x="538" y="2151"/>
                      </a:lnTo>
                      <a:lnTo>
                        <a:pt x="543" y="2137"/>
                      </a:lnTo>
                      <a:lnTo>
                        <a:pt x="547" y="2125"/>
                      </a:lnTo>
                      <a:lnTo>
                        <a:pt x="554" y="2116"/>
                      </a:lnTo>
                      <a:lnTo>
                        <a:pt x="561" y="2109"/>
                      </a:lnTo>
                      <a:lnTo>
                        <a:pt x="567" y="2104"/>
                      </a:lnTo>
                      <a:lnTo>
                        <a:pt x="576" y="2101"/>
                      </a:lnTo>
                      <a:lnTo>
                        <a:pt x="586" y="2098"/>
                      </a:lnTo>
                      <a:lnTo>
                        <a:pt x="598" y="2095"/>
                      </a:lnTo>
                      <a:lnTo>
                        <a:pt x="592" y="2087"/>
                      </a:lnTo>
                      <a:lnTo>
                        <a:pt x="589" y="2081"/>
                      </a:lnTo>
                      <a:lnTo>
                        <a:pt x="588" y="2078"/>
                      </a:lnTo>
                      <a:lnTo>
                        <a:pt x="588" y="2076"/>
                      </a:lnTo>
                      <a:lnTo>
                        <a:pt x="589" y="2074"/>
                      </a:lnTo>
                      <a:lnTo>
                        <a:pt x="591" y="2071"/>
                      </a:lnTo>
                      <a:lnTo>
                        <a:pt x="491" y="204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9" name="Freeform 9">
                  <a:extLst>
                    <a:ext uri="{FF2B5EF4-FFF2-40B4-BE49-F238E27FC236}">
                      <a16:creationId xmlns:a16="http://schemas.microsoft.com/office/drawing/2014/main" xmlns="" id="{F7A1943E-D2B2-4DBD-A0D4-9948EA4C9C5D}"/>
                    </a:ext>
                  </a:extLst>
                </p:cNvPr>
                <p:cNvSpPr>
                  <a:spLocks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>
                  <a:off x="2176463" y="3508375"/>
                  <a:ext cx="966787" cy="1203325"/>
                </a:xfrm>
                <a:custGeom>
                  <a:avLst/>
                  <a:gdLst>
                    <a:gd name="T0" fmla="*/ 2147483646 w 2226"/>
                    <a:gd name="T1" fmla="*/ 2147483646 h 2292"/>
                    <a:gd name="T2" fmla="*/ 2147483646 w 2226"/>
                    <a:gd name="T3" fmla="*/ 2147483646 h 2292"/>
                    <a:gd name="T4" fmla="*/ 2147483646 w 2226"/>
                    <a:gd name="T5" fmla="*/ 2147483646 h 2292"/>
                    <a:gd name="T6" fmla="*/ 2147483646 w 2226"/>
                    <a:gd name="T7" fmla="*/ 2147483646 h 2292"/>
                    <a:gd name="T8" fmla="*/ 2147483646 w 2226"/>
                    <a:gd name="T9" fmla="*/ 2147483646 h 2292"/>
                    <a:gd name="T10" fmla="*/ 2147483646 w 2226"/>
                    <a:gd name="T11" fmla="*/ 2147483646 h 2292"/>
                    <a:gd name="T12" fmla="*/ 2147483646 w 2226"/>
                    <a:gd name="T13" fmla="*/ 2147483646 h 2292"/>
                    <a:gd name="T14" fmla="*/ 2147483646 w 2226"/>
                    <a:gd name="T15" fmla="*/ 2147483646 h 2292"/>
                    <a:gd name="T16" fmla="*/ 2147483646 w 2226"/>
                    <a:gd name="T17" fmla="*/ 2147483646 h 2292"/>
                    <a:gd name="T18" fmla="*/ 2147483646 w 2226"/>
                    <a:gd name="T19" fmla="*/ 2147483646 h 2292"/>
                    <a:gd name="T20" fmla="*/ 2147483646 w 2226"/>
                    <a:gd name="T21" fmla="*/ 2147483646 h 2292"/>
                    <a:gd name="T22" fmla="*/ 2147483646 w 2226"/>
                    <a:gd name="T23" fmla="*/ 2147483646 h 2292"/>
                    <a:gd name="T24" fmla="*/ 2147483646 w 2226"/>
                    <a:gd name="T25" fmla="*/ 2147483646 h 2292"/>
                    <a:gd name="T26" fmla="*/ 2147483646 w 2226"/>
                    <a:gd name="T27" fmla="*/ 2147483646 h 2292"/>
                    <a:gd name="T28" fmla="*/ 2147483646 w 2226"/>
                    <a:gd name="T29" fmla="*/ 2147483646 h 2292"/>
                    <a:gd name="T30" fmla="*/ 2147483646 w 2226"/>
                    <a:gd name="T31" fmla="*/ 2147483646 h 2292"/>
                    <a:gd name="T32" fmla="*/ 2147483646 w 2226"/>
                    <a:gd name="T33" fmla="*/ 2147483646 h 2292"/>
                    <a:gd name="T34" fmla="*/ 2147483646 w 2226"/>
                    <a:gd name="T35" fmla="*/ 2147483646 h 2292"/>
                    <a:gd name="T36" fmla="*/ 2147483646 w 2226"/>
                    <a:gd name="T37" fmla="*/ 2147483646 h 2292"/>
                    <a:gd name="T38" fmla="*/ 2147483646 w 2226"/>
                    <a:gd name="T39" fmla="*/ 2147483646 h 2292"/>
                    <a:gd name="T40" fmla="*/ 2147483646 w 2226"/>
                    <a:gd name="T41" fmla="*/ 2147483646 h 2292"/>
                    <a:gd name="T42" fmla="*/ 2147483646 w 2226"/>
                    <a:gd name="T43" fmla="*/ 2147483646 h 2292"/>
                    <a:gd name="T44" fmla="*/ 2147483646 w 2226"/>
                    <a:gd name="T45" fmla="*/ 2147483646 h 2292"/>
                    <a:gd name="T46" fmla="*/ 2147483646 w 2226"/>
                    <a:gd name="T47" fmla="*/ 2147483646 h 2292"/>
                    <a:gd name="T48" fmla="*/ 2147483646 w 2226"/>
                    <a:gd name="T49" fmla="*/ 2147483646 h 2292"/>
                    <a:gd name="T50" fmla="*/ 2147483646 w 2226"/>
                    <a:gd name="T51" fmla="*/ 2147483646 h 2292"/>
                    <a:gd name="T52" fmla="*/ 2147483646 w 2226"/>
                    <a:gd name="T53" fmla="*/ 2147483646 h 2292"/>
                    <a:gd name="T54" fmla="*/ 2147483646 w 2226"/>
                    <a:gd name="T55" fmla="*/ 2147483646 h 2292"/>
                    <a:gd name="T56" fmla="*/ 2147483646 w 2226"/>
                    <a:gd name="T57" fmla="*/ 2147483646 h 2292"/>
                    <a:gd name="T58" fmla="*/ 2147483646 w 2226"/>
                    <a:gd name="T59" fmla="*/ 2147483646 h 2292"/>
                    <a:gd name="T60" fmla="*/ 2147483646 w 2226"/>
                    <a:gd name="T61" fmla="*/ 2147483646 h 2292"/>
                    <a:gd name="T62" fmla="*/ 2147483646 w 2226"/>
                    <a:gd name="T63" fmla="*/ 2147483646 h 2292"/>
                    <a:gd name="T64" fmla="*/ 2147483646 w 2226"/>
                    <a:gd name="T65" fmla="*/ 2147483646 h 2292"/>
                    <a:gd name="T66" fmla="*/ 2147483646 w 2226"/>
                    <a:gd name="T67" fmla="*/ 2147483646 h 2292"/>
                    <a:gd name="T68" fmla="*/ 2147483646 w 2226"/>
                    <a:gd name="T69" fmla="*/ 2147483646 h 2292"/>
                    <a:gd name="T70" fmla="*/ 2147483646 w 2226"/>
                    <a:gd name="T71" fmla="*/ 2147483646 h 2292"/>
                    <a:gd name="T72" fmla="*/ 2147483646 w 2226"/>
                    <a:gd name="T73" fmla="*/ 2147483646 h 2292"/>
                    <a:gd name="T74" fmla="*/ 2147483646 w 2226"/>
                    <a:gd name="T75" fmla="*/ 2147483646 h 2292"/>
                    <a:gd name="T76" fmla="*/ 2147483646 w 2226"/>
                    <a:gd name="T77" fmla="*/ 2147483646 h 2292"/>
                    <a:gd name="T78" fmla="*/ 2147483646 w 2226"/>
                    <a:gd name="T79" fmla="*/ 2147483646 h 2292"/>
                    <a:gd name="T80" fmla="*/ 2147483646 w 2226"/>
                    <a:gd name="T81" fmla="*/ 2147483646 h 2292"/>
                    <a:gd name="T82" fmla="*/ 2147483646 w 2226"/>
                    <a:gd name="T83" fmla="*/ 2147483646 h 2292"/>
                    <a:gd name="T84" fmla="*/ 2147483646 w 2226"/>
                    <a:gd name="T85" fmla="*/ 2147483646 h 2292"/>
                    <a:gd name="T86" fmla="*/ 2147483646 w 2226"/>
                    <a:gd name="T87" fmla="*/ 2147483646 h 2292"/>
                    <a:gd name="T88" fmla="*/ 2147483646 w 2226"/>
                    <a:gd name="T89" fmla="*/ 2147483646 h 2292"/>
                    <a:gd name="T90" fmla="*/ 2147483646 w 2226"/>
                    <a:gd name="T91" fmla="*/ 2147483646 h 2292"/>
                    <a:gd name="T92" fmla="*/ 2147483646 w 2226"/>
                    <a:gd name="T93" fmla="*/ 2147483646 h 2292"/>
                    <a:gd name="T94" fmla="*/ 2147483646 w 2226"/>
                    <a:gd name="T95" fmla="*/ 2147483646 h 2292"/>
                    <a:gd name="T96" fmla="*/ 2147483646 w 2226"/>
                    <a:gd name="T97" fmla="*/ 0 h 2292"/>
                    <a:gd name="T98" fmla="*/ 2147483646 w 2226"/>
                    <a:gd name="T99" fmla="*/ 2147483646 h 2292"/>
                    <a:gd name="T100" fmla="*/ 2147483646 w 2226"/>
                    <a:gd name="T101" fmla="*/ 2147483646 h 2292"/>
                    <a:gd name="T102" fmla="*/ 2147483646 w 2226"/>
                    <a:gd name="T103" fmla="*/ 2147483646 h 2292"/>
                    <a:gd name="T104" fmla="*/ 2147483646 w 2226"/>
                    <a:gd name="T105" fmla="*/ 2147483646 h 2292"/>
                    <a:gd name="T106" fmla="*/ 2147483646 w 2226"/>
                    <a:gd name="T107" fmla="*/ 2147483646 h 2292"/>
                    <a:gd name="T108" fmla="*/ 2147483646 w 2226"/>
                    <a:gd name="T109" fmla="*/ 2147483646 h 2292"/>
                    <a:gd name="T110" fmla="*/ 2147483646 w 2226"/>
                    <a:gd name="T111" fmla="*/ 2147483646 h 2292"/>
                    <a:gd name="T112" fmla="*/ 2147483646 w 2226"/>
                    <a:gd name="T113" fmla="*/ 2147483646 h 2292"/>
                    <a:gd name="T114" fmla="*/ 2147483646 w 2226"/>
                    <a:gd name="T115" fmla="*/ 2147483646 h 2292"/>
                    <a:gd name="T116" fmla="*/ 2147483646 w 2226"/>
                    <a:gd name="T117" fmla="*/ 2147483646 h 2292"/>
                    <a:gd name="T118" fmla="*/ 2147483646 w 2226"/>
                    <a:gd name="T119" fmla="*/ 2147483646 h 2292"/>
                    <a:gd name="T120" fmla="*/ 2147483646 w 2226"/>
                    <a:gd name="T121" fmla="*/ 2147483646 h 2292"/>
                    <a:gd name="T122" fmla="*/ 2147483646 w 2226"/>
                    <a:gd name="T123" fmla="*/ 2147483646 h 2292"/>
                    <a:gd name="T124" fmla="*/ 2147483646 w 2226"/>
                    <a:gd name="T125" fmla="*/ 2147483646 h 229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2226"/>
                    <a:gd name="T190" fmla="*/ 0 h 2292"/>
                    <a:gd name="T191" fmla="*/ 2226 w 2226"/>
                    <a:gd name="T192" fmla="*/ 2292 h 2292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2226" h="2292">
                      <a:moveTo>
                        <a:pt x="233" y="973"/>
                      </a:moveTo>
                      <a:lnTo>
                        <a:pt x="313" y="967"/>
                      </a:lnTo>
                      <a:lnTo>
                        <a:pt x="323" y="963"/>
                      </a:lnTo>
                      <a:lnTo>
                        <a:pt x="332" y="959"/>
                      </a:lnTo>
                      <a:lnTo>
                        <a:pt x="342" y="953"/>
                      </a:lnTo>
                      <a:lnTo>
                        <a:pt x="351" y="948"/>
                      </a:lnTo>
                      <a:lnTo>
                        <a:pt x="368" y="936"/>
                      </a:lnTo>
                      <a:lnTo>
                        <a:pt x="386" y="923"/>
                      </a:lnTo>
                      <a:lnTo>
                        <a:pt x="403" y="911"/>
                      </a:lnTo>
                      <a:lnTo>
                        <a:pt x="421" y="902"/>
                      </a:lnTo>
                      <a:lnTo>
                        <a:pt x="431" y="898"/>
                      </a:lnTo>
                      <a:lnTo>
                        <a:pt x="440" y="896"/>
                      </a:lnTo>
                      <a:lnTo>
                        <a:pt x="449" y="894"/>
                      </a:lnTo>
                      <a:lnTo>
                        <a:pt x="459" y="893"/>
                      </a:lnTo>
                      <a:lnTo>
                        <a:pt x="467" y="894"/>
                      </a:lnTo>
                      <a:lnTo>
                        <a:pt x="474" y="896"/>
                      </a:lnTo>
                      <a:lnTo>
                        <a:pt x="480" y="899"/>
                      </a:lnTo>
                      <a:lnTo>
                        <a:pt x="485" y="902"/>
                      </a:lnTo>
                      <a:lnTo>
                        <a:pt x="489" y="907"/>
                      </a:lnTo>
                      <a:lnTo>
                        <a:pt x="492" y="912"/>
                      </a:lnTo>
                      <a:lnTo>
                        <a:pt x="496" y="918"/>
                      </a:lnTo>
                      <a:lnTo>
                        <a:pt x="498" y="925"/>
                      </a:lnTo>
                      <a:lnTo>
                        <a:pt x="502" y="956"/>
                      </a:lnTo>
                      <a:lnTo>
                        <a:pt x="505" y="985"/>
                      </a:lnTo>
                      <a:lnTo>
                        <a:pt x="509" y="994"/>
                      </a:lnTo>
                      <a:lnTo>
                        <a:pt x="512" y="1001"/>
                      </a:lnTo>
                      <a:lnTo>
                        <a:pt x="515" y="1008"/>
                      </a:lnTo>
                      <a:lnTo>
                        <a:pt x="520" y="1015"/>
                      </a:lnTo>
                      <a:lnTo>
                        <a:pt x="525" y="1022"/>
                      </a:lnTo>
                      <a:lnTo>
                        <a:pt x="531" y="1028"/>
                      </a:lnTo>
                      <a:lnTo>
                        <a:pt x="536" y="1033"/>
                      </a:lnTo>
                      <a:lnTo>
                        <a:pt x="543" y="1038"/>
                      </a:lnTo>
                      <a:lnTo>
                        <a:pt x="549" y="1044"/>
                      </a:lnTo>
                      <a:lnTo>
                        <a:pt x="557" y="1048"/>
                      </a:lnTo>
                      <a:lnTo>
                        <a:pt x="564" y="1051"/>
                      </a:lnTo>
                      <a:lnTo>
                        <a:pt x="572" y="1054"/>
                      </a:lnTo>
                      <a:lnTo>
                        <a:pt x="580" y="1057"/>
                      </a:lnTo>
                      <a:lnTo>
                        <a:pt x="588" y="1058"/>
                      </a:lnTo>
                      <a:lnTo>
                        <a:pt x="597" y="1059"/>
                      </a:lnTo>
                      <a:lnTo>
                        <a:pt x="605" y="1060"/>
                      </a:lnTo>
                      <a:lnTo>
                        <a:pt x="614" y="1060"/>
                      </a:lnTo>
                      <a:lnTo>
                        <a:pt x="625" y="1063"/>
                      </a:lnTo>
                      <a:lnTo>
                        <a:pt x="638" y="1066"/>
                      </a:lnTo>
                      <a:lnTo>
                        <a:pt x="653" y="1071"/>
                      </a:lnTo>
                      <a:lnTo>
                        <a:pt x="668" y="1076"/>
                      </a:lnTo>
                      <a:lnTo>
                        <a:pt x="683" y="1083"/>
                      </a:lnTo>
                      <a:lnTo>
                        <a:pt x="700" y="1090"/>
                      </a:lnTo>
                      <a:lnTo>
                        <a:pt x="716" y="1098"/>
                      </a:lnTo>
                      <a:lnTo>
                        <a:pt x="733" y="1108"/>
                      </a:lnTo>
                      <a:lnTo>
                        <a:pt x="747" y="1116"/>
                      </a:lnTo>
                      <a:lnTo>
                        <a:pt x="761" y="1126"/>
                      </a:lnTo>
                      <a:lnTo>
                        <a:pt x="773" y="1135"/>
                      </a:lnTo>
                      <a:lnTo>
                        <a:pt x="783" y="1144"/>
                      </a:lnTo>
                      <a:lnTo>
                        <a:pt x="791" y="1153"/>
                      </a:lnTo>
                      <a:lnTo>
                        <a:pt x="794" y="1158"/>
                      </a:lnTo>
                      <a:lnTo>
                        <a:pt x="796" y="1162"/>
                      </a:lnTo>
                      <a:lnTo>
                        <a:pt x="798" y="1167"/>
                      </a:lnTo>
                      <a:lnTo>
                        <a:pt x="798" y="1171"/>
                      </a:lnTo>
                      <a:lnTo>
                        <a:pt x="798" y="1190"/>
                      </a:lnTo>
                      <a:lnTo>
                        <a:pt x="798" y="1204"/>
                      </a:lnTo>
                      <a:lnTo>
                        <a:pt x="798" y="1214"/>
                      </a:lnTo>
                      <a:lnTo>
                        <a:pt x="798" y="1220"/>
                      </a:lnTo>
                      <a:lnTo>
                        <a:pt x="799" y="1229"/>
                      </a:lnTo>
                      <a:lnTo>
                        <a:pt x="803" y="1242"/>
                      </a:lnTo>
                      <a:lnTo>
                        <a:pt x="806" y="1249"/>
                      </a:lnTo>
                      <a:lnTo>
                        <a:pt x="810" y="1256"/>
                      </a:lnTo>
                      <a:lnTo>
                        <a:pt x="814" y="1263"/>
                      </a:lnTo>
                      <a:lnTo>
                        <a:pt x="818" y="1271"/>
                      </a:lnTo>
                      <a:lnTo>
                        <a:pt x="824" y="1277"/>
                      </a:lnTo>
                      <a:lnTo>
                        <a:pt x="830" y="1283"/>
                      </a:lnTo>
                      <a:lnTo>
                        <a:pt x="838" y="1288"/>
                      </a:lnTo>
                      <a:lnTo>
                        <a:pt x="846" y="1292"/>
                      </a:lnTo>
                      <a:lnTo>
                        <a:pt x="854" y="1295"/>
                      </a:lnTo>
                      <a:lnTo>
                        <a:pt x="863" y="1296"/>
                      </a:lnTo>
                      <a:lnTo>
                        <a:pt x="873" y="1296"/>
                      </a:lnTo>
                      <a:lnTo>
                        <a:pt x="884" y="1294"/>
                      </a:lnTo>
                      <a:lnTo>
                        <a:pt x="917" y="1294"/>
                      </a:lnTo>
                      <a:lnTo>
                        <a:pt x="918" y="1306"/>
                      </a:lnTo>
                      <a:lnTo>
                        <a:pt x="919" y="1317"/>
                      </a:lnTo>
                      <a:lnTo>
                        <a:pt x="923" y="1328"/>
                      </a:lnTo>
                      <a:lnTo>
                        <a:pt x="926" y="1336"/>
                      </a:lnTo>
                      <a:lnTo>
                        <a:pt x="929" y="1343"/>
                      </a:lnTo>
                      <a:lnTo>
                        <a:pt x="935" y="1349"/>
                      </a:lnTo>
                      <a:lnTo>
                        <a:pt x="939" y="1355"/>
                      </a:lnTo>
                      <a:lnTo>
                        <a:pt x="944" y="1360"/>
                      </a:lnTo>
                      <a:lnTo>
                        <a:pt x="953" y="1371"/>
                      </a:lnTo>
                      <a:lnTo>
                        <a:pt x="962" y="1385"/>
                      </a:lnTo>
                      <a:lnTo>
                        <a:pt x="965" y="1392"/>
                      </a:lnTo>
                      <a:lnTo>
                        <a:pt x="969" y="1401"/>
                      </a:lnTo>
                      <a:lnTo>
                        <a:pt x="970" y="1411"/>
                      </a:lnTo>
                      <a:lnTo>
                        <a:pt x="971" y="1423"/>
                      </a:lnTo>
                      <a:lnTo>
                        <a:pt x="970" y="1434"/>
                      </a:lnTo>
                      <a:lnTo>
                        <a:pt x="968" y="1443"/>
                      </a:lnTo>
                      <a:lnTo>
                        <a:pt x="964" y="1452"/>
                      </a:lnTo>
                      <a:lnTo>
                        <a:pt x="961" y="1459"/>
                      </a:lnTo>
                      <a:lnTo>
                        <a:pt x="957" y="1466"/>
                      </a:lnTo>
                      <a:lnTo>
                        <a:pt x="953" y="1474"/>
                      </a:lnTo>
                      <a:lnTo>
                        <a:pt x="951" y="1482"/>
                      </a:lnTo>
                      <a:lnTo>
                        <a:pt x="951" y="1491"/>
                      </a:lnTo>
                      <a:lnTo>
                        <a:pt x="951" y="1498"/>
                      </a:lnTo>
                      <a:lnTo>
                        <a:pt x="952" y="1503"/>
                      </a:lnTo>
                      <a:lnTo>
                        <a:pt x="953" y="1509"/>
                      </a:lnTo>
                      <a:lnTo>
                        <a:pt x="955" y="1513"/>
                      </a:lnTo>
                      <a:lnTo>
                        <a:pt x="959" y="1521"/>
                      </a:lnTo>
                      <a:lnTo>
                        <a:pt x="964" y="1527"/>
                      </a:lnTo>
                      <a:lnTo>
                        <a:pt x="969" y="1533"/>
                      </a:lnTo>
                      <a:lnTo>
                        <a:pt x="973" y="1537"/>
                      </a:lnTo>
                      <a:lnTo>
                        <a:pt x="976" y="1541"/>
                      </a:lnTo>
                      <a:lnTo>
                        <a:pt x="978" y="1547"/>
                      </a:lnTo>
                      <a:lnTo>
                        <a:pt x="979" y="1555"/>
                      </a:lnTo>
                      <a:lnTo>
                        <a:pt x="979" y="1564"/>
                      </a:lnTo>
                      <a:lnTo>
                        <a:pt x="979" y="1572"/>
                      </a:lnTo>
                      <a:lnTo>
                        <a:pt x="978" y="1580"/>
                      </a:lnTo>
                      <a:lnTo>
                        <a:pt x="976" y="1588"/>
                      </a:lnTo>
                      <a:lnTo>
                        <a:pt x="975" y="1596"/>
                      </a:lnTo>
                      <a:lnTo>
                        <a:pt x="975" y="1605"/>
                      </a:lnTo>
                      <a:lnTo>
                        <a:pt x="978" y="1614"/>
                      </a:lnTo>
                      <a:lnTo>
                        <a:pt x="981" y="1621"/>
                      </a:lnTo>
                      <a:lnTo>
                        <a:pt x="985" y="1627"/>
                      </a:lnTo>
                      <a:lnTo>
                        <a:pt x="992" y="1632"/>
                      </a:lnTo>
                      <a:lnTo>
                        <a:pt x="998" y="1637"/>
                      </a:lnTo>
                      <a:lnTo>
                        <a:pt x="1016" y="1645"/>
                      </a:lnTo>
                      <a:lnTo>
                        <a:pt x="1036" y="1653"/>
                      </a:lnTo>
                      <a:lnTo>
                        <a:pt x="1057" y="1661"/>
                      </a:lnTo>
                      <a:lnTo>
                        <a:pt x="1077" y="1669"/>
                      </a:lnTo>
                      <a:lnTo>
                        <a:pt x="1086" y="1673"/>
                      </a:lnTo>
                      <a:lnTo>
                        <a:pt x="1095" y="1678"/>
                      </a:lnTo>
                      <a:lnTo>
                        <a:pt x="1104" y="1682"/>
                      </a:lnTo>
                      <a:lnTo>
                        <a:pt x="1110" y="1688"/>
                      </a:lnTo>
                      <a:lnTo>
                        <a:pt x="1116" y="1692"/>
                      </a:lnTo>
                      <a:lnTo>
                        <a:pt x="1124" y="1695"/>
                      </a:lnTo>
                      <a:lnTo>
                        <a:pt x="1131" y="1698"/>
                      </a:lnTo>
                      <a:lnTo>
                        <a:pt x="1140" y="1700"/>
                      </a:lnTo>
                      <a:lnTo>
                        <a:pt x="1149" y="1702"/>
                      </a:lnTo>
                      <a:lnTo>
                        <a:pt x="1157" y="1705"/>
                      </a:lnTo>
                      <a:lnTo>
                        <a:pt x="1164" y="1708"/>
                      </a:lnTo>
                      <a:lnTo>
                        <a:pt x="1170" y="1713"/>
                      </a:lnTo>
                      <a:lnTo>
                        <a:pt x="1176" y="1721"/>
                      </a:lnTo>
                      <a:lnTo>
                        <a:pt x="1181" y="1729"/>
                      </a:lnTo>
                      <a:lnTo>
                        <a:pt x="1185" y="1739"/>
                      </a:lnTo>
                      <a:lnTo>
                        <a:pt x="1187" y="1749"/>
                      </a:lnTo>
                      <a:lnTo>
                        <a:pt x="1189" y="1772"/>
                      </a:lnTo>
                      <a:lnTo>
                        <a:pt x="1192" y="1794"/>
                      </a:lnTo>
                      <a:lnTo>
                        <a:pt x="1193" y="1805"/>
                      </a:lnTo>
                      <a:lnTo>
                        <a:pt x="1195" y="1815"/>
                      </a:lnTo>
                      <a:lnTo>
                        <a:pt x="1198" y="1825"/>
                      </a:lnTo>
                      <a:lnTo>
                        <a:pt x="1204" y="1832"/>
                      </a:lnTo>
                      <a:lnTo>
                        <a:pt x="1207" y="1836"/>
                      </a:lnTo>
                      <a:lnTo>
                        <a:pt x="1210" y="1839"/>
                      </a:lnTo>
                      <a:lnTo>
                        <a:pt x="1214" y="1842"/>
                      </a:lnTo>
                      <a:lnTo>
                        <a:pt x="1219" y="1844"/>
                      </a:lnTo>
                      <a:lnTo>
                        <a:pt x="1224" y="1846"/>
                      </a:lnTo>
                      <a:lnTo>
                        <a:pt x="1229" y="1847"/>
                      </a:lnTo>
                      <a:lnTo>
                        <a:pt x="1236" y="1848"/>
                      </a:lnTo>
                      <a:lnTo>
                        <a:pt x="1243" y="1848"/>
                      </a:lnTo>
                      <a:lnTo>
                        <a:pt x="1243" y="1864"/>
                      </a:lnTo>
                      <a:lnTo>
                        <a:pt x="1243" y="1879"/>
                      </a:lnTo>
                      <a:lnTo>
                        <a:pt x="1243" y="1891"/>
                      </a:lnTo>
                      <a:lnTo>
                        <a:pt x="1243" y="1904"/>
                      </a:lnTo>
                      <a:lnTo>
                        <a:pt x="1243" y="1921"/>
                      </a:lnTo>
                      <a:lnTo>
                        <a:pt x="1243" y="1942"/>
                      </a:lnTo>
                      <a:lnTo>
                        <a:pt x="1243" y="1961"/>
                      </a:lnTo>
                      <a:lnTo>
                        <a:pt x="1243" y="1971"/>
                      </a:lnTo>
                      <a:lnTo>
                        <a:pt x="1232" y="1974"/>
                      </a:lnTo>
                      <a:lnTo>
                        <a:pt x="1221" y="1979"/>
                      </a:lnTo>
                      <a:lnTo>
                        <a:pt x="1208" y="1985"/>
                      </a:lnTo>
                      <a:lnTo>
                        <a:pt x="1196" y="1994"/>
                      </a:lnTo>
                      <a:lnTo>
                        <a:pt x="1183" y="2003"/>
                      </a:lnTo>
                      <a:lnTo>
                        <a:pt x="1170" y="2013"/>
                      </a:lnTo>
                      <a:lnTo>
                        <a:pt x="1157" y="2023"/>
                      </a:lnTo>
                      <a:lnTo>
                        <a:pt x="1143" y="2034"/>
                      </a:lnTo>
                      <a:lnTo>
                        <a:pt x="1131" y="2047"/>
                      </a:lnTo>
                      <a:lnTo>
                        <a:pt x="1120" y="2059"/>
                      </a:lnTo>
                      <a:lnTo>
                        <a:pt x="1109" y="2070"/>
                      </a:lnTo>
                      <a:lnTo>
                        <a:pt x="1101" y="2082"/>
                      </a:lnTo>
                      <a:lnTo>
                        <a:pt x="1094" y="2094"/>
                      </a:lnTo>
                      <a:lnTo>
                        <a:pt x="1088" y="2106"/>
                      </a:lnTo>
                      <a:lnTo>
                        <a:pt x="1085" y="2116"/>
                      </a:lnTo>
                      <a:lnTo>
                        <a:pt x="1084" y="2125"/>
                      </a:lnTo>
                      <a:lnTo>
                        <a:pt x="1084" y="2128"/>
                      </a:lnTo>
                      <a:lnTo>
                        <a:pt x="1086" y="2130"/>
                      </a:lnTo>
                      <a:lnTo>
                        <a:pt x="1088" y="2132"/>
                      </a:lnTo>
                      <a:lnTo>
                        <a:pt x="1092" y="2133"/>
                      </a:lnTo>
                      <a:lnTo>
                        <a:pt x="1101" y="2137"/>
                      </a:lnTo>
                      <a:lnTo>
                        <a:pt x="1110" y="2139"/>
                      </a:lnTo>
                      <a:lnTo>
                        <a:pt x="1131" y="2142"/>
                      </a:lnTo>
                      <a:lnTo>
                        <a:pt x="1143" y="2144"/>
                      </a:lnTo>
                      <a:lnTo>
                        <a:pt x="1151" y="2145"/>
                      </a:lnTo>
                      <a:lnTo>
                        <a:pt x="1158" y="2147"/>
                      </a:lnTo>
                      <a:lnTo>
                        <a:pt x="1163" y="2150"/>
                      </a:lnTo>
                      <a:lnTo>
                        <a:pt x="1169" y="2153"/>
                      </a:lnTo>
                      <a:lnTo>
                        <a:pt x="1180" y="2161"/>
                      </a:lnTo>
                      <a:lnTo>
                        <a:pt x="1189" y="2170"/>
                      </a:lnTo>
                      <a:lnTo>
                        <a:pt x="1200" y="2178"/>
                      </a:lnTo>
                      <a:lnTo>
                        <a:pt x="1210" y="2186"/>
                      </a:lnTo>
                      <a:lnTo>
                        <a:pt x="1216" y="2190"/>
                      </a:lnTo>
                      <a:lnTo>
                        <a:pt x="1222" y="2193"/>
                      </a:lnTo>
                      <a:lnTo>
                        <a:pt x="1229" y="2197"/>
                      </a:lnTo>
                      <a:lnTo>
                        <a:pt x="1237" y="2199"/>
                      </a:lnTo>
                      <a:lnTo>
                        <a:pt x="1248" y="2203"/>
                      </a:lnTo>
                      <a:lnTo>
                        <a:pt x="1258" y="2208"/>
                      </a:lnTo>
                      <a:lnTo>
                        <a:pt x="1267" y="2214"/>
                      </a:lnTo>
                      <a:lnTo>
                        <a:pt x="1277" y="2220"/>
                      </a:lnTo>
                      <a:lnTo>
                        <a:pt x="1296" y="2234"/>
                      </a:lnTo>
                      <a:lnTo>
                        <a:pt x="1312" y="2248"/>
                      </a:lnTo>
                      <a:lnTo>
                        <a:pt x="1327" y="2262"/>
                      </a:lnTo>
                      <a:lnTo>
                        <a:pt x="1340" y="2275"/>
                      </a:lnTo>
                      <a:lnTo>
                        <a:pt x="1352" y="2285"/>
                      </a:lnTo>
                      <a:lnTo>
                        <a:pt x="1363" y="2292"/>
                      </a:lnTo>
                      <a:lnTo>
                        <a:pt x="1370" y="2276"/>
                      </a:lnTo>
                      <a:lnTo>
                        <a:pt x="1377" y="2261"/>
                      </a:lnTo>
                      <a:lnTo>
                        <a:pt x="1385" y="2248"/>
                      </a:lnTo>
                      <a:lnTo>
                        <a:pt x="1394" y="2235"/>
                      </a:lnTo>
                      <a:lnTo>
                        <a:pt x="1401" y="2223"/>
                      </a:lnTo>
                      <a:lnTo>
                        <a:pt x="1410" y="2210"/>
                      </a:lnTo>
                      <a:lnTo>
                        <a:pt x="1419" y="2198"/>
                      </a:lnTo>
                      <a:lnTo>
                        <a:pt x="1429" y="2187"/>
                      </a:lnTo>
                      <a:lnTo>
                        <a:pt x="1439" y="2160"/>
                      </a:lnTo>
                      <a:lnTo>
                        <a:pt x="1449" y="2138"/>
                      </a:lnTo>
                      <a:lnTo>
                        <a:pt x="1459" y="2116"/>
                      </a:lnTo>
                      <a:lnTo>
                        <a:pt x="1468" y="2088"/>
                      </a:lnTo>
                      <a:lnTo>
                        <a:pt x="1472" y="2082"/>
                      </a:lnTo>
                      <a:lnTo>
                        <a:pt x="1476" y="2076"/>
                      </a:lnTo>
                      <a:lnTo>
                        <a:pt x="1480" y="2070"/>
                      </a:lnTo>
                      <a:lnTo>
                        <a:pt x="1485" y="2065"/>
                      </a:lnTo>
                      <a:lnTo>
                        <a:pt x="1496" y="2055"/>
                      </a:lnTo>
                      <a:lnTo>
                        <a:pt x="1507" y="2046"/>
                      </a:lnTo>
                      <a:lnTo>
                        <a:pt x="1518" y="2036"/>
                      </a:lnTo>
                      <a:lnTo>
                        <a:pt x="1527" y="2026"/>
                      </a:lnTo>
                      <a:lnTo>
                        <a:pt x="1530" y="2021"/>
                      </a:lnTo>
                      <a:lnTo>
                        <a:pt x="1533" y="2015"/>
                      </a:lnTo>
                      <a:lnTo>
                        <a:pt x="1534" y="2009"/>
                      </a:lnTo>
                      <a:lnTo>
                        <a:pt x="1535" y="2002"/>
                      </a:lnTo>
                      <a:lnTo>
                        <a:pt x="1535" y="1993"/>
                      </a:lnTo>
                      <a:lnTo>
                        <a:pt x="1534" y="1984"/>
                      </a:lnTo>
                      <a:lnTo>
                        <a:pt x="1532" y="1975"/>
                      </a:lnTo>
                      <a:lnTo>
                        <a:pt x="1530" y="1966"/>
                      </a:lnTo>
                      <a:lnTo>
                        <a:pt x="1524" y="1950"/>
                      </a:lnTo>
                      <a:lnTo>
                        <a:pt x="1519" y="1934"/>
                      </a:lnTo>
                      <a:lnTo>
                        <a:pt x="1512" y="1918"/>
                      </a:lnTo>
                      <a:lnTo>
                        <a:pt x="1507" y="1904"/>
                      </a:lnTo>
                      <a:lnTo>
                        <a:pt x="1504" y="1891"/>
                      </a:lnTo>
                      <a:lnTo>
                        <a:pt x="1502" y="1879"/>
                      </a:lnTo>
                      <a:lnTo>
                        <a:pt x="1502" y="1873"/>
                      </a:lnTo>
                      <a:lnTo>
                        <a:pt x="1504" y="1867"/>
                      </a:lnTo>
                      <a:lnTo>
                        <a:pt x="1506" y="1861"/>
                      </a:lnTo>
                      <a:lnTo>
                        <a:pt x="1508" y="1855"/>
                      </a:lnTo>
                      <a:lnTo>
                        <a:pt x="1514" y="1843"/>
                      </a:lnTo>
                      <a:lnTo>
                        <a:pt x="1523" y="1830"/>
                      </a:lnTo>
                      <a:lnTo>
                        <a:pt x="1534" y="1817"/>
                      </a:lnTo>
                      <a:lnTo>
                        <a:pt x="1547" y="1805"/>
                      </a:lnTo>
                      <a:lnTo>
                        <a:pt x="1561" y="1793"/>
                      </a:lnTo>
                      <a:lnTo>
                        <a:pt x="1576" y="1782"/>
                      </a:lnTo>
                      <a:lnTo>
                        <a:pt x="1591" y="1772"/>
                      </a:lnTo>
                      <a:lnTo>
                        <a:pt x="1608" y="1761"/>
                      </a:lnTo>
                      <a:lnTo>
                        <a:pt x="1623" y="1753"/>
                      </a:lnTo>
                      <a:lnTo>
                        <a:pt x="1640" y="1745"/>
                      </a:lnTo>
                      <a:lnTo>
                        <a:pt x="1655" y="1739"/>
                      </a:lnTo>
                      <a:lnTo>
                        <a:pt x="1669" y="1735"/>
                      </a:lnTo>
                      <a:lnTo>
                        <a:pt x="1682" y="1732"/>
                      </a:lnTo>
                      <a:lnTo>
                        <a:pt x="1695" y="1731"/>
                      </a:lnTo>
                      <a:lnTo>
                        <a:pt x="1699" y="1731"/>
                      </a:lnTo>
                      <a:lnTo>
                        <a:pt x="1702" y="1729"/>
                      </a:lnTo>
                      <a:lnTo>
                        <a:pt x="1706" y="1727"/>
                      </a:lnTo>
                      <a:lnTo>
                        <a:pt x="1709" y="1725"/>
                      </a:lnTo>
                      <a:lnTo>
                        <a:pt x="1717" y="1718"/>
                      </a:lnTo>
                      <a:lnTo>
                        <a:pt x="1724" y="1709"/>
                      </a:lnTo>
                      <a:lnTo>
                        <a:pt x="1733" y="1701"/>
                      </a:lnTo>
                      <a:lnTo>
                        <a:pt x="1743" y="1694"/>
                      </a:lnTo>
                      <a:lnTo>
                        <a:pt x="1748" y="1692"/>
                      </a:lnTo>
                      <a:lnTo>
                        <a:pt x="1754" y="1690"/>
                      </a:lnTo>
                      <a:lnTo>
                        <a:pt x="1760" y="1688"/>
                      </a:lnTo>
                      <a:lnTo>
                        <a:pt x="1768" y="1688"/>
                      </a:lnTo>
                      <a:lnTo>
                        <a:pt x="1779" y="1684"/>
                      </a:lnTo>
                      <a:lnTo>
                        <a:pt x="1789" y="1682"/>
                      </a:lnTo>
                      <a:lnTo>
                        <a:pt x="1798" y="1681"/>
                      </a:lnTo>
                      <a:lnTo>
                        <a:pt x="1807" y="1680"/>
                      </a:lnTo>
                      <a:lnTo>
                        <a:pt x="1820" y="1681"/>
                      </a:lnTo>
                      <a:lnTo>
                        <a:pt x="1834" y="1682"/>
                      </a:lnTo>
                      <a:lnTo>
                        <a:pt x="1854" y="1681"/>
                      </a:lnTo>
                      <a:lnTo>
                        <a:pt x="1868" y="1679"/>
                      </a:lnTo>
                      <a:lnTo>
                        <a:pt x="1874" y="1678"/>
                      </a:lnTo>
                      <a:lnTo>
                        <a:pt x="1878" y="1676"/>
                      </a:lnTo>
                      <a:lnTo>
                        <a:pt x="1882" y="1673"/>
                      </a:lnTo>
                      <a:lnTo>
                        <a:pt x="1885" y="1670"/>
                      </a:lnTo>
                      <a:lnTo>
                        <a:pt x="1890" y="1663"/>
                      </a:lnTo>
                      <a:lnTo>
                        <a:pt x="1893" y="1653"/>
                      </a:lnTo>
                      <a:lnTo>
                        <a:pt x="1897" y="1641"/>
                      </a:lnTo>
                      <a:lnTo>
                        <a:pt x="1901" y="1626"/>
                      </a:lnTo>
                      <a:lnTo>
                        <a:pt x="1927" y="1571"/>
                      </a:lnTo>
                      <a:lnTo>
                        <a:pt x="1939" y="1553"/>
                      </a:lnTo>
                      <a:lnTo>
                        <a:pt x="1949" y="1535"/>
                      </a:lnTo>
                      <a:lnTo>
                        <a:pt x="1959" y="1518"/>
                      </a:lnTo>
                      <a:lnTo>
                        <a:pt x="1967" y="1500"/>
                      </a:lnTo>
                      <a:lnTo>
                        <a:pt x="1972" y="1480"/>
                      </a:lnTo>
                      <a:lnTo>
                        <a:pt x="1977" y="1460"/>
                      </a:lnTo>
                      <a:lnTo>
                        <a:pt x="1980" y="1437"/>
                      </a:lnTo>
                      <a:lnTo>
                        <a:pt x="1980" y="1411"/>
                      </a:lnTo>
                      <a:lnTo>
                        <a:pt x="1981" y="1405"/>
                      </a:lnTo>
                      <a:lnTo>
                        <a:pt x="1982" y="1400"/>
                      </a:lnTo>
                      <a:lnTo>
                        <a:pt x="1983" y="1395"/>
                      </a:lnTo>
                      <a:lnTo>
                        <a:pt x="1986" y="1391"/>
                      </a:lnTo>
                      <a:lnTo>
                        <a:pt x="1991" y="1382"/>
                      </a:lnTo>
                      <a:lnTo>
                        <a:pt x="1997" y="1372"/>
                      </a:lnTo>
                      <a:lnTo>
                        <a:pt x="2003" y="1364"/>
                      </a:lnTo>
                      <a:lnTo>
                        <a:pt x="2009" y="1354"/>
                      </a:lnTo>
                      <a:lnTo>
                        <a:pt x="2011" y="1349"/>
                      </a:lnTo>
                      <a:lnTo>
                        <a:pt x="2012" y="1343"/>
                      </a:lnTo>
                      <a:lnTo>
                        <a:pt x="2013" y="1337"/>
                      </a:lnTo>
                      <a:lnTo>
                        <a:pt x="2014" y="1331"/>
                      </a:lnTo>
                      <a:lnTo>
                        <a:pt x="2014" y="1307"/>
                      </a:lnTo>
                      <a:lnTo>
                        <a:pt x="2014" y="1288"/>
                      </a:lnTo>
                      <a:lnTo>
                        <a:pt x="2014" y="1271"/>
                      </a:lnTo>
                      <a:lnTo>
                        <a:pt x="2014" y="1250"/>
                      </a:lnTo>
                      <a:lnTo>
                        <a:pt x="2011" y="1223"/>
                      </a:lnTo>
                      <a:lnTo>
                        <a:pt x="2004" y="1185"/>
                      </a:lnTo>
                      <a:lnTo>
                        <a:pt x="2000" y="1165"/>
                      </a:lnTo>
                      <a:lnTo>
                        <a:pt x="1997" y="1145"/>
                      </a:lnTo>
                      <a:lnTo>
                        <a:pt x="1994" y="1129"/>
                      </a:lnTo>
                      <a:lnTo>
                        <a:pt x="1993" y="1115"/>
                      </a:lnTo>
                      <a:lnTo>
                        <a:pt x="1994" y="1108"/>
                      </a:lnTo>
                      <a:lnTo>
                        <a:pt x="1997" y="1102"/>
                      </a:lnTo>
                      <a:lnTo>
                        <a:pt x="1999" y="1096"/>
                      </a:lnTo>
                      <a:lnTo>
                        <a:pt x="2002" y="1090"/>
                      </a:lnTo>
                      <a:lnTo>
                        <a:pt x="2006" y="1085"/>
                      </a:lnTo>
                      <a:lnTo>
                        <a:pt x="2012" y="1081"/>
                      </a:lnTo>
                      <a:lnTo>
                        <a:pt x="2017" y="1077"/>
                      </a:lnTo>
                      <a:lnTo>
                        <a:pt x="2023" y="1073"/>
                      </a:lnTo>
                      <a:lnTo>
                        <a:pt x="2035" y="1067"/>
                      </a:lnTo>
                      <a:lnTo>
                        <a:pt x="2047" y="1063"/>
                      </a:lnTo>
                      <a:lnTo>
                        <a:pt x="2058" y="1060"/>
                      </a:lnTo>
                      <a:lnTo>
                        <a:pt x="2067" y="1060"/>
                      </a:lnTo>
                      <a:lnTo>
                        <a:pt x="2067" y="1046"/>
                      </a:lnTo>
                      <a:lnTo>
                        <a:pt x="2069" y="1032"/>
                      </a:lnTo>
                      <a:lnTo>
                        <a:pt x="2071" y="1020"/>
                      </a:lnTo>
                      <a:lnTo>
                        <a:pt x="2073" y="1009"/>
                      </a:lnTo>
                      <a:lnTo>
                        <a:pt x="2078" y="999"/>
                      </a:lnTo>
                      <a:lnTo>
                        <a:pt x="2081" y="990"/>
                      </a:lnTo>
                      <a:lnTo>
                        <a:pt x="2087" y="980"/>
                      </a:lnTo>
                      <a:lnTo>
                        <a:pt x="2092" y="972"/>
                      </a:lnTo>
                      <a:lnTo>
                        <a:pt x="2104" y="956"/>
                      </a:lnTo>
                      <a:lnTo>
                        <a:pt x="2117" y="943"/>
                      </a:lnTo>
                      <a:lnTo>
                        <a:pt x="2132" y="929"/>
                      </a:lnTo>
                      <a:lnTo>
                        <a:pt x="2147" y="917"/>
                      </a:lnTo>
                      <a:lnTo>
                        <a:pt x="2161" y="904"/>
                      </a:lnTo>
                      <a:lnTo>
                        <a:pt x="2175" y="891"/>
                      </a:lnTo>
                      <a:lnTo>
                        <a:pt x="2183" y="885"/>
                      </a:lnTo>
                      <a:lnTo>
                        <a:pt x="2190" y="877"/>
                      </a:lnTo>
                      <a:lnTo>
                        <a:pt x="2195" y="869"/>
                      </a:lnTo>
                      <a:lnTo>
                        <a:pt x="2202" y="861"/>
                      </a:lnTo>
                      <a:lnTo>
                        <a:pt x="2206" y="852"/>
                      </a:lnTo>
                      <a:lnTo>
                        <a:pt x="2212" y="843"/>
                      </a:lnTo>
                      <a:lnTo>
                        <a:pt x="2216" y="833"/>
                      </a:lnTo>
                      <a:lnTo>
                        <a:pt x="2219" y="822"/>
                      </a:lnTo>
                      <a:lnTo>
                        <a:pt x="2223" y="810"/>
                      </a:lnTo>
                      <a:lnTo>
                        <a:pt x="2225" y="798"/>
                      </a:lnTo>
                      <a:lnTo>
                        <a:pt x="2226" y="784"/>
                      </a:lnTo>
                      <a:lnTo>
                        <a:pt x="2226" y="770"/>
                      </a:lnTo>
                      <a:lnTo>
                        <a:pt x="2225" y="752"/>
                      </a:lnTo>
                      <a:lnTo>
                        <a:pt x="2222" y="732"/>
                      </a:lnTo>
                      <a:lnTo>
                        <a:pt x="2217" y="711"/>
                      </a:lnTo>
                      <a:lnTo>
                        <a:pt x="2212" y="689"/>
                      </a:lnTo>
                      <a:lnTo>
                        <a:pt x="2205" y="668"/>
                      </a:lnTo>
                      <a:lnTo>
                        <a:pt x="2199" y="649"/>
                      </a:lnTo>
                      <a:lnTo>
                        <a:pt x="2192" y="633"/>
                      </a:lnTo>
                      <a:lnTo>
                        <a:pt x="2186" y="622"/>
                      </a:lnTo>
                      <a:lnTo>
                        <a:pt x="2182" y="614"/>
                      </a:lnTo>
                      <a:lnTo>
                        <a:pt x="2178" y="608"/>
                      </a:lnTo>
                      <a:lnTo>
                        <a:pt x="2173" y="604"/>
                      </a:lnTo>
                      <a:lnTo>
                        <a:pt x="2168" y="601"/>
                      </a:lnTo>
                      <a:lnTo>
                        <a:pt x="2163" y="600"/>
                      </a:lnTo>
                      <a:lnTo>
                        <a:pt x="2157" y="599"/>
                      </a:lnTo>
                      <a:lnTo>
                        <a:pt x="2151" y="600"/>
                      </a:lnTo>
                      <a:lnTo>
                        <a:pt x="2146" y="601"/>
                      </a:lnTo>
                      <a:lnTo>
                        <a:pt x="2134" y="603"/>
                      </a:lnTo>
                      <a:lnTo>
                        <a:pt x="2122" y="605"/>
                      </a:lnTo>
                      <a:lnTo>
                        <a:pt x="2116" y="605"/>
                      </a:lnTo>
                      <a:lnTo>
                        <a:pt x="2111" y="604"/>
                      </a:lnTo>
                      <a:lnTo>
                        <a:pt x="2105" y="602"/>
                      </a:lnTo>
                      <a:lnTo>
                        <a:pt x="2100" y="597"/>
                      </a:lnTo>
                      <a:lnTo>
                        <a:pt x="2089" y="590"/>
                      </a:lnTo>
                      <a:lnTo>
                        <a:pt x="2079" y="582"/>
                      </a:lnTo>
                      <a:lnTo>
                        <a:pt x="2069" y="573"/>
                      </a:lnTo>
                      <a:lnTo>
                        <a:pt x="2059" y="563"/>
                      </a:lnTo>
                      <a:lnTo>
                        <a:pt x="2039" y="540"/>
                      </a:lnTo>
                      <a:lnTo>
                        <a:pt x="2021" y="518"/>
                      </a:lnTo>
                      <a:lnTo>
                        <a:pt x="2010" y="507"/>
                      </a:lnTo>
                      <a:lnTo>
                        <a:pt x="2000" y="497"/>
                      </a:lnTo>
                      <a:lnTo>
                        <a:pt x="1989" y="488"/>
                      </a:lnTo>
                      <a:lnTo>
                        <a:pt x="1977" y="478"/>
                      </a:lnTo>
                      <a:lnTo>
                        <a:pt x="1965" y="471"/>
                      </a:lnTo>
                      <a:lnTo>
                        <a:pt x="1950" y="466"/>
                      </a:lnTo>
                      <a:lnTo>
                        <a:pt x="1944" y="464"/>
                      </a:lnTo>
                      <a:lnTo>
                        <a:pt x="1936" y="463"/>
                      </a:lnTo>
                      <a:lnTo>
                        <a:pt x="1928" y="462"/>
                      </a:lnTo>
                      <a:lnTo>
                        <a:pt x="1921" y="462"/>
                      </a:lnTo>
                      <a:lnTo>
                        <a:pt x="1898" y="462"/>
                      </a:lnTo>
                      <a:lnTo>
                        <a:pt x="1878" y="462"/>
                      </a:lnTo>
                      <a:lnTo>
                        <a:pt x="1860" y="462"/>
                      </a:lnTo>
                      <a:lnTo>
                        <a:pt x="1841" y="462"/>
                      </a:lnTo>
                      <a:lnTo>
                        <a:pt x="1826" y="461"/>
                      </a:lnTo>
                      <a:lnTo>
                        <a:pt x="1814" y="460"/>
                      </a:lnTo>
                      <a:lnTo>
                        <a:pt x="1802" y="458"/>
                      </a:lnTo>
                      <a:lnTo>
                        <a:pt x="1791" y="456"/>
                      </a:lnTo>
                      <a:lnTo>
                        <a:pt x="1780" y="453"/>
                      </a:lnTo>
                      <a:lnTo>
                        <a:pt x="1768" y="451"/>
                      </a:lnTo>
                      <a:lnTo>
                        <a:pt x="1755" y="450"/>
                      </a:lnTo>
                      <a:lnTo>
                        <a:pt x="1742" y="450"/>
                      </a:lnTo>
                      <a:lnTo>
                        <a:pt x="1725" y="450"/>
                      </a:lnTo>
                      <a:lnTo>
                        <a:pt x="1713" y="452"/>
                      </a:lnTo>
                      <a:lnTo>
                        <a:pt x="1703" y="454"/>
                      </a:lnTo>
                      <a:lnTo>
                        <a:pt x="1696" y="458"/>
                      </a:lnTo>
                      <a:lnTo>
                        <a:pt x="1689" y="462"/>
                      </a:lnTo>
                      <a:lnTo>
                        <a:pt x="1685" y="467"/>
                      </a:lnTo>
                      <a:lnTo>
                        <a:pt x="1679" y="473"/>
                      </a:lnTo>
                      <a:lnTo>
                        <a:pt x="1675" y="480"/>
                      </a:lnTo>
                      <a:lnTo>
                        <a:pt x="1672" y="471"/>
                      </a:lnTo>
                      <a:lnTo>
                        <a:pt x="1669" y="462"/>
                      </a:lnTo>
                      <a:lnTo>
                        <a:pt x="1669" y="454"/>
                      </a:lnTo>
                      <a:lnTo>
                        <a:pt x="1670" y="447"/>
                      </a:lnTo>
                      <a:lnTo>
                        <a:pt x="1673" y="436"/>
                      </a:lnTo>
                      <a:lnTo>
                        <a:pt x="1675" y="430"/>
                      </a:lnTo>
                      <a:lnTo>
                        <a:pt x="1675" y="426"/>
                      </a:lnTo>
                      <a:lnTo>
                        <a:pt x="1673" y="421"/>
                      </a:lnTo>
                      <a:lnTo>
                        <a:pt x="1670" y="417"/>
                      </a:lnTo>
                      <a:lnTo>
                        <a:pt x="1668" y="413"/>
                      </a:lnTo>
                      <a:lnTo>
                        <a:pt x="1664" y="406"/>
                      </a:lnTo>
                      <a:lnTo>
                        <a:pt x="1662" y="400"/>
                      </a:lnTo>
                      <a:lnTo>
                        <a:pt x="1655" y="400"/>
                      </a:lnTo>
                      <a:lnTo>
                        <a:pt x="1648" y="398"/>
                      </a:lnTo>
                      <a:lnTo>
                        <a:pt x="1643" y="396"/>
                      </a:lnTo>
                      <a:lnTo>
                        <a:pt x="1636" y="394"/>
                      </a:lnTo>
                      <a:lnTo>
                        <a:pt x="1624" y="387"/>
                      </a:lnTo>
                      <a:lnTo>
                        <a:pt x="1612" y="379"/>
                      </a:lnTo>
                      <a:lnTo>
                        <a:pt x="1596" y="363"/>
                      </a:lnTo>
                      <a:lnTo>
                        <a:pt x="1588" y="357"/>
                      </a:lnTo>
                      <a:lnTo>
                        <a:pt x="1581" y="359"/>
                      </a:lnTo>
                      <a:lnTo>
                        <a:pt x="1574" y="360"/>
                      </a:lnTo>
                      <a:lnTo>
                        <a:pt x="1567" y="361"/>
                      </a:lnTo>
                      <a:lnTo>
                        <a:pt x="1560" y="362"/>
                      </a:lnTo>
                      <a:lnTo>
                        <a:pt x="1546" y="361"/>
                      </a:lnTo>
                      <a:lnTo>
                        <a:pt x="1534" y="358"/>
                      </a:lnTo>
                      <a:lnTo>
                        <a:pt x="1523" y="354"/>
                      </a:lnTo>
                      <a:lnTo>
                        <a:pt x="1512" y="348"/>
                      </a:lnTo>
                      <a:lnTo>
                        <a:pt x="1504" y="341"/>
                      </a:lnTo>
                      <a:lnTo>
                        <a:pt x="1496" y="333"/>
                      </a:lnTo>
                      <a:lnTo>
                        <a:pt x="1468" y="333"/>
                      </a:lnTo>
                      <a:lnTo>
                        <a:pt x="1468" y="337"/>
                      </a:lnTo>
                      <a:lnTo>
                        <a:pt x="1466" y="342"/>
                      </a:lnTo>
                      <a:lnTo>
                        <a:pt x="1463" y="349"/>
                      </a:lnTo>
                      <a:lnTo>
                        <a:pt x="1459" y="357"/>
                      </a:lnTo>
                      <a:lnTo>
                        <a:pt x="1446" y="373"/>
                      </a:lnTo>
                      <a:lnTo>
                        <a:pt x="1433" y="390"/>
                      </a:lnTo>
                      <a:lnTo>
                        <a:pt x="1426" y="398"/>
                      </a:lnTo>
                      <a:lnTo>
                        <a:pt x="1419" y="404"/>
                      </a:lnTo>
                      <a:lnTo>
                        <a:pt x="1411" y="409"/>
                      </a:lnTo>
                      <a:lnTo>
                        <a:pt x="1405" y="413"/>
                      </a:lnTo>
                      <a:lnTo>
                        <a:pt x="1401" y="414"/>
                      </a:lnTo>
                      <a:lnTo>
                        <a:pt x="1398" y="415"/>
                      </a:lnTo>
                      <a:lnTo>
                        <a:pt x="1395" y="415"/>
                      </a:lnTo>
                      <a:lnTo>
                        <a:pt x="1392" y="414"/>
                      </a:lnTo>
                      <a:lnTo>
                        <a:pt x="1389" y="413"/>
                      </a:lnTo>
                      <a:lnTo>
                        <a:pt x="1387" y="412"/>
                      </a:lnTo>
                      <a:lnTo>
                        <a:pt x="1385" y="409"/>
                      </a:lnTo>
                      <a:lnTo>
                        <a:pt x="1383" y="406"/>
                      </a:lnTo>
                      <a:lnTo>
                        <a:pt x="1367" y="406"/>
                      </a:lnTo>
                      <a:lnTo>
                        <a:pt x="1352" y="406"/>
                      </a:lnTo>
                      <a:lnTo>
                        <a:pt x="1338" y="405"/>
                      </a:lnTo>
                      <a:lnTo>
                        <a:pt x="1325" y="402"/>
                      </a:lnTo>
                      <a:lnTo>
                        <a:pt x="1318" y="401"/>
                      </a:lnTo>
                      <a:lnTo>
                        <a:pt x="1312" y="399"/>
                      </a:lnTo>
                      <a:lnTo>
                        <a:pt x="1308" y="396"/>
                      </a:lnTo>
                      <a:lnTo>
                        <a:pt x="1304" y="393"/>
                      </a:lnTo>
                      <a:lnTo>
                        <a:pt x="1300" y="390"/>
                      </a:lnTo>
                      <a:lnTo>
                        <a:pt x="1298" y="386"/>
                      </a:lnTo>
                      <a:lnTo>
                        <a:pt x="1297" y="381"/>
                      </a:lnTo>
                      <a:lnTo>
                        <a:pt x="1296" y="375"/>
                      </a:lnTo>
                      <a:lnTo>
                        <a:pt x="1270" y="375"/>
                      </a:lnTo>
                      <a:lnTo>
                        <a:pt x="1259" y="380"/>
                      </a:lnTo>
                      <a:lnTo>
                        <a:pt x="1247" y="384"/>
                      </a:lnTo>
                      <a:lnTo>
                        <a:pt x="1240" y="384"/>
                      </a:lnTo>
                      <a:lnTo>
                        <a:pt x="1235" y="384"/>
                      </a:lnTo>
                      <a:lnTo>
                        <a:pt x="1228" y="384"/>
                      </a:lnTo>
                      <a:lnTo>
                        <a:pt x="1224" y="382"/>
                      </a:lnTo>
                      <a:lnTo>
                        <a:pt x="1283" y="333"/>
                      </a:lnTo>
                      <a:lnTo>
                        <a:pt x="1286" y="321"/>
                      </a:lnTo>
                      <a:lnTo>
                        <a:pt x="1289" y="309"/>
                      </a:lnTo>
                      <a:lnTo>
                        <a:pt x="1294" y="299"/>
                      </a:lnTo>
                      <a:lnTo>
                        <a:pt x="1299" y="290"/>
                      </a:lnTo>
                      <a:lnTo>
                        <a:pt x="1305" y="282"/>
                      </a:lnTo>
                      <a:lnTo>
                        <a:pt x="1310" y="274"/>
                      </a:lnTo>
                      <a:lnTo>
                        <a:pt x="1317" y="268"/>
                      </a:lnTo>
                      <a:lnTo>
                        <a:pt x="1323" y="260"/>
                      </a:lnTo>
                      <a:lnTo>
                        <a:pt x="1349" y="240"/>
                      </a:lnTo>
                      <a:lnTo>
                        <a:pt x="1370" y="222"/>
                      </a:lnTo>
                      <a:lnTo>
                        <a:pt x="1362" y="217"/>
                      </a:lnTo>
                      <a:lnTo>
                        <a:pt x="1356" y="213"/>
                      </a:lnTo>
                      <a:lnTo>
                        <a:pt x="1352" y="210"/>
                      </a:lnTo>
                      <a:lnTo>
                        <a:pt x="1349" y="205"/>
                      </a:lnTo>
                      <a:lnTo>
                        <a:pt x="1345" y="201"/>
                      </a:lnTo>
                      <a:lnTo>
                        <a:pt x="1344" y="196"/>
                      </a:lnTo>
                      <a:lnTo>
                        <a:pt x="1343" y="191"/>
                      </a:lnTo>
                      <a:lnTo>
                        <a:pt x="1343" y="184"/>
                      </a:lnTo>
                      <a:lnTo>
                        <a:pt x="1338" y="184"/>
                      </a:lnTo>
                      <a:lnTo>
                        <a:pt x="1333" y="183"/>
                      </a:lnTo>
                      <a:lnTo>
                        <a:pt x="1330" y="182"/>
                      </a:lnTo>
                      <a:lnTo>
                        <a:pt x="1326" y="179"/>
                      </a:lnTo>
                      <a:lnTo>
                        <a:pt x="1320" y="174"/>
                      </a:lnTo>
                      <a:lnTo>
                        <a:pt x="1315" y="166"/>
                      </a:lnTo>
                      <a:lnTo>
                        <a:pt x="1310" y="157"/>
                      </a:lnTo>
                      <a:lnTo>
                        <a:pt x="1307" y="146"/>
                      </a:lnTo>
                      <a:lnTo>
                        <a:pt x="1305" y="135"/>
                      </a:lnTo>
                      <a:lnTo>
                        <a:pt x="1301" y="124"/>
                      </a:lnTo>
                      <a:lnTo>
                        <a:pt x="1298" y="100"/>
                      </a:lnTo>
                      <a:lnTo>
                        <a:pt x="1293" y="78"/>
                      </a:lnTo>
                      <a:lnTo>
                        <a:pt x="1291" y="68"/>
                      </a:lnTo>
                      <a:lnTo>
                        <a:pt x="1286" y="60"/>
                      </a:lnTo>
                      <a:lnTo>
                        <a:pt x="1282" y="54"/>
                      </a:lnTo>
                      <a:lnTo>
                        <a:pt x="1276" y="49"/>
                      </a:lnTo>
                      <a:lnTo>
                        <a:pt x="1264" y="71"/>
                      </a:lnTo>
                      <a:lnTo>
                        <a:pt x="1240" y="109"/>
                      </a:lnTo>
                      <a:lnTo>
                        <a:pt x="1227" y="128"/>
                      </a:lnTo>
                      <a:lnTo>
                        <a:pt x="1214" y="144"/>
                      </a:lnTo>
                      <a:lnTo>
                        <a:pt x="1207" y="150"/>
                      </a:lnTo>
                      <a:lnTo>
                        <a:pt x="1200" y="156"/>
                      </a:lnTo>
                      <a:lnTo>
                        <a:pt x="1195" y="159"/>
                      </a:lnTo>
                      <a:lnTo>
                        <a:pt x="1189" y="160"/>
                      </a:lnTo>
                      <a:lnTo>
                        <a:pt x="1124" y="135"/>
                      </a:lnTo>
                      <a:lnTo>
                        <a:pt x="1113" y="139"/>
                      </a:lnTo>
                      <a:lnTo>
                        <a:pt x="1102" y="142"/>
                      </a:lnTo>
                      <a:lnTo>
                        <a:pt x="1088" y="144"/>
                      </a:lnTo>
                      <a:lnTo>
                        <a:pt x="1075" y="146"/>
                      </a:lnTo>
                      <a:lnTo>
                        <a:pt x="1047" y="147"/>
                      </a:lnTo>
                      <a:lnTo>
                        <a:pt x="1017" y="147"/>
                      </a:lnTo>
                      <a:lnTo>
                        <a:pt x="1016" y="152"/>
                      </a:lnTo>
                      <a:lnTo>
                        <a:pt x="1015" y="157"/>
                      </a:lnTo>
                      <a:lnTo>
                        <a:pt x="1013" y="161"/>
                      </a:lnTo>
                      <a:lnTo>
                        <a:pt x="1009" y="165"/>
                      </a:lnTo>
                      <a:lnTo>
                        <a:pt x="1006" y="168"/>
                      </a:lnTo>
                      <a:lnTo>
                        <a:pt x="1003" y="170"/>
                      </a:lnTo>
                      <a:lnTo>
                        <a:pt x="1000" y="172"/>
                      </a:lnTo>
                      <a:lnTo>
                        <a:pt x="997" y="172"/>
                      </a:lnTo>
                      <a:lnTo>
                        <a:pt x="992" y="173"/>
                      </a:lnTo>
                      <a:lnTo>
                        <a:pt x="987" y="175"/>
                      </a:lnTo>
                      <a:lnTo>
                        <a:pt x="985" y="175"/>
                      </a:lnTo>
                      <a:lnTo>
                        <a:pt x="982" y="175"/>
                      </a:lnTo>
                      <a:lnTo>
                        <a:pt x="980" y="174"/>
                      </a:lnTo>
                      <a:lnTo>
                        <a:pt x="978" y="172"/>
                      </a:lnTo>
                      <a:lnTo>
                        <a:pt x="976" y="176"/>
                      </a:lnTo>
                      <a:lnTo>
                        <a:pt x="972" y="179"/>
                      </a:lnTo>
                      <a:lnTo>
                        <a:pt x="967" y="183"/>
                      </a:lnTo>
                      <a:lnTo>
                        <a:pt x="960" y="187"/>
                      </a:lnTo>
                      <a:lnTo>
                        <a:pt x="941" y="194"/>
                      </a:lnTo>
                      <a:lnTo>
                        <a:pt x="920" y="200"/>
                      </a:lnTo>
                      <a:lnTo>
                        <a:pt x="879" y="212"/>
                      </a:lnTo>
                      <a:lnTo>
                        <a:pt x="858" y="216"/>
                      </a:lnTo>
                      <a:lnTo>
                        <a:pt x="851" y="215"/>
                      </a:lnTo>
                      <a:lnTo>
                        <a:pt x="846" y="213"/>
                      </a:lnTo>
                      <a:lnTo>
                        <a:pt x="839" y="208"/>
                      </a:lnTo>
                      <a:lnTo>
                        <a:pt x="834" y="203"/>
                      </a:lnTo>
                      <a:lnTo>
                        <a:pt x="827" y="197"/>
                      </a:lnTo>
                      <a:lnTo>
                        <a:pt x="822" y="191"/>
                      </a:lnTo>
                      <a:lnTo>
                        <a:pt x="817" y="184"/>
                      </a:lnTo>
                      <a:lnTo>
                        <a:pt x="812" y="176"/>
                      </a:lnTo>
                      <a:lnTo>
                        <a:pt x="803" y="161"/>
                      </a:lnTo>
                      <a:lnTo>
                        <a:pt x="796" y="145"/>
                      </a:lnTo>
                      <a:lnTo>
                        <a:pt x="793" y="132"/>
                      </a:lnTo>
                      <a:lnTo>
                        <a:pt x="791" y="123"/>
                      </a:lnTo>
                      <a:lnTo>
                        <a:pt x="792" y="116"/>
                      </a:lnTo>
                      <a:lnTo>
                        <a:pt x="794" y="109"/>
                      </a:lnTo>
                      <a:lnTo>
                        <a:pt x="798" y="103"/>
                      </a:lnTo>
                      <a:lnTo>
                        <a:pt x="801" y="95"/>
                      </a:lnTo>
                      <a:lnTo>
                        <a:pt x="805" y="88"/>
                      </a:lnTo>
                      <a:lnTo>
                        <a:pt x="808" y="81"/>
                      </a:lnTo>
                      <a:lnTo>
                        <a:pt x="811" y="74"/>
                      </a:lnTo>
                      <a:lnTo>
                        <a:pt x="811" y="67"/>
                      </a:lnTo>
                      <a:lnTo>
                        <a:pt x="811" y="53"/>
                      </a:lnTo>
                      <a:lnTo>
                        <a:pt x="808" y="39"/>
                      </a:lnTo>
                      <a:lnTo>
                        <a:pt x="806" y="33"/>
                      </a:lnTo>
                      <a:lnTo>
                        <a:pt x="804" y="28"/>
                      </a:lnTo>
                      <a:lnTo>
                        <a:pt x="801" y="24"/>
                      </a:lnTo>
                      <a:lnTo>
                        <a:pt x="798" y="20"/>
                      </a:lnTo>
                      <a:lnTo>
                        <a:pt x="794" y="16"/>
                      </a:lnTo>
                      <a:lnTo>
                        <a:pt x="789" y="12"/>
                      </a:lnTo>
                      <a:lnTo>
                        <a:pt x="783" y="9"/>
                      </a:lnTo>
                      <a:lnTo>
                        <a:pt x="778" y="7"/>
                      </a:lnTo>
                      <a:lnTo>
                        <a:pt x="762" y="3"/>
                      </a:lnTo>
                      <a:lnTo>
                        <a:pt x="745" y="0"/>
                      </a:lnTo>
                      <a:lnTo>
                        <a:pt x="739" y="10"/>
                      </a:lnTo>
                      <a:lnTo>
                        <a:pt x="733" y="21"/>
                      </a:lnTo>
                      <a:lnTo>
                        <a:pt x="729" y="23"/>
                      </a:lnTo>
                      <a:lnTo>
                        <a:pt x="727" y="25"/>
                      </a:lnTo>
                      <a:lnTo>
                        <a:pt x="725" y="26"/>
                      </a:lnTo>
                      <a:lnTo>
                        <a:pt x="722" y="27"/>
                      </a:lnTo>
                      <a:lnTo>
                        <a:pt x="717" y="27"/>
                      </a:lnTo>
                      <a:lnTo>
                        <a:pt x="714" y="27"/>
                      </a:lnTo>
                      <a:lnTo>
                        <a:pt x="710" y="26"/>
                      </a:lnTo>
                      <a:lnTo>
                        <a:pt x="705" y="24"/>
                      </a:lnTo>
                      <a:lnTo>
                        <a:pt x="703" y="28"/>
                      </a:lnTo>
                      <a:lnTo>
                        <a:pt x="700" y="31"/>
                      </a:lnTo>
                      <a:lnTo>
                        <a:pt x="695" y="35"/>
                      </a:lnTo>
                      <a:lnTo>
                        <a:pt x="690" y="39"/>
                      </a:lnTo>
                      <a:lnTo>
                        <a:pt x="677" y="47"/>
                      </a:lnTo>
                      <a:lnTo>
                        <a:pt x="662" y="55"/>
                      </a:lnTo>
                      <a:lnTo>
                        <a:pt x="648" y="63"/>
                      </a:lnTo>
                      <a:lnTo>
                        <a:pt x="637" y="71"/>
                      </a:lnTo>
                      <a:lnTo>
                        <a:pt x="632" y="75"/>
                      </a:lnTo>
                      <a:lnTo>
                        <a:pt x="628" y="79"/>
                      </a:lnTo>
                      <a:lnTo>
                        <a:pt x="626" y="82"/>
                      </a:lnTo>
                      <a:lnTo>
                        <a:pt x="625" y="86"/>
                      </a:lnTo>
                      <a:lnTo>
                        <a:pt x="612" y="79"/>
                      </a:lnTo>
                      <a:lnTo>
                        <a:pt x="589" y="70"/>
                      </a:lnTo>
                      <a:lnTo>
                        <a:pt x="566" y="62"/>
                      </a:lnTo>
                      <a:lnTo>
                        <a:pt x="552" y="55"/>
                      </a:lnTo>
                      <a:lnTo>
                        <a:pt x="525" y="55"/>
                      </a:lnTo>
                      <a:lnTo>
                        <a:pt x="525" y="99"/>
                      </a:lnTo>
                      <a:lnTo>
                        <a:pt x="535" y="114"/>
                      </a:lnTo>
                      <a:lnTo>
                        <a:pt x="552" y="137"/>
                      </a:lnTo>
                      <a:lnTo>
                        <a:pt x="566" y="160"/>
                      </a:lnTo>
                      <a:lnTo>
                        <a:pt x="572" y="172"/>
                      </a:lnTo>
                      <a:lnTo>
                        <a:pt x="571" y="178"/>
                      </a:lnTo>
                      <a:lnTo>
                        <a:pt x="569" y="185"/>
                      </a:lnTo>
                      <a:lnTo>
                        <a:pt x="566" y="191"/>
                      </a:lnTo>
                      <a:lnTo>
                        <a:pt x="560" y="198"/>
                      </a:lnTo>
                      <a:lnTo>
                        <a:pt x="555" y="205"/>
                      </a:lnTo>
                      <a:lnTo>
                        <a:pt x="548" y="213"/>
                      </a:lnTo>
                      <a:lnTo>
                        <a:pt x="541" y="220"/>
                      </a:lnTo>
                      <a:lnTo>
                        <a:pt x="532" y="227"/>
                      </a:lnTo>
                      <a:lnTo>
                        <a:pt x="523" y="233"/>
                      </a:lnTo>
                      <a:lnTo>
                        <a:pt x="513" y="239"/>
                      </a:lnTo>
                      <a:lnTo>
                        <a:pt x="503" y="244"/>
                      </a:lnTo>
                      <a:lnTo>
                        <a:pt x="493" y="249"/>
                      </a:lnTo>
                      <a:lnTo>
                        <a:pt x="483" y="253"/>
                      </a:lnTo>
                      <a:lnTo>
                        <a:pt x="472" y="256"/>
                      </a:lnTo>
                      <a:lnTo>
                        <a:pt x="463" y="257"/>
                      </a:lnTo>
                      <a:lnTo>
                        <a:pt x="453" y="258"/>
                      </a:lnTo>
                      <a:lnTo>
                        <a:pt x="446" y="258"/>
                      </a:lnTo>
                      <a:lnTo>
                        <a:pt x="440" y="256"/>
                      </a:lnTo>
                      <a:lnTo>
                        <a:pt x="433" y="254"/>
                      </a:lnTo>
                      <a:lnTo>
                        <a:pt x="426" y="252"/>
                      </a:lnTo>
                      <a:lnTo>
                        <a:pt x="413" y="245"/>
                      </a:lnTo>
                      <a:lnTo>
                        <a:pt x="401" y="235"/>
                      </a:lnTo>
                      <a:lnTo>
                        <a:pt x="389" y="224"/>
                      </a:lnTo>
                      <a:lnTo>
                        <a:pt x="378" y="212"/>
                      </a:lnTo>
                      <a:lnTo>
                        <a:pt x="368" y="198"/>
                      </a:lnTo>
                      <a:lnTo>
                        <a:pt x="359" y="184"/>
                      </a:lnTo>
                      <a:lnTo>
                        <a:pt x="330" y="190"/>
                      </a:lnTo>
                      <a:lnTo>
                        <a:pt x="286" y="197"/>
                      </a:lnTo>
                      <a:lnTo>
                        <a:pt x="263" y="201"/>
                      </a:lnTo>
                      <a:lnTo>
                        <a:pt x="244" y="206"/>
                      </a:lnTo>
                      <a:lnTo>
                        <a:pt x="238" y="208"/>
                      </a:lnTo>
                      <a:lnTo>
                        <a:pt x="231" y="211"/>
                      </a:lnTo>
                      <a:lnTo>
                        <a:pt x="228" y="213"/>
                      </a:lnTo>
                      <a:lnTo>
                        <a:pt x="227" y="216"/>
                      </a:lnTo>
                      <a:lnTo>
                        <a:pt x="227" y="220"/>
                      </a:lnTo>
                      <a:lnTo>
                        <a:pt x="229" y="224"/>
                      </a:lnTo>
                      <a:lnTo>
                        <a:pt x="231" y="227"/>
                      </a:lnTo>
                      <a:lnTo>
                        <a:pt x="235" y="230"/>
                      </a:lnTo>
                      <a:lnTo>
                        <a:pt x="243" y="235"/>
                      </a:lnTo>
                      <a:lnTo>
                        <a:pt x="253" y="240"/>
                      </a:lnTo>
                      <a:lnTo>
                        <a:pt x="253" y="258"/>
                      </a:lnTo>
                      <a:lnTo>
                        <a:pt x="241" y="262"/>
                      </a:lnTo>
                      <a:lnTo>
                        <a:pt x="221" y="268"/>
                      </a:lnTo>
                      <a:lnTo>
                        <a:pt x="210" y="272"/>
                      </a:lnTo>
                      <a:lnTo>
                        <a:pt x="201" y="278"/>
                      </a:lnTo>
                      <a:lnTo>
                        <a:pt x="198" y="281"/>
                      </a:lnTo>
                      <a:lnTo>
                        <a:pt x="196" y="285"/>
                      </a:lnTo>
                      <a:lnTo>
                        <a:pt x="194" y="290"/>
                      </a:lnTo>
                      <a:lnTo>
                        <a:pt x="194" y="295"/>
                      </a:lnTo>
                      <a:lnTo>
                        <a:pt x="194" y="302"/>
                      </a:lnTo>
                      <a:lnTo>
                        <a:pt x="196" y="307"/>
                      </a:lnTo>
                      <a:lnTo>
                        <a:pt x="198" y="311"/>
                      </a:lnTo>
                      <a:lnTo>
                        <a:pt x="201" y="314"/>
                      </a:lnTo>
                      <a:lnTo>
                        <a:pt x="210" y="321"/>
                      </a:lnTo>
                      <a:lnTo>
                        <a:pt x="220" y="327"/>
                      </a:lnTo>
                      <a:lnTo>
                        <a:pt x="224" y="330"/>
                      </a:lnTo>
                      <a:lnTo>
                        <a:pt x="230" y="333"/>
                      </a:lnTo>
                      <a:lnTo>
                        <a:pt x="234" y="337"/>
                      </a:lnTo>
                      <a:lnTo>
                        <a:pt x="239" y="342"/>
                      </a:lnTo>
                      <a:lnTo>
                        <a:pt x="242" y="348"/>
                      </a:lnTo>
                      <a:lnTo>
                        <a:pt x="244" y="356"/>
                      </a:lnTo>
                      <a:lnTo>
                        <a:pt x="246" y="365"/>
                      </a:lnTo>
                      <a:lnTo>
                        <a:pt x="246" y="375"/>
                      </a:lnTo>
                      <a:lnTo>
                        <a:pt x="246" y="388"/>
                      </a:lnTo>
                      <a:lnTo>
                        <a:pt x="245" y="400"/>
                      </a:lnTo>
                      <a:lnTo>
                        <a:pt x="243" y="412"/>
                      </a:lnTo>
                      <a:lnTo>
                        <a:pt x="241" y="423"/>
                      </a:lnTo>
                      <a:lnTo>
                        <a:pt x="236" y="446"/>
                      </a:lnTo>
                      <a:lnTo>
                        <a:pt x="230" y="468"/>
                      </a:lnTo>
                      <a:lnTo>
                        <a:pt x="223" y="490"/>
                      </a:lnTo>
                      <a:lnTo>
                        <a:pt x="219" y="512"/>
                      </a:lnTo>
                      <a:lnTo>
                        <a:pt x="217" y="524"/>
                      </a:lnTo>
                      <a:lnTo>
                        <a:pt x="214" y="535"/>
                      </a:lnTo>
                      <a:lnTo>
                        <a:pt x="213" y="548"/>
                      </a:lnTo>
                      <a:lnTo>
                        <a:pt x="213" y="560"/>
                      </a:lnTo>
                      <a:lnTo>
                        <a:pt x="194" y="560"/>
                      </a:lnTo>
                      <a:lnTo>
                        <a:pt x="188" y="557"/>
                      </a:lnTo>
                      <a:lnTo>
                        <a:pt x="184" y="554"/>
                      </a:lnTo>
                      <a:lnTo>
                        <a:pt x="183" y="553"/>
                      </a:lnTo>
                      <a:lnTo>
                        <a:pt x="182" y="552"/>
                      </a:lnTo>
                      <a:lnTo>
                        <a:pt x="180" y="550"/>
                      </a:lnTo>
                      <a:lnTo>
                        <a:pt x="180" y="548"/>
                      </a:lnTo>
                      <a:lnTo>
                        <a:pt x="168" y="554"/>
                      </a:lnTo>
                      <a:lnTo>
                        <a:pt x="157" y="559"/>
                      </a:lnTo>
                      <a:lnTo>
                        <a:pt x="147" y="562"/>
                      </a:lnTo>
                      <a:lnTo>
                        <a:pt x="138" y="564"/>
                      </a:lnTo>
                      <a:lnTo>
                        <a:pt x="119" y="566"/>
                      </a:lnTo>
                      <a:lnTo>
                        <a:pt x="100" y="567"/>
                      </a:lnTo>
                      <a:lnTo>
                        <a:pt x="96" y="567"/>
                      </a:lnTo>
                      <a:lnTo>
                        <a:pt x="93" y="569"/>
                      </a:lnTo>
                      <a:lnTo>
                        <a:pt x="90" y="573"/>
                      </a:lnTo>
                      <a:lnTo>
                        <a:pt x="88" y="576"/>
                      </a:lnTo>
                      <a:lnTo>
                        <a:pt x="85" y="584"/>
                      </a:lnTo>
                      <a:lnTo>
                        <a:pt x="81" y="591"/>
                      </a:lnTo>
                      <a:lnTo>
                        <a:pt x="65" y="607"/>
                      </a:lnTo>
                      <a:lnTo>
                        <a:pt x="51" y="624"/>
                      </a:lnTo>
                      <a:lnTo>
                        <a:pt x="38" y="643"/>
                      </a:lnTo>
                      <a:lnTo>
                        <a:pt x="26" y="665"/>
                      </a:lnTo>
                      <a:lnTo>
                        <a:pt x="20" y="676"/>
                      </a:lnTo>
                      <a:lnTo>
                        <a:pt x="16" y="687"/>
                      </a:lnTo>
                      <a:lnTo>
                        <a:pt x="11" y="699"/>
                      </a:lnTo>
                      <a:lnTo>
                        <a:pt x="7" y="711"/>
                      </a:lnTo>
                      <a:lnTo>
                        <a:pt x="5" y="723"/>
                      </a:lnTo>
                      <a:lnTo>
                        <a:pt x="3" y="734"/>
                      </a:lnTo>
                      <a:lnTo>
                        <a:pt x="1" y="746"/>
                      </a:lnTo>
                      <a:lnTo>
                        <a:pt x="0" y="757"/>
                      </a:lnTo>
                      <a:lnTo>
                        <a:pt x="1" y="767"/>
                      </a:lnTo>
                      <a:lnTo>
                        <a:pt x="4" y="777"/>
                      </a:lnTo>
                      <a:lnTo>
                        <a:pt x="7" y="787"/>
                      </a:lnTo>
                      <a:lnTo>
                        <a:pt x="11" y="799"/>
                      </a:lnTo>
                      <a:lnTo>
                        <a:pt x="17" y="811"/>
                      </a:lnTo>
                      <a:lnTo>
                        <a:pt x="22" y="824"/>
                      </a:lnTo>
                      <a:lnTo>
                        <a:pt x="30" y="836"/>
                      </a:lnTo>
                      <a:lnTo>
                        <a:pt x="38" y="848"/>
                      </a:lnTo>
                      <a:lnTo>
                        <a:pt x="46" y="859"/>
                      </a:lnTo>
                      <a:lnTo>
                        <a:pt x="56" y="870"/>
                      </a:lnTo>
                      <a:lnTo>
                        <a:pt x="66" y="880"/>
                      </a:lnTo>
                      <a:lnTo>
                        <a:pt x="76" y="889"/>
                      </a:lnTo>
                      <a:lnTo>
                        <a:pt x="87" y="896"/>
                      </a:lnTo>
                      <a:lnTo>
                        <a:pt x="98" y="901"/>
                      </a:lnTo>
                      <a:lnTo>
                        <a:pt x="104" y="903"/>
                      </a:lnTo>
                      <a:lnTo>
                        <a:pt x="109" y="904"/>
                      </a:lnTo>
                      <a:lnTo>
                        <a:pt x="115" y="905"/>
                      </a:lnTo>
                      <a:lnTo>
                        <a:pt x="120" y="905"/>
                      </a:lnTo>
                      <a:lnTo>
                        <a:pt x="130" y="904"/>
                      </a:lnTo>
                      <a:lnTo>
                        <a:pt x="138" y="902"/>
                      </a:lnTo>
                      <a:lnTo>
                        <a:pt x="146" y="898"/>
                      </a:lnTo>
                      <a:lnTo>
                        <a:pt x="153" y="893"/>
                      </a:lnTo>
                      <a:lnTo>
                        <a:pt x="161" y="889"/>
                      </a:lnTo>
                      <a:lnTo>
                        <a:pt x="168" y="885"/>
                      </a:lnTo>
                      <a:lnTo>
                        <a:pt x="177" y="882"/>
                      </a:lnTo>
                      <a:lnTo>
                        <a:pt x="187" y="881"/>
                      </a:lnTo>
                      <a:lnTo>
                        <a:pt x="189" y="903"/>
                      </a:lnTo>
                      <a:lnTo>
                        <a:pt x="190" y="934"/>
                      </a:lnTo>
                      <a:lnTo>
                        <a:pt x="190" y="942"/>
                      </a:lnTo>
                      <a:lnTo>
                        <a:pt x="191" y="949"/>
                      </a:lnTo>
                      <a:lnTo>
                        <a:pt x="194" y="956"/>
                      </a:lnTo>
                      <a:lnTo>
                        <a:pt x="196" y="961"/>
                      </a:lnTo>
                      <a:lnTo>
                        <a:pt x="199" y="966"/>
                      </a:lnTo>
                      <a:lnTo>
                        <a:pt x="202" y="970"/>
                      </a:lnTo>
                      <a:lnTo>
                        <a:pt x="208" y="972"/>
                      </a:lnTo>
                      <a:lnTo>
                        <a:pt x="213" y="973"/>
                      </a:lnTo>
                      <a:lnTo>
                        <a:pt x="233" y="973"/>
                      </a:lnTo>
                    </a:path>
                  </a:pathLst>
                </a:custGeom>
                <a:solidFill>
                  <a:srgbClr val="1F4E79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60" name="Freeform 10">
                  <a:extLst>
                    <a:ext uri="{FF2B5EF4-FFF2-40B4-BE49-F238E27FC236}">
                      <a16:creationId xmlns:a16="http://schemas.microsoft.com/office/drawing/2014/main" xmlns="" id="{94B166D4-CBB5-4C31-858C-A175CED1D23C}"/>
                    </a:ext>
                  </a:extLst>
                </p:cNvPr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4289425" y="2454275"/>
                  <a:ext cx="69850" cy="49213"/>
                </a:xfrm>
                <a:custGeom>
                  <a:avLst/>
                  <a:gdLst>
                    <a:gd name="T0" fmla="*/ 2147483646 w 161"/>
                    <a:gd name="T1" fmla="*/ 0 h 93"/>
                    <a:gd name="T2" fmla="*/ 2147483646 w 161"/>
                    <a:gd name="T3" fmla="*/ 2147483646 h 93"/>
                    <a:gd name="T4" fmla="*/ 2147483646 w 161"/>
                    <a:gd name="T5" fmla="*/ 2147483646 h 93"/>
                    <a:gd name="T6" fmla="*/ 2147483646 w 161"/>
                    <a:gd name="T7" fmla="*/ 2147483646 h 93"/>
                    <a:gd name="T8" fmla="*/ 2147483646 w 161"/>
                    <a:gd name="T9" fmla="*/ 2147483646 h 93"/>
                    <a:gd name="T10" fmla="*/ 2147483646 w 161"/>
                    <a:gd name="T11" fmla="*/ 2147483646 h 93"/>
                    <a:gd name="T12" fmla="*/ 2147483646 w 161"/>
                    <a:gd name="T13" fmla="*/ 2147483646 h 93"/>
                    <a:gd name="T14" fmla="*/ 2147483646 w 161"/>
                    <a:gd name="T15" fmla="*/ 0 h 93"/>
                    <a:gd name="T16" fmla="*/ 2147483646 w 161"/>
                    <a:gd name="T17" fmla="*/ 0 h 93"/>
                    <a:gd name="T18" fmla="*/ 2147483646 w 161"/>
                    <a:gd name="T19" fmla="*/ 0 h 93"/>
                    <a:gd name="T20" fmla="*/ 2147483646 w 161"/>
                    <a:gd name="T21" fmla="*/ 2147483646 h 93"/>
                    <a:gd name="T22" fmla="*/ 2147483646 w 161"/>
                    <a:gd name="T23" fmla="*/ 2147483646 h 93"/>
                    <a:gd name="T24" fmla="*/ 2147483646 w 161"/>
                    <a:gd name="T25" fmla="*/ 2147483646 h 93"/>
                    <a:gd name="T26" fmla="*/ 2147483646 w 161"/>
                    <a:gd name="T27" fmla="*/ 2147483646 h 93"/>
                    <a:gd name="T28" fmla="*/ 2147483646 w 161"/>
                    <a:gd name="T29" fmla="*/ 2147483646 h 93"/>
                    <a:gd name="T30" fmla="*/ 2147483646 w 161"/>
                    <a:gd name="T31" fmla="*/ 2147483646 h 93"/>
                    <a:gd name="T32" fmla="*/ 2147483646 w 161"/>
                    <a:gd name="T33" fmla="*/ 2147483646 h 93"/>
                    <a:gd name="T34" fmla="*/ 2147483646 w 161"/>
                    <a:gd name="T35" fmla="*/ 2147483646 h 93"/>
                    <a:gd name="T36" fmla="*/ 2147483646 w 161"/>
                    <a:gd name="T37" fmla="*/ 2147483646 h 93"/>
                    <a:gd name="T38" fmla="*/ 2147483646 w 161"/>
                    <a:gd name="T39" fmla="*/ 2147483646 h 93"/>
                    <a:gd name="T40" fmla="*/ 2147483646 w 161"/>
                    <a:gd name="T41" fmla="*/ 2147483646 h 93"/>
                    <a:gd name="T42" fmla="*/ 2147483646 w 161"/>
                    <a:gd name="T43" fmla="*/ 2147483646 h 93"/>
                    <a:gd name="T44" fmla="*/ 2147483646 w 161"/>
                    <a:gd name="T45" fmla="*/ 2147483646 h 93"/>
                    <a:gd name="T46" fmla="*/ 2147483646 w 161"/>
                    <a:gd name="T47" fmla="*/ 2147483646 h 93"/>
                    <a:gd name="T48" fmla="*/ 2147483646 w 161"/>
                    <a:gd name="T49" fmla="*/ 2147483646 h 93"/>
                    <a:gd name="T50" fmla="*/ 2147483646 w 161"/>
                    <a:gd name="T51" fmla="*/ 2147483646 h 93"/>
                    <a:gd name="T52" fmla="*/ 2147483646 w 161"/>
                    <a:gd name="T53" fmla="*/ 2147483646 h 93"/>
                    <a:gd name="T54" fmla="*/ 2147483646 w 161"/>
                    <a:gd name="T55" fmla="*/ 2147483646 h 93"/>
                    <a:gd name="T56" fmla="*/ 2147483646 w 161"/>
                    <a:gd name="T57" fmla="*/ 2147483646 h 93"/>
                    <a:gd name="T58" fmla="*/ 2147483646 w 161"/>
                    <a:gd name="T59" fmla="*/ 2147483646 h 93"/>
                    <a:gd name="T60" fmla="*/ 2147483646 w 161"/>
                    <a:gd name="T61" fmla="*/ 2147483646 h 93"/>
                    <a:gd name="T62" fmla="*/ 2147483646 w 161"/>
                    <a:gd name="T63" fmla="*/ 2147483646 h 93"/>
                    <a:gd name="T64" fmla="*/ 2147483646 w 161"/>
                    <a:gd name="T65" fmla="*/ 2147483646 h 93"/>
                    <a:gd name="T66" fmla="*/ 2147483646 w 161"/>
                    <a:gd name="T67" fmla="*/ 2147483646 h 93"/>
                    <a:gd name="T68" fmla="*/ 2147483646 w 161"/>
                    <a:gd name="T69" fmla="*/ 2147483646 h 93"/>
                    <a:gd name="T70" fmla="*/ 2147483646 w 161"/>
                    <a:gd name="T71" fmla="*/ 2147483646 h 93"/>
                    <a:gd name="T72" fmla="*/ 0 w 161"/>
                    <a:gd name="T73" fmla="*/ 0 h 93"/>
                    <a:gd name="T74" fmla="*/ 2147483646 w 161"/>
                    <a:gd name="T75" fmla="*/ 0 h 93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61"/>
                    <a:gd name="T115" fmla="*/ 0 h 93"/>
                    <a:gd name="T116" fmla="*/ 161 w 161"/>
                    <a:gd name="T117" fmla="*/ 93 h 93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61" h="93">
                      <a:moveTo>
                        <a:pt x="94" y="0"/>
                      </a:moveTo>
                      <a:lnTo>
                        <a:pt x="107" y="18"/>
                      </a:lnTo>
                      <a:lnTo>
                        <a:pt x="112" y="12"/>
                      </a:lnTo>
                      <a:lnTo>
                        <a:pt x="117" y="8"/>
                      </a:lnTo>
                      <a:lnTo>
                        <a:pt x="122" y="5"/>
                      </a:lnTo>
                      <a:lnTo>
                        <a:pt x="127" y="3"/>
                      </a:lnTo>
                      <a:lnTo>
                        <a:pt x="137" y="1"/>
                      </a:lnTo>
                      <a:lnTo>
                        <a:pt x="148" y="0"/>
                      </a:lnTo>
                      <a:lnTo>
                        <a:pt x="151" y="0"/>
                      </a:lnTo>
                      <a:lnTo>
                        <a:pt x="161" y="0"/>
                      </a:lnTo>
                      <a:lnTo>
                        <a:pt x="161" y="92"/>
                      </a:lnTo>
                      <a:lnTo>
                        <a:pt x="155" y="93"/>
                      </a:lnTo>
                      <a:lnTo>
                        <a:pt x="150" y="93"/>
                      </a:lnTo>
                      <a:lnTo>
                        <a:pt x="145" y="92"/>
                      </a:lnTo>
                      <a:lnTo>
                        <a:pt x="140" y="91"/>
                      </a:lnTo>
                      <a:lnTo>
                        <a:pt x="129" y="88"/>
                      </a:lnTo>
                      <a:lnTo>
                        <a:pt x="120" y="82"/>
                      </a:lnTo>
                      <a:lnTo>
                        <a:pt x="111" y="75"/>
                      </a:lnTo>
                      <a:lnTo>
                        <a:pt x="104" y="67"/>
                      </a:lnTo>
                      <a:lnTo>
                        <a:pt x="97" y="59"/>
                      </a:lnTo>
                      <a:lnTo>
                        <a:pt x="94" y="49"/>
                      </a:lnTo>
                      <a:lnTo>
                        <a:pt x="92" y="50"/>
                      </a:lnTo>
                      <a:lnTo>
                        <a:pt x="89" y="51"/>
                      </a:lnTo>
                      <a:lnTo>
                        <a:pt x="86" y="51"/>
                      </a:lnTo>
                      <a:lnTo>
                        <a:pt x="84" y="51"/>
                      </a:lnTo>
                      <a:lnTo>
                        <a:pt x="78" y="50"/>
                      </a:lnTo>
                      <a:lnTo>
                        <a:pt x="74" y="49"/>
                      </a:lnTo>
                      <a:lnTo>
                        <a:pt x="65" y="48"/>
                      </a:lnTo>
                      <a:lnTo>
                        <a:pt x="55" y="45"/>
                      </a:lnTo>
                      <a:lnTo>
                        <a:pt x="44" y="40"/>
                      </a:lnTo>
                      <a:lnTo>
                        <a:pt x="32" y="34"/>
                      </a:lnTo>
                      <a:lnTo>
                        <a:pt x="21" y="26"/>
                      </a:lnTo>
                      <a:lnTo>
                        <a:pt x="12" y="18"/>
                      </a:lnTo>
                      <a:lnTo>
                        <a:pt x="8" y="14"/>
                      </a:lnTo>
                      <a:lnTo>
                        <a:pt x="5" y="9"/>
                      </a:lnTo>
                      <a:lnTo>
                        <a:pt x="3" y="5"/>
                      </a:lnTo>
                      <a:lnTo>
                        <a:pt x="0" y="0"/>
                      </a:lnTo>
                      <a:lnTo>
                        <a:pt x="94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61" name="Freeform 11">
                  <a:extLst>
                    <a:ext uri="{FF2B5EF4-FFF2-40B4-BE49-F238E27FC236}">
                      <a16:creationId xmlns:a16="http://schemas.microsoft.com/office/drawing/2014/main" xmlns="" id="{24FF5980-244F-4DA8-AAFD-9AD741401384}"/>
                    </a:ext>
                  </a:extLst>
                </p:cNvPr>
                <p:cNvSpPr>
                  <a:spLocks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3787775" y="2328863"/>
                  <a:ext cx="82550" cy="160337"/>
                </a:xfrm>
                <a:custGeom>
                  <a:avLst/>
                  <a:gdLst>
                    <a:gd name="T0" fmla="*/ 2147483646 w 192"/>
                    <a:gd name="T1" fmla="*/ 2147483646 h 307"/>
                    <a:gd name="T2" fmla="*/ 2147483646 w 192"/>
                    <a:gd name="T3" fmla="*/ 0 h 307"/>
                    <a:gd name="T4" fmla="*/ 2147483646 w 192"/>
                    <a:gd name="T5" fmla="*/ 2147483646 h 307"/>
                    <a:gd name="T6" fmla="*/ 2147483646 w 192"/>
                    <a:gd name="T7" fmla="*/ 2147483646 h 307"/>
                    <a:gd name="T8" fmla="*/ 2147483646 w 192"/>
                    <a:gd name="T9" fmla="*/ 2147483646 h 307"/>
                    <a:gd name="T10" fmla="*/ 2147483646 w 192"/>
                    <a:gd name="T11" fmla="*/ 2147483646 h 307"/>
                    <a:gd name="T12" fmla="*/ 2147483646 w 192"/>
                    <a:gd name="T13" fmla="*/ 2147483646 h 307"/>
                    <a:gd name="T14" fmla="*/ 2147483646 w 192"/>
                    <a:gd name="T15" fmla="*/ 2147483646 h 307"/>
                    <a:gd name="T16" fmla="*/ 2147483646 w 192"/>
                    <a:gd name="T17" fmla="*/ 2147483646 h 307"/>
                    <a:gd name="T18" fmla="*/ 2147483646 w 192"/>
                    <a:gd name="T19" fmla="*/ 2147483646 h 307"/>
                    <a:gd name="T20" fmla="*/ 2147483646 w 192"/>
                    <a:gd name="T21" fmla="*/ 2147483646 h 307"/>
                    <a:gd name="T22" fmla="*/ 2147483646 w 192"/>
                    <a:gd name="T23" fmla="*/ 2147483646 h 307"/>
                    <a:gd name="T24" fmla="*/ 2147483646 w 192"/>
                    <a:gd name="T25" fmla="*/ 2147483646 h 307"/>
                    <a:gd name="T26" fmla="*/ 2147483646 w 192"/>
                    <a:gd name="T27" fmla="*/ 2147483646 h 307"/>
                    <a:gd name="T28" fmla="*/ 2147483646 w 192"/>
                    <a:gd name="T29" fmla="*/ 2147483646 h 307"/>
                    <a:gd name="T30" fmla="*/ 2147483646 w 192"/>
                    <a:gd name="T31" fmla="*/ 2147483646 h 307"/>
                    <a:gd name="T32" fmla="*/ 2147483646 w 192"/>
                    <a:gd name="T33" fmla="*/ 2147483646 h 307"/>
                    <a:gd name="T34" fmla="*/ 2147483646 w 192"/>
                    <a:gd name="T35" fmla="*/ 2147483646 h 307"/>
                    <a:gd name="T36" fmla="*/ 2147483646 w 192"/>
                    <a:gd name="T37" fmla="*/ 2147483646 h 307"/>
                    <a:gd name="T38" fmla="*/ 2147483646 w 192"/>
                    <a:gd name="T39" fmla="*/ 2147483646 h 307"/>
                    <a:gd name="T40" fmla="*/ 2147483646 w 192"/>
                    <a:gd name="T41" fmla="*/ 2147483646 h 307"/>
                    <a:gd name="T42" fmla="*/ 2147483646 w 192"/>
                    <a:gd name="T43" fmla="*/ 2147483646 h 307"/>
                    <a:gd name="T44" fmla="*/ 2147483646 w 192"/>
                    <a:gd name="T45" fmla="*/ 2147483646 h 307"/>
                    <a:gd name="T46" fmla="*/ 0 w 192"/>
                    <a:gd name="T47" fmla="*/ 2147483646 h 307"/>
                    <a:gd name="T48" fmla="*/ 0 w 192"/>
                    <a:gd name="T49" fmla="*/ 2147483646 h 307"/>
                    <a:gd name="T50" fmla="*/ 2147483646 w 192"/>
                    <a:gd name="T51" fmla="*/ 2147483646 h 307"/>
                    <a:gd name="T52" fmla="*/ 2147483646 w 192"/>
                    <a:gd name="T53" fmla="*/ 2147483646 h 307"/>
                    <a:gd name="T54" fmla="*/ 2147483646 w 192"/>
                    <a:gd name="T55" fmla="*/ 2147483646 h 307"/>
                    <a:gd name="T56" fmla="*/ 2147483646 w 192"/>
                    <a:gd name="T57" fmla="*/ 2147483646 h 307"/>
                    <a:gd name="T58" fmla="*/ 2147483646 w 192"/>
                    <a:gd name="T59" fmla="*/ 2147483646 h 307"/>
                    <a:gd name="T60" fmla="*/ 2147483646 w 192"/>
                    <a:gd name="T61" fmla="*/ 2147483646 h 307"/>
                    <a:gd name="T62" fmla="*/ 2147483646 w 192"/>
                    <a:gd name="T63" fmla="*/ 2147483646 h 307"/>
                    <a:gd name="T64" fmla="*/ 2147483646 w 192"/>
                    <a:gd name="T65" fmla="*/ 2147483646 h 307"/>
                    <a:gd name="T66" fmla="*/ 2147483646 w 192"/>
                    <a:gd name="T67" fmla="*/ 2147483646 h 307"/>
                    <a:gd name="T68" fmla="*/ 2147483646 w 192"/>
                    <a:gd name="T69" fmla="*/ 2147483646 h 30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92"/>
                    <a:gd name="T106" fmla="*/ 0 h 307"/>
                    <a:gd name="T107" fmla="*/ 192 w 192"/>
                    <a:gd name="T108" fmla="*/ 307 h 30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92" h="307">
                      <a:moveTo>
                        <a:pt x="44" y="7"/>
                      </a:moveTo>
                      <a:lnTo>
                        <a:pt x="38" y="3"/>
                      </a:lnTo>
                      <a:lnTo>
                        <a:pt x="35" y="1"/>
                      </a:lnTo>
                      <a:lnTo>
                        <a:pt x="37" y="0"/>
                      </a:lnTo>
                      <a:lnTo>
                        <a:pt x="41" y="0"/>
                      </a:lnTo>
                      <a:lnTo>
                        <a:pt x="57" y="3"/>
                      </a:lnTo>
                      <a:lnTo>
                        <a:pt x="82" y="8"/>
                      </a:lnTo>
                      <a:lnTo>
                        <a:pt x="110" y="14"/>
                      </a:lnTo>
                      <a:lnTo>
                        <a:pt x="141" y="22"/>
                      </a:lnTo>
                      <a:lnTo>
                        <a:pt x="155" y="25"/>
                      </a:lnTo>
                      <a:lnTo>
                        <a:pt x="169" y="27"/>
                      </a:lnTo>
                      <a:lnTo>
                        <a:pt x="181" y="28"/>
                      </a:lnTo>
                      <a:lnTo>
                        <a:pt x="192" y="29"/>
                      </a:lnTo>
                      <a:lnTo>
                        <a:pt x="192" y="35"/>
                      </a:lnTo>
                      <a:lnTo>
                        <a:pt x="192" y="41"/>
                      </a:lnTo>
                      <a:lnTo>
                        <a:pt x="188" y="47"/>
                      </a:lnTo>
                      <a:lnTo>
                        <a:pt x="183" y="61"/>
                      </a:lnTo>
                      <a:lnTo>
                        <a:pt x="175" y="82"/>
                      </a:lnTo>
                      <a:lnTo>
                        <a:pt x="167" y="104"/>
                      </a:lnTo>
                      <a:lnTo>
                        <a:pt x="158" y="127"/>
                      </a:lnTo>
                      <a:lnTo>
                        <a:pt x="152" y="148"/>
                      </a:lnTo>
                      <a:lnTo>
                        <a:pt x="147" y="165"/>
                      </a:lnTo>
                      <a:lnTo>
                        <a:pt x="146" y="176"/>
                      </a:lnTo>
                      <a:lnTo>
                        <a:pt x="146" y="207"/>
                      </a:lnTo>
                      <a:lnTo>
                        <a:pt x="146" y="234"/>
                      </a:lnTo>
                      <a:lnTo>
                        <a:pt x="144" y="249"/>
                      </a:lnTo>
                      <a:lnTo>
                        <a:pt x="141" y="263"/>
                      </a:lnTo>
                      <a:lnTo>
                        <a:pt x="134" y="277"/>
                      </a:lnTo>
                      <a:lnTo>
                        <a:pt x="127" y="294"/>
                      </a:lnTo>
                      <a:lnTo>
                        <a:pt x="106" y="296"/>
                      </a:lnTo>
                      <a:lnTo>
                        <a:pt x="91" y="300"/>
                      </a:lnTo>
                      <a:lnTo>
                        <a:pt x="83" y="303"/>
                      </a:lnTo>
                      <a:lnTo>
                        <a:pt x="77" y="306"/>
                      </a:lnTo>
                      <a:lnTo>
                        <a:pt x="72" y="307"/>
                      </a:lnTo>
                      <a:lnTo>
                        <a:pt x="64" y="307"/>
                      </a:lnTo>
                      <a:lnTo>
                        <a:pt x="52" y="305"/>
                      </a:lnTo>
                      <a:lnTo>
                        <a:pt x="33" y="300"/>
                      </a:lnTo>
                      <a:lnTo>
                        <a:pt x="32" y="291"/>
                      </a:lnTo>
                      <a:lnTo>
                        <a:pt x="32" y="284"/>
                      </a:lnTo>
                      <a:lnTo>
                        <a:pt x="30" y="277"/>
                      </a:lnTo>
                      <a:lnTo>
                        <a:pt x="28" y="270"/>
                      </a:lnTo>
                      <a:lnTo>
                        <a:pt x="22" y="257"/>
                      </a:lnTo>
                      <a:lnTo>
                        <a:pt x="17" y="244"/>
                      </a:lnTo>
                      <a:lnTo>
                        <a:pt x="10" y="231"/>
                      </a:lnTo>
                      <a:lnTo>
                        <a:pt x="5" y="218"/>
                      </a:lnTo>
                      <a:lnTo>
                        <a:pt x="2" y="211"/>
                      </a:lnTo>
                      <a:lnTo>
                        <a:pt x="1" y="204"/>
                      </a:lnTo>
                      <a:lnTo>
                        <a:pt x="0" y="197"/>
                      </a:lnTo>
                      <a:lnTo>
                        <a:pt x="0" y="189"/>
                      </a:lnTo>
                      <a:lnTo>
                        <a:pt x="0" y="180"/>
                      </a:lnTo>
                      <a:lnTo>
                        <a:pt x="1" y="173"/>
                      </a:lnTo>
                      <a:lnTo>
                        <a:pt x="2" y="165"/>
                      </a:lnTo>
                      <a:lnTo>
                        <a:pt x="5" y="158"/>
                      </a:lnTo>
                      <a:lnTo>
                        <a:pt x="11" y="145"/>
                      </a:lnTo>
                      <a:lnTo>
                        <a:pt x="18" y="133"/>
                      </a:lnTo>
                      <a:lnTo>
                        <a:pt x="33" y="109"/>
                      </a:lnTo>
                      <a:lnTo>
                        <a:pt x="46" y="90"/>
                      </a:lnTo>
                      <a:lnTo>
                        <a:pt x="48" y="81"/>
                      </a:lnTo>
                      <a:lnTo>
                        <a:pt x="50" y="72"/>
                      </a:lnTo>
                      <a:lnTo>
                        <a:pt x="52" y="62"/>
                      </a:lnTo>
                      <a:lnTo>
                        <a:pt x="53" y="53"/>
                      </a:lnTo>
                      <a:lnTo>
                        <a:pt x="53" y="41"/>
                      </a:lnTo>
                      <a:lnTo>
                        <a:pt x="54" y="34"/>
                      </a:lnTo>
                      <a:lnTo>
                        <a:pt x="55" y="30"/>
                      </a:lnTo>
                      <a:lnTo>
                        <a:pt x="56" y="28"/>
                      </a:lnTo>
                      <a:lnTo>
                        <a:pt x="57" y="26"/>
                      </a:lnTo>
                      <a:lnTo>
                        <a:pt x="58" y="25"/>
                      </a:lnTo>
                      <a:lnTo>
                        <a:pt x="60" y="22"/>
                      </a:lnTo>
                      <a:lnTo>
                        <a:pt x="60" y="16"/>
                      </a:lnTo>
                      <a:lnTo>
                        <a:pt x="44" y="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62" name="Freeform 12">
                  <a:extLst>
                    <a:ext uri="{FF2B5EF4-FFF2-40B4-BE49-F238E27FC236}">
                      <a16:creationId xmlns:a16="http://schemas.microsoft.com/office/drawing/2014/main" xmlns="" id="{0C98C6C6-EB5B-4D05-910D-0D57B09C909A}"/>
                    </a:ext>
                  </a:extLst>
                </p:cNvPr>
                <p:cNvSpPr>
                  <a:spLocks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3868738" y="1814513"/>
                  <a:ext cx="171450" cy="269875"/>
                </a:xfrm>
                <a:custGeom>
                  <a:avLst/>
                  <a:gdLst>
                    <a:gd name="T0" fmla="*/ 2147483646 w 398"/>
                    <a:gd name="T1" fmla="*/ 2147483646 h 518"/>
                    <a:gd name="T2" fmla="*/ 2147483646 w 398"/>
                    <a:gd name="T3" fmla="*/ 2147483646 h 518"/>
                    <a:gd name="T4" fmla="*/ 2147483646 w 398"/>
                    <a:gd name="T5" fmla="*/ 2147483646 h 518"/>
                    <a:gd name="T6" fmla="*/ 2147483646 w 398"/>
                    <a:gd name="T7" fmla="*/ 2147483646 h 518"/>
                    <a:gd name="T8" fmla="*/ 2147483646 w 398"/>
                    <a:gd name="T9" fmla="*/ 2147483646 h 518"/>
                    <a:gd name="T10" fmla="*/ 2147483646 w 398"/>
                    <a:gd name="T11" fmla="*/ 2147483646 h 518"/>
                    <a:gd name="T12" fmla="*/ 2147483646 w 398"/>
                    <a:gd name="T13" fmla="*/ 2147483646 h 518"/>
                    <a:gd name="T14" fmla="*/ 2147483646 w 398"/>
                    <a:gd name="T15" fmla="*/ 2147483646 h 518"/>
                    <a:gd name="T16" fmla="*/ 2147483646 w 398"/>
                    <a:gd name="T17" fmla="*/ 2147483646 h 518"/>
                    <a:gd name="T18" fmla="*/ 2147483646 w 398"/>
                    <a:gd name="T19" fmla="*/ 2147483646 h 518"/>
                    <a:gd name="T20" fmla="*/ 2147483646 w 398"/>
                    <a:gd name="T21" fmla="*/ 2147483646 h 518"/>
                    <a:gd name="T22" fmla="*/ 2147483646 w 398"/>
                    <a:gd name="T23" fmla="*/ 2147483646 h 518"/>
                    <a:gd name="T24" fmla="*/ 2147483646 w 398"/>
                    <a:gd name="T25" fmla="*/ 2147483646 h 518"/>
                    <a:gd name="T26" fmla="*/ 2147483646 w 398"/>
                    <a:gd name="T27" fmla="*/ 2147483646 h 518"/>
                    <a:gd name="T28" fmla="*/ 2147483646 w 398"/>
                    <a:gd name="T29" fmla="*/ 2147483646 h 518"/>
                    <a:gd name="T30" fmla="*/ 2147483646 w 398"/>
                    <a:gd name="T31" fmla="*/ 2147483646 h 518"/>
                    <a:gd name="T32" fmla="*/ 2147483646 w 398"/>
                    <a:gd name="T33" fmla="*/ 2147483646 h 518"/>
                    <a:gd name="T34" fmla="*/ 2147483646 w 398"/>
                    <a:gd name="T35" fmla="*/ 2147483646 h 518"/>
                    <a:gd name="T36" fmla="*/ 2147483646 w 398"/>
                    <a:gd name="T37" fmla="*/ 2147483646 h 518"/>
                    <a:gd name="T38" fmla="*/ 2147483646 w 398"/>
                    <a:gd name="T39" fmla="*/ 2147483646 h 518"/>
                    <a:gd name="T40" fmla="*/ 2147483646 w 398"/>
                    <a:gd name="T41" fmla="*/ 2147483646 h 518"/>
                    <a:gd name="T42" fmla="*/ 2147483646 w 398"/>
                    <a:gd name="T43" fmla="*/ 2147483646 h 518"/>
                    <a:gd name="T44" fmla="*/ 2147483646 w 398"/>
                    <a:gd name="T45" fmla="*/ 2147483646 h 518"/>
                    <a:gd name="T46" fmla="*/ 2147483646 w 398"/>
                    <a:gd name="T47" fmla="*/ 2147483646 h 518"/>
                    <a:gd name="T48" fmla="*/ 2147483646 w 398"/>
                    <a:gd name="T49" fmla="*/ 2147483646 h 518"/>
                    <a:gd name="T50" fmla="*/ 2147483646 w 398"/>
                    <a:gd name="T51" fmla="*/ 2147483646 h 518"/>
                    <a:gd name="T52" fmla="*/ 2147483646 w 398"/>
                    <a:gd name="T53" fmla="*/ 2147483646 h 518"/>
                    <a:gd name="T54" fmla="*/ 2147483646 w 398"/>
                    <a:gd name="T55" fmla="*/ 2147483646 h 518"/>
                    <a:gd name="T56" fmla="*/ 2147483646 w 398"/>
                    <a:gd name="T57" fmla="*/ 2147483646 h 518"/>
                    <a:gd name="T58" fmla="*/ 2147483646 w 398"/>
                    <a:gd name="T59" fmla="*/ 2147483646 h 518"/>
                    <a:gd name="T60" fmla="*/ 2147483646 w 398"/>
                    <a:gd name="T61" fmla="*/ 2147483646 h 518"/>
                    <a:gd name="T62" fmla="*/ 2147483646 w 398"/>
                    <a:gd name="T63" fmla="*/ 2147483646 h 518"/>
                    <a:gd name="T64" fmla="*/ 2147483646 w 398"/>
                    <a:gd name="T65" fmla="*/ 2147483646 h 518"/>
                    <a:gd name="T66" fmla="*/ 2147483646 w 398"/>
                    <a:gd name="T67" fmla="*/ 2147483646 h 518"/>
                    <a:gd name="T68" fmla="*/ 2147483646 w 398"/>
                    <a:gd name="T69" fmla="*/ 2147483646 h 518"/>
                    <a:gd name="T70" fmla="*/ 2147483646 w 398"/>
                    <a:gd name="T71" fmla="*/ 2147483646 h 518"/>
                    <a:gd name="T72" fmla="*/ 2147483646 w 398"/>
                    <a:gd name="T73" fmla="*/ 2147483646 h 518"/>
                    <a:gd name="T74" fmla="*/ 2147483646 w 398"/>
                    <a:gd name="T75" fmla="*/ 2147483646 h 518"/>
                    <a:gd name="T76" fmla="*/ 2147483646 w 398"/>
                    <a:gd name="T77" fmla="*/ 2147483646 h 518"/>
                    <a:gd name="T78" fmla="*/ 2147483646 w 398"/>
                    <a:gd name="T79" fmla="*/ 2147483646 h 518"/>
                    <a:gd name="T80" fmla="*/ 2147483646 w 398"/>
                    <a:gd name="T81" fmla="*/ 2147483646 h 518"/>
                    <a:gd name="T82" fmla="*/ 2147483646 w 398"/>
                    <a:gd name="T83" fmla="*/ 2147483646 h 518"/>
                    <a:gd name="T84" fmla="*/ 2147483646 w 398"/>
                    <a:gd name="T85" fmla="*/ 2147483646 h 518"/>
                    <a:gd name="T86" fmla="*/ 2147483646 w 398"/>
                    <a:gd name="T87" fmla="*/ 2147483646 h 518"/>
                    <a:gd name="T88" fmla="*/ 2147483646 w 398"/>
                    <a:gd name="T89" fmla="*/ 2147483646 h 518"/>
                    <a:gd name="T90" fmla="*/ 2147483646 w 398"/>
                    <a:gd name="T91" fmla="*/ 2147483646 h 518"/>
                    <a:gd name="T92" fmla="*/ 2147483646 w 398"/>
                    <a:gd name="T93" fmla="*/ 2147483646 h 518"/>
                    <a:gd name="T94" fmla="*/ 2147483646 w 398"/>
                    <a:gd name="T95" fmla="*/ 2147483646 h 518"/>
                    <a:gd name="T96" fmla="*/ 2147483646 w 398"/>
                    <a:gd name="T97" fmla="*/ 2147483646 h 518"/>
                    <a:gd name="T98" fmla="*/ 2147483646 w 398"/>
                    <a:gd name="T99" fmla="*/ 2147483646 h 518"/>
                    <a:gd name="T100" fmla="*/ 2147483646 w 398"/>
                    <a:gd name="T101" fmla="*/ 2147483646 h 518"/>
                    <a:gd name="T102" fmla="*/ 2147483646 w 398"/>
                    <a:gd name="T103" fmla="*/ 2147483646 h 518"/>
                    <a:gd name="T104" fmla="*/ 2147483646 w 398"/>
                    <a:gd name="T105" fmla="*/ 2147483646 h 518"/>
                    <a:gd name="T106" fmla="*/ 2147483646 w 398"/>
                    <a:gd name="T107" fmla="*/ 2147483646 h 518"/>
                    <a:gd name="T108" fmla="*/ 2147483646 w 398"/>
                    <a:gd name="T109" fmla="*/ 2147483646 h 518"/>
                    <a:gd name="T110" fmla="*/ 2147483646 w 398"/>
                    <a:gd name="T111" fmla="*/ 2147483646 h 518"/>
                    <a:gd name="T112" fmla="*/ 2147483646 w 398"/>
                    <a:gd name="T113" fmla="*/ 2147483646 h 518"/>
                    <a:gd name="T114" fmla="*/ 2147483646 w 398"/>
                    <a:gd name="T115" fmla="*/ 2147483646 h 518"/>
                    <a:gd name="T116" fmla="*/ 2147483646 w 398"/>
                    <a:gd name="T117" fmla="*/ 2147483646 h 518"/>
                    <a:gd name="T118" fmla="*/ 2147483646 w 398"/>
                    <a:gd name="T119" fmla="*/ 2147483646 h 518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398"/>
                    <a:gd name="T181" fmla="*/ 0 h 518"/>
                    <a:gd name="T182" fmla="*/ 398 w 398"/>
                    <a:gd name="T183" fmla="*/ 518 h 518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398" h="518">
                      <a:moveTo>
                        <a:pt x="0" y="1"/>
                      </a:moveTo>
                      <a:lnTo>
                        <a:pt x="6" y="0"/>
                      </a:lnTo>
                      <a:lnTo>
                        <a:pt x="15" y="1"/>
                      </a:lnTo>
                      <a:lnTo>
                        <a:pt x="26" y="2"/>
                      </a:lnTo>
                      <a:lnTo>
                        <a:pt x="39" y="5"/>
                      </a:lnTo>
                      <a:lnTo>
                        <a:pt x="56" y="8"/>
                      </a:lnTo>
                      <a:lnTo>
                        <a:pt x="75" y="11"/>
                      </a:lnTo>
                      <a:lnTo>
                        <a:pt x="95" y="13"/>
                      </a:lnTo>
                      <a:lnTo>
                        <a:pt x="120" y="13"/>
                      </a:lnTo>
                      <a:lnTo>
                        <a:pt x="120" y="17"/>
                      </a:lnTo>
                      <a:lnTo>
                        <a:pt x="118" y="20"/>
                      </a:lnTo>
                      <a:lnTo>
                        <a:pt x="116" y="23"/>
                      </a:lnTo>
                      <a:lnTo>
                        <a:pt x="114" y="26"/>
                      </a:lnTo>
                      <a:lnTo>
                        <a:pt x="107" y="32"/>
                      </a:lnTo>
                      <a:lnTo>
                        <a:pt x="99" y="37"/>
                      </a:lnTo>
                      <a:lnTo>
                        <a:pt x="80" y="47"/>
                      </a:lnTo>
                      <a:lnTo>
                        <a:pt x="66" y="57"/>
                      </a:lnTo>
                      <a:lnTo>
                        <a:pt x="65" y="59"/>
                      </a:lnTo>
                      <a:lnTo>
                        <a:pt x="64" y="61"/>
                      </a:lnTo>
                      <a:lnTo>
                        <a:pt x="64" y="62"/>
                      </a:lnTo>
                      <a:lnTo>
                        <a:pt x="65" y="64"/>
                      </a:lnTo>
                      <a:lnTo>
                        <a:pt x="68" y="66"/>
                      </a:lnTo>
                      <a:lnTo>
                        <a:pt x="71" y="67"/>
                      </a:lnTo>
                      <a:lnTo>
                        <a:pt x="77" y="69"/>
                      </a:lnTo>
                      <a:lnTo>
                        <a:pt x="84" y="70"/>
                      </a:lnTo>
                      <a:lnTo>
                        <a:pt x="103" y="73"/>
                      </a:lnTo>
                      <a:lnTo>
                        <a:pt x="131" y="76"/>
                      </a:lnTo>
                      <a:lnTo>
                        <a:pt x="167" y="79"/>
                      </a:lnTo>
                      <a:lnTo>
                        <a:pt x="213" y="81"/>
                      </a:lnTo>
                      <a:lnTo>
                        <a:pt x="213" y="91"/>
                      </a:lnTo>
                      <a:lnTo>
                        <a:pt x="213" y="105"/>
                      </a:lnTo>
                      <a:lnTo>
                        <a:pt x="210" y="109"/>
                      </a:lnTo>
                      <a:lnTo>
                        <a:pt x="202" y="112"/>
                      </a:lnTo>
                      <a:lnTo>
                        <a:pt x="191" y="116"/>
                      </a:lnTo>
                      <a:lnTo>
                        <a:pt x="179" y="120"/>
                      </a:lnTo>
                      <a:lnTo>
                        <a:pt x="154" y="127"/>
                      </a:lnTo>
                      <a:lnTo>
                        <a:pt x="139" y="130"/>
                      </a:lnTo>
                      <a:lnTo>
                        <a:pt x="142" y="133"/>
                      </a:lnTo>
                      <a:lnTo>
                        <a:pt x="144" y="136"/>
                      </a:lnTo>
                      <a:lnTo>
                        <a:pt x="147" y="138"/>
                      </a:lnTo>
                      <a:lnTo>
                        <a:pt x="150" y="140"/>
                      </a:lnTo>
                      <a:lnTo>
                        <a:pt x="160" y="142"/>
                      </a:lnTo>
                      <a:lnTo>
                        <a:pt x="170" y="143"/>
                      </a:lnTo>
                      <a:lnTo>
                        <a:pt x="191" y="143"/>
                      </a:lnTo>
                      <a:lnTo>
                        <a:pt x="206" y="142"/>
                      </a:lnTo>
                      <a:lnTo>
                        <a:pt x="206" y="147"/>
                      </a:lnTo>
                      <a:lnTo>
                        <a:pt x="208" y="152"/>
                      </a:lnTo>
                      <a:lnTo>
                        <a:pt x="211" y="156"/>
                      </a:lnTo>
                      <a:lnTo>
                        <a:pt x="214" y="161"/>
                      </a:lnTo>
                      <a:lnTo>
                        <a:pt x="223" y="172"/>
                      </a:lnTo>
                      <a:lnTo>
                        <a:pt x="233" y="182"/>
                      </a:lnTo>
                      <a:lnTo>
                        <a:pt x="243" y="191"/>
                      </a:lnTo>
                      <a:lnTo>
                        <a:pt x="250" y="200"/>
                      </a:lnTo>
                      <a:lnTo>
                        <a:pt x="254" y="205"/>
                      </a:lnTo>
                      <a:lnTo>
                        <a:pt x="257" y="209"/>
                      </a:lnTo>
                      <a:lnTo>
                        <a:pt x="258" y="212"/>
                      </a:lnTo>
                      <a:lnTo>
                        <a:pt x="259" y="216"/>
                      </a:lnTo>
                      <a:lnTo>
                        <a:pt x="259" y="223"/>
                      </a:lnTo>
                      <a:lnTo>
                        <a:pt x="260" y="232"/>
                      </a:lnTo>
                      <a:lnTo>
                        <a:pt x="260" y="237"/>
                      </a:lnTo>
                      <a:lnTo>
                        <a:pt x="262" y="241"/>
                      </a:lnTo>
                      <a:lnTo>
                        <a:pt x="263" y="244"/>
                      </a:lnTo>
                      <a:lnTo>
                        <a:pt x="266" y="247"/>
                      </a:lnTo>
                      <a:lnTo>
                        <a:pt x="272" y="254"/>
                      </a:lnTo>
                      <a:lnTo>
                        <a:pt x="277" y="261"/>
                      </a:lnTo>
                      <a:lnTo>
                        <a:pt x="280" y="267"/>
                      </a:lnTo>
                      <a:lnTo>
                        <a:pt x="283" y="273"/>
                      </a:lnTo>
                      <a:lnTo>
                        <a:pt x="286" y="279"/>
                      </a:lnTo>
                      <a:lnTo>
                        <a:pt x="291" y="284"/>
                      </a:lnTo>
                      <a:lnTo>
                        <a:pt x="297" y="288"/>
                      </a:lnTo>
                      <a:lnTo>
                        <a:pt x="305" y="291"/>
                      </a:lnTo>
                      <a:lnTo>
                        <a:pt x="306" y="297"/>
                      </a:lnTo>
                      <a:lnTo>
                        <a:pt x="310" y="304"/>
                      </a:lnTo>
                      <a:lnTo>
                        <a:pt x="315" y="310"/>
                      </a:lnTo>
                      <a:lnTo>
                        <a:pt x="320" y="316"/>
                      </a:lnTo>
                      <a:lnTo>
                        <a:pt x="327" y="320"/>
                      </a:lnTo>
                      <a:lnTo>
                        <a:pt x="334" y="324"/>
                      </a:lnTo>
                      <a:lnTo>
                        <a:pt x="340" y="326"/>
                      </a:lnTo>
                      <a:lnTo>
                        <a:pt x="346" y="327"/>
                      </a:lnTo>
                      <a:lnTo>
                        <a:pt x="346" y="337"/>
                      </a:lnTo>
                      <a:lnTo>
                        <a:pt x="346" y="346"/>
                      </a:lnTo>
                      <a:lnTo>
                        <a:pt x="355" y="343"/>
                      </a:lnTo>
                      <a:lnTo>
                        <a:pt x="363" y="341"/>
                      </a:lnTo>
                      <a:lnTo>
                        <a:pt x="370" y="341"/>
                      </a:lnTo>
                      <a:lnTo>
                        <a:pt x="376" y="342"/>
                      </a:lnTo>
                      <a:lnTo>
                        <a:pt x="389" y="347"/>
                      </a:lnTo>
                      <a:lnTo>
                        <a:pt x="398" y="352"/>
                      </a:lnTo>
                      <a:lnTo>
                        <a:pt x="396" y="365"/>
                      </a:lnTo>
                      <a:lnTo>
                        <a:pt x="394" y="376"/>
                      </a:lnTo>
                      <a:lnTo>
                        <a:pt x="393" y="382"/>
                      </a:lnTo>
                      <a:lnTo>
                        <a:pt x="393" y="389"/>
                      </a:lnTo>
                      <a:lnTo>
                        <a:pt x="395" y="395"/>
                      </a:lnTo>
                      <a:lnTo>
                        <a:pt x="398" y="401"/>
                      </a:lnTo>
                      <a:lnTo>
                        <a:pt x="393" y="402"/>
                      </a:lnTo>
                      <a:lnTo>
                        <a:pt x="387" y="403"/>
                      </a:lnTo>
                      <a:lnTo>
                        <a:pt x="382" y="404"/>
                      </a:lnTo>
                      <a:lnTo>
                        <a:pt x="376" y="406"/>
                      </a:lnTo>
                      <a:lnTo>
                        <a:pt x="372" y="409"/>
                      </a:lnTo>
                      <a:lnTo>
                        <a:pt x="369" y="412"/>
                      </a:lnTo>
                      <a:lnTo>
                        <a:pt x="367" y="415"/>
                      </a:lnTo>
                      <a:lnTo>
                        <a:pt x="365" y="420"/>
                      </a:lnTo>
                      <a:lnTo>
                        <a:pt x="365" y="422"/>
                      </a:lnTo>
                      <a:lnTo>
                        <a:pt x="367" y="424"/>
                      </a:lnTo>
                      <a:lnTo>
                        <a:pt x="368" y="426"/>
                      </a:lnTo>
                      <a:lnTo>
                        <a:pt x="370" y="429"/>
                      </a:lnTo>
                      <a:lnTo>
                        <a:pt x="376" y="433"/>
                      </a:lnTo>
                      <a:lnTo>
                        <a:pt x="385" y="438"/>
                      </a:lnTo>
                      <a:lnTo>
                        <a:pt x="376" y="443"/>
                      </a:lnTo>
                      <a:lnTo>
                        <a:pt x="371" y="447"/>
                      </a:lnTo>
                      <a:lnTo>
                        <a:pt x="367" y="451"/>
                      </a:lnTo>
                      <a:lnTo>
                        <a:pt x="363" y="455"/>
                      </a:lnTo>
                      <a:lnTo>
                        <a:pt x="359" y="463"/>
                      </a:lnTo>
                      <a:lnTo>
                        <a:pt x="352" y="475"/>
                      </a:lnTo>
                      <a:lnTo>
                        <a:pt x="146" y="475"/>
                      </a:lnTo>
                      <a:lnTo>
                        <a:pt x="146" y="487"/>
                      </a:lnTo>
                      <a:lnTo>
                        <a:pt x="146" y="500"/>
                      </a:lnTo>
                      <a:lnTo>
                        <a:pt x="116" y="501"/>
                      </a:lnTo>
                      <a:lnTo>
                        <a:pt x="90" y="503"/>
                      </a:lnTo>
                      <a:lnTo>
                        <a:pt x="78" y="505"/>
                      </a:lnTo>
                      <a:lnTo>
                        <a:pt x="68" y="508"/>
                      </a:lnTo>
                      <a:lnTo>
                        <a:pt x="64" y="510"/>
                      </a:lnTo>
                      <a:lnTo>
                        <a:pt x="59" y="512"/>
                      </a:lnTo>
                      <a:lnTo>
                        <a:pt x="56" y="515"/>
                      </a:lnTo>
                      <a:lnTo>
                        <a:pt x="53" y="518"/>
                      </a:lnTo>
                      <a:lnTo>
                        <a:pt x="54" y="511"/>
                      </a:lnTo>
                      <a:lnTo>
                        <a:pt x="55" y="505"/>
                      </a:lnTo>
                      <a:lnTo>
                        <a:pt x="56" y="499"/>
                      </a:lnTo>
                      <a:lnTo>
                        <a:pt x="58" y="493"/>
                      </a:lnTo>
                      <a:lnTo>
                        <a:pt x="61" y="488"/>
                      </a:lnTo>
                      <a:lnTo>
                        <a:pt x="64" y="484"/>
                      </a:lnTo>
                      <a:lnTo>
                        <a:pt x="68" y="480"/>
                      </a:lnTo>
                      <a:lnTo>
                        <a:pt x="71" y="476"/>
                      </a:lnTo>
                      <a:lnTo>
                        <a:pt x="81" y="470"/>
                      </a:lnTo>
                      <a:lnTo>
                        <a:pt x="91" y="465"/>
                      </a:lnTo>
                      <a:lnTo>
                        <a:pt x="102" y="462"/>
                      </a:lnTo>
                      <a:lnTo>
                        <a:pt x="114" y="458"/>
                      </a:lnTo>
                      <a:lnTo>
                        <a:pt x="136" y="453"/>
                      </a:lnTo>
                      <a:lnTo>
                        <a:pt x="157" y="448"/>
                      </a:lnTo>
                      <a:lnTo>
                        <a:pt x="165" y="444"/>
                      </a:lnTo>
                      <a:lnTo>
                        <a:pt x="172" y="439"/>
                      </a:lnTo>
                      <a:lnTo>
                        <a:pt x="174" y="436"/>
                      </a:lnTo>
                      <a:lnTo>
                        <a:pt x="177" y="433"/>
                      </a:lnTo>
                      <a:lnTo>
                        <a:pt x="179" y="429"/>
                      </a:lnTo>
                      <a:lnTo>
                        <a:pt x="179" y="426"/>
                      </a:lnTo>
                      <a:lnTo>
                        <a:pt x="179" y="428"/>
                      </a:lnTo>
                      <a:lnTo>
                        <a:pt x="177" y="430"/>
                      </a:lnTo>
                      <a:lnTo>
                        <a:pt x="174" y="432"/>
                      </a:lnTo>
                      <a:lnTo>
                        <a:pt x="171" y="434"/>
                      </a:lnTo>
                      <a:lnTo>
                        <a:pt x="162" y="437"/>
                      </a:lnTo>
                      <a:lnTo>
                        <a:pt x="152" y="438"/>
                      </a:lnTo>
                      <a:lnTo>
                        <a:pt x="137" y="437"/>
                      </a:lnTo>
                      <a:lnTo>
                        <a:pt x="111" y="432"/>
                      </a:lnTo>
                      <a:lnTo>
                        <a:pt x="96" y="429"/>
                      </a:lnTo>
                      <a:lnTo>
                        <a:pt x="84" y="425"/>
                      </a:lnTo>
                      <a:lnTo>
                        <a:pt x="80" y="423"/>
                      </a:lnTo>
                      <a:lnTo>
                        <a:pt x="76" y="420"/>
                      </a:lnTo>
                      <a:lnTo>
                        <a:pt x="73" y="417"/>
                      </a:lnTo>
                      <a:lnTo>
                        <a:pt x="73" y="414"/>
                      </a:lnTo>
                      <a:lnTo>
                        <a:pt x="73" y="407"/>
                      </a:lnTo>
                      <a:lnTo>
                        <a:pt x="77" y="402"/>
                      </a:lnTo>
                      <a:lnTo>
                        <a:pt x="80" y="398"/>
                      </a:lnTo>
                      <a:lnTo>
                        <a:pt x="84" y="395"/>
                      </a:lnTo>
                      <a:lnTo>
                        <a:pt x="90" y="392"/>
                      </a:lnTo>
                      <a:lnTo>
                        <a:pt x="95" y="391"/>
                      </a:lnTo>
                      <a:lnTo>
                        <a:pt x="101" y="390"/>
                      </a:lnTo>
                      <a:lnTo>
                        <a:pt x="106" y="389"/>
                      </a:lnTo>
                      <a:lnTo>
                        <a:pt x="106" y="352"/>
                      </a:lnTo>
                      <a:lnTo>
                        <a:pt x="87" y="352"/>
                      </a:lnTo>
                      <a:lnTo>
                        <a:pt x="90" y="345"/>
                      </a:lnTo>
                      <a:lnTo>
                        <a:pt x="94" y="339"/>
                      </a:lnTo>
                      <a:lnTo>
                        <a:pt x="100" y="334"/>
                      </a:lnTo>
                      <a:lnTo>
                        <a:pt x="105" y="329"/>
                      </a:lnTo>
                      <a:lnTo>
                        <a:pt x="117" y="323"/>
                      </a:lnTo>
                      <a:lnTo>
                        <a:pt x="129" y="319"/>
                      </a:lnTo>
                      <a:lnTo>
                        <a:pt x="142" y="315"/>
                      </a:lnTo>
                      <a:lnTo>
                        <a:pt x="154" y="309"/>
                      </a:lnTo>
                      <a:lnTo>
                        <a:pt x="159" y="306"/>
                      </a:lnTo>
                      <a:lnTo>
                        <a:pt x="163" y="302"/>
                      </a:lnTo>
                      <a:lnTo>
                        <a:pt x="169" y="297"/>
                      </a:lnTo>
                      <a:lnTo>
                        <a:pt x="172" y="291"/>
                      </a:lnTo>
                      <a:lnTo>
                        <a:pt x="166" y="286"/>
                      </a:lnTo>
                      <a:lnTo>
                        <a:pt x="159" y="281"/>
                      </a:lnTo>
                      <a:lnTo>
                        <a:pt x="154" y="277"/>
                      </a:lnTo>
                      <a:lnTo>
                        <a:pt x="148" y="271"/>
                      </a:lnTo>
                      <a:lnTo>
                        <a:pt x="145" y="265"/>
                      </a:lnTo>
                      <a:lnTo>
                        <a:pt x="142" y="260"/>
                      </a:lnTo>
                      <a:lnTo>
                        <a:pt x="140" y="254"/>
                      </a:lnTo>
                      <a:lnTo>
                        <a:pt x="139" y="247"/>
                      </a:lnTo>
                      <a:lnTo>
                        <a:pt x="125" y="247"/>
                      </a:lnTo>
                      <a:lnTo>
                        <a:pt x="113" y="245"/>
                      </a:lnTo>
                      <a:lnTo>
                        <a:pt x="103" y="242"/>
                      </a:lnTo>
                      <a:lnTo>
                        <a:pt x="94" y="239"/>
                      </a:lnTo>
                      <a:lnTo>
                        <a:pt x="88" y="235"/>
                      </a:lnTo>
                      <a:lnTo>
                        <a:pt x="83" y="229"/>
                      </a:lnTo>
                      <a:lnTo>
                        <a:pt x="80" y="224"/>
                      </a:lnTo>
                      <a:lnTo>
                        <a:pt x="80" y="216"/>
                      </a:lnTo>
                      <a:lnTo>
                        <a:pt x="80" y="209"/>
                      </a:lnTo>
                      <a:lnTo>
                        <a:pt x="82" y="203"/>
                      </a:lnTo>
                      <a:lnTo>
                        <a:pt x="86" y="198"/>
                      </a:lnTo>
                      <a:lnTo>
                        <a:pt x="90" y="192"/>
                      </a:lnTo>
                      <a:lnTo>
                        <a:pt x="93" y="186"/>
                      </a:lnTo>
                      <a:lnTo>
                        <a:pt x="96" y="180"/>
                      </a:lnTo>
                      <a:lnTo>
                        <a:pt x="99" y="174"/>
                      </a:lnTo>
                      <a:lnTo>
                        <a:pt x="100" y="168"/>
                      </a:lnTo>
                      <a:lnTo>
                        <a:pt x="92" y="171"/>
                      </a:lnTo>
                      <a:lnTo>
                        <a:pt x="86" y="175"/>
                      </a:lnTo>
                      <a:lnTo>
                        <a:pt x="80" y="180"/>
                      </a:lnTo>
                      <a:lnTo>
                        <a:pt x="73" y="186"/>
                      </a:lnTo>
                      <a:lnTo>
                        <a:pt x="64" y="199"/>
                      </a:lnTo>
                      <a:lnTo>
                        <a:pt x="53" y="210"/>
                      </a:lnTo>
                      <a:lnTo>
                        <a:pt x="31" y="179"/>
                      </a:lnTo>
                      <a:lnTo>
                        <a:pt x="22" y="162"/>
                      </a:lnTo>
                      <a:lnTo>
                        <a:pt x="20" y="157"/>
                      </a:lnTo>
                      <a:lnTo>
                        <a:pt x="20" y="153"/>
                      </a:lnTo>
                      <a:lnTo>
                        <a:pt x="20" y="148"/>
                      </a:lnTo>
                      <a:lnTo>
                        <a:pt x="20" y="142"/>
                      </a:lnTo>
                      <a:lnTo>
                        <a:pt x="17" y="141"/>
                      </a:lnTo>
                      <a:lnTo>
                        <a:pt x="16" y="138"/>
                      </a:lnTo>
                      <a:lnTo>
                        <a:pt x="15" y="135"/>
                      </a:lnTo>
                      <a:lnTo>
                        <a:pt x="14" y="131"/>
                      </a:lnTo>
                      <a:lnTo>
                        <a:pt x="14" y="121"/>
                      </a:lnTo>
                      <a:lnTo>
                        <a:pt x="15" y="110"/>
                      </a:lnTo>
                      <a:lnTo>
                        <a:pt x="17" y="84"/>
                      </a:lnTo>
                      <a:lnTo>
                        <a:pt x="20" y="63"/>
                      </a:lnTo>
                      <a:lnTo>
                        <a:pt x="21" y="59"/>
                      </a:lnTo>
                      <a:lnTo>
                        <a:pt x="21" y="55"/>
                      </a:lnTo>
                      <a:lnTo>
                        <a:pt x="20" y="51"/>
                      </a:lnTo>
                      <a:lnTo>
                        <a:pt x="19" y="49"/>
                      </a:lnTo>
                      <a:lnTo>
                        <a:pt x="15" y="45"/>
                      </a:lnTo>
                      <a:lnTo>
                        <a:pt x="11" y="43"/>
                      </a:lnTo>
                      <a:lnTo>
                        <a:pt x="6" y="41"/>
                      </a:lnTo>
                      <a:lnTo>
                        <a:pt x="4" y="40"/>
                      </a:lnTo>
                      <a:lnTo>
                        <a:pt x="3" y="39"/>
                      </a:lnTo>
                      <a:lnTo>
                        <a:pt x="6" y="37"/>
                      </a:lnTo>
                      <a:lnTo>
                        <a:pt x="13" y="28"/>
                      </a:lnTo>
                      <a:lnTo>
                        <a:pt x="20" y="19"/>
                      </a:lnTo>
                      <a:lnTo>
                        <a:pt x="20" y="13"/>
                      </a:lnTo>
                      <a:lnTo>
                        <a:pt x="11" y="11"/>
                      </a:lnTo>
                      <a:lnTo>
                        <a:pt x="5" y="10"/>
                      </a:lnTo>
                      <a:lnTo>
                        <a:pt x="3" y="9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63" name="Freeform 13">
                  <a:extLst>
                    <a:ext uri="{FF2B5EF4-FFF2-40B4-BE49-F238E27FC236}">
                      <a16:creationId xmlns:a16="http://schemas.microsoft.com/office/drawing/2014/main" xmlns="" id="{50D2122E-0CCA-47BD-B58C-1449A525894F}"/>
                    </a:ext>
                  </a:extLst>
                </p:cNvPr>
                <p:cNvSpPr>
                  <a:spLocks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4227513" y="2117725"/>
                  <a:ext cx="169862" cy="76200"/>
                </a:xfrm>
                <a:custGeom>
                  <a:avLst/>
                  <a:gdLst>
                    <a:gd name="T0" fmla="*/ 2147483646 w 382"/>
                    <a:gd name="T1" fmla="*/ 2147483646 h 148"/>
                    <a:gd name="T2" fmla="*/ 2147483646 w 382"/>
                    <a:gd name="T3" fmla="*/ 2147483646 h 148"/>
                    <a:gd name="T4" fmla="*/ 2147483646 w 382"/>
                    <a:gd name="T5" fmla="*/ 2147483646 h 148"/>
                    <a:gd name="T6" fmla="*/ 2147483646 w 382"/>
                    <a:gd name="T7" fmla="*/ 2147483646 h 148"/>
                    <a:gd name="T8" fmla="*/ 2147483646 w 382"/>
                    <a:gd name="T9" fmla="*/ 2147483646 h 148"/>
                    <a:gd name="T10" fmla="*/ 2147483646 w 382"/>
                    <a:gd name="T11" fmla="*/ 2147483646 h 148"/>
                    <a:gd name="T12" fmla="*/ 2147483646 w 382"/>
                    <a:gd name="T13" fmla="*/ 2147483646 h 148"/>
                    <a:gd name="T14" fmla="*/ 2147483646 w 382"/>
                    <a:gd name="T15" fmla="*/ 2147483646 h 148"/>
                    <a:gd name="T16" fmla="*/ 2147483646 w 382"/>
                    <a:gd name="T17" fmla="*/ 2147483646 h 148"/>
                    <a:gd name="T18" fmla="*/ 2147483646 w 382"/>
                    <a:gd name="T19" fmla="*/ 2147483646 h 148"/>
                    <a:gd name="T20" fmla="*/ 2147483646 w 382"/>
                    <a:gd name="T21" fmla="*/ 2147483646 h 148"/>
                    <a:gd name="T22" fmla="*/ 0 w 382"/>
                    <a:gd name="T23" fmla="*/ 2147483646 h 148"/>
                    <a:gd name="T24" fmla="*/ 2147483646 w 382"/>
                    <a:gd name="T25" fmla="*/ 2147483646 h 148"/>
                    <a:gd name="T26" fmla="*/ 2147483646 w 382"/>
                    <a:gd name="T27" fmla="*/ 2147483646 h 148"/>
                    <a:gd name="T28" fmla="*/ 2147483646 w 382"/>
                    <a:gd name="T29" fmla="*/ 2147483646 h 148"/>
                    <a:gd name="T30" fmla="*/ 2147483646 w 382"/>
                    <a:gd name="T31" fmla="*/ 2147483646 h 148"/>
                    <a:gd name="T32" fmla="*/ 2147483646 w 382"/>
                    <a:gd name="T33" fmla="*/ 2147483646 h 148"/>
                    <a:gd name="T34" fmla="*/ 2147483646 w 382"/>
                    <a:gd name="T35" fmla="*/ 2147483646 h 148"/>
                    <a:gd name="T36" fmla="*/ 2147483646 w 382"/>
                    <a:gd name="T37" fmla="*/ 2147483646 h 148"/>
                    <a:gd name="T38" fmla="*/ 2147483646 w 382"/>
                    <a:gd name="T39" fmla="*/ 2147483646 h 148"/>
                    <a:gd name="T40" fmla="*/ 2147483646 w 382"/>
                    <a:gd name="T41" fmla="*/ 2147483646 h 148"/>
                    <a:gd name="T42" fmla="*/ 2147483646 w 382"/>
                    <a:gd name="T43" fmla="*/ 2147483646 h 148"/>
                    <a:gd name="T44" fmla="*/ 2147483646 w 382"/>
                    <a:gd name="T45" fmla="*/ 2147483646 h 148"/>
                    <a:gd name="T46" fmla="*/ 2147483646 w 382"/>
                    <a:gd name="T47" fmla="*/ 2147483646 h 148"/>
                    <a:gd name="T48" fmla="*/ 2147483646 w 382"/>
                    <a:gd name="T49" fmla="*/ 2147483646 h 148"/>
                    <a:gd name="T50" fmla="*/ 2147483646 w 382"/>
                    <a:gd name="T51" fmla="*/ 2147483646 h 148"/>
                    <a:gd name="T52" fmla="*/ 2147483646 w 382"/>
                    <a:gd name="T53" fmla="*/ 2147483646 h 148"/>
                    <a:gd name="T54" fmla="*/ 2147483646 w 382"/>
                    <a:gd name="T55" fmla="*/ 2147483646 h 148"/>
                    <a:gd name="T56" fmla="*/ 2147483646 w 382"/>
                    <a:gd name="T57" fmla="*/ 2147483646 h 148"/>
                    <a:gd name="T58" fmla="*/ 2147483646 w 382"/>
                    <a:gd name="T59" fmla="*/ 2147483646 h 148"/>
                    <a:gd name="T60" fmla="*/ 2147483646 w 382"/>
                    <a:gd name="T61" fmla="*/ 2147483646 h 148"/>
                    <a:gd name="T62" fmla="*/ 2147483646 w 382"/>
                    <a:gd name="T63" fmla="*/ 2147483646 h 148"/>
                    <a:gd name="T64" fmla="*/ 2147483646 w 382"/>
                    <a:gd name="T65" fmla="*/ 2147483646 h 148"/>
                    <a:gd name="T66" fmla="*/ 2147483646 w 382"/>
                    <a:gd name="T67" fmla="*/ 2147483646 h 148"/>
                    <a:gd name="T68" fmla="*/ 2147483646 w 382"/>
                    <a:gd name="T69" fmla="*/ 2147483646 h 148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382"/>
                    <a:gd name="T106" fmla="*/ 0 h 148"/>
                    <a:gd name="T107" fmla="*/ 382 w 382"/>
                    <a:gd name="T108" fmla="*/ 148 h 148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382" h="148">
                      <a:moveTo>
                        <a:pt x="203" y="18"/>
                      </a:moveTo>
                      <a:lnTo>
                        <a:pt x="190" y="21"/>
                      </a:lnTo>
                      <a:lnTo>
                        <a:pt x="177" y="24"/>
                      </a:lnTo>
                      <a:lnTo>
                        <a:pt x="177" y="31"/>
                      </a:lnTo>
                      <a:lnTo>
                        <a:pt x="175" y="40"/>
                      </a:lnTo>
                      <a:lnTo>
                        <a:pt x="174" y="45"/>
                      </a:lnTo>
                      <a:lnTo>
                        <a:pt x="172" y="49"/>
                      </a:lnTo>
                      <a:lnTo>
                        <a:pt x="168" y="53"/>
                      </a:lnTo>
                      <a:lnTo>
                        <a:pt x="164" y="55"/>
                      </a:lnTo>
                      <a:lnTo>
                        <a:pt x="166" y="61"/>
                      </a:lnTo>
                      <a:lnTo>
                        <a:pt x="170" y="67"/>
                      </a:lnTo>
                      <a:lnTo>
                        <a:pt x="177" y="74"/>
                      </a:lnTo>
                      <a:lnTo>
                        <a:pt x="184" y="80"/>
                      </a:lnTo>
                      <a:lnTo>
                        <a:pt x="155" y="86"/>
                      </a:lnTo>
                      <a:lnTo>
                        <a:pt x="125" y="93"/>
                      </a:lnTo>
                      <a:lnTo>
                        <a:pt x="108" y="96"/>
                      </a:lnTo>
                      <a:lnTo>
                        <a:pt x="88" y="97"/>
                      </a:lnTo>
                      <a:lnTo>
                        <a:pt x="77" y="97"/>
                      </a:lnTo>
                      <a:lnTo>
                        <a:pt x="65" y="96"/>
                      </a:lnTo>
                      <a:lnTo>
                        <a:pt x="52" y="95"/>
                      </a:lnTo>
                      <a:lnTo>
                        <a:pt x="38" y="93"/>
                      </a:lnTo>
                      <a:lnTo>
                        <a:pt x="4" y="111"/>
                      </a:lnTo>
                      <a:lnTo>
                        <a:pt x="1" y="122"/>
                      </a:lnTo>
                      <a:lnTo>
                        <a:pt x="0" y="129"/>
                      </a:lnTo>
                      <a:lnTo>
                        <a:pt x="1" y="130"/>
                      </a:lnTo>
                      <a:lnTo>
                        <a:pt x="4" y="131"/>
                      </a:lnTo>
                      <a:lnTo>
                        <a:pt x="7" y="131"/>
                      </a:lnTo>
                      <a:lnTo>
                        <a:pt x="12" y="131"/>
                      </a:lnTo>
                      <a:lnTo>
                        <a:pt x="28" y="131"/>
                      </a:lnTo>
                      <a:lnTo>
                        <a:pt x="51" y="129"/>
                      </a:lnTo>
                      <a:lnTo>
                        <a:pt x="110" y="123"/>
                      </a:lnTo>
                      <a:lnTo>
                        <a:pt x="114" y="127"/>
                      </a:lnTo>
                      <a:lnTo>
                        <a:pt x="119" y="131"/>
                      </a:lnTo>
                      <a:lnTo>
                        <a:pt x="123" y="134"/>
                      </a:lnTo>
                      <a:lnTo>
                        <a:pt x="128" y="137"/>
                      </a:lnTo>
                      <a:lnTo>
                        <a:pt x="137" y="141"/>
                      </a:lnTo>
                      <a:lnTo>
                        <a:pt x="148" y="144"/>
                      </a:lnTo>
                      <a:lnTo>
                        <a:pt x="159" y="147"/>
                      </a:lnTo>
                      <a:lnTo>
                        <a:pt x="172" y="148"/>
                      </a:lnTo>
                      <a:lnTo>
                        <a:pt x="185" y="148"/>
                      </a:lnTo>
                      <a:lnTo>
                        <a:pt x="197" y="148"/>
                      </a:lnTo>
                      <a:lnTo>
                        <a:pt x="210" y="148"/>
                      </a:lnTo>
                      <a:lnTo>
                        <a:pt x="222" y="148"/>
                      </a:lnTo>
                      <a:lnTo>
                        <a:pt x="233" y="148"/>
                      </a:lnTo>
                      <a:lnTo>
                        <a:pt x="243" y="148"/>
                      </a:lnTo>
                      <a:lnTo>
                        <a:pt x="255" y="148"/>
                      </a:lnTo>
                      <a:lnTo>
                        <a:pt x="265" y="145"/>
                      </a:lnTo>
                      <a:lnTo>
                        <a:pt x="275" y="143"/>
                      </a:lnTo>
                      <a:lnTo>
                        <a:pt x="284" y="140"/>
                      </a:lnTo>
                      <a:lnTo>
                        <a:pt x="301" y="134"/>
                      </a:lnTo>
                      <a:lnTo>
                        <a:pt x="323" y="129"/>
                      </a:lnTo>
                      <a:lnTo>
                        <a:pt x="334" y="121"/>
                      </a:lnTo>
                      <a:lnTo>
                        <a:pt x="344" y="113"/>
                      </a:lnTo>
                      <a:lnTo>
                        <a:pt x="353" y="103"/>
                      </a:lnTo>
                      <a:lnTo>
                        <a:pt x="360" y="93"/>
                      </a:lnTo>
                      <a:lnTo>
                        <a:pt x="372" y="72"/>
                      </a:lnTo>
                      <a:lnTo>
                        <a:pt x="382" y="55"/>
                      </a:lnTo>
                      <a:lnTo>
                        <a:pt x="376" y="52"/>
                      </a:lnTo>
                      <a:lnTo>
                        <a:pt x="367" y="47"/>
                      </a:lnTo>
                      <a:lnTo>
                        <a:pt x="363" y="44"/>
                      </a:lnTo>
                      <a:lnTo>
                        <a:pt x="359" y="39"/>
                      </a:lnTo>
                      <a:lnTo>
                        <a:pt x="357" y="32"/>
                      </a:lnTo>
                      <a:lnTo>
                        <a:pt x="356" y="24"/>
                      </a:lnTo>
                      <a:lnTo>
                        <a:pt x="347" y="22"/>
                      </a:lnTo>
                      <a:lnTo>
                        <a:pt x="341" y="20"/>
                      </a:lnTo>
                      <a:lnTo>
                        <a:pt x="334" y="17"/>
                      </a:lnTo>
                      <a:lnTo>
                        <a:pt x="330" y="14"/>
                      </a:lnTo>
                      <a:lnTo>
                        <a:pt x="319" y="8"/>
                      </a:lnTo>
                      <a:lnTo>
                        <a:pt x="303" y="0"/>
                      </a:lnTo>
                      <a:lnTo>
                        <a:pt x="203" y="1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64" name="Freeform 14">
                  <a:extLst>
                    <a:ext uri="{FF2B5EF4-FFF2-40B4-BE49-F238E27FC236}">
                      <a16:creationId xmlns:a16="http://schemas.microsoft.com/office/drawing/2014/main" xmlns="" id="{4B6605F0-9278-4928-93C0-81FAC234FDA6}"/>
                    </a:ext>
                  </a:extLst>
                </p:cNvPr>
                <p:cNvSpPr>
                  <a:spLocks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5719763" y="1966913"/>
                  <a:ext cx="1281112" cy="1038225"/>
                </a:xfrm>
                <a:custGeom>
                  <a:avLst/>
                  <a:gdLst>
                    <a:gd name="T0" fmla="*/ 2147483646 w 2936"/>
                    <a:gd name="T1" fmla="*/ 2147483646 h 1983"/>
                    <a:gd name="T2" fmla="*/ 2147483646 w 2936"/>
                    <a:gd name="T3" fmla="*/ 2147483646 h 1983"/>
                    <a:gd name="T4" fmla="*/ 2147483646 w 2936"/>
                    <a:gd name="T5" fmla="*/ 2147483646 h 1983"/>
                    <a:gd name="T6" fmla="*/ 2147483646 w 2936"/>
                    <a:gd name="T7" fmla="*/ 2147483646 h 1983"/>
                    <a:gd name="T8" fmla="*/ 2147483646 w 2936"/>
                    <a:gd name="T9" fmla="*/ 2147483646 h 1983"/>
                    <a:gd name="T10" fmla="*/ 2147483646 w 2936"/>
                    <a:gd name="T11" fmla="*/ 2147483646 h 1983"/>
                    <a:gd name="T12" fmla="*/ 2147483646 w 2936"/>
                    <a:gd name="T13" fmla="*/ 2147483646 h 1983"/>
                    <a:gd name="T14" fmla="*/ 2147483646 w 2936"/>
                    <a:gd name="T15" fmla="*/ 2147483646 h 1983"/>
                    <a:gd name="T16" fmla="*/ 2147483646 w 2936"/>
                    <a:gd name="T17" fmla="*/ 2147483646 h 1983"/>
                    <a:gd name="T18" fmla="*/ 2147483646 w 2936"/>
                    <a:gd name="T19" fmla="*/ 2147483646 h 1983"/>
                    <a:gd name="T20" fmla="*/ 2147483646 w 2936"/>
                    <a:gd name="T21" fmla="*/ 2147483646 h 1983"/>
                    <a:gd name="T22" fmla="*/ 2147483646 w 2936"/>
                    <a:gd name="T23" fmla="*/ 2147483646 h 1983"/>
                    <a:gd name="T24" fmla="*/ 2147483646 w 2936"/>
                    <a:gd name="T25" fmla="*/ 2147483646 h 1983"/>
                    <a:gd name="T26" fmla="*/ 2147483646 w 2936"/>
                    <a:gd name="T27" fmla="*/ 2147483646 h 1983"/>
                    <a:gd name="T28" fmla="*/ 2147483646 w 2936"/>
                    <a:gd name="T29" fmla="*/ 2147483646 h 1983"/>
                    <a:gd name="T30" fmla="*/ 2147483646 w 2936"/>
                    <a:gd name="T31" fmla="*/ 2147483646 h 1983"/>
                    <a:gd name="T32" fmla="*/ 2147483646 w 2936"/>
                    <a:gd name="T33" fmla="*/ 2147483646 h 1983"/>
                    <a:gd name="T34" fmla="*/ 2147483646 w 2936"/>
                    <a:gd name="T35" fmla="*/ 2147483646 h 1983"/>
                    <a:gd name="T36" fmla="*/ 2147483646 w 2936"/>
                    <a:gd name="T37" fmla="*/ 2147483646 h 1983"/>
                    <a:gd name="T38" fmla="*/ 2147483646 w 2936"/>
                    <a:gd name="T39" fmla="*/ 2147483646 h 1983"/>
                    <a:gd name="T40" fmla="*/ 2147483646 w 2936"/>
                    <a:gd name="T41" fmla="*/ 2147483646 h 1983"/>
                    <a:gd name="T42" fmla="*/ 2147483646 w 2936"/>
                    <a:gd name="T43" fmla="*/ 2147483646 h 1983"/>
                    <a:gd name="T44" fmla="*/ 2147483646 w 2936"/>
                    <a:gd name="T45" fmla="*/ 2147483646 h 1983"/>
                    <a:gd name="T46" fmla="*/ 2147483646 w 2936"/>
                    <a:gd name="T47" fmla="*/ 2147483646 h 1983"/>
                    <a:gd name="T48" fmla="*/ 2147483646 w 2936"/>
                    <a:gd name="T49" fmla="*/ 2147483646 h 1983"/>
                    <a:gd name="T50" fmla="*/ 2147483646 w 2936"/>
                    <a:gd name="T51" fmla="*/ 2147483646 h 1983"/>
                    <a:gd name="T52" fmla="*/ 2147483646 w 2936"/>
                    <a:gd name="T53" fmla="*/ 2147483646 h 1983"/>
                    <a:gd name="T54" fmla="*/ 2147483646 w 2936"/>
                    <a:gd name="T55" fmla="*/ 2147483646 h 1983"/>
                    <a:gd name="T56" fmla="*/ 2147483646 w 2936"/>
                    <a:gd name="T57" fmla="*/ 2147483646 h 1983"/>
                    <a:gd name="T58" fmla="*/ 2147483646 w 2936"/>
                    <a:gd name="T59" fmla="*/ 2147483646 h 1983"/>
                    <a:gd name="T60" fmla="*/ 2147483646 w 2936"/>
                    <a:gd name="T61" fmla="*/ 2147483646 h 1983"/>
                    <a:gd name="T62" fmla="*/ 2147483646 w 2936"/>
                    <a:gd name="T63" fmla="*/ 2147483646 h 1983"/>
                    <a:gd name="T64" fmla="*/ 2147483646 w 2936"/>
                    <a:gd name="T65" fmla="*/ 2147483646 h 1983"/>
                    <a:gd name="T66" fmla="*/ 2147483646 w 2936"/>
                    <a:gd name="T67" fmla="*/ 2147483646 h 1983"/>
                    <a:gd name="T68" fmla="*/ 2147483646 w 2936"/>
                    <a:gd name="T69" fmla="*/ 2147483646 h 1983"/>
                    <a:gd name="T70" fmla="*/ 2147483646 w 2936"/>
                    <a:gd name="T71" fmla="*/ 2147483646 h 1983"/>
                    <a:gd name="T72" fmla="*/ 2147483646 w 2936"/>
                    <a:gd name="T73" fmla="*/ 2147483646 h 1983"/>
                    <a:gd name="T74" fmla="*/ 2147483646 w 2936"/>
                    <a:gd name="T75" fmla="*/ 2147483646 h 1983"/>
                    <a:gd name="T76" fmla="*/ 2147483646 w 2936"/>
                    <a:gd name="T77" fmla="*/ 2147483646 h 1983"/>
                    <a:gd name="T78" fmla="*/ 2147483646 w 2936"/>
                    <a:gd name="T79" fmla="*/ 2147483646 h 1983"/>
                    <a:gd name="T80" fmla="*/ 2147483646 w 2936"/>
                    <a:gd name="T81" fmla="*/ 2147483646 h 1983"/>
                    <a:gd name="T82" fmla="*/ 2147483646 w 2936"/>
                    <a:gd name="T83" fmla="*/ 2147483646 h 1983"/>
                    <a:gd name="T84" fmla="*/ 2147483646 w 2936"/>
                    <a:gd name="T85" fmla="*/ 2147483646 h 1983"/>
                    <a:gd name="T86" fmla="*/ 2147483646 w 2936"/>
                    <a:gd name="T87" fmla="*/ 2147483646 h 1983"/>
                    <a:gd name="T88" fmla="*/ 2147483646 w 2936"/>
                    <a:gd name="T89" fmla="*/ 2147483646 h 1983"/>
                    <a:gd name="T90" fmla="*/ 2147483646 w 2936"/>
                    <a:gd name="T91" fmla="*/ 2147483646 h 1983"/>
                    <a:gd name="T92" fmla="*/ 2147483646 w 2936"/>
                    <a:gd name="T93" fmla="*/ 2147483646 h 1983"/>
                    <a:gd name="T94" fmla="*/ 2147483646 w 2936"/>
                    <a:gd name="T95" fmla="*/ 2147483646 h 1983"/>
                    <a:gd name="T96" fmla="*/ 2147483646 w 2936"/>
                    <a:gd name="T97" fmla="*/ 2147483646 h 1983"/>
                    <a:gd name="T98" fmla="*/ 2147483646 w 2936"/>
                    <a:gd name="T99" fmla="*/ 2147483646 h 1983"/>
                    <a:gd name="T100" fmla="*/ 2147483646 w 2936"/>
                    <a:gd name="T101" fmla="*/ 2147483646 h 1983"/>
                    <a:gd name="T102" fmla="*/ 2147483646 w 2936"/>
                    <a:gd name="T103" fmla="*/ 2147483646 h 1983"/>
                    <a:gd name="T104" fmla="*/ 2147483646 w 2936"/>
                    <a:gd name="T105" fmla="*/ 2147483646 h 1983"/>
                    <a:gd name="T106" fmla="*/ 2147483646 w 2936"/>
                    <a:gd name="T107" fmla="*/ 2147483646 h 1983"/>
                    <a:gd name="T108" fmla="*/ 2147483646 w 2936"/>
                    <a:gd name="T109" fmla="*/ 2147483646 h 1983"/>
                    <a:gd name="T110" fmla="*/ 2147483646 w 2936"/>
                    <a:gd name="T111" fmla="*/ 2147483646 h 1983"/>
                    <a:gd name="T112" fmla="*/ 2147483646 w 2936"/>
                    <a:gd name="T113" fmla="*/ 2147483646 h 1983"/>
                    <a:gd name="T114" fmla="*/ 2147483646 w 2936"/>
                    <a:gd name="T115" fmla="*/ 2147483646 h 1983"/>
                    <a:gd name="T116" fmla="*/ 2147483646 w 2936"/>
                    <a:gd name="T117" fmla="*/ 2147483646 h 1983"/>
                    <a:gd name="T118" fmla="*/ 2147483646 w 2936"/>
                    <a:gd name="T119" fmla="*/ 2147483646 h 198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936"/>
                    <a:gd name="T181" fmla="*/ 0 h 1983"/>
                    <a:gd name="T182" fmla="*/ 2936 w 2936"/>
                    <a:gd name="T183" fmla="*/ 1983 h 198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936" h="1983">
                      <a:moveTo>
                        <a:pt x="98" y="954"/>
                      </a:moveTo>
                      <a:lnTo>
                        <a:pt x="129" y="989"/>
                      </a:lnTo>
                      <a:lnTo>
                        <a:pt x="157" y="1017"/>
                      </a:lnTo>
                      <a:lnTo>
                        <a:pt x="170" y="1029"/>
                      </a:lnTo>
                      <a:lnTo>
                        <a:pt x="182" y="1041"/>
                      </a:lnTo>
                      <a:lnTo>
                        <a:pt x="194" y="1050"/>
                      </a:lnTo>
                      <a:lnTo>
                        <a:pt x="205" y="1059"/>
                      </a:lnTo>
                      <a:lnTo>
                        <a:pt x="216" y="1066"/>
                      </a:lnTo>
                      <a:lnTo>
                        <a:pt x="227" y="1072"/>
                      </a:lnTo>
                      <a:lnTo>
                        <a:pt x="238" y="1076"/>
                      </a:lnTo>
                      <a:lnTo>
                        <a:pt x="248" y="1080"/>
                      </a:lnTo>
                      <a:lnTo>
                        <a:pt x="259" y="1082"/>
                      </a:lnTo>
                      <a:lnTo>
                        <a:pt x="270" y="1084"/>
                      </a:lnTo>
                      <a:lnTo>
                        <a:pt x="281" y="1084"/>
                      </a:lnTo>
                      <a:lnTo>
                        <a:pt x="292" y="1084"/>
                      </a:lnTo>
                      <a:lnTo>
                        <a:pt x="364" y="1065"/>
                      </a:lnTo>
                      <a:lnTo>
                        <a:pt x="373" y="1071"/>
                      </a:lnTo>
                      <a:lnTo>
                        <a:pt x="383" y="1079"/>
                      </a:lnTo>
                      <a:lnTo>
                        <a:pt x="393" y="1090"/>
                      </a:lnTo>
                      <a:lnTo>
                        <a:pt x="401" y="1102"/>
                      </a:lnTo>
                      <a:lnTo>
                        <a:pt x="410" y="1114"/>
                      </a:lnTo>
                      <a:lnTo>
                        <a:pt x="418" y="1127"/>
                      </a:lnTo>
                      <a:lnTo>
                        <a:pt x="420" y="1133"/>
                      </a:lnTo>
                      <a:lnTo>
                        <a:pt x="422" y="1139"/>
                      </a:lnTo>
                      <a:lnTo>
                        <a:pt x="423" y="1145"/>
                      </a:lnTo>
                      <a:lnTo>
                        <a:pt x="425" y="1151"/>
                      </a:lnTo>
                      <a:lnTo>
                        <a:pt x="423" y="1157"/>
                      </a:lnTo>
                      <a:lnTo>
                        <a:pt x="420" y="1162"/>
                      </a:lnTo>
                      <a:lnTo>
                        <a:pt x="416" y="1167"/>
                      </a:lnTo>
                      <a:lnTo>
                        <a:pt x="409" y="1172"/>
                      </a:lnTo>
                      <a:lnTo>
                        <a:pt x="403" y="1176"/>
                      </a:lnTo>
                      <a:lnTo>
                        <a:pt x="396" y="1179"/>
                      </a:lnTo>
                      <a:lnTo>
                        <a:pt x="390" y="1182"/>
                      </a:lnTo>
                      <a:lnTo>
                        <a:pt x="385" y="1182"/>
                      </a:lnTo>
                      <a:lnTo>
                        <a:pt x="399" y="1200"/>
                      </a:lnTo>
                      <a:lnTo>
                        <a:pt x="412" y="1217"/>
                      </a:lnTo>
                      <a:lnTo>
                        <a:pt x="419" y="1226"/>
                      </a:lnTo>
                      <a:lnTo>
                        <a:pt x="423" y="1235"/>
                      </a:lnTo>
                      <a:lnTo>
                        <a:pt x="428" y="1245"/>
                      </a:lnTo>
                      <a:lnTo>
                        <a:pt x="431" y="1256"/>
                      </a:lnTo>
                      <a:lnTo>
                        <a:pt x="385" y="1256"/>
                      </a:lnTo>
                      <a:lnTo>
                        <a:pt x="385" y="1287"/>
                      </a:lnTo>
                      <a:lnTo>
                        <a:pt x="390" y="1300"/>
                      </a:lnTo>
                      <a:lnTo>
                        <a:pt x="397" y="1311"/>
                      </a:lnTo>
                      <a:lnTo>
                        <a:pt x="405" y="1321"/>
                      </a:lnTo>
                      <a:lnTo>
                        <a:pt x="414" y="1328"/>
                      </a:lnTo>
                      <a:lnTo>
                        <a:pt x="423" y="1335"/>
                      </a:lnTo>
                      <a:lnTo>
                        <a:pt x="434" y="1340"/>
                      </a:lnTo>
                      <a:lnTo>
                        <a:pt x="444" y="1345"/>
                      </a:lnTo>
                      <a:lnTo>
                        <a:pt x="456" y="1349"/>
                      </a:lnTo>
                      <a:lnTo>
                        <a:pt x="478" y="1358"/>
                      </a:lnTo>
                      <a:lnTo>
                        <a:pt x="500" y="1367"/>
                      </a:lnTo>
                      <a:lnTo>
                        <a:pt x="510" y="1373"/>
                      </a:lnTo>
                      <a:lnTo>
                        <a:pt x="520" y="1381"/>
                      </a:lnTo>
                      <a:lnTo>
                        <a:pt x="529" y="1389"/>
                      </a:lnTo>
                      <a:lnTo>
                        <a:pt x="538" y="1398"/>
                      </a:lnTo>
                      <a:lnTo>
                        <a:pt x="617" y="1404"/>
                      </a:lnTo>
                      <a:lnTo>
                        <a:pt x="620" y="1408"/>
                      </a:lnTo>
                      <a:lnTo>
                        <a:pt x="623" y="1411"/>
                      </a:lnTo>
                      <a:lnTo>
                        <a:pt x="628" y="1414"/>
                      </a:lnTo>
                      <a:lnTo>
                        <a:pt x="633" y="1417"/>
                      </a:lnTo>
                      <a:lnTo>
                        <a:pt x="644" y="1422"/>
                      </a:lnTo>
                      <a:lnTo>
                        <a:pt x="656" y="1427"/>
                      </a:lnTo>
                      <a:lnTo>
                        <a:pt x="678" y="1436"/>
                      </a:lnTo>
                      <a:lnTo>
                        <a:pt x="690" y="1441"/>
                      </a:lnTo>
                      <a:lnTo>
                        <a:pt x="723" y="1462"/>
                      </a:lnTo>
                      <a:lnTo>
                        <a:pt x="754" y="1481"/>
                      </a:lnTo>
                      <a:lnTo>
                        <a:pt x="768" y="1492"/>
                      </a:lnTo>
                      <a:lnTo>
                        <a:pt x="784" y="1501"/>
                      </a:lnTo>
                      <a:lnTo>
                        <a:pt x="798" y="1509"/>
                      </a:lnTo>
                      <a:lnTo>
                        <a:pt x="814" y="1517"/>
                      </a:lnTo>
                      <a:lnTo>
                        <a:pt x="830" y="1525"/>
                      </a:lnTo>
                      <a:lnTo>
                        <a:pt x="847" y="1531"/>
                      </a:lnTo>
                      <a:lnTo>
                        <a:pt x="866" y="1537"/>
                      </a:lnTo>
                      <a:lnTo>
                        <a:pt x="886" y="1543"/>
                      </a:lnTo>
                      <a:lnTo>
                        <a:pt x="907" y="1547"/>
                      </a:lnTo>
                      <a:lnTo>
                        <a:pt x="930" y="1550"/>
                      </a:lnTo>
                      <a:lnTo>
                        <a:pt x="955" y="1552"/>
                      </a:lnTo>
                      <a:lnTo>
                        <a:pt x="982" y="1552"/>
                      </a:lnTo>
                      <a:lnTo>
                        <a:pt x="982" y="1521"/>
                      </a:lnTo>
                      <a:lnTo>
                        <a:pt x="1015" y="1521"/>
                      </a:lnTo>
                      <a:lnTo>
                        <a:pt x="1021" y="1532"/>
                      </a:lnTo>
                      <a:lnTo>
                        <a:pt x="1025" y="1539"/>
                      </a:lnTo>
                      <a:lnTo>
                        <a:pt x="1031" y="1545"/>
                      </a:lnTo>
                      <a:lnTo>
                        <a:pt x="1036" y="1552"/>
                      </a:lnTo>
                      <a:lnTo>
                        <a:pt x="1042" y="1552"/>
                      </a:lnTo>
                      <a:lnTo>
                        <a:pt x="1046" y="1551"/>
                      </a:lnTo>
                      <a:lnTo>
                        <a:pt x="1050" y="1548"/>
                      </a:lnTo>
                      <a:lnTo>
                        <a:pt x="1054" y="1546"/>
                      </a:lnTo>
                      <a:lnTo>
                        <a:pt x="1058" y="1538"/>
                      </a:lnTo>
                      <a:lnTo>
                        <a:pt x="1062" y="1530"/>
                      </a:lnTo>
                      <a:lnTo>
                        <a:pt x="1066" y="1522"/>
                      </a:lnTo>
                      <a:lnTo>
                        <a:pt x="1071" y="1516"/>
                      </a:lnTo>
                      <a:lnTo>
                        <a:pt x="1075" y="1513"/>
                      </a:lnTo>
                      <a:lnTo>
                        <a:pt x="1078" y="1511"/>
                      </a:lnTo>
                      <a:lnTo>
                        <a:pt x="1083" y="1510"/>
                      </a:lnTo>
                      <a:lnTo>
                        <a:pt x="1089" y="1509"/>
                      </a:lnTo>
                      <a:lnTo>
                        <a:pt x="1092" y="1512"/>
                      </a:lnTo>
                      <a:lnTo>
                        <a:pt x="1096" y="1516"/>
                      </a:lnTo>
                      <a:lnTo>
                        <a:pt x="1102" y="1519"/>
                      </a:lnTo>
                      <a:lnTo>
                        <a:pt x="1109" y="1522"/>
                      </a:lnTo>
                      <a:lnTo>
                        <a:pt x="1124" y="1529"/>
                      </a:lnTo>
                      <a:lnTo>
                        <a:pt x="1142" y="1534"/>
                      </a:lnTo>
                      <a:lnTo>
                        <a:pt x="1159" y="1539"/>
                      </a:lnTo>
                      <a:lnTo>
                        <a:pt x="1178" y="1543"/>
                      </a:lnTo>
                      <a:lnTo>
                        <a:pt x="1194" y="1546"/>
                      </a:lnTo>
                      <a:lnTo>
                        <a:pt x="1208" y="1546"/>
                      </a:lnTo>
                      <a:lnTo>
                        <a:pt x="1217" y="1535"/>
                      </a:lnTo>
                      <a:lnTo>
                        <a:pt x="1227" y="1526"/>
                      </a:lnTo>
                      <a:lnTo>
                        <a:pt x="1236" y="1518"/>
                      </a:lnTo>
                      <a:lnTo>
                        <a:pt x="1247" y="1510"/>
                      </a:lnTo>
                      <a:lnTo>
                        <a:pt x="1258" y="1502"/>
                      </a:lnTo>
                      <a:lnTo>
                        <a:pt x="1269" y="1496"/>
                      </a:lnTo>
                      <a:lnTo>
                        <a:pt x="1280" y="1489"/>
                      </a:lnTo>
                      <a:lnTo>
                        <a:pt x="1292" y="1482"/>
                      </a:lnTo>
                      <a:lnTo>
                        <a:pt x="1317" y="1472"/>
                      </a:lnTo>
                      <a:lnTo>
                        <a:pt x="1344" y="1463"/>
                      </a:lnTo>
                      <a:lnTo>
                        <a:pt x="1372" y="1455"/>
                      </a:lnTo>
                      <a:lnTo>
                        <a:pt x="1401" y="1448"/>
                      </a:lnTo>
                      <a:lnTo>
                        <a:pt x="1408" y="1456"/>
                      </a:lnTo>
                      <a:lnTo>
                        <a:pt x="1418" y="1465"/>
                      </a:lnTo>
                      <a:lnTo>
                        <a:pt x="1431" y="1476"/>
                      </a:lnTo>
                      <a:lnTo>
                        <a:pt x="1446" y="1487"/>
                      </a:lnTo>
                      <a:lnTo>
                        <a:pt x="1453" y="1492"/>
                      </a:lnTo>
                      <a:lnTo>
                        <a:pt x="1461" y="1496"/>
                      </a:lnTo>
                      <a:lnTo>
                        <a:pt x="1469" y="1499"/>
                      </a:lnTo>
                      <a:lnTo>
                        <a:pt x="1475" y="1502"/>
                      </a:lnTo>
                      <a:lnTo>
                        <a:pt x="1483" y="1504"/>
                      </a:lnTo>
                      <a:lnTo>
                        <a:pt x="1490" y="1505"/>
                      </a:lnTo>
                      <a:lnTo>
                        <a:pt x="1495" y="1505"/>
                      </a:lnTo>
                      <a:lnTo>
                        <a:pt x="1501" y="1503"/>
                      </a:lnTo>
                      <a:lnTo>
                        <a:pt x="1512" y="1510"/>
                      </a:lnTo>
                      <a:lnTo>
                        <a:pt x="1521" y="1518"/>
                      </a:lnTo>
                      <a:lnTo>
                        <a:pt x="1530" y="1526"/>
                      </a:lnTo>
                      <a:lnTo>
                        <a:pt x="1538" y="1534"/>
                      </a:lnTo>
                      <a:lnTo>
                        <a:pt x="1547" y="1542"/>
                      </a:lnTo>
                      <a:lnTo>
                        <a:pt x="1555" y="1547"/>
                      </a:lnTo>
                      <a:lnTo>
                        <a:pt x="1561" y="1550"/>
                      </a:lnTo>
                      <a:lnTo>
                        <a:pt x="1566" y="1551"/>
                      </a:lnTo>
                      <a:lnTo>
                        <a:pt x="1573" y="1552"/>
                      </a:lnTo>
                      <a:lnTo>
                        <a:pt x="1581" y="1552"/>
                      </a:lnTo>
                      <a:lnTo>
                        <a:pt x="1586" y="1578"/>
                      </a:lnTo>
                      <a:lnTo>
                        <a:pt x="1593" y="1602"/>
                      </a:lnTo>
                      <a:lnTo>
                        <a:pt x="1596" y="1613"/>
                      </a:lnTo>
                      <a:lnTo>
                        <a:pt x="1598" y="1625"/>
                      </a:lnTo>
                      <a:lnTo>
                        <a:pt x="1599" y="1637"/>
                      </a:lnTo>
                      <a:lnTo>
                        <a:pt x="1600" y="1650"/>
                      </a:lnTo>
                      <a:lnTo>
                        <a:pt x="1599" y="1658"/>
                      </a:lnTo>
                      <a:lnTo>
                        <a:pt x="1598" y="1664"/>
                      </a:lnTo>
                      <a:lnTo>
                        <a:pt x="1596" y="1670"/>
                      </a:lnTo>
                      <a:lnTo>
                        <a:pt x="1593" y="1676"/>
                      </a:lnTo>
                      <a:lnTo>
                        <a:pt x="1585" y="1686"/>
                      </a:lnTo>
                      <a:lnTo>
                        <a:pt x="1577" y="1697"/>
                      </a:lnTo>
                      <a:lnTo>
                        <a:pt x="1569" y="1707"/>
                      </a:lnTo>
                      <a:lnTo>
                        <a:pt x="1561" y="1719"/>
                      </a:lnTo>
                      <a:lnTo>
                        <a:pt x="1558" y="1724"/>
                      </a:lnTo>
                      <a:lnTo>
                        <a:pt x="1555" y="1730"/>
                      </a:lnTo>
                      <a:lnTo>
                        <a:pt x="1554" y="1736"/>
                      </a:lnTo>
                      <a:lnTo>
                        <a:pt x="1553" y="1743"/>
                      </a:lnTo>
                      <a:lnTo>
                        <a:pt x="1554" y="1748"/>
                      </a:lnTo>
                      <a:lnTo>
                        <a:pt x="1555" y="1753"/>
                      </a:lnTo>
                      <a:lnTo>
                        <a:pt x="1558" y="1756"/>
                      </a:lnTo>
                      <a:lnTo>
                        <a:pt x="1561" y="1759"/>
                      </a:lnTo>
                      <a:lnTo>
                        <a:pt x="1565" y="1761"/>
                      </a:lnTo>
                      <a:lnTo>
                        <a:pt x="1570" y="1764"/>
                      </a:lnTo>
                      <a:lnTo>
                        <a:pt x="1574" y="1765"/>
                      </a:lnTo>
                      <a:lnTo>
                        <a:pt x="1580" y="1767"/>
                      </a:lnTo>
                      <a:lnTo>
                        <a:pt x="1591" y="1769"/>
                      </a:lnTo>
                      <a:lnTo>
                        <a:pt x="1602" y="1771"/>
                      </a:lnTo>
                      <a:lnTo>
                        <a:pt x="1607" y="1773"/>
                      </a:lnTo>
                      <a:lnTo>
                        <a:pt x="1611" y="1775"/>
                      </a:lnTo>
                      <a:lnTo>
                        <a:pt x="1616" y="1777"/>
                      </a:lnTo>
                      <a:lnTo>
                        <a:pt x="1620" y="1780"/>
                      </a:lnTo>
                      <a:lnTo>
                        <a:pt x="1627" y="1787"/>
                      </a:lnTo>
                      <a:lnTo>
                        <a:pt x="1632" y="1794"/>
                      </a:lnTo>
                      <a:lnTo>
                        <a:pt x="1636" y="1801"/>
                      </a:lnTo>
                      <a:lnTo>
                        <a:pt x="1639" y="1807"/>
                      </a:lnTo>
                      <a:lnTo>
                        <a:pt x="1645" y="1822"/>
                      </a:lnTo>
                      <a:lnTo>
                        <a:pt x="1653" y="1836"/>
                      </a:lnTo>
                      <a:lnTo>
                        <a:pt x="1659" y="1848"/>
                      </a:lnTo>
                      <a:lnTo>
                        <a:pt x="1666" y="1862"/>
                      </a:lnTo>
                      <a:lnTo>
                        <a:pt x="1674" y="1877"/>
                      </a:lnTo>
                      <a:lnTo>
                        <a:pt x="1683" y="1890"/>
                      </a:lnTo>
                      <a:lnTo>
                        <a:pt x="1688" y="1897"/>
                      </a:lnTo>
                      <a:lnTo>
                        <a:pt x="1694" y="1903"/>
                      </a:lnTo>
                      <a:lnTo>
                        <a:pt x="1699" y="1908"/>
                      </a:lnTo>
                      <a:lnTo>
                        <a:pt x="1706" y="1912"/>
                      </a:lnTo>
                      <a:lnTo>
                        <a:pt x="1712" y="1916"/>
                      </a:lnTo>
                      <a:lnTo>
                        <a:pt x="1719" y="1919"/>
                      </a:lnTo>
                      <a:lnTo>
                        <a:pt x="1726" y="1921"/>
                      </a:lnTo>
                      <a:lnTo>
                        <a:pt x="1733" y="1921"/>
                      </a:lnTo>
                      <a:lnTo>
                        <a:pt x="1741" y="1921"/>
                      </a:lnTo>
                      <a:lnTo>
                        <a:pt x="1752" y="1918"/>
                      </a:lnTo>
                      <a:lnTo>
                        <a:pt x="1762" y="1916"/>
                      </a:lnTo>
                      <a:lnTo>
                        <a:pt x="1766" y="1915"/>
                      </a:lnTo>
                      <a:lnTo>
                        <a:pt x="1777" y="1910"/>
                      </a:lnTo>
                      <a:lnTo>
                        <a:pt x="1787" y="1904"/>
                      </a:lnTo>
                      <a:lnTo>
                        <a:pt x="1795" y="1898"/>
                      </a:lnTo>
                      <a:lnTo>
                        <a:pt x="1803" y="1891"/>
                      </a:lnTo>
                      <a:lnTo>
                        <a:pt x="1809" y="1884"/>
                      </a:lnTo>
                      <a:lnTo>
                        <a:pt x="1816" y="1878"/>
                      </a:lnTo>
                      <a:lnTo>
                        <a:pt x="1823" y="1871"/>
                      </a:lnTo>
                      <a:lnTo>
                        <a:pt x="1833" y="1866"/>
                      </a:lnTo>
                      <a:lnTo>
                        <a:pt x="1842" y="1859"/>
                      </a:lnTo>
                      <a:lnTo>
                        <a:pt x="1852" y="1853"/>
                      </a:lnTo>
                      <a:lnTo>
                        <a:pt x="1863" y="1848"/>
                      </a:lnTo>
                      <a:lnTo>
                        <a:pt x="1874" y="1844"/>
                      </a:lnTo>
                      <a:lnTo>
                        <a:pt x="1896" y="1838"/>
                      </a:lnTo>
                      <a:lnTo>
                        <a:pt x="1919" y="1834"/>
                      </a:lnTo>
                      <a:lnTo>
                        <a:pt x="1941" y="1831"/>
                      </a:lnTo>
                      <a:lnTo>
                        <a:pt x="1960" y="1827"/>
                      </a:lnTo>
                      <a:lnTo>
                        <a:pt x="1968" y="1824"/>
                      </a:lnTo>
                      <a:lnTo>
                        <a:pt x="1975" y="1821"/>
                      </a:lnTo>
                      <a:lnTo>
                        <a:pt x="1981" y="1816"/>
                      </a:lnTo>
                      <a:lnTo>
                        <a:pt x="1986" y="1811"/>
                      </a:lnTo>
                      <a:lnTo>
                        <a:pt x="1996" y="1820"/>
                      </a:lnTo>
                      <a:lnTo>
                        <a:pt x="2008" y="1827"/>
                      </a:lnTo>
                      <a:lnTo>
                        <a:pt x="2019" y="1832"/>
                      </a:lnTo>
                      <a:lnTo>
                        <a:pt x="2031" y="1837"/>
                      </a:lnTo>
                      <a:lnTo>
                        <a:pt x="2054" y="1846"/>
                      </a:lnTo>
                      <a:lnTo>
                        <a:pt x="2072" y="1854"/>
                      </a:lnTo>
                      <a:lnTo>
                        <a:pt x="2091" y="1869"/>
                      </a:lnTo>
                      <a:lnTo>
                        <a:pt x="2109" y="1887"/>
                      </a:lnTo>
                      <a:lnTo>
                        <a:pt x="2119" y="1896"/>
                      </a:lnTo>
                      <a:lnTo>
                        <a:pt x="2129" y="1903"/>
                      </a:lnTo>
                      <a:lnTo>
                        <a:pt x="2140" y="1910"/>
                      </a:lnTo>
                      <a:lnTo>
                        <a:pt x="2152" y="1915"/>
                      </a:lnTo>
                      <a:lnTo>
                        <a:pt x="2245" y="1921"/>
                      </a:lnTo>
                      <a:lnTo>
                        <a:pt x="2238" y="1935"/>
                      </a:lnTo>
                      <a:lnTo>
                        <a:pt x="2232" y="1947"/>
                      </a:lnTo>
                      <a:lnTo>
                        <a:pt x="2232" y="1953"/>
                      </a:lnTo>
                      <a:lnTo>
                        <a:pt x="2235" y="1957"/>
                      </a:lnTo>
                      <a:lnTo>
                        <a:pt x="2238" y="1961"/>
                      </a:lnTo>
                      <a:lnTo>
                        <a:pt x="2243" y="1965"/>
                      </a:lnTo>
                      <a:lnTo>
                        <a:pt x="2248" y="1968"/>
                      </a:lnTo>
                      <a:lnTo>
                        <a:pt x="2254" y="1972"/>
                      </a:lnTo>
                      <a:lnTo>
                        <a:pt x="2259" y="1977"/>
                      </a:lnTo>
                      <a:lnTo>
                        <a:pt x="2265" y="1983"/>
                      </a:lnTo>
                      <a:lnTo>
                        <a:pt x="2266" y="1980"/>
                      </a:lnTo>
                      <a:lnTo>
                        <a:pt x="2267" y="1972"/>
                      </a:lnTo>
                      <a:lnTo>
                        <a:pt x="2268" y="1968"/>
                      </a:lnTo>
                      <a:lnTo>
                        <a:pt x="2267" y="1963"/>
                      </a:lnTo>
                      <a:lnTo>
                        <a:pt x="2267" y="1957"/>
                      </a:lnTo>
                      <a:lnTo>
                        <a:pt x="2265" y="1953"/>
                      </a:lnTo>
                      <a:lnTo>
                        <a:pt x="2275" y="1947"/>
                      </a:lnTo>
                      <a:lnTo>
                        <a:pt x="2293" y="1935"/>
                      </a:lnTo>
                      <a:lnTo>
                        <a:pt x="2303" y="1927"/>
                      </a:lnTo>
                      <a:lnTo>
                        <a:pt x="2313" y="1921"/>
                      </a:lnTo>
                      <a:lnTo>
                        <a:pt x="2319" y="1919"/>
                      </a:lnTo>
                      <a:lnTo>
                        <a:pt x="2323" y="1917"/>
                      </a:lnTo>
                      <a:lnTo>
                        <a:pt x="2327" y="1916"/>
                      </a:lnTo>
                      <a:lnTo>
                        <a:pt x="2331" y="1915"/>
                      </a:lnTo>
                      <a:lnTo>
                        <a:pt x="2341" y="1915"/>
                      </a:lnTo>
                      <a:lnTo>
                        <a:pt x="2349" y="1913"/>
                      </a:lnTo>
                      <a:lnTo>
                        <a:pt x="2357" y="1910"/>
                      </a:lnTo>
                      <a:lnTo>
                        <a:pt x="2364" y="1906"/>
                      </a:lnTo>
                      <a:lnTo>
                        <a:pt x="2370" y="1901"/>
                      </a:lnTo>
                      <a:lnTo>
                        <a:pt x="2376" y="1895"/>
                      </a:lnTo>
                      <a:lnTo>
                        <a:pt x="2382" y="1889"/>
                      </a:lnTo>
                      <a:lnTo>
                        <a:pt x="2388" y="1882"/>
                      </a:lnTo>
                      <a:lnTo>
                        <a:pt x="2399" y="1867"/>
                      </a:lnTo>
                      <a:lnTo>
                        <a:pt x="2412" y="1853"/>
                      </a:lnTo>
                      <a:lnTo>
                        <a:pt x="2418" y="1847"/>
                      </a:lnTo>
                      <a:lnTo>
                        <a:pt x="2426" y="1840"/>
                      </a:lnTo>
                      <a:lnTo>
                        <a:pt x="2435" y="1835"/>
                      </a:lnTo>
                      <a:lnTo>
                        <a:pt x="2444" y="1830"/>
                      </a:lnTo>
                      <a:lnTo>
                        <a:pt x="2449" y="1838"/>
                      </a:lnTo>
                      <a:lnTo>
                        <a:pt x="2454" y="1846"/>
                      </a:lnTo>
                      <a:lnTo>
                        <a:pt x="2455" y="1850"/>
                      </a:lnTo>
                      <a:lnTo>
                        <a:pt x="2456" y="1854"/>
                      </a:lnTo>
                      <a:lnTo>
                        <a:pt x="2457" y="1860"/>
                      </a:lnTo>
                      <a:lnTo>
                        <a:pt x="2457" y="1866"/>
                      </a:lnTo>
                      <a:lnTo>
                        <a:pt x="2462" y="1860"/>
                      </a:lnTo>
                      <a:lnTo>
                        <a:pt x="2468" y="1857"/>
                      </a:lnTo>
                      <a:lnTo>
                        <a:pt x="2474" y="1855"/>
                      </a:lnTo>
                      <a:lnTo>
                        <a:pt x="2481" y="1855"/>
                      </a:lnTo>
                      <a:lnTo>
                        <a:pt x="2487" y="1856"/>
                      </a:lnTo>
                      <a:lnTo>
                        <a:pt x="2493" y="1858"/>
                      </a:lnTo>
                      <a:lnTo>
                        <a:pt x="2499" y="1862"/>
                      </a:lnTo>
                      <a:lnTo>
                        <a:pt x="2504" y="1866"/>
                      </a:lnTo>
                      <a:lnTo>
                        <a:pt x="2505" y="1856"/>
                      </a:lnTo>
                      <a:lnTo>
                        <a:pt x="2507" y="1847"/>
                      </a:lnTo>
                      <a:lnTo>
                        <a:pt x="2511" y="1841"/>
                      </a:lnTo>
                      <a:lnTo>
                        <a:pt x="2514" y="1836"/>
                      </a:lnTo>
                      <a:lnTo>
                        <a:pt x="2517" y="1832"/>
                      </a:lnTo>
                      <a:lnTo>
                        <a:pt x="2522" y="1829"/>
                      </a:lnTo>
                      <a:lnTo>
                        <a:pt x="2527" y="1828"/>
                      </a:lnTo>
                      <a:lnTo>
                        <a:pt x="2533" y="1827"/>
                      </a:lnTo>
                      <a:lnTo>
                        <a:pt x="2546" y="1826"/>
                      </a:lnTo>
                      <a:lnTo>
                        <a:pt x="2561" y="1827"/>
                      </a:lnTo>
                      <a:lnTo>
                        <a:pt x="2569" y="1827"/>
                      </a:lnTo>
                      <a:lnTo>
                        <a:pt x="2578" y="1826"/>
                      </a:lnTo>
                      <a:lnTo>
                        <a:pt x="2588" y="1825"/>
                      </a:lnTo>
                      <a:lnTo>
                        <a:pt x="2596" y="1824"/>
                      </a:lnTo>
                      <a:lnTo>
                        <a:pt x="2604" y="1821"/>
                      </a:lnTo>
                      <a:lnTo>
                        <a:pt x="2611" y="1816"/>
                      </a:lnTo>
                      <a:lnTo>
                        <a:pt x="2616" y="1810"/>
                      </a:lnTo>
                      <a:lnTo>
                        <a:pt x="2622" y="1804"/>
                      </a:lnTo>
                      <a:lnTo>
                        <a:pt x="2633" y="1790"/>
                      </a:lnTo>
                      <a:lnTo>
                        <a:pt x="2642" y="1774"/>
                      </a:lnTo>
                      <a:lnTo>
                        <a:pt x="2648" y="1766"/>
                      </a:lnTo>
                      <a:lnTo>
                        <a:pt x="2653" y="1758"/>
                      </a:lnTo>
                      <a:lnTo>
                        <a:pt x="2660" y="1750"/>
                      </a:lnTo>
                      <a:lnTo>
                        <a:pt x="2667" y="1743"/>
                      </a:lnTo>
                      <a:lnTo>
                        <a:pt x="2674" y="1737"/>
                      </a:lnTo>
                      <a:lnTo>
                        <a:pt x="2683" y="1732"/>
                      </a:lnTo>
                      <a:lnTo>
                        <a:pt x="2693" y="1728"/>
                      </a:lnTo>
                      <a:lnTo>
                        <a:pt x="2703" y="1725"/>
                      </a:lnTo>
                      <a:lnTo>
                        <a:pt x="2704" y="1716"/>
                      </a:lnTo>
                      <a:lnTo>
                        <a:pt x="2706" y="1707"/>
                      </a:lnTo>
                      <a:lnTo>
                        <a:pt x="2711" y="1699"/>
                      </a:lnTo>
                      <a:lnTo>
                        <a:pt x="2715" y="1691"/>
                      </a:lnTo>
                      <a:lnTo>
                        <a:pt x="2726" y="1677"/>
                      </a:lnTo>
                      <a:lnTo>
                        <a:pt x="2737" y="1663"/>
                      </a:lnTo>
                      <a:lnTo>
                        <a:pt x="2733" y="1658"/>
                      </a:lnTo>
                      <a:lnTo>
                        <a:pt x="2730" y="1651"/>
                      </a:lnTo>
                      <a:lnTo>
                        <a:pt x="2729" y="1645"/>
                      </a:lnTo>
                      <a:lnTo>
                        <a:pt x="2729" y="1638"/>
                      </a:lnTo>
                      <a:lnTo>
                        <a:pt x="2728" y="1631"/>
                      </a:lnTo>
                      <a:lnTo>
                        <a:pt x="2726" y="1625"/>
                      </a:lnTo>
                      <a:lnTo>
                        <a:pt x="2725" y="1622"/>
                      </a:lnTo>
                      <a:lnTo>
                        <a:pt x="2723" y="1619"/>
                      </a:lnTo>
                      <a:lnTo>
                        <a:pt x="2719" y="1616"/>
                      </a:lnTo>
                      <a:lnTo>
                        <a:pt x="2716" y="1614"/>
                      </a:lnTo>
                      <a:lnTo>
                        <a:pt x="2728" y="1602"/>
                      </a:lnTo>
                      <a:lnTo>
                        <a:pt x="2739" y="1588"/>
                      </a:lnTo>
                      <a:lnTo>
                        <a:pt x="2750" y="1573"/>
                      </a:lnTo>
                      <a:lnTo>
                        <a:pt x="2760" y="1558"/>
                      </a:lnTo>
                      <a:lnTo>
                        <a:pt x="2780" y="1521"/>
                      </a:lnTo>
                      <a:lnTo>
                        <a:pt x="2803" y="1478"/>
                      </a:lnTo>
                      <a:lnTo>
                        <a:pt x="2798" y="1475"/>
                      </a:lnTo>
                      <a:lnTo>
                        <a:pt x="2796" y="1471"/>
                      </a:lnTo>
                      <a:lnTo>
                        <a:pt x="2795" y="1467"/>
                      </a:lnTo>
                      <a:lnTo>
                        <a:pt x="2794" y="1462"/>
                      </a:lnTo>
                      <a:lnTo>
                        <a:pt x="2795" y="1451"/>
                      </a:lnTo>
                      <a:lnTo>
                        <a:pt x="2796" y="1441"/>
                      </a:lnTo>
                      <a:lnTo>
                        <a:pt x="2790" y="1428"/>
                      </a:lnTo>
                      <a:lnTo>
                        <a:pt x="2790" y="1426"/>
                      </a:lnTo>
                      <a:lnTo>
                        <a:pt x="2792" y="1423"/>
                      </a:lnTo>
                      <a:lnTo>
                        <a:pt x="2794" y="1420"/>
                      </a:lnTo>
                      <a:lnTo>
                        <a:pt x="2797" y="1417"/>
                      </a:lnTo>
                      <a:lnTo>
                        <a:pt x="2801" y="1414"/>
                      </a:lnTo>
                      <a:lnTo>
                        <a:pt x="2804" y="1412"/>
                      </a:lnTo>
                      <a:lnTo>
                        <a:pt x="2807" y="1411"/>
                      </a:lnTo>
                      <a:lnTo>
                        <a:pt x="2809" y="1410"/>
                      </a:lnTo>
                      <a:lnTo>
                        <a:pt x="2809" y="1386"/>
                      </a:lnTo>
                      <a:lnTo>
                        <a:pt x="2801" y="1389"/>
                      </a:lnTo>
                      <a:lnTo>
                        <a:pt x="2793" y="1391"/>
                      </a:lnTo>
                      <a:lnTo>
                        <a:pt x="2785" y="1393"/>
                      </a:lnTo>
                      <a:lnTo>
                        <a:pt x="2778" y="1394"/>
                      </a:lnTo>
                      <a:lnTo>
                        <a:pt x="2763" y="1395"/>
                      </a:lnTo>
                      <a:lnTo>
                        <a:pt x="2750" y="1394"/>
                      </a:lnTo>
                      <a:lnTo>
                        <a:pt x="2738" y="1392"/>
                      </a:lnTo>
                      <a:lnTo>
                        <a:pt x="2725" y="1389"/>
                      </a:lnTo>
                      <a:lnTo>
                        <a:pt x="2711" y="1384"/>
                      </a:lnTo>
                      <a:lnTo>
                        <a:pt x="2696" y="1380"/>
                      </a:lnTo>
                      <a:lnTo>
                        <a:pt x="2705" y="1375"/>
                      </a:lnTo>
                      <a:lnTo>
                        <a:pt x="2713" y="1369"/>
                      </a:lnTo>
                      <a:lnTo>
                        <a:pt x="2719" y="1363"/>
                      </a:lnTo>
                      <a:lnTo>
                        <a:pt x="2726" y="1356"/>
                      </a:lnTo>
                      <a:lnTo>
                        <a:pt x="2737" y="1342"/>
                      </a:lnTo>
                      <a:lnTo>
                        <a:pt x="2750" y="1324"/>
                      </a:lnTo>
                      <a:lnTo>
                        <a:pt x="2730" y="1316"/>
                      </a:lnTo>
                      <a:lnTo>
                        <a:pt x="2712" y="1310"/>
                      </a:lnTo>
                      <a:lnTo>
                        <a:pt x="2695" y="1305"/>
                      </a:lnTo>
                      <a:lnTo>
                        <a:pt x="2679" y="1300"/>
                      </a:lnTo>
                      <a:lnTo>
                        <a:pt x="2662" y="1294"/>
                      </a:lnTo>
                      <a:lnTo>
                        <a:pt x="2647" y="1287"/>
                      </a:lnTo>
                      <a:lnTo>
                        <a:pt x="2639" y="1282"/>
                      </a:lnTo>
                      <a:lnTo>
                        <a:pt x="2632" y="1277"/>
                      </a:lnTo>
                      <a:lnTo>
                        <a:pt x="2624" y="1270"/>
                      </a:lnTo>
                      <a:lnTo>
                        <a:pt x="2617" y="1262"/>
                      </a:lnTo>
                      <a:lnTo>
                        <a:pt x="2626" y="1268"/>
                      </a:lnTo>
                      <a:lnTo>
                        <a:pt x="2640" y="1273"/>
                      </a:lnTo>
                      <a:lnTo>
                        <a:pt x="2657" y="1278"/>
                      </a:lnTo>
                      <a:lnTo>
                        <a:pt x="2675" y="1283"/>
                      </a:lnTo>
                      <a:lnTo>
                        <a:pt x="2715" y="1293"/>
                      </a:lnTo>
                      <a:lnTo>
                        <a:pt x="2750" y="1299"/>
                      </a:lnTo>
                      <a:lnTo>
                        <a:pt x="2749" y="1293"/>
                      </a:lnTo>
                      <a:lnTo>
                        <a:pt x="2746" y="1288"/>
                      </a:lnTo>
                      <a:lnTo>
                        <a:pt x="2742" y="1283"/>
                      </a:lnTo>
                      <a:lnTo>
                        <a:pt x="2737" y="1279"/>
                      </a:lnTo>
                      <a:lnTo>
                        <a:pt x="2725" y="1272"/>
                      </a:lnTo>
                      <a:lnTo>
                        <a:pt x="2709" y="1266"/>
                      </a:lnTo>
                      <a:lnTo>
                        <a:pt x="2695" y="1259"/>
                      </a:lnTo>
                      <a:lnTo>
                        <a:pt x="2682" y="1252"/>
                      </a:lnTo>
                      <a:lnTo>
                        <a:pt x="2678" y="1248"/>
                      </a:lnTo>
                      <a:lnTo>
                        <a:pt x="2673" y="1244"/>
                      </a:lnTo>
                      <a:lnTo>
                        <a:pt x="2671" y="1238"/>
                      </a:lnTo>
                      <a:lnTo>
                        <a:pt x="2670" y="1232"/>
                      </a:lnTo>
                      <a:lnTo>
                        <a:pt x="2669" y="1227"/>
                      </a:lnTo>
                      <a:lnTo>
                        <a:pt x="2668" y="1224"/>
                      </a:lnTo>
                      <a:lnTo>
                        <a:pt x="2666" y="1220"/>
                      </a:lnTo>
                      <a:lnTo>
                        <a:pt x="2662" y="1217"/>
                      </a:lnTo>
                      <a:lnTo>
                        <a:pt x="2656" y="1212"/>
                      </a:lnTo>
                      <a:lnTo>
                        <a:pt x="2650" y="1208"/>
                      </a:lnTo>
                      <a:lnTo>
                        <a:pt x="2626" y="1186"/>
                      </a:lnTo>
                      <a:lnTo>
                        <a:pt x="2581" y="1145"/>
                      </a:lnTo>
                      <a:lnTo>
                        <a:pt x="2557" y="1124"/>
                      </a:lnTo>
                      <a:lnTo>
                        <a:pt x="2537" y="1105"/>
                      </a:lnTo>
                      <a:lnTo>
                        <a:pt x="2523" y="1090"/>
                      </a:lnTo>
                      <a:lnTo>
                        <a:pt x="2517" y="1084"/>
                      </a:lnTo>
                      <a:lnTo>
                        <a:pt x="2517" y="1078"/>
                      </a:lnTo>
                      <a:lnTo>
                        <a:pt x="2520" y="1074"/>
                      </a:lnTo>
                      <a:lnTo>
                        <a:pt x="2522" y="1070"/>
                      </a:lnTo>
                      <a:lnTo>
                        <a:pt x="2525" y="1068"/>
                      </a:lnTo>
                      <a:lnTo>
                        <a:pt x="2528" y="1065"/>
                      </a:lnTo>
                      <a:lnTo>
                        <a:pt x="2532" y="1061"/>
                      </a:lnTo>
                      <a:lnTo>
                        <a:pt x="2534" y="1055"/>
                      </a:lnTo>
                      <a:lnTo>
                        <a:pt x="2537" y="1047"/>
                      </a:lnTo>
                      <a:lnTo>
                        <a:pt x="2535" y="1046"/>
                      </a:lnTo>
                      <a:lnTo>
                        <a:pt x="2530" y="1043"/>
                      </a:lnTo>
                      <a:lnTo>
                        <a:pt x="2528" y="1042"/>
                      </a:lnTo>
                      <a:lnTo>
                        <a:pt x="2526" y="1039"/>
                      </a:lnTo>
                      <a:lnTo>
                        <a:pt x="2524" y="1036"/>
                      </a:lnTo>
                      <a:lnTo>
                        <a:pt x="2524" y="1034"/>
                      </a:lnTo>
                      <a:lnTo>
                        <a:pt x="2557" y="1034"/>
                      </a:lnTo>
                      <a:lnTo>
                        <a:pt x="2558" y="1028"/>
                      </a:lnTo>
                      <a:lnTo>
                        <a:pt x="2559" y="1022"/>
                      </a:lnTo>
                      <a:lnTo>
                        <a:pt x="2561" y="1016"/>
                      </a:lnTo>
                      <a:lnTo>
                        <a:pt x="2565" y="1011"/>
                      </a:lnTo>
                      <a:lnTo>
                        <a:pt x="2569" y="1006"/>
                      </a:lnTo>
                      <a:lnTo>
                        <a:pt x="2573" y="1002"/>
                      </a:lnTo>
                      <a:lnTo>
                        <a:pt x="2578" y="997"/>
                      </a:lnTo>
                      <a:lnTo>
                        <a:pt x="2583" y="993"/>
                      </a:lnTo>
                      <a:lnTo>
                        <a:pt x="2607" y="977"/>
                      </a:lnTo>
                      <a:lnTo>
                        <a:pt x="2630" y="960"/>
                      </a:lnTo>
                      <a:lnTo>
                        <a:pt x="2617" y="958"/>
                      </a:lnTo>
                      <a:lnTo>
                        <a:pt x="2603" y="954"/>
                      </a:lnTo>
                      <a:lnTo>
                        <a:pt x="2590" y="949"/>
                      </a:lnTo>
                      <a:lnTo>
                        <a:pt x="2577" y="944"/>
                      </a:lnTo>
                      <a:lnTo>
                        <a:pt x="2563" y="938"/>
                      </a:lnTo>
                      <a:lnTo>
                        <a:pt x="2552" y="932"/>
                      </a:lnTo>
                      <a:lnTo>
                        <a:pt x="2544" y="924"/>
                      </a:lnTo>
                      <a:lnTo>
                        <a:pt x="2537" y="917"/>
                      </a:lnTo>
                      <a:lnTo>
                        <a:pt x="2498" y="917"/>
                      </a:lnTo>
                      <a:lnTo>
                        <a:pt x="2498" y="926"/>
                      </a:lnTo>
                      <a:lnTo>
                        <a:pt x="2498" y="938"/>
                      </a:lnTo>
                      <a:lnTo>
                        <a:pt x="2498" y="950"/>
                      </a:lnTo>
                      <a:lnTo>
                        <a:pt x="2498" y="967"/>
                      </a:lnTo>
                      <a:lnTo>
                        <a:pt x="2457" y="967"/>
                      </a:lnTo>
                      <a:lnTo>
                        <a:pt x="2453" y="962"/>
                      </a:lnTo>
                      <a:lnTo>
                        <a:pt x="2449" y="956"/>
                      </a:lnTo>
                      <a:lnTo>
                        <a:pt x="2447" y="949"/>
                      </a:lnTo>
                      <a:lnTo>
                        <a:pt x="2444" y="942"/>
                      </a:lnTo>
                      <a:lnTo>
                        <a:pt x="2442" y="936"/>
                      </a:lnTo>
                      <a:lnTo>
                        <a:pt x="2438" y="928"/>
                      </a:lnTo>
                      <a:lnTo>
                        <a:pt x="2435" y="922"/>
                      </a:lnTo>
                      <a:lnTo>
                        <a:pt x="2431" y="917"/>
                      </a:lnTo>
                      <a:lnTo>
                        <a:pt x="2426" y="914"/>
                      </a:lnTo>
                      <a:lnTo>
                        <a:pt x="2421" y="911"/>
                      </a:lnTo>
                      <a:lnTo>
                        <a:pt x="2413" y="909"/>
                      </a:lnTo>
                      <a:lnTo>
                        <a:pt x="2404" y="907"/>
                      </a:lnTo>
                      <a:lnTo>
                        <a:pt x="2387" y="903"/>
                      </a:lnTo>
                      <a:lnTo>
                        <a:pt x="2367" y="899"/>
                      </a:lnTo>
                      <a:lnTo>
                        <a:pt x="2357" y="897"/>
                      </a:lnTo>
                      <a:lnTo>
                        <a:pt x="2348" y="894"/>
                      </a:lnTo>
                      <a:lnTo>
                        <a:pt x="2339" y="890"/>
                      </a:lnTo>
                      <a:lnTo>
                        <a:pt x="2333" y="887"/>
                      </a:lnTo>
                      <a:lnTo>
                        <a:pt x="2326" y="882"/>
                      </a:lnTo>
                      <a:lnTo>
                        <a:pt x="2322" y="876"/>
                      </a:lnTo>
                      <a:lnTo>
                        <a:pt x="2320" y="872"/>
                      </a:lnTo>
                      <a:lnTo>
                        <a:pt x="2319" y="869"/>
                      </a:lnTo>
                      <a:lnTo>
                        <a:pt x="2319" y="866"/>
                      </a:lnTo>
                      <a:lnTo>
                        <a:pt x="2317" y="862"/>
                      </a:lnTo>
                      <a:lnTo>
                        <a:pt x="2319" y="858"/>
                      </a:lnTo>
                      <a:lnTo>
                        <a:pt x="2319" y="855"/>
                      </a:lnTo>
                      <a:lnTo>
                        <a:pt x="2321" y="853"/>
                      </a:lnTo>
                      <a:lnTo>
                        <a:pt x="2322" y="850"/>
                      </a:lnTo>
                      <a:lnTo>
                        <a:pt x="2327" y="846"/>
                      </a:lnTo>
                      <a:lnTo>
                        <a:pt x="2334" y="843"/>
                      </a:lnTo>
                      <a:lnTo>
                        <a:pt x="2341" y="840"/>
                      </a:lnTo>
                      <a:lnTo>
                        <a:pt x="2348" y="839"/>
                      </a:lnTo>
                      <a:lnTo>
                        <a:pt x="2357" y="838"/>
                      </a:lnTo>
                      <a:lnTo>
                        <a:pt x="2365" y="837"/>
                      </a:lnTo>
                      <a:lnTo>
                        <a:pt x="2368" y="836"/>
                      </a:lnTo>
                      <a:lnTo>
                        <a:pt x="2372" y="833"/>
                      </a:lnTo>
                      <a:lnTo>
                        <a:pt x="2378" y="828"/>
                      </a:lnTo>
                      <a:lnTo>
                        <a:pt x="2383" y="822"/>
                      </a:lnTo>
                      <a:lnTo>
                        <a:pt x="2393" y="811"/>
                      </a:lnTo>
                      <a:lnTo>
                        <a:pt x="2398" y="806"/>
                      </a:lnTo>
                      <a:lnTo>
                        <a:pt x="2410" y="798"/>
                      </a:lnTo>
                      <a:lnTo>
                        <a:pt x="2423" y="789"/>
                      </a:lnTo>
                      <a:lnTo>
                        <a:pt x="2428" y="783"/>
                      </a:lnTo>
                      <a:lnTo>
                        <a:pt x="2433" y="776"/>
                      </a:lnTo>
                      <a:lnTo>
                        <a:pt x="2435" y="773"/>
                      </a:lnTo>
                      <a:lnTo>
                        <a:pt x="2436" y="768"/>
                      </a:lnTo>
                      <a:lnTo>
                        <a:pt x="2437" y="763"/>
                      </a:lnTo>
                      <a:lnTo>
                        <a:pt x="2437" y="757"/>
                      </a:lnTo>
                      <a:lnTo>
                        <a:pt x="2438" y="758"/>
                      </a:lnTo>
                      <a:lnTo>
                        <a:pt x="2439" y="758"/>
                      </a:lnTo>
                      <a:lnTo>
                        <a:pt x="2442" y="757"/>
                      </a:lnTo>
                      <a:lnTo>
                        <a:pt x="2443" y="756"/>
                      </a:lnTo>
                      <a:lnTo>
                        <a:pt x="2445" y="752"/>
                      </a:lnTo>
                      <a:lnTo>
                        <a:pt x="2448" y="747"/>
                      </a:lnTo>
                      <a:lnTo>
                        <a:pt x="2451" y="742"/>
                      </a:lnTo>
                      <a:lnTo>
                        <a:pt x="2455" y="737"/>
                      </a:lnTo>
                      <a:lnTo>
                        <a:pt x="2457" y="735"/>
                      </a:lnTo>
                      <a:lnTo>
                        <a:pt x="2459" y="734"/>
                      </a:lnTo>
                      <a:lnTo>
                        <a:pt x="2461" y="733"/>
                      </a:lnTo>
                      <a:lnTo>
                        <a:pt x="2464" y="733"/>
                      </a:lnTo>
                      <a:lnTo>
                        <a:pt x="2471" y="733"/>
                      </a:lnTo>
                      <a:lnTo>
                        <a:pt x="2478" y="735"/>
                      </a:lnTo>
                      <a:lnTo>
                        <a:pt x="2484" y="737"/>
                      </a:lnTo>
                      <a:lnTo>
                        <a:pt x="2491" y="741"/>
                      </a:lnTo>
                      <a:lnTo>
                        <a:pt x="2503" y="751"/>
                      </a:lnTo>
                      <a:lnTo>
                        <a:pt x="2517" y="764"/>
                      </a:lnTo>
                      <a:lnTo>
                        <a:pt x="2511" y="769"/>
                      </a:lnTo>
                      <a:lnTo>
                        <a:pt x="2504" y="775"/>
                      </a:lnTo>
                      <a:lnTo>
                        <a:pt x="2496" y="780"/>
                      </a:lnTo>
                      <a:lnTo>
                        <a:pt x="2491" y="782"/>
                      </a:lnTo>
                      <a:lnTo>
                        <a:pt x="2493" y="789"/>
                      </a:lnTo>
                      <a:lnTo>
                        <a:pt x="2496" y="795"/>
                      </a:lnTo>
                      <a:lnTo>
                        <a:pt x="2501" y="800"/>
                      </a:lnTo>
                      <a:lnTo>
                        <a:pt x="2504" y="805"/>
                      </a:lnTo>
                      <a:lnTo>
                        <a:pt x="2510" y="809"/>
                      </a:lnTo>
                      <a:lnTo>
                        <a:pt x="2514" y="813"/>
                      </a:lnTo>
                      <a:lnTo>
                        <a:pt x="2518" y="816"/>
                      </a:lnTo>
                      <a:lnTo>
                        <a:pt x="2524" y="819"/>
                      </a:lnTo>
                      <a:lnTo>
                        <a:pt x="2524" y="837"/>
                      </a:lnTo>
                      <a:lnTo>
                        <a:pt x="2523" y="840"/>
                      </a:lnTo>
                      <a:lnTo>
                        <a:pt x="2523" y="842"/>
                      </a:lnTo>
                      <a:lnTo>
                        <a:pt x="2525" y="844"/>
                      </a:lnTo>
                      <a:lnTo>
                        <a:pt x="2527" y="847"/>
                      </a:lnTo>
                      <a:lnTo>
                        <a:pt x="2529" y="849"/>
                      </a:lnTo>
                      <a:lnTo>
                        <a:pt x="2532" y="851"/>
                      </a:lnTo>
                      <a:lnTo>
                        <a:pt x="2532" y="853"/>
                      </a:lnTo>
                      <a:lnTo>
                        <a:pt x="2530" y="856"/>
                      </a:lnTo>
                      <a:lnTo>
                        <a:pt x="2561" y="830"/>
                      </a:lnTo>
                      <a:lnTo>
                        <a:pt x="2585" y="810"/>
                      </a:lnTo>
                      <a:lnTo>
                        <a:pt x="2596" y="803"/>
                      </a:lnTo>
                      <a:lnTo>
                        <a:pt x="2605" y="797"/>
                      </a:lnTo>
                      <a:lnTo>
                        <a:pt x="2613" y="793"/>
                      </a:lnTo>
                      <a:lnTo>
                        <a:pt x="2621" y="790"/>
                      </a:lnTo>
                      <a:lnTo>
                        <a:pt x="2627" y="787"/>
                      </a:lnTo>
                      <a:lnTo>
                        <a:pt x="2633" y="786"/>
                      </a:lnTo>
                      <a:lnTo>
                        <a:pt x="2638" y="785"/>
                      </a:lnTo>
                      <a:lnTo>
                        <a:pt x="2645" y="785"/>
                      </a:lnTo>
                      <a:lnTo>
                        <a:pt x="2657" y="786"/>
                      </a:lnTo>
                      <a:lnTo>
                        <a:pt x="2670" y="788"/>
                      </a:lnTo>
                      <a:lnTo>
                        <a:pt x="2674" y="781"/>
                      </a:lnTo>
                      <a:lnTo>
                        <a:pt x="2679" y="774"/>
                      </a:lnTo>
                      <a:lnTo>
                        <a:pt x="2683" y="768"/>
                      </a:lnTo>
                      <a:lnTo>
                        <a:pt x="2689" y="763"/>
                      </a:lnTo>
                      <a:lnTo>
                        <a:pt x="2701" y="753"/>
                      </a:lnTo>
                      <a:lnTo>
                        <a:pt x="2713" y="745"/>
                      </a:lnTo>
                      <a:lnTo>
                        <a:pt x="2724" y="738"/>
                      </a:lnTo>
                      <a:lnTo>
                        <a:pt x="2735" y="730"/>
                      </a:lnTo>
                      <a:lnTo>
                        <a:pt x="2739" y="726"/>
                      </a:lnTo>
                      <a:lnTo>
                        <a:pt x="2743" y="721"/>
                      </a:lnTo>
                      <a:lnTo>
                        <a:pt x="2747" y="715"/>
                      </a:lnTo>
                      <a:lnTo>
                        <a:pt x="2750" y="708"/>
                      </a:lnTo>
                      <a:lnTo>
                        <a:pt x="2758" y="708"/>
                      </a:lnTo>
                      <a:lnTo>
                        <a:pt x="2765" y="706"/>
                      </a:lnTo>
                      <a:lnTo>
                        <a:pt x="2773" y="705"/>
                      </a:lnTo>
                      <a:lnTo>
                        <a:pt x="2780" y="704"/>
                      </a:lnTo>
                      <a:lnTo>
                        <a:pt x="2792" y="700"/>
                      </a:lnTo>
                      <a:lnTo>
                        <a:pt x="2803" y="694"/>
                      </a:lnTo>
                      <a:lnTo>
                        <a:pt x="2812" y="688"/>
                      </a:lnTo>
                      <a:lnTo>
                        <a:pt x="2820" y="681"/>
                      </a:lnTo>
                      <a:lnTo>
                        <a:pt x="2828" y="673"/>
                      </a:lnTo>
                      <a:lnTo>
                        <a:pt x="2836" y="665"/>
                      </a:lnTo>
                      <a:lnTo>
                        <a:pt x="2842" y="657"/>
                      </a:lnTo>
                      <a:lnTo>
                        <a:pt x="2850" y="649"/>
                      </a:lnTo>
                      <a:lnTo>
                        <a:pt x="2858" y="641"/>
                      </a:lnTo>
                      <a:lnTo>
                        <a:pt x="2866" y="635"/>
                      </a:lnTo>
                      <a:lnTo>
                        <a:pt x="2876" y="630"/>
                      </a:lnTo>
                      <a:lnTo>
                        <a:pt x="2887" y="625"/>
                      </a:lnTo>
                      <a:lnTo>
                        <a:pt x="2901" y="623"/>
                      </a:lnTo>
                      <a:lnTo>
                        <a:pt x="2916" y="622"/>
                      </a:lnTo>
                      <a:lnTo>
                        <a:pt x="2915" y="611"/>
                      </a:lnTo>
                      <a:lnTo>
                        <a:pt x="2914" y="602"/>
                      </a:lnTo>
                      <a:lnTo>
                        <a:pt x="2910" y="593"/>
                      </a:lnTo>
                      <a:lnTo>
                        <a:pt x="2906" y="586"/>
                      </a:lnTo>
                      <a:lnTo>
                        <a:pt x="2902" y="580"/>
                      </a:lnTo>
                      <a:lnTo>
                        <a:pt x="2897" y="574"/>
                      </a:lnTo>
                      <a:lnTo>
                        <a:pt x="2892" y="569"/>
                      </a:lnTo>
                      <a:lnTo>
                        <a:pt x="2886" y="564"/>
                      </a:lnTo>
                      <a:lnTo>
                        <a:pt x="2875" y="554"/>
                      </a:lnTo>
                      <a:lnTo>
                        <a:pt x="2865" y="543"/>
                      </a:lnTo>
                      <a:lnTo>
                        <a:pt x="2861" y="536"/>
                      </a:lnTo>
                      <a:lnTo>
                        <a:pt x="2859" y="529"/>
                      </a:lnTo>
                      <a:lnTo>
                        <a:pt x="2857" y="520"/>
                      </a:lnTo>
                      <a:lnTo>
                        <a:pt x="2855" y="511"/>
                      </a:lnTo>
                      <a:lnTo>
                        <a:pt x="2857" y="505"/>
                      </a:lnTo>
                      <a:lnTo>
                        <a:pt x="2860" y="499"/>
                      </a:lnTo>
                      <a:lnTo>
                        <a:pt x="2862" y="497"/>
                      </a:lnTo>
                      <a:lnTo>
                        <a:pt x="2864" y="495"/>
                      </a:lnTo>
                      <a:lnTo>
                        <a:pt x="2866" y="493"/>
                      </a:lnTo>
                      <a:lnTo>
                        <a:pt x="2870" y="493"/>
                      </a:lnTo>
                      <a:lnTo>
                        <a:pt x="2885" y="493"/>
                      </a:lnTo>
                      <a:lnTo>
                        <a:pt x="2903" y="495"/>
                      </a:lnTo>
                      <a:lnTo>
                        <a:pt x="2911" y="495"/>
                      </a:lnTo>
                      <a:lnTo>
                        <a:pt x="2919" y="495"/>
                      </a:lnTo>
                      <a:lnTo>
                        <a:pt x="2928" y="494"/>
                      </a:lnTo>
                      <a:lnTo>
                        <a:pt x="2936" y="493"/>
                      </a:lnTo>
                      <a:lnTo>
                        <a:pt x="2936" y="412"/>
                      </a:lnTo>
                      <a:lnTo>
                        <a:pt x="2930" y="407"/>
                      </a:lnTo>
                      <a:lnTo>
                        <a:pt x="2926" y="402"/>
                      </a:lnTo>
                      <a:lnTo>
                        <a:pt x="2921" y="396"/>
                      </a:lnTo>
                      <a:lnTo>
                        <a:pt x="2917" y="389"/>
                      </a:lnTo>
                      <a:lnTo>
                        <a:pt x="2914" y="382"/>
                      </a:lnTo>
                      <a:lnTo>
                        <a:pt x="2911" y="375"/>
                      </a:lnTo>
                      <a:lnTo>
                        <a:pt x="2909" y="365"/>
                      </a:lnTo>
                      <a:lnTo>
                        <a:pt x="2909" y="357"/>
                      </a:lnTo>
                      <a:lnTo>
                        <a:pt x="2909" y="348"/>
                      </a:lnTo>
                      <a:lnTo>
                        <a:pt x="2909" y="341"/>
                      </a:lnTo>
                      <a:lnTo>
                        <a:pt x="2909" y="332"/>
                      </a:lnTo>
                      <a:lnTo>
                        <a:pt x="2909" y="320"/>
                      </a:lnTo>
                      <a:lnTo>
                        <a:pt x="2904" y="316"/>
                      </a:lnTo>
                      <a:lnTo>
                        <a:pt x="2897" y="310"/>
                      </a:lnTo>
                      <a:lnTo>
                        <a:pt x="2893" y="307"/>
                      </a:lnTo>
                      <a:lnTo>
                        <a:pt x="2888" y="304"/>
                      </a:lnTo>
                      <a:lnTo>
                        <a:pt x="2883" y="302"/>
                      </a:lnTo>
                      <a:lnTo>
                        <a:pt x="2876" y="301"/>
                      </a:lnTo>
                      <a:lnTo>
                        <a:pt x="2866" y="302"/>
                      </a:lnTo>
                      <a:lnTo>
                        <a:pt x="2858" y="303"/>
                      </a:lnTo>
                      <a:lnTo>
                        <a:pt x="2849" y="305"/>
                      </a:lnTo>
                      <a:lnTo>
                        <a:pt x="2841" y="308"/>
                      </a:lnTo>
                      <a:lnTo>
                        <a:pt x="2827" y="314"/>
                      </a:lnTo>
                      <a:lnTo>
                        <a:pt x="2813" y="323"/>
                      </a:lnTo>
                      <a:lnTo>
                        <a:pt x="2798" y="331"/>
                      </a:lnTo>
                      <a:lnTo>
                        <a:pt x="2784" y="338"/>
                      </a:lnTo>
                      <a:lnTo>
                        <a:pt x="2776" y="341"/>
                      </a:lnTo>
                      <a:lnTo>
                        <a:pt x="2768" y="343"/>
                      </a:lnTo>
                      <a:lnTo>
                        <a:pt x="2759" y="344"/>
                      </a:lnTo>
                      <a:lnTo>
                        <a:pt x="2750" y="344"/>
                      </a:lnTo>
                      <a:lnTo>
                        <a:pt x="2735" y="343"/>
                      </a:lnTo>
                      <a:lnTo>
                        <a:pt x="2722" y="341"/>
                      </a:lnTo>
                      <a:lnTo>
                        <a:pt x="2708" y="336"/>
                      </a:lnTo>
                      <a:lnTo>
                        <a:pt x="2696" y="331"/>
                      </a:lnTo>
                      <a:lnTo>
                        <a:pt x="2684" y="324"/>
                      </a:lnTo>
                      <a:lnTo>
                        <a:pt x="2672" y="315"/>
                      </a:lnTo>
                      <a:lnTo>
                        <a:pt x="2661" y="307"/>
                      </a:lnTo>
                      <a:lnTo>
                        <a:pt x="2650" y="298"/>
                      </a:lnTo>
                      <a:lnTo>
                        <a:pt x="2627" y="280"/>
                      </a:lnTo>
                      <a:lnTo>
                        <a:pt x="2604" y="261"/>
                      </a:lnTo>
                      <a:lnTo>
                        <a:pt x="2592" y="253"/>
                      </a:lnTo>
                      <a:lnTo>
                        <a:pt x="2579" y="245"/>
                      </a:lnTo>
                      <a:lnTo>
                        <a:pt x="2565" y="239"/>
                      </a:lnTo>
                      <a:lnTo>
                        <a:pt x="2550" y="233"/>
                      </a:lnTo>
                      <a:lnTo>
                        <a:pt x="2525" y="227"/>
                      </a:lnTo>
                      <a:lnTo>
                        <a:pt x="2499" y="219"/>
                      </a:lnTo>
                      <a:lnTo>
                        <a:pt x="2487" y="215"/>
                      </a:lnTo>
                      <a:lnTo>
                        <a:pt x="2473" y="211"/>
                      </a:lnTo>
                      <a:lnTo>
                        <a:pt x="2461" y="205"/>
                      </a:lnTo>
                      <a:lnTo>
                        <a:pt x="2450" y="199"/>
                      </a:lnTo>
                      <a:lnTo>
                        <a:pt x="2438" y="193"/>
                      </a:lnTo>
                      <a:lnTo>
                        <a:pt x="2428" y="187"/>
                      </a:lnTo>
                      <a:lnTo>
                        <a:pt x="2418" y="179"/>
                      </a:lnTo>
                      <a:lnTo>
                        <a:pt x="2410" y="171"/>
                      </a:lnTo>
                      <a:lnTo>
                        <a:pt x="2401" y="162"/>
                      </a:lnTo>
                      <a:lnTo>
                        <a:pt x="2394" y="152"/>
                      </a:lnTo>
                      <a:lnTo>
                        <a:pt x="2389" y="141"/>
                      </a:lnTo>
                      <a:lnTo>
                        <a:pt x="2384" y="129"/>
                      </a:lnTo>
                      <a:lnTo>
                        <a:pt x="2370" y="128"/>
                      </a:lnTo>
                      <a:lnTo>
                        <a:pt x="2357" y="126"/>
                      </a:lnTo>
                      <a:lnTo>
                        <a:pt x="2346" y="122"/>
                      </a:lnTo>
                      <a:lnTo>
                        <a:pt x="2335" y="117"/>
                      </a:lnTo>
                      <a:lnTo>
                        <a:pt x="2325" y="111"/>
                      </a:lnTo>
                      <a:lnTo>
                        <a:pt x="2316" y="105"/>
                      </a:lnTo>
                      <a:lnTo>
                        <a:pt x="2308" y="98"/>
                      </a:lnTo>
                      <a:lnTo>
                        <a:pt x="2300" y="89"/>
                      </a:lnTo>
                      <a:lnTo>
                        <a:pt x="2283" y="74"/>
                      </a:lnTo>
                      <a:lnTo>
                        <a:pt x="2267" y="59"/>
                      </a:lnTo>
                      <a:lnTo>
                        <a:pt x="2257" y="52"/>
                      </a:lnTo>
                      <a:lnTo>
                        <a:pt x="2247" y="46"/>
                      </a:lnTo>
                      <a:lnTo>
                        <a:pt x="2236" y="41"/>
                      </a:lnTo>
                      <a:lnTo>
                        <a:pt x="2225" y="36"/>
                      </a:lnTo>
                      <a:lnTo>
                        <a:pt x="2190" y="25"/>
                      </a:lnTo>
                      <a:lnTo>
                        <a:pt x="2160" y="18"/>
                      </a:lnTo>
                      <a:lnTo>
                        <a:pt x="2131" y="10"/>
                      </a:lnTo>
                      <a:lnTo>
                        <a:pt x="2092" y="0"/>
                      </a:lnTo>
                      <a:lnTo>
                        <a:pt x="1973" y="18"/>
                      </a:lnTo>
                      <a:lnTo>
                        <a:pt x="1973" y="27"/>
                      </a:lnTo>
                      <a:lnTo>
                        <a:pt x="1973" y="36"/>
                      </a:lnTo>
                      <a:lnTo>
                        <a:pt x="1973" y="42"/>
                      </a:lnTo>
                      <a:lnTo>
                        <a:pt x="1975" y="46"/>
                      </a:lnTo>
                      <a:lnTo>
                        <a:pt x="1977" y="50"/>
                      </a:lnTo>
                      <a:lnTo>
                        <a:pt x="1980" y="53"/>
                      </a:lnTo>
                      <a:lnTo>
                        <a:pt x="1989" y="58"/>
                      </a:lnTo>
                      <a:lnTo>
                        <a:pt x="1999" y="62"/>
                      </a:lnTo>
                      <a:lnTo>
                        <a:pt x="2009" y="66"/>
                      </a:lnTo>
                      <a:lnTo>
                        <a:pt x="2018" y="72"/>
                      </a:lnTo>
                      <a:lnTo>
                        <a:pt x="2021" y="75"/>
                      </a:lnTo>
                      <a:lnTo>
                        <a:pt x="2023" y="80"/>
                      </a:lnTo>
                      <a:lnTo>
                        <a:pt x="2025" y="85"/>
                      </a:lnTo>
                      <a:lnTo>
                        <a:pt x="2025" y="91"/>
                      </a:lnTo>
                      <a:lnTo>
                        <a:pt x="2024" y="101"/>
                      </a:lnTo>
                      <a:lnTo>
                        <a:pt x="2022" y="108"/>
                      </a:lnTo>
                      <a:lnTo>
                        <a:pt x="2019" y="114"/>
                      </a:lnTo>
                      <a:lnTo>
                        <a:pt x="2016" y="120"/>
                      </a:lnTo>
                      <a:lnTo>
                        <a:pt x="2012" y="125"/>
                      </a:lnTo>
                      <a:lnTo>
                        <a:pt x="2009" y="131"/>
                      </a:lnTo>
                      <a:lnTo>
                        <a:pt x="2007" y="138"/>
                      </a:lnTo>
                      <a:lnTo>
                        <a:pt x="2006" y="147"/>
                      </a:lnTo>
                      <a:lnTo>
                        <a:pt x="2007" y="155"/>
                      </a:lnTo>
                      <a:lnTo>
                        <a:pt x="2009" y="161"/>
                      </a:lnTo>
                      <a:lnTo>
                        <a:pt x="2012" y="168"/>
                      </a:lnTo>
                      <a:lnTo>
                        <a:pt x="2018" y="174"/>
                      </a:lnTo>
                      <a:lnTo>
                        <a:pt x="2022" y="179"/>
                      </a:lnTo>
                      <a:lnTo>
                        <a:pt x="2028" y="184"/>
                      </a:lnTo>
                      <a:lnTo>
                        <a:pt x="2033" y="187"/>
                      </a:lnTo>
                      <a:lnTo>
                        <a:pt x="2039" y="190"/>
                      </a:lnTo>
                      <a:lnTo>
                        <a:pt x="2033" y="197"/>
                      </a:lnTo>
                      <a:lnTo>
                        <a:pt x="2025" y="204"/>
                      </a:lnTo>
                      <a:lnTo>
                        <a:pt x="2017" y="211"/>
                      </a:lnTo>
                      <a:lnTo>
                        <a:pt x="2008" y="216"/>
                      </a:lnTo>
                      <a:lnTo>
                        <a:pt x="1999" y="221"/>
                      </a:lnTo>
                      <a:lnTo>
                        <a:pt x="1989" y="224"/>
                      </a:lnTo>
                      <a:lnTo>
                        <a:pt x="1980" y="227"/>
                      </a:lnTo>
                      <a:lnTo>
                        <a:pt x="1973" y="227"/>
                      </a:lnTo>
                      <a:lnTo>
                        <a:pt x="1962" y="227"/>
                      </a:lnTo>
                      <a:lnTo>
                        <a:pt x="1952" y="227"/>
                      </a:lnTo>
                      <a:lnTo>
                        <a:pt x="1940" y="227"/>
                      </a:lnTo>
                      <a:lnTo>
                        <a:pt x="1925" y="227"/>
                      </a:lnTo>
                      <a:lnTo>
                        <a:pt x="1919" y="258"/>
                      </a:lnTo>
                      <a:lnTo>
                        <a:pt x="1924" y="278"/>
                      </a:lnTo>
                      <a:lnTo>
                        <a:pt x="1930" y="296"/>
                      </a:lnTo>
                      <a:lnTo>
                        <a:pt x="1933" y="304"/>
                      </a:lnTo>
                      <a:lnTo>
                        <a:pt x="1938" y="311"/>
                      </a:lnTo>
                      <a:lnTo>
                        <a:pt x="1942" y="319"/>
                      </a:lnTo>
                      <a:lnTo>
                        <a:pt x="1947" y="326"/>
                      </a:lnTo>
                      <a:lnTo>
                        <a:pt x="1953" y="331"/>
                      </a:lnTo>
                      <a:lnTo>
                        <a:pt x="1961" y="336"/>
                      </a:lnTo>
                      <a:lnTo>
                        <a:pt x="1968" y="340"/>
                      </a:lnTo>
                      <a:lnTo>
                        <a:pt x="1977" y="344"/>
                      </a:lnTo>
                      <a:lnTo>
                        <a:pt x="1987" y="347"/>
                      </a:lnTo>
                      <a:lnTo>
                        <a:pt x="1999" y="349"/>
                      </a:lnTo>
                      <a:lnTo>
                        <a:pt x="2011" y="350"/>
                      </a:lnTo>
                      <a:lnTo>
                        <a:pt x="2025" y="350"/>
                      </a:lnTo>
                      <a:lnTo>
                        <a:pt x="2036" y="350"/>
                      </a:lnTo>
                      <a:lnTo>
                        <a:pt x="2043" y="349"/>
                      </a:lnTo>
                      <a:lnTo>
                        <a:pt x="2048" y="347"/>
                      </a:lnTo>
                      <a:lnTo>
                        <a:pt x="2053" y="344"/>
                      </a:lnTo>
                      <a:lnTo>
                        <a:pt x="2057" y="342"/>
                      </a:lnTo>
                      <a:lnTo>
                        <a:pt x="2064" y="340"/>
                      </a:lnTo>
                      <a:lnTo>
                        <a:pt x="2073" y="339"/>
                      </a:lnTo>
                      <a:lnTo>
                        <a:pt x="2086" y="338"/>
                      </a:lnTo>
                      <a:lnTo>
                        <a:pt x="2092" y="339"/>
                      </a:lnTo>
                      <a:lnTo>
                        <a:pt x="2098" y="340"/>
                      </a:lnTo>
                      <a:lnTo>
                        <a:pt x="2103" y="341"/>
                      </a:lnTo>
                      <a:lnTo>
                        <a:pt x="2109" y="343"/>
                      </a:lnTo>
                      <a:lnTo>
                        <a:pt x="2122" y="349"/>
                      </a:lnTo>
                      <a:lnTo>
                        <a:pt x="2138" y="357"/>
                      </a:lnTo>
                      <a:lnTo>
                        <a:pt x="2140" y="361"/>
                      </a:lnTo>
                      <a:lnTo>
                        <a:pt x="2142" y="366"/>
                      </a:lnTo>
                      <a:lnTo>
                        <a:pt x="2146" y="370"/>
                      </a:lnTo>
                      <a:lnTo>
                        <a:pt x="2151" y="375"/>
                      </a:lnTo>
                      <a:lnTo>
                        <a:pt x="2157" y="379"/>
                      </a:lnTo>
                      <a:lnTo>
                        <a:pt x="2164" y="382"/>
                      </a:lnTo>
                      <a:lnTo>
                        <a:pt x="2170" y="385"/>
                      </a:lnTo>
                      <a:lnTo>
                        <a:pt x="2178" y="388"/>
                      </a:lnTo>
                      <a:lnTo>
                        <a:pt x="2175" y="393"/>
                      </a:lnTo>
                      <a:lnTo>
                        <a:pt x="2169" y="399"/>
                      </a:lnTo>
                      <a:lnTo>
                        <a:pt x="2160" y="405"/>
                      </a:lnTo>
                      <a:lnTo>
                        <a:pt x="2152" y="410"/>
                      </a:lnTo>
                      <a:lnTo>
                        <a:pt x="2141" y="416"/>
                      </a:lnTo>
                      <a:lnTo>
                        <a:pt x="2130" y="420"/>
                      </a:lnTo>
                      <a:lnTo>
                        <a:pt x="2118" y="423"/>
                      </a:lnTo>
                      <a:lnTo>
                        <a:pt x="2106" y="424"/>
                      </a:lnTo>
                      <a:lnTo>
                        <a:pt x="2098" y="426"/>
                      </a:lnTo>
                      <a:lnTo>
                        <a:pt x="2084" y="434"/>
                      </a:lnTo>
                      <a:lnTo>
                        <a:pt x="2064" y="443"/>
                      </a:lnTo>
                      <a:lnTo>
                        <a:pt x="2041" y="455"/>
                      </a:lnTo>
                      <a:lnTo>
                        <a:pt x="2019" y="467"/>
                      </a:lnTo>
                      <a:lnTo>
                        <a:pt x="1998" y="479"/>
                      </a:lnTo>
                      <a:lnTo>
                        <a:pt x="1989" y="485"/>
                      </a:lnTo>
                      <a:lnTo>
                        <a:pt x="1981" y="490"/>
                      </a:lnTo>
                      <a:lnTo>
                        <a:pt x="1976" y="495"/>
                      </a:lnTo>
                      <a:lnTo>
                        <a:pt x="1973" y="499"/>
                      </a:lnTo>
                      <a:lnTo>
                        <a:pt x="1860" y="499"/>
                      </a:lnTo>
                      <a:lnTo>
                        <a:pt x="1860" y="506"/>
                      </a:lnTo>
                      <a:lnTo>
                        <a:pt x="1861" y="513"/>
                      </a:lnTo>
                      <a:lnTo>
                        <a:pt x="1863" y="520"/>
                      </a:lnTo>
                      <a:lnTo>
                        <a:pt x="1864" y="525"/>
                      </a:lnTo>
                      <a:lnTo>
                        <a:pt x="1869" y="536"/>
                      </a:lnTo>
                      <a:lnTo>
                        <a:pt x="1876" y="546"/>
                      </a:lnTo>
                      <a:lnTo>
                        <a:pt x="1882" y="554"/>
                      </a:lnTo>
                      <a:lnTo>
                        <a:pt x="1887" y="562"/>
                      </a:lnTo>
                      <a:lnTo>
                        <a:pt x="1889" y="566"/>
                      </a:lnTo>
                      <a:lnTo>
                        <a:pt x="1891" y="570"/>
                      </a:lnTo>
                      <a:lnTo>
                        <a:pt x="1893" y="574"/>
                      </a:lnTo>
                      <a:lnTo>
                        <a:pt x="1893" y="578"/>
                      </a:lnTo>
                      <a:lnTo>
                        <a:pt x="1893" y="583"/>
                      </a:lnTo>
                      <a:lnTo>
                        <a:pt x="1890" y="588"/>
                      </a:lnTo>
                      <a:lnTo>
                        <a:pt x="1888" y="594"/>
                      </a:lnTo>
                      <a:lnTo>
                        <a:pt x="1885" y="601"/>
                      </a:lnTo>
                      <a:lnTo>
                        <a:pt x="1877" y="613"/>
                      </a:lnTo>
                      <a:lnTo>
                        <a:pt x="1867" y="625"/>
                      </a:lnTo>
                      <a:lnTo>
                        <a:pt x="1856" y="637"/>
                      </a:lnTo>
                      <a:lnTo>
                        <a:pt x="1845" y="647"/>
                      </a:lnTo>
                      <a:lnTo>
                        <a:pt x="1834" y="655"/>
                      </a:lnTo>
                      <a:lnTo>
                        <a:pt x="1827" y="659"/>
                      </a:lnTo>
                      <a:lnTo>
                        <a:pt x="1727" y="659"/>
                      </a:lnTo>
                      <a:lnTo>
                        <a:pt x="1699" y="674"/>
                      </a:lnTo>
                      <a:lnTo>
                        <a:pt x="1664" y="694"/>
                      </a:lnTo>
                      <a:lnTo>
                        <a:pt x="1647" y="704"/>
                      </a:lnTo>
                      <a:lnTo>
                        <a:pt x="1630" y="713"/>
                      </a:lnTo>
                      <a:lnTo>
                        <a:pt x="1624" y="716"/>
                      </a:lnTo>
                      <a:lnTo>
                        <a:pt x="1617" y="718"/>
                      </a:lnTo>
                      <a:lnTo>
                        <a:pt x="1611" y="720"/>
                      </a:lnTo>
                      <a:lnTo>
                        <a:pt x="1607" y="721"/>
                      </a:lnTo>
                      <a:lnTo>
                        <a:pt x="1598" y="720"/>
                      </a:lnTo>
                      <a:lnTo>
                        <a:pt x="1587" y="719"/>
                      </a:lnTo>
                      <a:lnTo>
                        <a:pt x="1574" y="717"/>
                      </a:lnTo>
                      <a:lnTo>
                        <a:pt x="1560" y="714"/>
                      </a:lnTo>
                      <a:lnTo>
                        <a:pt x="1527" y="705"/>
                      </a:lnTo>
                      <a:lnTo>
                        <a:pt x="1493" y="696"/>
                      </a:lnTo>
                      <a:lnTo>
                        <a:pt x="1460" y="686"/>
                      </a:lnTo>
                      <a:lnTo>
                        <a:pt x="1430" y="676"/>
                      </a:lnTo>
                      <a:lnTo>
                        <a:pt x="1418" y="671"/>
                      </a:lnTo>
                      <a:lnTo>
                        <a:pt x="1407" y="667"/>
                      </a:lnTo>
                      <a:lnTo>
                        <a:pt x="1400" y="663"/>
                      </a:lnTo>
                      <a:lnTo>
                        <a:pt x="1394" y="659"/>
                      </a:lnTo>
                      <a:lnTo>
                        <a:pt x="1228" y="659"/>
                      </a:lnTo>
                      <a:lnTo>
                        <a:pt x="1169" y="646"/>
                      </a:lnTo>
                      <a:lnTo>
                        <a:pt x="1160" y="646"/>
                      </a:lnTo>
                      <a:lnTo>
                        <a:pt x="1151" y="646"/>
                      </a:lnTo>
                      <a:lnTo>
                        <a:pt x="1143" y="644"/>
                      </a:lnTo>
                      <a:lnTo>
                        <a:pt x="1133" y="641"/>
                      </a:lnTo>
                      <a:lnTo>
                        <a:pt x="1123" y="638"/>
                      </a:lnTo>
                      <a:lnTo>
                        <a:pt x="1112" y="633"/>
                      </a:lnTo>
                      <a:lnTo>
                        <a:pt x="1102" y="628"/>
                      </a:lnTo>
                      <a:lnTo>
                        <a:pt x="1092" y="622"/>
                      </a:lnTo>
                      <a:lnTo>
                        <a:pt x="1082" y="615"/>
                      </a:lnTo>
                      <a:lnTo>
                        <a:pt x="1073" y="608"/>
                      </a:lnTo>
                      <a:lnTo>
                        <a:pt x="1065" y="601"/>
                      </a:lnTo>
                      <a:lnTo>
                        <a:pt x="1056" y="592"/>
                      </a:lnTo>
                      <a:lnTo>
                        <a:pt x="1049" y="584"/>
                      </a:lnTo>
                      <a:lnTo>
                        <a:pt x="1044" y="576"/>
                      </a:lnTo>
                      <a:lnTo>
                        <a:pt x="1038" y="568"/>
                      </a:lnTo>
                      <a:lnTo>
                        <a:pt x="1036" y="560"/>
                      </a:lnTo>
                      <a:lnTo>
                        <a:pt x="1022" y="560"/>
                      </a:lnTo>
                      <a:lnTo>
                        <a:pt x="1008" y="558"/>
                      </a:lnTo>
                      <a:lnTo>
                        <a:pt x="994" y="555"/>
                      </a:lnTo>
                      <a:lnTo>
                        <a:pt x="980" y="552"/>
                      </a:lnTo>
                      <a:lnTo>
                        <a:pt x="953" y="543"/>
                      </a:lnTo>
                      <a:lnTo>
                        <a:pt x="923" y="532"/>
                      </a:lnTo>
                      <a:lnTo>
                        <a:pt x="893" y="522"/>
                      </a:lnTo>
                      <a:lnTo>
                        <a:pt x="863" y="513"/>
                      </a:lnTo>
                      <a:lnTo>
                        <a:pt x="846" y="510"/>
                      </a:lnTo>
                      <a:lnTo>
                        <a:pt x="831" y="507"/>
                      </a:lnTo>
                      <a:lnTo>
                        <a:pt x="813" y="505"/>
                      </a:lnTo>
                      <a:lnTo>
                        <a:pt x="797" y="505"/>
                      </a:lnTo>
                      <a:lnTo>
                        <a:pt x="786" y="504"/>
                      </a:lnTo>
                      <a:lnTo>
                        <a:pt x="770" y="501"/>
                      </a:lnTo>
                      <a:lnTo>
                        <a:pt x="763" y="499"/>
                      </a:lnTo>
                      <a:lnTo>
                        <a:pt x="756" y="497"/>
                      </a:lnTo>
                      <a:lnTo>
                        <a:pt x="752" y="495"/>
                      </a:lnTo>
                      <a:lnTo>
                        <a:pt x="750" y="493"/>
                      </a:lnTo>
                      <a:lnTo>
                        <a:pt x="746" y="485"/>
                      </a:lnTo>
                      <a:lnTo>
                        <a:pt x="744" y="477"/>
                      </a:lnTo>
                      <a:lnTo>
                        <a:pt x="743" y="470"/>
                      </a:lnTo>
                      <a:lnTo>
                        <a:pt x="743" y="461"/>
                      </a:lnTo>
                      <a:lnTo>
                        <a:pt x="743" y="456"/>
                      </a:lnTo>
                      <a:lnTo>
                        <a:pt x="743" y="449"/>
                      </a:lnTo>
                      <a:lnTo>
                        <a:pt x="743" y="440"/>
                      </a:lnTo>
                      <a:lnTo>
                        <a:pt x="743" y="431"/>
                      </a:lnTo>
                      <a:lnTo>
                        <a:pt x="741" y="431"/>
                      </a:lnTo>
                      <a:lnTo>
                        <a:pt x="736" y="428"/>
                      </a:lnTo>
                      <a:lnTo>
                        <a:pt x="732" y="426"/>
                      </a:lnTo>
                      <a:lnTo>
                        <a:pt x="728" y="422"/>
                      </a:lnTo>
                      <a:lnTo>
                        <a:pt x="717" y="414"/>
                      </a:lnTo>
                      <a:lnTo>
                        <a:pt x="705" y="403"/>
                      </a:lnTo>
                      <a:lnTo>
                        <a:pt x="695" y="391"/>
                      </a:lnTo>
                      <a:lnTo>
                        <a:pt x="686" y="379"/>
                      </a:lnTo>
                      <a:lnTo>
                        <a:pt x="681" y="372"/>
                      </a:lnTo>
                      <a:lnTo>
                        <a:pt x="679" y="367"/>
                      </a:lnTo>
                      <a:lnTo>
                        <a:pt x="677" y="361"/>
                      </a:lnTo>
                      <a:lnTo>
                        <a:pt x="677" y="357"/>
                      </a:lnTo>
                      <a:lnTo>
                        <a:pt x="661" y="356"/>
                      </a:lnTo>
                      <a:lnTo>
                        <a:pt x="645" y="355"/>
                      </a:lnTo>
                      <a:lnTo>
                        <a:pt x="630" y="353"/>
                      </a:lnTo>
                      <a:lnTo>
                        <a:pt x="616" y="351"/>
                      </a:lnTo>
                      <a:lnTo>
                        <a:pt x="602" y="348"/>
                      </a:lnTo>
                      <a:lnTo>
                        <a:pt x="589" y="344"/>
                      </a:lnTo>
                      <a:lnTo>
                        <a:pt x="576" y="340"/>
                      </a:lnTo>
                      <a:lnTo>
                        <a:pt x="564" y="335"/>
                      </a:lnTo>
                      <a:lnTo>
                        <a:pt x="552" y="329"/>
                      </a:lnTo>
                      <a:lnTo>
                        <a:pt x="541" y="323"/>
                      </a:lnTo>
                      <a:lnTo>
                        <a:pt x="531" y="315"/>
                      </a:lnTo>
                      <a:lnTo>
                        <a:pt x="522" y="307"/>
                      </a:lnTo>
                      <a:lnTo>
                        <a:pt x="512" y="299"/>
                      </a:lnTo>
                      <a:lnTo>
                        <a:pt x="505" y="290"/>
                      </a:lnTo>
                      <a:lnTo>
                        <a:pt x="497" y="281"/>
                      </a:lnTo>
                      <a:lnTo>
                        <a:pt x="490" y="271"/>
                      </a:lnTo>
                      <a:lnTo>
                        <a:pt x="475" y="268"/>
                      </a:lnTo>
                      <a:lnTo>
                        <a:pt x="463" y="267"/>
                      </a:lnTo>
                      <a:lnTo>
                        <a:pt x="454" y="267"/>
                      </a:lnTo>
                      <a:lnTo>
                        <a:pt x="449" y="268"/>
                      </a:lnTo>
                      <a:lnTo>
                        <a:pt x="444" y="270"/>
                      </a:lnTo>
                      <a:lnTo>
                        <a:pt x="442" y="273"/>
                      </a:lnTo>
                      <a:lnTo>
                        <a:pt x="441" y="277"/>
                      </a:lnTo>
                      <a:lnTo>
                        <a:pt x="441" y="281"/>
                      </a:lnTo>
                      <a:lnTo>
                        <a:pt x="441" y="286"/>
                      </a:lnTo>
                      <a:lnTo>
                        <a:pt x="441" y="291"/>
                      </a:lnTo>
                      <a:lnTo>
                        <a:pt x="440" y="296"/>
                      </a:lnTo>
                      <a:lnTo>
                        <a:pt x="439" y="301"/>
                      </a:lnTo>
                      <a:lnTo>
                        <a:pt x="436" y="307"/>
                      </a:lnTo>
                      <a:lnTo>
                        <a:pt x="430" y="311"/>
                      </a:lnTo>
                      <a:lnTo>
                        <a:pt x="422" y="316"/>
                      </a:lnTo>
                      <a:lnTo>
                        <a:pt x="411" y="320"/>
                      </a:lnTo>
                      <a:lnTo>
                        <a:pt x="407" y="320"/>
                      </a:lnTo>
                      <a:lnTo>
                        <a:pt x="403" y="321"/>
                      </a:lnTo>
                      <a:lnTo>
                        <a:pt x="400" y="322"/>
                      </a:lnTo>
                      <a:lnTo>
                        <a:pt x="398" y="323"/>
                      </a:lnTo>
                      <a:lnTo>
                        <a:pt x="397" y="325"/>
                      </a:lnTo>
                      <a:lnTo>
                        <a:pt x="396" y="327"/>
                      </a:lnTo>
                      <a:lnTo>
                        <a:pt x="396" y="329"/>
                      </a:lnTo>
                      <a:lnTo>
                        <a:pt x="396" y="332"/>
                      </a:lnTo>
                      <a:lnTo>
                        <a:pt x="401" y="344"/>
                      </a:lnTo>
                      <a:lnTo>
                        <a:pt x="410" y="357"/>
                      </a:lnTo>
                      <a:lnTo>
                        <a:pt x="415" y="364"/>
                      </a:lnTo>
                      <a:lnTo>
                        <a:pt x="419" y="371"/>
                      </a:lnTo>
                      <a:lnTo>
                        <a:pt x="421" y="379"/>
                      </a:lnTo>
                      <a:lnTo>
                        <a:pt x="423" y="385"/>
                      </a:lnTo>
                      <a:lnTo>
                        <a:pt x="423" y="388"/>
                      </a:lnTo>
                      <a:lnTo>
                        <a:pt x="422" y="390"/>
                      </a:lnTo>
                      <a:lnTo>
                        <a:pt x="421" y="393"/>
                      </a:lnTo>
                      <a:lnTo>
                        <a:pt x="420" y="395"/>
                      </a:lnTo>
                      <a:lnTo>
                        <a:pt x="417" y="397"/>
                      </a:lnTo>
                      <a:lnTo>
                        <a:pt x="414" y="398"/>
                      </a:lnTo>
                      <a:lnTo>
                        <a:pt x="409" y="399"/>
                      </a:lnTo>
                      <a:lnTo>
                        <a:pt x="405" y="400"/>
                      </a:lnTo>
                      <a:lnTo>
                        <a:pt x="392" y="400"/>
                      </a:lnTo>
                      <a:lnTo>
                        <a:pt x="377" y="400"/>
                      </a:lnTo>
                      <a:lnTo>
                        <a:pt x="370" y="400"/>
                      </a:lnTo>
                      <a:lnTo>
                        <a:pt x="361" y="399"/>
                      </a:lnTo>
                      <a:lnTo>
                        <a:pt x="351" y="397"/>
                      </a:lnTo>
                      <a:lnTo>
                        <a:pt x="341" y="395"/>
                      </a:lnTo>
                      <a:lnTo>
                        <a:pt x="331" y="393"/>
                      </a:lnTo>
                      <a:lnTo>
                        <a:pt x="321" y="390"/>
                      </a:lnTo>
                      <a:lnTo>
                        <a:pt x="313" y="386"/>
                      </a:lnTo>
                      <a:lnTo>
                        <a:pt x="305" y="382"/>
                      </a:lnTo>
                      <a:lnTo>
                        <a:pt x="303" y="387"/>
                      </a:lnTo>
                      <a:lnTo>
                        <a:pt x="302" y="393"/>
                      </a:lnTo>
                      <a:lnTo>
                        <a:pt x="303" y="401"/>
                      </a:lnTo>
                      <a:lnTo>
                        <a:pt x="303" y="409"/>
                      </a:lnTo>
                      <a:lnTo>
                        <a:pt x="307" y="427"/>
                      </a:lnTo>
                      <a:lnTo>
                        <a:pt x="311" y="448"/>
                      </a:lnTo>
                      <a:lnTo>
                        <a:pt x="316" y="467"/>
                      </a:lnTo>
                      <a:lnTo>
                        <a:pt x="320" y="483"/>
                      </a:lnTo>
                      <a:lnTo>
                        <a:pt x="320" y="491"/>
                      </a:lnTo>
                      <a:lnTo>
                        <a:pt x="320" y="497"/>
                      </a:lnTo>
                      <a:lnTo>
                        <a:pt x="320" y="502"/>
                      </a:lnTo>
                      <a:lnTo>
                        <a:pt x="318" y="505"/>
                      </a:lnTo>
                      <a:lnTo>
                        <a:pt x="292" y="503"/>
                      </a:lnTo>
                      <a:lnTo>
                        <a:pt x="254" y="503"/>
                      </a:lnTo>
                      <a:lnTo>
                        <a:pt x="244" y="504"/>
                      </a:lnTo>
                      <a:lnTo>
                        <a:pt x="236" y="505"/>
                      </a:lnTo>
                      <a:lnTo>
                        <a:pt x="227" y="507"/>
                      </a:lnTo>
                      <a:lnTo>
                        <a:pt x="220" y="510"/>
                      </a:lnTo>
                      <a:lnTo>
                        <a:pt x="214" y="513"/>
                      </a:lnTo>
                      <a:lnTo>
                        <a:pt x="209" y="517"/>
                      </a:lnTo>
                      <a:lnTo>
                        <a:pt x="207" y="520"/>
                      </a:lnTo>
                      <a:lnTo>
                        <a:pt x="206" y="523"/>
                      </a:lnTo>
                      <a:lnTo>
                        <a:pt x="205" y="526"/>
                      </a:lnTo>
                      <a:lnTo>
                        <a:pt x="205" y="529"/>
                      </a:lnTo>
                      <a:lnTo>
                        <a:pt x="216" y="531"/>
                      </a:lnTo>
                      <a:lnTo>
                        <a:pt x="226" y="534"/>
                      </a:lnTo>
                      <a:lnTo>
                        <a:pt x="233" y="538"/>
                      </a:lnTo>
                      <a:lnTo>
                        <a:pt x="239" y="544"/>
                      </a:lnTo>
                      <a:lnTo>
                        <a:pt x="243" y="550"/>
                      </a:lnTo>
                      <a:lnTo>
                        <a:pt x="247" y="556"/>
                      </a:lnTo>
                      <a:lnTo>
                        <a:pt x="250" y="563"/>
                      </a:lnTo>
                      <a:lnTo>
                        <a:pt x="252" y="569"/>
                      </a:lnTo>
                      <a:lnTo>
                        <a:pt x="255" y="583"/>
                      </a:lnTo>
                      <a:lnTo>
                        <a:pt x="260" y="595"/>
                      </a:lnTo>
                      <a:lnTo>
                        <a:pt x="262" y="601"/>
                      </a:lnTo>
                      <a:lnTo>
                        <a:pt x="266" y="605"/>
                      </a:lnTo>
                      <a:lnTo>
                        <a:pt x="272" y="608"/>
                      </a:lnTo>
                      <a:lnTo>
                        <a:pt x="278" y="610"/>
                      </a:lnTo>
                      <a:lnTo>
                        <a:pt x="276" y="614"/>
                      </a:lnTo>
                      <a:lnTo>
                        <a:pt x="275" y="618"/>
                      </a:lnTo>
                      <a:lnTo>
                        <a:pt x="275" y="621"/>
                      </a:lnTo>
                      <a:lnTo>
                        <a:pt x="275" y="625"/>
                      </a:lnTo>
                      <a:lnTo>
                        <a:pt x="277" y="632"/>
                      </a:lnTo>
                      <a:lnTo>
                        <a:pt x="278" y="640"/>
                      </a:lnTo>
                      <a:lnTo>
                        <a:pt x="277" y="658"/>
                      </a:lnTo>
                      <a:lnTo>
                        <a:pt x="274" y="674"/>
                      </a:lnTo>
                      <a:lnTo>
                        <a:pt x="270" y="688"/>
                      </a:lnTo>
                      <a:lnTo>
                        <a:pt x="264" y="700"/>
                      </a:lnTo>
                      <a:lnTo>
                        <a:pt x="261" y="705"/>
                      </a:lnTo>
                      <a:lnTo>
                        <a:pt x="257" y="711"/>
                      </a:lnTo>
                      <a:lnTo>
                        <a:pt x="252" y="716"/>
                      </a:lnTo>
                      <a:lnTo>
                        <a:pt x="248" y="720"/>
                      </a:lnTo>
                      <a:lnTo>
                        <a:pt x="242" y="724"/>
                      </a:lnTo>
                      <a:lnTo>
                        <a:pt x="237" y="727"/>
                      </a:lnTo>
                      <a:lnTo>
                        <a:pt x="231" y="730"/>
                      </a:lnTo>
                      <a:lnTo>
                        <a:pt x="225" y="733"/>
                      </a:lnTo>
                      <a:lnTo>
                        <a:pt x="206" y="735"/>
                      </a:lnTo>
                      <a:lnTo>
                        <a:pt x="182" y="737"/>
                      </a:lnTo>
                      <a:lnTo>
                        <a:pt x="170" y="739"/>
                      </a:lnTo>
                      <a:lnTo>
                        <a:pt x="158" y="741"/>
                      </a:lnTo>
                      <a:lnTo>
                        <a:pt x="152" y="743"/>
                      </a:lnTo>
                      <a:lnTo>
                        <a:pt x="147" y="745"/>
                      </a:lnTo>
                      <a:lnTo>
                        <a:pt x="142" y="748"/>
                      </a:lnTo>
                      <a:lnTo>
                        <a:pt x="139" y="751"/>
                      </a:lnTo>
                      <a:lnTo>
                        <a:pt x="134" y="758"/>
                      </a:lnTo>
                      <a:lnTo>
                        <a:pt x="127" y="770"/>
                      </a:lnTo>
                      <a:lnTo>
                        <a:pt x="123" y="776"/>
                      </a:lnTo>
                      <a:lnTo>
                        <a:pt x="118" y="781"/>
                      </a:lnTo>
                      <a:lnTo>
                        <a:pt x="113" y="785"/>
                      </a:lnTo>
                      <a:lnTo>
                        <a:pt x="105" y="788"/>
                      </a:lnTo>
                      <a:lnTo>
                        <a:pt x="81" y="794"/>
                      </a:lnTo>
                      <a:lnTo>
                        <a:pt x="45" y="800"/>
                      </a:lnTo>
                      <a:lnTo>
                        <a:pt x="27" y="804"/>
                      </a:lnTo>
                      <a:lnTo>
                        <a:pt x="13" y="807"/>
                      </a:lnTo>
                      <a:lnTo>
                        <a:pt x="3" y="810"/>
                      </a:lnTo>
                      <a:lnTo>
                        <a:pt x="0" y="812"/>
                      </a:lnTo>
                      <a:lnTo>
                        <a:pt x="0" y="824"/>
                      </a:lnTo>
                      <a:lnTo>
                        <a:pt x="3" y="833"/>
                      </a:lnTo>
                      <a:lnTo>
                        <a:pt x="6" y="842"/>
                      </a:lnTo>
                      <a:lnTo>
                        <a:pt x="9" y="850"/>
                      </a:lnTo>
                      <a:lnTo>
                        <a:pt x="14" y="859"/>
                      </a:lnTo>
                      <a:lnTo>
                        <a:pt x="18" y="869"/>
                      </a:lnTo>
                      <a:lnTo>
                        <a:pt x="23" y="880"/>
                      </a:lnTo>
                      <a:lnTo>
                        <a:pt x="26" y="893"/>
                      </a:lnTo>
                      <a:lnTo>
                        <a:pt x="40" y="894"/>
                      </a:lnTo>
                      <a:lnTo>
                        <a:pt x="53" y="896"/>
                      </a:lnTo>
                      <a:lnTo>
                        <a:pt x="59" y="897"/>
                      </a:lnTo>
                      <a:lnTo>
                        <a:pt x="64" y="899"/>
                      </a:lnTo>
                      <a:lnTo>
                        <a:pt x="70" y="902"/>
                      </a:lnTo>
                      <a:lnTo>
                        <a:pt x="74" y="905"/>
                      </a:lnTo>
                      <a:lnTo>
                        <a:pt x="79" y="909"/>
                      </a:lnTo>
                      <a:lnTo>
                        <a:pt x="83" y="913"/>
                      </a:lnTo>
                      <a:lnTo>
                        <a:pt x="87" y="918"/>
                      </a:lnTo>
                      <a:lnTo>
                        <a:pt x="90" y="924"/>
                      </a:lnTo>
                      <a:lnTo>
                        <a:pt x="93" y="931"/>
                      </a:lnTo>
                      <a:lnTo>
                        <a:pt x="95" y="938"/>
                      </a:lnTo>
                      <a:lnTo>
                        <a:pt x="97" y="946"/>
                      </a:lnTo>
                      <a:lnTo>
                        <a:pt x="98" y="954"/>
                      </a:ln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65" name="Freeform 15">
                  <a:extLst>
                    <a:ext uri="{FF2B5EF4-FFF2-40B4-BE49-F238E27FC236}">
                      <a16:creationId xmlns:a16="http://schemas.microsoft.com/office/drawing/2014/main" xmlns="" id="{10C2EE8D-2689-42D1-AAEF-2B46D794DA59}"/>
                    </a:ext>
                  </a:extLst>
                </p:cNvPr>
                <p:cNvSpPr>
                  <a:spLocks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4411663" y="1508125"/>
                  <a:ext cx="220662" cy="273050"/>
                </a:xfrm>
                <a:custGeom>
                  <a:avLst/>
                  <a:gdLst>
                    <a:gd name="T0" fmla="*/ 2147483646 w 504"/>
                    <a:gd name="T1" fmla="*/ 2147483646 h 524"/>
                    <a:gd name="T2" fmla="*/ 2147483646 w 504"/>
                    <a:gd name="T3" fmla="*/ 2147483646 h 524"/>
                    <a:gd name="T4" fmla="*/ 2147483646 w 504"/>
                    <a:gd name="T5" fmla="*/ 2147483646 h 524"/>
                    <a:gd name="T6" fmla="*/ 2147483646 w 504"/>
                    <a:gd name="T7" fmla="*/ 2147483646 h 524"/>
                    <a:gd name="T8" fmla="*/ 2147483646 w 504"/>
                    <a:gd name="T9" fmla="*/ 2147483646 h 524"/>
                    <a:gd name="T10" fmla="*/ 2147483646 w 504"/>
                    <a:gd name="T11" fmla="*/ 2147483646 h 524"/>
                    <a:gd name="T12" fmla="*/ 2147483646 w 504"/>
                    <a:gd name="T13" fmla="*/ 2147483646 h 524"/>
                    <a:gd name="T14" fmla="*/ 2147483646 w 504"/>
                    <a:gd name="T15" fmla="*/ 2147483646 h 524"/>
                    <a:gd name="T16" fmla="*/ 2147483646 w 504"/>
                    <a:gd name="T17" fmla="*/ 2147483646 h 524"/>
                    <a:gd name="T18" fmla="*/ 2147483646 w 504"/>
                    <a:gd name="T19" fmla="*/ 2147483646 h 524"/>
                    <a:gd name="T20" fmla="*/ 2147483646 w 504"/>
                    <a:gd name="T21" fmla="*/ 2147483646 h 524"/>
                    <a:gd name="T22" fmla="*/ 2147483646 w 504"/>
                    <a:gd name="T23" fmla="*/ 2147483646 h 524"/>
                    <a:gd name="T24" fmla="*/ 2147483646 w 504"/>
                    <a:gd name="T25" fmla="*/ 2147483646 h 524"/>
                    <a:gd name="T26" fmla="*/ 2147483646 w 504"/>
                    <a:gd name="T27" fmla="*/ 2147483646 h 524"/>
                    <a:gd name="T28" fmla="*/ 2147483646 w 504"/>
                    <a:gd name="T29" fmla="*/ 2147483646 h 524"/>
                    <a:gd name="T30" fmla="*/ 2147483646 w 504"/>
                    <a:gd name="T31" fmla="*/ 2147483646 h 524"/>
                    <a:gd name="T32" fmla="*/ 2147483646 w 504"/>
                    <a:gd name="T33" fmla="*/ 2147483646 h 524"/>
                    <a:gd name="T34" fmla="*/ 2147483646 w 504"/>
                    <a:gd name="T35" fmla="*/ 2147483646 h 524"/>
                    <a:gd name="T36" fmla="*/ 2147483646 w 504"/>
                    <a:gd name="T37" fmla="*/ 2147483646 h 524"/>
                    <a:gd name="T38" fmla="*/ 2147483646 w 504"/>
                    <a:gd name="T39" fmla="*/ 2147483646 h 524"/>
                    <a:gd name="T40" fmla="*/ 2147483646 w 504"/>
                    <a:gd name="T41" fmla="*/ 2147483646 h 524"/>
                    <a:gd name="T42" fmla="*/ 2147483646 w 504"/>
                    <a:gd name="T43" fmla="*/ 2147483646 h 524"/>
                    <a:gd name="T44" fmla="*/ 2147483646 w 504"/>
                    <a:gd name="T45" fmla="*/ 2147483646 h 524"/>
                    <a:gd name="T46" fmla="*/ 2147483646 w 504"/>
                    <a:gd name="T47" fmla="*/ 2147483646 h 524"/>
                    <a:gd name="T48" fmla="*/ 2147483646 w 504"/>
                    <a:gd name="T49" fmla="*/ 2147483646 h 524"/>
                    <a:gd name="T50" fmla="*/ 2147483646 w 504"/>
                    <a:gd name="T51" fmla="*/ 2147483646 h 524"/>
                    <a:gd name="T52" fmla="*/ 2147483646 w 504"/>
                    <a:gd name="T53" fmla="*/ 2147483646 h 524"/>
                    <a:gd name="T54" fmla="*/ 2147483646 w 504"/>
                    <a:gd name="T55" fmla="*/ 2147483646 h 524"/>
                    <a:gd name="T56" fmla="*/ 2147483646 w 504"/>
                    <a:gd name="T57" fmla="*/ 2147483646 h 524"/>
                    <a:gd name="T58" fmla="*/ 2147483646 w 504"/>
                    <a:gd name="T59" fmla="*/ 2147483646 h 524"/>
                    <a:gd name="T60" fmla="*/ 2147483646 w 504"/>
                    <a:gd name="T61" fmla="*/ 2147483646 h 524"/>
                    <a:gd name="T62" fmla="*/ 2147483646 w 504"/>
                    <a:gd name="T63" fmla="*/ 2147483646 h 524"/>
                    <a:gd name="T64" fmla="*/ 2147483646 w 504"/>
                    <a:gd name="T65" fmla="*/ 2147483646 h 524"/>
                    <a:gd name="T66" fmla="*/ 2147483646 w 504"/>
                    <a:gd name="T67" fmla="*/ 2147483646 h 524"/>
                    <a:gd name="T68" fmla="*/ 2147483646 w 504"/>
                    <a:gd name="T69" fmla="*/ 2147483646 h 524"/>
                    <a:gd name="T70" fmla="*/ 2147483646 w 504"/>
                    <a:gd name="T71" fmla="*/ 2147483646 h 524"/>
                    <a:gd name="T72" fmla="*/ 2147483646 w 504"/>
                    <a:gd name="T73" fmla="*/ 2147483646 h 524"/>
                    <a:gd name="T74" fmla="*/ 2147483646 w 504"/>
                    <a:gd name="T75" fmla="*/ 0 h 524"/>
                    <a:gd name="T76" fmla="*/ 2147483646 w 504"/>
                    <a:gd name="T77" fmla="*/ 0 h 524"/>
                    <a:gd name="T78" fmla="*/ 2147483646 w 504"/>
                    <a:gd name="T79" fmla="*/ 2147483646 h 524"/>
                    <a:gd name="T80" fmla="*/ 2147483646 w 504"/>
                    <a:gd name="T81" fmla="*/ 2147483646 h 524"/>
                    <a:gd name="T82" fmla="*/ 2147483646 w 504"/>
                    <a:gd name="T83" fmla="*/ 2147483646 h 524"/>
                    <a:gd name="T84" fmla="*/ 2147483646 w 504"/>
                    <a:gd name="T85" fmla="*/ 2147483646 h 524"/>
                    <a:gd name="T86" fmla="*/ 2147483646 w 504"/>
                    <a:gd name="T87" fmla="*/ 2147483646 h 524"/>
                    <a:gd name="T88" fmla="*/ 2147483646 w 504"/>
                    <a:gd name="T89" fmla="*/ 2147483646 h 524"/>
                    <a:gd name="T90" fmla="*/ 2147483646 w 504"/>
                    <a:gd name="T91" fmla="*/ 2147483646 h 524"/>
                    <a:gd name="T92" fmla="*/ 2147483646 w 504"/>
                    <a:gd name="T93" fmla="*/ 2147483646 h 524"/>
                    <a:gd name="T94" fmla="*/ 2147483646 w 504"/>
                    <a:gd name="T95" fmla="*/ 2147483646 h 524"/>
                    <a:gd name="T96" fmla="*/ 2147483646 w 504"/>
                    <a:gd name="T97" fmla="*/ 2147483646 h 524"/>
                    <a:gd name="T98" fmla="*/ 2147483646 w 504"/>
                    <a:gd name="T99" fmla="*/ 2147483646 h 524"/>
                    <a:gd name="T100" fmla="*/ 2147483646 w 504"/>
                    <a:gd name="T101" fmla="*/ 2147483646 h 524"/>
                    <a:gd name="T102" fmla="*/ 2147483646 w 504"/>
                    <a:gd name="T103" fmla="*/ 2147483646 h 524"/>
                    <a:gd name="T104" fmla="*/ 2147483646 w 504"/>
                    <a:gd name="T105" fmla="*/ 2147483646 h 524"/>
                    <a:gd name="T106" fmla="*/ 2147483646 w 504"/>
                    <a:gd name="T107" fmla="*/ 2147483646 h 524"/>
                    <a:gd name="T108" fmla="*/ 2147483646 w 504"/>
                    <a:gd name="T109" fmla="*/ 2147483646 h 524"/>
                    <a:gd name="T110" fmla="*/ 2147483646 w 504"/>
                    <a:gd name="T111" fmla="*/ 2147483646 h 524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504"/>
                    <a:gd name="T169" fmla="*/ 0 h 524"/>
                    <a:gd name="T170" fmla="*/ 504 w 504"/>
                    <a:gd name="T171" fmla="*/ 524 h 524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504" h="524">
                      <a:moveTo>
                        <a:pt x="365" y="493"/>
                      </a:moveTo>
                      <a:lnTo>
                        <a:pt x="355" y="493"/>
                      </a:lnTo>
                      <a:lnTo>
                        <a:pt x="345" y="493"/>
                      </a:lnTo>
                      <a:lnTo>
                        <a:pt x="266" y="493"/>
                      </a:lnTo>
                      <a:lnTo>
                        <a:pt x="262" y="500"/>
                      </a:lnTo>
                      <a:lnTo>
                        <a:pt x="256" y="505"/>
                      </a:lnTo>
                      <a:lnTo>
                        <a:pt x="250" y="510"/>
                      </a:lnTo>
                      <a:lnTo>
                        <a:pt x="243" y="513"/>
                      </a:lnTo>
                      <a:lnTo>
                        <a:pt x="235" y="517"/>
                      </a:lnTo>
                      <a:lnTo>
                        <a:pt x="228" y="519"/>
                      </a:lnTo>
                      <a:lnTo>
                        <a:pt x="219" y="521"/>
                      </a:lnTo>
                      <a:lnTo>
                        <a:pt x="210" y="522"/>
                      </a:lnTo>
                      <a:lnTo>
                        <a:pt x="191" y="524"/>
                      </a:lnTo>
                      <a:lnTo>
                        <a:pt x="173" y="524"/>
                      </a:lnTo>
                      <a:lnTo>
                        <a:pt x="155" y="524"/>
                      </a:lnTo>
                      <a:lnTo>
                        <a:pt x="140" y="524"/>
                      </a:lnTo>
                      <a:lnTo>
                        <a:pt x="121" y="523"/>
                      </a:lnTo>
                      <a:lnTo>
                        <a:pt x="106" y="522"/>
                      </a:lnTo>
                      <a:lnTo>
                        <a:pt x="100" y="521"/>
                      </a:lnTo>
                      <a:lnTo>
                        <a:pt x="96" y="519"/>
                      </a:lnTo>
                      <a:lnTo>
                        <a:pt x="94" y="516"/>
                      </a:lnTo>
                      <a:lnTo>
                        <a:pt x="93" y="512"/>
                      </a:lnTo>
                      <a:lnTo>
                        <a:pt x="82" y="511"/>
                      </a:lnTo>
                      <a:lnTo>
                        <a:pt x="71" y="509"/>
                      </a:lnTo>
                      <a:lnTo>
                        <a:pt x="59" y="505"/>
                      </a:lnTo>
                      <a:lnTo>
                        <a:pt x="47" y="501"/>
                      </a:lnTo>
                      <a:lnTo>
                        <a:pt x="36" y="496"/>
                      </a:lnTo>
                      <a:lnTo>
                        <a:pt x="28" y="491"/>
                      </a:lnTo>
                      <a:lnTo>
                        <a:pt x="25" y="489"/>
                      </a:lnTo>
                      <a:lnTo>
                        <a:pt x="22" y="486"/>
                      </a:lnTo>
                      <a:lnTo>
                        <a:pt x="20" y="484"/>
                      </a:lnTo>
                      <a:lnTo>
                        <a:pt x="20" y="481"/>
                      </a:lnTo>
                      <a:lnTo>
                        <a:pt x="20" y="477"/>
                      </a:lnTo>
                      <a:lnTo>
                        <a:pt x="22" y="472"/>
                      </a:lnTo>
                      <a:lnTo>
                        <a:pt x="25" y="467"/>
                      </a:lnTo>
                      <a:lnTo>
                        <a:pt x="27" y="463"/>
                      </a:lnTo>
                      <a:lnTo>
                        <a:pt x="31" y="456"/>
                      </a:lnTo>
                      <a:lnTo>
                        <a:pt x="33" y="450"/>
                      </a:lnTo>
                      <a:lnTo>
                        <a:pt x="32" y="445"/>
                      </a:lnTo>
                      <a:lnTo>
                        <a:pt x="31" y="440"/>
                      </a:lnTo>
                      <a:lnTo>
                        <a:pt x="30" y="436"/>
                      </a:lnTo>
                      <a:lnTo>
                        <a:pt x="28" y="432"/>
                      </a:lnTo>
                      <a:lnTo>
                        <a:pt x="22" y="426"/>
                      </a:lnTo>
                      <a:lnTo>
                        <a:pt x="17" y="421"/>
                      </a:lnTo>
                      <a:lnTo>
                        <a:pt x="10" y="417"/>
                      </a:lnTo>
                      <a:lnTo>
                        <a:pt x="5" y="412"/>
                      </a:lnTo>
                      <a:lnTo>
                        <a:pt x="3" y="409"/>
                      </a:lnTo>
                      <a:lnTo>
                        <a:pt x="1" y="407"/>
                      </a:lnTo>
                      <a:lnTo>
                        <a:pt x="0" y="404"/>
                      </a:lnTo>
                      <a:lnTo>
                        <a:pt x="0" y="401"/>
                      </a:lnTo>
                      <a:lnTo>
                        <a:pt x="1" y="391"/>
                      </a:lnTo>
                      <a:lnTo>
                        <a:pt x="5" y="381"/>
                      </a:lnTo>
                      <a:lnTo>
                        <a:pt x="10" y="371"/>
                      </a:lnTo>
                      <a:lnTo>
                        <a:pt x="17" y="360"/>
                      </a:lnTo>
                      <a:lnTo>
                        <a:pt x="26" y="349"/>
                      </a:lnTo>
                      <a:lnTo>
                        <a:pt x="37" y="338"/>
                      </a:lnTo>
                      <a:lnTo>
                        <a:pt x="48" y="328"/>
                      </a:lnTo>
                      <a:lnTo>
                        <a:pt x="60" y="318"/>
                      </a:lnTo>
                      <a:lnTo>
                        <a:pt x="73" y="309"/>
                      </a:lnTo>
                      <a:lnTo>
                        <a:pt x="86" y="299"/>
                      </a:lnTo>
                      <a:lnTo>
                        <a:pt x="99" y="291"/>
                      </a:lnTo>
                      <a:lnTo>
                        <a:pt x="112" y="285"/>
                      </a:lnTo>
                      <a:lnTo>
                        <a:pt x="124" y="279"/>
                      </a:lnTo>
                      <a:lnTo>
                        <a:pt x="138" y="275"/>
                      </a:lnTo>
                      <a:lnTo>
                        <a:pt x="149" y="272"/>
                      </a:lnTo>
                      <a:lnTo>
                        <a:pt x="160" y="272"/>
                      </a:lnTo>
                      <a:lnTo>
                        <a:pt x="166" y="266"/>
                      </a:lnTo>
                      <a:lnTo>
                        <a:pt x="160" y="265"/>
                      </a:lnTo>
                      <a:lnTo>
                        <a:pt x="155" y="264"/>
                      </a:lnTo>
                      <a:lnTo>
                        <a:pt x="150" y="263"/>
                      </a:lnTo>
                      <a:lnTo>
                        <a:pt x="145" y="261"/>
                      </a:lnTo>
                      <a:lnTo>
                        <a:pt x="142" y="259"/>
                      </a:lnTo>
                      <a:lnTo>
                        <a:pt x="139" y="257"/>
                      </a:lnTo>
                      <a:lnTo>
                        <a:pt x="135" y="254"/>
                      </a:lnTo>
                      <a:lnTo>
                        <a:pt x="133" y="251"/>
                      </a:lnTo>
                      <a:lnTo>
                        <a:pt x="130" y="244"/>
                      </a:lnTo>
                      <a:lnTo>
                        <a:pt x="128" y="236"/>
                      </a:lnTo>
                      <a:lnTo>
                        <a:pt x="127" y="229"/>
                      </a:lnTo>
                      <a:lnTo>
                        <a:pt x="127" y="222"/>
                      </a:lnTo>
                      <a:lnTo>
                        <a:pt x="126" y="208"/>
                      </a:lnTo>
                      <a:lnTo>
                        <a:pt x="124" y="195"/>
                      </a:lnTo>
                      <a:lnTo>
                        <a:pt x="121" y="182"/>
                      </a:lnTo>
                      <a:lnTo>
                        <a:pt x="119" y="171"/>
                      </a:lnTo>
                      <a:lnTo>
                        <a:pt x="115" y="161"/>
                      </a:lnTo>
                      <a:lnTo>
                        <a:pt x="110" y="152"/>
                      </a:lnTo>
                      <a:lnTo>
                        <a:pt x="106" y="143"/>
                      </a:lnTo>
                      <a:lnTo>
                        <a:pt x="100" y="134"/>
                      </a:lnTo>
                      <a:lnTo>
                        <a:pt x="89" y="119"/>
                      </a:lnTo>
                      <a:lnTo>
                        <a:pt x="78" y="104"/>
                      </a:lnTo>
                      <a:lnTo>
                        <a:pt x="68" y="90"/>
                      </a:lnTo>
                      <a:lnTo>
                        <a:pt x="60" y="74"/>
                      </a:lnTo>
                      <a:lnTo>
                        <a:pt x="74" y="66"/>
                      </a:lnTo>
                      <a:lnTo>
                        <a:pt x="86" y="60"/>
                      </a:lnTo>
                      <a:lnTo>
                        <a:pt x="93" y="58"/>
                      </a:lnTo>
                      <a:lnTo>
                        <a:pt x="99" y="57"/>
                      </a:lnTo>
                      <a:lnTo>
                        <a:pt x="106" y="56"/>
                      </a:lnTo>
                      <a:lnTo>
                        <a:pt x="112" y="56"/>
                      </a:lnTo>
                      <a:lnTo>
                        <a:pt x="123" y="56"/>
                      </a:lnTo>
                      <a:lnTo>
                        <a:pt x="130" y="58"/>
                      </a:lnTo>
                      <a:lnTo>
                        <a:pt x="133" y="59"/>
                      </a:lnTo>
                      <a:lnTo>
                        <a:pt x="137" y="60"/>
                      </a:lnTo>
                      <a:lnTo>
                        <a:pt x="139" y="61"/>
                      </a:lnTo>
                      <a:lnTo>
                        <a:pt x="143" y="61"/>
                      </a:lnTo>
                      <a:lnTo>
                        <a:pt x="149" y="59"/>
                      </a:lnTo>
                      <a:lnTo>
                        <a:pt x="160" y="56"/>
                      </a:lnTo>
                      <a:lnTo>
                        <a:pt x="160" y="47"/>
                      </a:lnTo>
                      <a:lnTo>
                        <a:pt x="162" y="40"/>
                      </a:lnTo>
                      <a:lnTo>
                        <a:pt x="164" y="33"/>
                      </a:lnTo>
                      <a:lnTo>
                        <a:pt x="166" y="25"/>
                      </a:lnTo>
                      <a:lnTo>
                        <a:pt x="168" y="19"/>
                      </a:lnTo>
                      <a:lnTo>
                        <a:pt x="171" y="13"/>
                      </a:lnTo>
                      <a:lnTo>
                        <a:pt x="172" y="7"/>
                      </a:lnTo>
                      <a:lnTo>
                        <a:pt x="173" y="0"/>
                      </a:lnTo>
                      <a:lnTo>
                        <a:pt x="187" y="0"/>
                      </a:lnTo>
                      <a:lnTo>
                        <a:pt x="201" y="0"/>
                      </a:lnTo>
                      <a:lnTo>
                        <a:pt x="214" y="0"/>
                      </a:lnTo>
                      <a:lnTo>
                        <a:pt x="225" y="0"/>
                      </a:lnTo>
                      <a:lnTo>
                        <a:pt x="235" y="1"/>
                      </a:lnTo>
                      <a:lnTo>
                        <a:pt x="244" y="4"/>
                      </a:lnTo>
                      <a:lnTo>
                        <a:pt x="254" y="8"/>
                      </a:lnTo>
                      <a:lnTo>
                        <a:pt x="263" y="12"/>
                      </a:lnTo>
                      <a:lnTo>
                        <a:pt x="270" y="17"/>
                      </a:lnTo>
                      <a:lnTo>
                        <a:pt x="280" y="21"/>
                      </a:lnTo>
                      <a:lnTo>
                        <a:pt x="289" y="24"/>
                      </a:lnTo>
                      <a:lnTo>
                        <a:pt x="299" y="25"/>
                      </a:lnTo>
                      <a:lnTo>
                        <a:pt x="279" y="62"/>
                      </a:lnTo>
                      <a:lnTo>
                        <a:pt x="283" y="67"/>
                      </a:lnTo>
                      <a:lnTo>
                        <a:pt x="287" y="72"/>
                      </a:lnTo>
                      <a:lnTo>
                        <a:pt x="292" y="77"/>
                      </a:lnTo>
                      <a:lnTo>
                        <a:pt x="297" y="82"/>
                      </a:lnTo>
                      <a:lnTo>
                        <a:pt x="308" y="88"/>
                      </a:lnTo>
                      <a:lnTo>
                        <a:pt x="319" y="94"/>
                      </a:lnTo>
                      <a:lnTo>
                        <a:pt x="341" y="103"/>
                      </a:lnTo>
                      <a:lnTo>
                        <a:pt x="358" y="111"/>
                      </a:lnTo>
                      <a:lnTo>
                        <a:pt x="356" y="119"/>
                      </a:lnTo>
                      <a:lnTo>
                        <a:pt x="353" y="126"/>
                      </a:lnTo>
                      <a:lnTo>
                        <a:pt x="350" y="131"/>
                      </a:lnTo>
                      <a:lnTo>
                        <a:pt x="346" y="135"/>
                      </a:lnTo>
                      <a:lnTo>
                        <a:pt x="343" y="141"/>
                      </a:lnTo>
                      <a:lnTo>
                        <a:pt x="341" y="146"/>
                      </a:lnTo>
                      <a:lnTo>
                        <a:pt x="340" y="153"/>
                      </a:lnTo>
                      <a:lnTo>
                        <a:pt x="339" y="161"/>
                      </a:lnTo>
                      <a:lnTo>
                        <a:pt x="340" y="168"/>
                      </a:lnTo>
                      <a:lnTo>
                        <a:pt x="344" y="176"/>
                      </a:lnTo>
                      <a:lnTo>
                        <a:pt x="350" y="184"/>
                      </a:lnTo>
                      <a:lnTo>
                        <a:pt x="356" y="193"/>
                      </a:lnTo>
                      <a:lnTo>
                        <a:pt x="363" y="200"/>
                      </a:lnTo>
                      <a:lnTo>
                        <a:pt x="369" y="205"/>
                      </a:lnTo>
                      <a:lnTo>
                        <a:pt x="375" y="209"/>
                      </a:lnTo>
                      <a:lnTo>
                        <a:pt x="378" y="210"/>
                      </a:lnTo>
                      <a:lnTo>
                        <a:pt x="379" y="226"/>
                      </a:lnTo>
                      <a:lnTo>
                        <a:pt x="381" y="241"/>
                      </a:lnTo>
                      <a:lnTo>
                        <a:pt x="386" y="256"/>
                      </a:lnTo>
                      <a:lnTo>
                        <a:pt x="391" y="268"/>
                      </a:lnTo>
                      <a:lnTo>
                        <a:pt x="397" y="279"/>
                      </a:lnTo>
                      <a:lnTo>
                        <a:pt x="404" y="289"/>
                      </a:lnTo>
                      <a:lnTo>
                        <a:pt x="413" y="298"/>
                      </a:lnTo>
                      <a:lnTo>
                        <a:pt x="422" y="307"/>
                      </a:lnTo>
                      <a:lnTo>
                        <a:pt x="432" y="315"/>
                      </a:lnTo>
                      <a:lnTo>
                        <a:pt x="442" y="322"/>
                      </a:lnTo>
                      <a:lnTo>
                        <a:pt x="452" y="329"/>
                      </a:lnTo>
                      <a:lnTo>
                        <a:pt x="463" y="335"/>
                      </a:lnTo>
                      <a:lnTo>
                        <a:pt x="485" y="346"/>
                      </a:lnTo>
                      <a:lnTo>
                        <a:pt x="504" y="357"/>
                      </a:lnTo>
                      <a:lnTo>
                        <a:pt x="466" y="390"/>
                      </a:lnTo>
                      <a:lnTo>
                        <a:pt x="430" y="424"/>
                      </a:lnTo>
                      <a:lnTo>
                        <a:pt x="413" y="440"/>
                      </a:lnTo>
                      <a:lnTo>
                        <a:pt x="397" y="457"/>
                      </a:lnTo>
                      <a:lnTo>
                        <a:pt x="380" y="476"/>
                      </a:lnTo>
                      <a:lnTo>
                        <a:pt x="365" y="49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66" name="Freeform 16">
                  <a:extLst>
                    <a:ext uri="{FF2B5EF4-FFF2-40B4-BE49-F238E27FC236}">
                      <a16:creationId xmlns:a16="http://schemas.microsoft.com/office/drawing/2014/main" xmlns="" id="{AF1600B4-C6E5-47BE-9B1F-370249BBE2EE}"/>
                    </a:ext>
                  </a:extLst>
                </p:cNvPr>
                <p:cNvSpPr>
                  <a:spLocks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>
                  <a:off x="4148138" y="1925638"/>
                  <a:ext cx="182562" cy="238125"/>
                </a:xfrm>
                <a:custGeom>
                  <a:avLst/>
                  <a:gdLst>
                    <a:gd name="T0" fmla="*/ 2147483646 w 438"/>
                    <a:gd name="T1" fmla="*/ 2147483646 h 451"/>
                    <a:gd name="T2" fmla="*/ 2147483646 w 438"/>
                    <a:gd name="T3" fmla="*/ 2147483646 h 451"/>
                    <a:gd name="T4" fmla="*/ 2147483646 w 438"/>
                    <a:gd name="T5" fmla="*/ 2147483646 h 451"/>
                    <a:gd name="T6" fmla="*/ 2147483646 w 438"/>
                    <a:gd name="T7" fmla="*/ 2147483646 h 451"/>
                    <a:gd name="T8" fmla="*/ 2147483646 w 438"/>
                    <a:gd name="T9" fmla="*/ 2147483646 h 451"/>
                    <a:gd name="T10" fmla="*/ 2147483646 w 438"/>
                    <a:gd name="T11" fmla="*/ 2147483646 h 451"/>
                    <a:gd name="T12" fmla="*/ 2147483646 w 438"/>
                    <a:gd name="T13" fmla="*/ 2147483646 h 451"/>
                    <a:gd name="T14" fmla="*/ 2147483646 w 438"/>
                    <a:gd name="T15" fmla="*/ 2147483646 h 451"/>
                    <a:gd name="T16" fmla="*/ 2147483646 w 438"/>
                    <a:gd name="T17" fmla="*/ 2147483646 h 451"/>
                    <a:gd name="T18" fmla="*/ 2147483646 w 438"/>
                    <a:gd name="T19" fmla="*/ 2147483646 h 451"/>
                    <a:gd name="T20" fmla="*/ 2147483646 w 438"/>
                    <a:gd name="T21" fmla="*/ 2147483646 h 451"/>
                    <a:gd name="T22" fmla="*/ 2147483646 w 438"/>
                    <a:gd name="T23" fmla="*/ 2147483646 h 451"/>
                    <a:gd name="T24" fmla="*/ 2147483646 w 438"/>
                    <a:gd name="T25" fmla="*/ 2147483646 h 451"/>
                    <a:gd name="T26" fmla="*/ 2147483646 w 438"/>
                    <a:gd name="T27" fmla="*/ 0 h 451"/>
                    <a:gd name="T28" fmla="*/ 2147483646 w 438"/>
                    <a:gd name="T29" fmla="*/ 2147483646 h 451"/>
                    <a:gd name="T30" fmla="*/ 2147483646 w 438"/>
                    <a:gd name="T31" fmla="*/ 2147483646 h 451"/>
                    <a:gd name="T32" fmla="*/ 2147483646 w 438"/>
                    <a:gd name="T33" fmla="*/ 2147483646 h 451"/>
                    <a:gd name="T34" fmla="*/ 2147483646 w 438"/>
                    <a:gd name="T35" fmla="*/ 2147483646 h 451"/>
                    <a:gd name="T36" fmla="*/ 2147483646 w 438"/>
                    <a:gd name="T37" fmla="*/ 2147483646 h 451"/>
                    <a:gd name="T38" fmla="*/ 2147483646 w 438"/>
                    <a:gd name="T39" fmla="*/ 2147483646 h 451"/>
                    <a:gd name="T40" fmla="*/ 2147483646 w 438"/>
                    <a:gd name="T41" fmla="*/ 2147483646 h 451"/>
                    <a:gd name="T42" fmla="*/ 2147483646 w 438"/>
                    <a:gd name="T43" fmla="*/ 2147483646 h 451"/>
                    <a:gd name="T44" fmla="*/ 2147483646 w 438"/>
                    <a:gd name="T45" fmla="*/ 2147483646 h 451"/>
                    <a:gd name="T46" fmla="*/ 2147483646 w 438"/>
                    <a:gd name="T47" fmla="*/ 2147483646 h 451"/>
                    <a:gd name="T48" fmla="*/ 2147483646 w 438"/>
                    <a:gd name="T49" fmla="*/ 2147483646 h 451"/>
                    <a:gd name="T50" fmla="*/ 2147483646 w 438"/>
                    <a:gd name="T51" fmla="*/ 2147483646 h 451"/>
                    <a:gd name="T52" fmla="*/ 2147483646 w 438"/>
                    <a:gd name="T53" fmla="*/ 2147483646 h 451"/>
                    <a:gd name="T54" fmla="*/ 2147483646 w 438"/>
                    <a:gd name="T55" fmla="*/ 2147483646 h 451"/>
                    <a:gd name="T56" fmla="*/ 2147483646 w 438"/>
                    <a:gd name="T57" fmla="*/ 2147483646 h 451"/>
                    <a:gd name="T58" fmla="*/ 2147483646 w 438"/>
                    <a:gd name="T59" fmla="*/ 2147483646 h 451"/>
                    <a:gd name="T60" fmla="*/ 2147483646 w 438"/>
                    <a:gd name="T61" fmla="*/ 2147483646 h 451"/>
                    <a:gd name="T62" fmla="*/ 2147483646 w 438"/>
                    <a:gd name="T63" fmla="*/ 2147483646 h 451"/>
                    <a:gd name="T64" fmla="*/ 2147483646 w 438"/>
                    <a:gd name="T65" fmla="*/ 2147483646 h 451"/>
                    <a:gd name="T66" fmla="*/ 2147483646 w 438"/>
                    <a:gd name="T67" fmla="*/ 2147483646 h 451"/>
                    <a:gd name="T68" fmla="*/ 2147483646 w 438"/>
                    <a:gd name="T69" fmla="*/ 2147483646 h 451"/>
                    <a:gd name="T70" fmla="*/ 2147483646 w 438"/>
                    <a:gd name="T71" fmla="*/ 2147483646 h 451"/>
                    <a:gd name="T72" fmla="*/ 2147483646 w 438"/>
                    <a:gd name="T73" fmla="*/ 2147483646 h 451"/>
                    <a:gd name="T74" fmla="*/ 2147483646 w 438"/>
                    <a:gd name="T75" fmla="*/ 2147483646 h 451"/>
                    <a:gd name="T76" fmla="*/ 2147483646 w 438"/>
                    <a:gd name="T77" fmla="*/ 2147483646 h 451"/>
                    <a:gd name="T78" fmla="*/ 2147483646 w 438"/>
                    <a:gd name="T79" fmla="*/ 2147483646 h 451"/>
                    <a:gd name="T80" fmla="*/ 2147483646 w 438"/>
                    <a:gd name="T81" fmla="*/ 2147483646 h 451"/>
                    <a:gd name="T82" fmla="*/ 2147483646 w 438"/>
                    <a:gd name="T83" fmla="*/ 2147483646 h 451"/>
                    <a:gd name="T84" fmla="*/ 2147483646 w 438"/>
                    <a:gd name="T85" fmla="*/ 2147483646 h 451"/>
                    <a:gd name="T86" fmla="*/ 2147483646 w 438"/>
                    <a:gd name="T87" fmla="*/ 2147483646 h 451"/>
                    <a:gd name="T88" fmla="*/ 2147483646 w 438"/>
                    <a:gd name="T89" fmla="*/ 2147483646 h 451"/>
                    <a:gd name="T90" fmla="*/ 2147483646 w 438"/>
                    <a:gd name="T91" fmla="*/ 2147483646 h 451"/>
                    <a:gd name="T92" fmla="*/ 2147483646 w 438"/>
                    <a:gd name="T93" fmla="*/ 2147483646 h 451"/>
                    <a:gd name="T94" fmla="*/ 2147483646 w 438"/>
                    <a:gd name="T95" fmla="*/ 2147483646 h 451"/>
                    <a:gd name="T96" fmla="*/ 2147483646 w 438"/>
                    <a:gd name="T97" fmla="*/ 2147483646 h 451"/>
                    <a:gd name="T98" fmla="*/ 2147483646 w 438"/>
                    <a:gd name="T99" fmla="*/ 2147483646 h 451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438"/>
                    <a:gd name="T151" fmla="*/ 0 h 451"/>
                    <a:gd name="T152" fmla="*/ 438 w 438"/>
                    <a:gd name="T153" fmla="*/ 451 h 451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438" h="451">
                      <a:moveTo>
                        <a:pt x="438" y="235"/>
                      </a:moveTo>
                      <a:lnTo>
                        <a:pt x="431" y="212"/>
                      </a:lnTo>
                      <a:lnTo>
                        <a:pt x="426" y="190"/>
                      </a:lnTo>
                      <a:lnTo>
                        <a:pt x="420" y="169"/>
                      </a:lnTo>
                      <a:lnTo>
                        <a:pt x="415" y="148"/>
                      </a:lnTo>
                      <a:lnTo>
                        <a:pt x="408" y="128"/>
                      </a:lnTo>
                      <a:lnTo>
                        <a:pt x="398" y="106"/>
                      </a:lnTo>
                      <a:lnTo>
                        <a:pt x="393" y="95"/>
                      </a:lnTo>
                      <a:lnTo>
                        <a:pt x="387" y="85"/>
                      </a:lnTo>
                      <a:lnTo>
                        <a:pt x="380" y="74"/>
                      </a:lnTo>
                      <a:lnTo>
                        <a:pt x="372" y="62"/>
                      </a:lnTo>
                      <a:lnTo>
                        <a:pt x="367" y="62"/>
                      </a:lnTo>
                      <a:lnTo>
                        <a:pt x="363" y="61"/>
                      </a:lnTo>
                      <a:lnTo>
                        <a:pt x="359" y="60"/>
                      </a:lnTo>
                      <a:lnTo>
                        <a:pt x="356" y="58"/>
                      </a:lnTo>
                      <a:lnTo>
                        <a:pt x="349" y="54"/>
                      </a:lnTo>
                      <a:lnTo>
                        <a:pt x="342" y="49"/>
                      </a:lnTo>
                      <a:lnTo>
                        <a:pt x="335" y="45"/>
                      </a:lnTo>
                      <a:lnTo>
                        <a:pt x="326" y="41"/>
                      </a:lnTo>
                      <a:lnTo>
                        <a:pt x="320" y="40"/>
                      </a:lnTo>
                      <a:lnTo>
                        <a:pt x="314" y="38"/>
                      </a:lnTo>
                      <a:lnTo>
                        <a:pt x="307" y="38"/>
                      </a:lnTo>
                      <a:lnTo>
                        <a:pt x="298" y="37"/>
                      </a:lnTo>
                      <a:lnTo>
                        <a:pt x="293" y="38"/>
                      </a:lnTo>
                      <a:lnTo>
                        <a:pt x="287" y="39"/>
                      </a:lnTo>
                      <a:lnTo>
                        <a:pt x="282" y="40"/>
                      </a:lnTo>
                      <a:lnTo>
                        <a:pt x="276" y="42"/>
                      </a:lnTo>
                      <a:lnTo>
                        <a:pt x="268" y="47"/>
                      </a:lnTo>
                      <a:lnTo>
                        <a:pt x="260" y="52"/>
                      </a:lnTo>
                      <a:lnTo>
                        <a:pt x="251" y="58"/>
                      </a:lnTo>
                      <a:lnTo>
                        <a:pt x="244" y="64"/>
                      </a:lnTo>
                      <a:lnTo>
                        <a:pt x="239" y="66"/>
                      </a:lnTo>
                      <a:lnTo>
                        <a:pt x="235" y="67"/>
                      </a:lnTo>
                      <a:lnTo>
                        <a:pt x="230" y="68"/>
                      </a:lnTo>
                      <a:lnTo>
                        <a:pt x="226" y="69"/>
                      </a:lnTo>
                      <a:lnTo>
                        <a:pt x="217" y="66"/>
                      </a:lnTo>
                      <a:lnTo>
                        <a:pt x="205" y="58"/>
                      </a:lnTo>
                      <a:lnTo>
                        <a:pt x="190" y="48"/>
                      </a:lnTo>
                      <a:lnTo>
                        <a:pt x="174" y="37"/>
                      </a:lnTo>
                      <a:lnTo>
                        <a:pt x="145" y="16"/>
                      </a:lnTo>
                      <a:lnTo>
                        <a:pt x="133" y="7"/>
                      </a:lnTo>
                      <a:lnTo>
                        <a:pt x="113" y="0"/>
                      </a:lnTo>
                      <a:lnTo>
                        <a:pt x="104" y="9"/>
                      </a:lnTo>
                      <a:lnTo>
                        <a:pt x="98" y="18"/>
                      </a:lnTo>
                      <a:lnTo>
                        <a:pt x="95" y="23"/>
                      </a:lnTo>
                      <a:lnTo>
                        <a:pt x="94" y="28"/>
                      </a:lnTo>
                      <a:lnTo>
                        <a:pt x="93" y="35"/>
                      </a:lnTo>
                      <a:lnTo>
                        <a:pt x="93" y="43"/>
                      </a:lnTo>
                      <a:lnTo>
                        <a:pt x="93" y="46"/>
                      </a:lnTo>
                      <a:lnTo>
                        <a:pt x="95" y="49"/>
                      </a:lnTo>
                      <a:lnTo>
                        <a:pt x="98" y="52"/>
                      </a:lnTo>
                      <a:lnTo>
                        <a:pt x="101" y="55"/>
                      </a:lnTo>
                      <a:lnTo>
                        <a:pt x="110" y="63"/>
                      </a:lnTo>
                      <a:lnTo>
                        <a:pt x="119" y="69"/>
                      </a:lnTo>
                      <a:lnTo>
                        <a:pt x="112" y="69"/>
                      </a:lnTo>
                      <a:lnTo>
                        <a:pt x="105" y="71"/>
                      </a:lnTo>
                      <a:lnTo>
                        <a:pt x="99" y="73"/>
                      </a:lnTo>
                      <a:lnTo>
                        <a:pt x="93" y="76"/>
                      </a:lnTo>
                      <a:lnTo>
                        <a:pt x="80" y="84"/>
                      </a:lnTo>
                      <a:lnTo>
                        <a:pt x="66" y="93"/>
                      </a:lnTo>
                      <a:lnTo>
                        <a:pt x="63" y="103"/>
                      </a:lnTo>
                      <a:lnTo>
                        <a:pt x="61" y="112"/>
                      </a:lnTo>
                      <a:lnTo>
                        <a:pt x="58" y="119"/>
                      </a:lnTo>
                      <a:lnTo>
                        <a:pt x="56" y="125"/>
                      </a:lnTo>
                      <a:lnTo>
                        <a:pt x="49" y="133"/>
                      </a:lnTo>
                      <a:lnTo>
                        <a:pt x="45" y="138"/>
                      </a:lnTo>
                      <a:lnTo>
                        <a:pt x="39" y="144"/>
                      </a:lnTo>
                      <a:lnTo>
                        <a:pt x="36" y="151"/>
                      </a:lnTo>
                      <a:lnTo>
                        <a:pt x="35" y="156"/>
                      </a:lnTo>
                      <a:lnTo>
                        <a:pt x="34" y="162"/>
                      </a:lnTo>
                      <a:lnTo>
                        <a:pt x="33" y="169"/>
                      </a:lnTo>
                      <a:lnTo>
                        <a:pt x="33" y="179"/>
                      </a:lnTo>
                      <a:lnTo>
                        <a:pt x="0" y="235"/>
                      </a:lnTo>
                      <a:lnTo>
                        <a:pt x="4" y="236"/>
                      </a:lnTo>
                      <a:lnTo>
                        <a:pt x="7" y="238"/>
                      </a:lnTo>
                      <a:lnTo>
                        <a:pt x="11" y="240"/>
                      </a:lnTo>
                      <a:lnTo>
                        <a:pt x="13" y="243"/>
                      </a:lnTo>
                      <a:lnTo>
                        <a:pt x="15" y="246"/>
                      </a:lnTo>
                      <a:lnTo>
                        <a:pt x="18" y="248"/>
                      </a:lnTo>
                      <a:lnTo>
                        <a:pt x="22" y="248"/>
                      </a:lnTo>
                      <a:lnTo>
                        <a:pt x="26" y="247"/>
                      </a:lnTo>
                      <a:lnTo>
                        <a:pt x="39" y="277"/>
                      </a:lnTo>
                      <a:lnTo>
                        <a:pt x="33" y="308"/>
                      </a:lnTo>
                      <a:lnTo>
                        <a:pt x="33" y="346"/>
                      </a:lnTo>
                      <a:lnTo>
                        <a:pt x="53" y="347"/>
                      </a:lnTo>
                      <a:lnTo>
                        <a:pt x="72" y="350"/>
                      </a:lnTo>
                      <a:lnTo>
                        <a:pt x="93" y="353"/>
                      </a:lnTo>
                      <a:lnTo>
                        <a:pt x="113" y="358"/>
                      </a:lnTo>
                      <a:lnTo>
                        <a:pt x="107" y="366"/>
                      </a:lnTo>
                      <a:lnTo>
                        <a:pt x="104" y="376"/>
                      </a:lnTo>
                      <a:lnTo>
                        <a:pt x="100" y="387"/>
                      </a:lnTo>
                      <a:lnTo>
                        <a:pt x="96" y="400"/>
                      </a:lnTo>
                      <a:lnTo>
                        <a:pt x="89" y="425"/>
                      </a:lnTo>
                      <a:lnTo>
                        <a:pt x="79" y="451"/>
                      </a:lnTo>
                      <a:lnTo>
                        <a:pt x="94" y="449"/>
                      </a:lnTo>
                      <a:lnTo>
                        <a:pt x="109" y="447"/>
                      </a:lnTo>
                      <a:lnTo>
                        <a:pt x="123" y="447"/>
                      </a:lnTo>
                      <a:lnTo>
                        <a:pt x="137" y="447"/>
                      </a:lnTo>
                      <a:lnTo>
                        <a:pt x="152" y="447"/>
                      </a:lnTo>
                      <a:lnTo>
                        <a:pt x="169" y="446"/>
                      </a:lnTo>
                      <a:lnTo>
                        <a:pt x="186" y="445"/>
                      </a:lnTo>
                      <a:lnTo>
                        <a:pt x="205" y="444"/>
                      </a:lnTo>
                      <a:lnTo>
                        <a:pt x="228" y="445"/>
                      </a:lnTo>
                      <a:lnTo>
                        <a:pt x="252" y="446"/>
                      </a:lnTo>
                      <a:lnTo>
                        <a:pt x="276" y="446"/>
                      </a:lnTo>
                      <a:lnTo>
                        <a:pt x="300" y="445"/>
                      </a:lnTo>
                      <a:lnTo>
                        <a:pt x="322" y="444"/>
                      </a:lnTo>
                      <a:lnTo>
                        <a:pt x="343" y="442"/>
                      </a:lnTo>
                      <a:lnTo>
                        <a:pt x="362" y="440"/>
                      </a:lnTo>
                      <a:lnTo>
                        <a:pt x="379" y="438"/>
                      </a:lnTo>
                      <a:lnTo>
                        <a:pt x="372" y="432"/>
                      </a:lnTo>
                      <a:lnTo>
                        <a:pt x="365" y="425"/>
                      </a:lnTo>
                      <a:lnTo>
                        <a:pt x="361" y="419"/>
                      </a:lnTo>
                      <a:lnTo>
                        <a:pt x="359" y="413"/>
                      </a:lnTo>
                      <a:lnTo>
                        <a:pt x="363" y="411"/>
                      </a:lnTo>
                      <a:lnTo>
                        <a:pt x="367" y="407"/>
                      </a:lnTo>
                      <a:lnTo>
                        <a:pt x="369" y="403"/>
                      </a:lnTo>
                      <a:lnTo>
                        <a:pt x="370" y="398"/>
                      </a:lnTo>
                      <a:lnTo>
                        <a:pt x="372" y="389"/>
                      </a:lnTo>
                      <a:lnTo>
                        <a:pt x="372" y="382"/>
                      </a:lnTo>
                      <a:lnTo>
                        <a:pt x="385" y="379"/>
                      </a:lnTo>
                      <a:lnTo>
                        <a:pt x="398" y="376"/>
                      </a:lnTo>
                      <a:lnTo>
                        <a:pt x="380" y="367"/>
                      </a:lnTo>
                      <a:lnTo>
                        <a:pt x="365" y="359"/>
                      </a:lnTo>
                      <a:lnTo>
                        <a:pt x="353" y="351"/>
                      </a:lnTo>
                      <a:lnTo>
                        <a:pt x="343" y="344"/>
                      </a:lnTo>
                      <a:lnTo>
                        <a:pt x="336" y="336"/>
                      </a:lnTo>
                      <a:lnTo>
                        <a:pt x="330" y="329"/>
                      </a:lnTo>
                      <a:lnTo>
                        <a:pt x="325" y="323"/>
                      </a:lnTo>
                      <a:lnTo>
                        <a:pt x="322" y="317"/>
                      </a:lnTo>
                      <a:lnTo>
                        <a:pt x="316" y="305"/>
                      </a:lnTo>
                      <a:lnTo>
                        <a:pt x="311" y="294"/>
                      </a:lnTo>
                      <a:lnTo>
                        <a:pt x="306" y="289"/>
                      </a:lnTo>
                      <a:lnTo>
                        <a:pt x="301" y="283"/>
                      </a:lnTo>
                      <a:lnTo>
                        <a:pt x="294" y="277"/>
                      </a:lnTo>
                      <a:lnTo>
                        <a:pt x="285" y="271"/>
                      </a:lnTo>
                      <a:lnTo>
                        <a:pt x="301" y="274"/>
                      </a:lnTo>
                      <a:lnTo>
                        <a:pt x="314" y="275"/>
                      </a:lnTo>
                      <a:lnTo>
                        <a:pt x="326" y="275"/>
                      </a:lnTo>
                      <a:lnTo>
                        <a:pt x="336" y="273"/>
                      </a:lnTo>
                      <a:lnTo>
                        <a:pt x="346" y="271"/>
                      </a:lnTo>
                      <a:lnTo>
                        <a:pt x="354" y="268"/>
                      </a:lnTo>
                      <a:lnTo>
                        <a:pt x="362" y="264"/>
                      </a:lnTo>
                      <a:lnTo>
                        <a:pt x="369" y="260"/>
                      </a:lnTo>
                      <a:lnTo>
                        <a:pt x="383" y="251"/>
                      </a:lnTo>
                      <a:lnTo>
                        <a:pt x="398" y="243"/>
                      </a:lnTo>
                      <a:lnTo>
                        <a:pt x="407" y="240"/>
                      </a:lnTo>
                      <a:lnTo>
                        <a:pt x="416" y="237"/>
                      </a:lnTo>
                      <a:lnTo>
                        <a:pt x="427" y="236"/>
                      </a:lnTo>
                      <a:lnTo>
                        <a:pt x="438" y="23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67" name="Freeform 17">
                  <a:extLst>
                    <a:ext uri="{FF2B5EF4-FFF2-40B4-BE49-F238E27FC236}">
                      <a16:creationId xmlns:a16="http://schemas.microsoft.com/office/drawing/2014/main" xmlns="" id="{B6C0B95A-1110-432D-8066-DCD3781B56E3}"/>
                    </a:ext>
                  </a:extLst>
                </p:cNvPr>
                <p:cNvSpPr>
                  <a:spLocks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4173538" y="2182813"/>
                  <a:ext cx="250825" cy="274637"/>
                </a:xfrm>
                <a:custGeom>
                  <a:avLst/>
                  <a:gdLst>
                    <a:gd name="T0" fmla="*/ 2147483646 w 578"/>
                    <a:gd name="T1" fmla="*/ 2147483646 h 524"/>
                    <a:gd name="T2" fmla="*/ 2147483646 w 578"/>
                    <a:gd name="T3" fmla="*/ 2147483646 h 524"/>
                    <a:gd name="T4" fmla="*/ 2147483646 w 578"/>
                    <a:gd name="T5" fmla="*/ 2147483646 h 524"/>
                    <a:gd name="T6" fmla="*/ 2147483646 w 578"/>
                    <a:gd name="T7" fmla="*/ 2147483646 h 524"/>
                    <a:gd name="T8" fmla="*/ 2147483646 w 578"/>
                    <a:gd name="T9" fmla="*/ 2147483646 h 524"/>
                    <a:gd name="T10" fmla="*/ 2147483646 w 578"/>
                    <a:gd name="T11" fmla="*/ 2147483646 h 524"/>
                    <a:gd name="T12" fmla="*/ 2147483646 w 578"/>
                    <a:gd name="T13" fmla="*/ 2147483646 h 524"/>
                    <a:gd name="T14" fmla="*/ 2147483646 w 578"/>
                    <a:gd name="T15" fmla="*/ 2147483646 h 524"/>
                    <a:gd name="T16" fmla="*/ 2147483646 w 578"/>
                    <a:gd name="T17" fmla="*/ 2147483646 h 524"/>
                    <a:gd name="T18" fmla="*/ 2147483646 w 578"/>
                    <a:gd name="T19" fmla="*/ 2147483646 h 524"/>
                    <a:gd name="T20" fmla="*/ 2147483646 w 578"/>
                    <a:gd name="T21" fmla="*/ 2147483646 h 524"/>
                    <a:gd name="T22" fmla="*/ 2147483646 w 578"/>
                    <a:gd name="T23" fmla="*/ 2147483646 h 524"/>
                    <a:gd name="T24" fmla="*/ 2147483646 w 578"/>
                    <a:gd name="T25" fmla="*/ 2147483646 h 524"/>
                    <a:gd name="T26" fmla="*/ 2147483646 w 578"/>
                    <a:gd name="T27" fmla="*/ 2147483646 h 524"/>
                    <a:gd name="T28" fmla="*/ 2147483646 w 578"/>
                    <a:gd name="T29" fmla="*/ 2147483646 h 524"/>
                    <a:gd name="T30" fmla="*/ 2147483646 w 578"/>
                    <a:gd name="T31" fmla="*/ 2147483646 h 524"/>
                    <a:gd name="T32" fmla="*/ 2147483646 w 578"/>
                    <a:gd name="T33" fmla="*/ 2147483646 h 524"/>
                    <a:gd name="T34" fmla="*/ 2147483646 w 578"/>
                    <a:gd name="T35" fmla="*/ 2147483646 h 524"/>
                    <a:gd name="T36" fmla="*/ 2147483646 w 578"/>
                    <a:gd name="T37" fmla="*/ 2147483646 h 524"/>
                    <a:gd name="T38" fmla="*/ 2147483646 w 578"/>
                    <a:gd name="T39" fmla="*/ 2147483646 h 524"/>
                    <a:gd name="T40" fmla="*/ 2147483646 w 578"/>
                    <a:gd name="T41" fmla="*/ 2147483646 h 524"/>
                    <a:gd name="T42" fmla="*/ 2147483646 w 578"/>
                    <a:gd name="T43" fmla="*/ 2147483646 h 524"/>
                    <a:gd name="T44" fmla="*/ 2147483646 w 578"/>
                    <a:gd name="T45" fmla="*/ 2147483646 h 524"/>
                    <a:gd name="T46" fmla="*/ 2147483646 w 578"/>
                    <a:gd name="T47" fmla="*/ 2147483646 h 524"/>
                    <a:gd name="T48" fmla="*/ 2147483646 w 578"/>
                    <a:gd name="T49" fmla="*/ 2147483646 h 524"/>
                    <a:gd name="T50" fmla="*/ 2147483646 w 578"/>
                    <a:gd name="T51" fmla="*/ 2147483646 h 524"/>
                    <a:gd name="T52" fmla="*/ 2147483646 w 578"/>
                    <a:gd name="T53" fmla="*/ 2147483646 h 524"/>
                    <a:gd name="T54" fmla="*/ 2147483646 w 578"/>
                    <a:gd name="T55" fmla="*/ 2147483646 h 524"/>
                    <a:gd name="T56" fmla="*/ 2147483646 w 578"/>
                    <a:gd name="T57" fmla="*/ 2147483646 h 524"/>
                    <a:gd name="T58" fmla="*/ 2147483646 w 578"/>
                    <a:gd name="T59" fmla="*/ 2147483646 h 524"/>
                    <a:gd name="T60" fmla="*/ 2147483646 w 578"/>
                    <a:gd name="T61" fmla="*/ 2147483646 h 524"/>
                    <a:gd name="T62" fmla="*/ 2147483646 w 578"/>
                    <a:gd name="T63" fmla="*/ 2147483646 h 524"/>
                    <a:gd name="T64" fmla="*/ 2147483646 w 578"/>
                    <a:gd name="T65" fmla="*/ 2147483646 h 524"/>
                    <a:gd name="T66" fmla="*/ 2147483646 w 578"/>
                    <a:gd name="T67" fmla="*/ 2147483646 h 524"/>
                    <a:gd name="T68" fmla="*/ 2147483646 w 578"/>
                    <a:gd name="T69" fmla="*/ 2147483646 h 524"/>
                    <a:gd name="T70" fmla="*/ 2147483646 w 578"/>
                    <a:gd name="T71" fmla="*/ 2147483646 h 524"/>
                    <a:gd name="T72" fmla="*/ 2147483646 w 578"/>
                    <a:gd name="T73" fmla="*/ 2147483646 h 524"/>
                    <a:gd name="T74" fmla="*/ 2147483646 w 578"/>
                    <a:gd name="T75" fmla="*/ 2147483646 h 524"/>
                    <a:gd name="T76" fmla="*/ 2147483646 w 578"/>
                    <a:gd name="T77" fmla="*/ 2147483646 h 524"/>
                    <a:gd name="T78" fmla="*/ 2147483646 w 578"/>
                    <a:gd name="T79" fmla="*/ 2147483646 h 524"/>
                    <a:gd name="T80" fmla="*/ 2147483646 w 578"/>
                    <a:gd name="T81" fmla="*/ 2147483646 h 524"/>
                    <a:gd name="T82" fmla="*/ 2147483646 w 578"/>
                    <a:gd name="T83" fmla="*/ 2147483646 h 524"/>
                    <a:gd name="T84" fmla="*/ 2147483646 w 578"/>
                    <a:gd name="T85" fmla="*/ 2147483646 h 524"/>
                    <a:gd name="T86" fmla="*/ 2147483646 w 578"/>
                    <a:gd name="T87" fmla="*/ 2147483646 h 524"/>
                    <a:gd name="T88" fmla="*/ 2147483646 w 578"/>
                    <a:gd name="T89" fmla="*/ 2147483646 h 524"/>
                    <a:gd name="T90" fmla="*/ 2147483646 w 578"/>
                    <a:gd name="T91" fmla="*/ 2147483646 h 524"/>
                    <a:gd name="T92" fmla="*/ 2147483646 w 578"/>
                    <a:gd name="T93" fmla="*/ 2147483646 h 524"/>
                    <a:gd name="T94" fmla="*/ 2147483646 w 578"/>
                    <a:gd name="T95" fmla="*/ 2147483646 h 524"/>
                    <a:gd name="T96" fmla="*/ 2147483646 w 578"/>
                    <a:gd name="T97" fmla="*/ 0 h 524"/>
                    <a:gd name="T98" fmla="*/ 2147483646 w 578"/>
                    <a:gd name="T99" fmla="*/ 2147483646 h 524"/>
                    <a:gd name="T100" fmla="*/ 2147483646 w 578"/>
                    <a:gd name="T101" fmla="*/ 2147483646 h 524"/>
                    <a:gd name="T102" fmla="*/ 2147483646 w 578"/>
                    <a:gd name="T103" fmla="*/ 2147483646 h 524"/>
                    <a:gd name="T104" fmla="*/ 2147483646 w 578"/>
                    <a:gd name="T105" fmla="*/ 2147483646 h 524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78"/>
                    <a:gd name="T160" fmla="*/ 0 h 524"/>
                    <a:gd name="T161" fmla="*/ 578 w 578"/>
                    <a:gd name="T162" fmla="*/ 524 h 524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78" h="524">
                      <a:moveTo>
                        <a:pt x="332" y="99"/>
                      </a:moveTo>
                      <a:lnTo>
                        <a:pt x="331" y="94"/>
                      </a:lnTo>
                      <a:lnTo>
                        <a:pt x="329" y="90"/>
                      </a:lnTo>
                      <a:lnTo>
                        <a:pt x="327" y="88"/>
                      </a:lnTo>
                      <a:lnTo>
                        <a:pt x="325" y="86"/>
                      </a:lnTo>
                      <a:lnTo>
                        <a:pt x="320" y="85"/>
                      </a:lnTo>
                      <a:lnTo>
                        <a:pt x="315" y="85"/>
                      </a:lnTo>
                      <a:lnTo>
                        <a:pt x="312" y="85"/>
                      </a:lnTo>
                      <a:lnTo>
                        <a:pt x="309" y="85"/>
                      </a:lnTo>
                      <a:lnTo>
                        <a:pt x="306" y="84"/>
                      </a:lnTo>
                      <a:lnTo>
                        <a:pt x="304" y="82"/>
                      </a:lnTo>
                      <a:lnTo>
                        <a:pt x="301" y="79"/>
                      </a:lnTo>
                      <a:lnTo>
                        <a:pt x="297" y="75"/>
                      </a:lnTo>
                      <a:lnTo>
                        <a:pt x="295" y="69"/>
                      </a:lnTo>
                      <a:lnTo>
                        <a:pt x="293" y="61"/>
                      </a:lnTo>
                      <a:lnTo>
                        <a:pt x="275" y="66"/>
                      </a:lnTo>
                      <a:lnTo>
                        <a:pt x="263" y="70"/>
                      </a:lnTo>
                      <a:lnTo>
                        <a:pt x="258" y="73"/>
                      </a:lnTo>
                      <a:lnTo>
                        <a:pt x="254" y="76"/>
                      </a:lnTo>
                      <a:lnTo>
                        <a:pt x="251" y="78"/>
                      </a:lnTo>
                      <a:lnTo>
                        <a:pt x="249" y="81"/>
                      </a:lnTo>
                      <a:lnTo>
                        <a:pt x="247" y="87"/>
                      </a:lnTo>
                      <a:lnTo>
                        <a:pt x="246" y="95"/>
                      </a:lnTo>
                      <a:lnTo>
                        <a:pt x="246" y="105"/>
                      </a:lnTo>
                      <a:lnTo>
                        <a:pt x="246" y="117"/>
                      </a:lnTo>
                      <a:lnTo>
                        <a:pt x="247" y="131"/>
                      </a:lnTo>
                      <a:lnTo>
                        <a:pt x="249" y="143"/>
                      </a:lnTo>
                      <a:lnTo>
                        <a:pt x="253" y="153"/>
                      </a:lnTo>
                      <a:lnTo>
                        <a:pt x="259" y="162"/>
                      </a:lnTo>
                      <a:lnTo>
                        <a:pt x="262" y="166"/>
                      </a:lnTo>
                      <a:lnTo>
                        <a:pt x="266" y="169"/>
                      </a:lnTo>
                      <a:lnTo>
                        <a:pt x="270" y="172"/>
                      </a:lnTo>
                      <a:lnTo>
                        <a:pt x="274" y="174"/>
                      </a:lnTo>
                      <a:lnTo>
                        <a:pt x="279" y="176"/>
                      </a:lnTo>
                      <a:lnTo>
                        <a:pt x="283" y="177"/>
                      </a:lnTo>
                      <a:lnTo>
                        <a:pt x="287" y="178"/>
                      </a:lnTo>
                      <a:lnTo>
                        <a:pt x="293" y="178"/>
                      </a:lnTo>
                      <a:lnTo>
                        <a:pt x="293" y="182"/>
                      </a:lnTo>
                      <a:lnTo>
                        <a:pt x="295" y="187"/>
                      </a:lnTo>
                      <a:lnTo>
                        <a:pt x="298" y="191"/>
                      </a:lnTo>
                      <a:lnTo>
                        <a:pt x="303" y="195"/>
                      </a:lnTo>
                      <a:lnTo>
                        <a:pt x="314" y="203"/>
                      </a:lnTo>
                      <a:lnTo>
                        <a:pt x="327" y="211"/>
                      </a:lnTo>
                      <a:lnTo>
                        <a:pt x="351" y="225"/>
                      </a:lnTo>
                      <a:lnTo>
                        <a:pt x="365" y="234"/>
                      </a:lnTo>
                      <a:lnTo>
                        <a:pt x="439" y="296"/>
                      </a:lnTo>
                      <a:lnTo>
                        <a:pt x="443" y="303"/>
                      </a:lnTo>
                      <a:lnTo>
                        <a:pt x="449" y="309"/>
                      </a:lnTo>
                      <a:lnTo>
                        <a:pt x="454" y="314"/>
                      </a:lnTo>
                      <a:lnTo>
                        <a:pt x="461" y="318"/>
                      </a:lnTo>
                      <a:lnTo>
                        <a:pt x="469" y="320"/>
                      </a:lnTo>
                      <a:lnTo>
                        <a:pt x="477" y="322"/>
                      </a:lnTo>
                      <a:lnTo>
                        <a:pt x="487" y="322"/>
                      </a:lnTo>
                      <a:lnTo>
                        <a:pt x="498" y="321"/>
                      </a:lnTo>
                      <a:lnTo>
                        <a:pt x="500" y="324"/>
                      </a:lnTo>
                      <a:lnTo>
                        <a:pt x="504" y="328"/>
                      </a:lnTo>
                      <a:lnTo>
                        <a:pt x="507" y="332"/>
                      </a:lnTo>
                      <a:lnTo>
                        <a:pt x="511" y="337"/>
                      </a:lnTo>
                      <a:lnTo>
                        <a:pt x="523" y="346"/>
                      </a:lnTo>
                      <a:lnTo>
                        <a:pt x="536" y="356"/>
                      </a:lnTo>
                      <a:lnTo>
                        <a:pt x="549" y="364"/>
                      </a:lnTo>
                      <a:lnTo>
                        <a:pt x="561" y="370"/>
                      </a:lnTo>
                      <a:lnTo>
                        <a:pt x="571" y="374"/>
                      </a:lnTo>
                      <a:lnTo>
                        <a:pt x="578" y="376"/>
                      </a:lnTo>
                      <a:lnTo>
                        <a:pt x="577" y="383"/>
                      </a:lnTo>
                      <a:lnTo>
                        <a:pt x="574" y="391"/>
                      </a:lnTo>
                      <a:lnTo>
                        <a:pt x="570" y="400"/>
                      </a:lnTo>
                      <a:lnTo>
                        <a:pt x="565" y="407"/>
                      </a:lnTo>
                      <a:lnTo>
                        <a:pt x="552" y="388"/>
                      </a:lnTo>
                      <a:lnTo>
                        <a:pt x="541" y="387"/>
                      </a:lnTo>
                      <a:lnTo>
                        <a:pt x="530" y="384"/>
                      </a:lnTo>
                      <a:lnTo>
                        <a:pt x="526" y="383"/>
                      </a:lnTo>
                      <a:lnTo>
                        <a:pt x="521" y="381"/>
                      </a:lnTo>
                      <a:lnTo>
                        <a:pt x="519" y="378"/>
                      </a:lnTo>
                      <a:lnTo>
                        <a:pt x="518" y="376"/>
                      </a:lnTo>
                      <a:lnTo>
                        <a:pt x="508" y="376"/>
                      </a:lnTo>
                      <a:lnTo>
                        <a:pt x="498" y="376"/>
                      </a:lnTo>
                      <a:lnTo>
                        <a:pt x="498" y="382"/>
                      </a:lnTo>
                      <a:lnTo>
                        <a:pt x="498" y="389"/>
                      </a:lnTo>
                      <a:lnTo>
                        <a:pt x="498" y="397"/>
                      </a:lnTo>
                      <a:lnTo>
                        <a:pt x="498" y="407"/>
                      </a:lnTo>
                      <a:lnTo>
                        <a:pt x="499" y="414"/>
                      </a:lnTo>
                      <a:lnTo>
                        <a:pt x="504" y="422"/>
                      </a:lnTo>
                      <a:lnTo>
                        <a:pt x="506" y="426"/>
                      </a:lnTo>
                      <a:lnTo>
                        <a:pt x="509" y="429"/>
                      </a:lnTo>
                      <a:lnTo>
                        <a:pt x="514" y="431"/>
                      </a:lnTo>
                      <a:lnTo>
                        <a:pt x="518" y="432"/>
                      </a:lnTo>
                      <a:lnTo>
                        <a:pt x="514" y="442"/>
                      </a:lnTo>
                      <a:lnTo>
                        <a:pt x="508" y="454"/>
                      </a:lnTo>
                      <a:lnTo>
                        <a:pt x="506" y="460"/>
                      </a:lnTo>
                      <a:lnTo>
                        <a:pt x="504" y="465"/>
                      </a:lnTo>
                      <a:lnTo>
                        <a:pt x="500" y="468"/>
                      </a:lnTo>
                      <a:lnTo>
                        <a:pt x="498" y="469"/>
                      </a:lnTo>
                      <a:lnTo>
                        <a:pt x="493" y="485"/>
                      </a:lnTo>
                      <a:lnTo>
                        <a:pt x="486" y="498"/>
                      </a:lnTo>
                      <a:lnTo>
                        <a:pt x="483" y="505"/>
                      </a:lnTo>
                      <a:lnTo>
                        <a:pt x="481" y="511"/>
                      </a:lnTo>
                      <a:lnTo>
                        <a:pt x="480" y="518"/>
                      </a:lnTo>
                      <a:lnTo>
                        <a:pt x="478" y="524"/>
                      </a:lnTo>
                      <a:lnTo>
                        <a:pt x="465" y="522"/>
                      </a:lnTo>
                      <a:lnTo>
                        <a:pt x="450" y="518"/>
                      </a:lnTo>
                      <a:lnTo>
                        <a:pt x="438" y="513"/>
                      </a:lnTo>
                      <a:lnTo>
                        <a:pt x="432" y="511"/>
                      </a:lnTo>
                      <a:lnTo>
                        <a:pt x="436" y="505"/>
                      </a:lnTo>
                      <a:lnTo>
                        <a:pt x="440" y="499"/>
                      </a:lnTo>
                      <a:lnTo>
                        <a:pt x="445" y="494"/>
                      </a:lnTo>
                      <a:lnTo>
                        <a:pt x="451" y="489"/>
                      </a:lnTo>
                      <a:lnTo>
                        <a:pt x="456" y="484"/>
                      </a:lnTo>
                      <a:lnTo>
                        <a:pt x="461" y="478"/>
                      </a:lnTo>
                      <a:lnTo>
                        <a:pt x="463" y="475"/>
                      </a:lnTo>
                      <a:lnTo>
                        <a:pt x="464" y="471"/>
                      </a:lnTo>
                      <a:lnTo>
                        <a:pt x="465" y="467"/>
                      </a:lnTo>
                      <a:lnTo>
                        <a:pt x="465" y="463"/>
                      </a:lnTo>
                      <a:lnTo>
                        <a:pt x="464" y="455"/>
                      </a:lnTo>
                      <a:lnTo>
                        <a:pt x="463" y="448"/>
                      </a:lnTo>
                      <a:lnTo>
                        <a:pt x="461" y="441"/>
                      </a:lnTo>
                      <a:lnTo>
                        <a:pt x="458" y="434"/>
                      </a:lnTo>
                      <a:lnTo>
                        <a:pt x="449" y="420"/>
                      </a:lnTo>
                      <a:lnTo>
                        <a:pt x="439" y="407"/>
                      </a:lnTo>
                      <a:lnTo>
                        <a:pt x="427" y="395"/>
                      </a:lnTo>
                      <a:lnTo>
                        <a:pt x="415" y="384"/>
                      </a:lnTo>
                      <a:lnTo>
                        <a:pt x="403" y="376"/>
                      </a:lnTo>
                      <a:lnTo>
                        <a:pt x="392" y="370"/>
                      </a:lnTo>
                      <a:lnTo>
                        <a:pt x="385" y="369"/>
                      </a:lnTo>
                      <a:lnTo>
                        <a:pt x="378" y="367"/>
                      </a:lnTo>
                      <a:lnTo>
                        <a:pt x="372" y="364"/>
                      </a:lnTo>
                      <a:lnTo>
                        <a:pt x="366" y="362"/>
                      </a:lnTo>
                      <a:lnTo>
                        <a:pt x="355" y="356"/>
                      </a:lnTo>
                      <a:lnTo>
                        <a:pt x="348" y="349"/>
                      </a:lnTo>
                      <a:lnTo>
                        <a:pt x="336" y="338"/>
                      </a:lnTo>
                      <a:lnTo>
                        <a:pt x="332" y="333"/>
                      </a:lnTo>
                      <a:lnTo>
                        <a:pt x="318" y="330"/>
                      </a:lnTo>
                      <a:lnTo>
                        <a:pt x="305" y="327"/>
                      </a:lnTo>
                      <a:lnTo>
                        <a:pt x="292" y="323"/>
                      </a:lnTo>
                      <a:lnTo>
                        <a:pt x="280" y="319"/>
                      </a:lnTo>
                      <a:lnTo>
                        <a:pt x="268" y="315"/>
                      </a:lnTo>
                      <a:lnTo>
                        <a:pt x="257" y="310"/>
                      </a:lnTo>
                      <a:lnTo>
                        <a:pt x="247" y="304"/>
                      </a:lnTo>
                      <a:lnTo>
                        <a:pt x="237" y="299"/>
                      </a:lnTo>
                      <a:lnTo>
                        <a:pt x="218" y="285"/>
                      </a:lnTo>
                      <a:lnTo>
                        <a:pt x="202" y="272"/>
                      </a:lnTo>
                      <a:lnTo>
                        <a:pt x="186" y="258"/>
                      </a:lnTo>
                      <a:lnTo>
                        <a:pt x="173" y="244"/>
                      </a:lnTo>
                      <a:lnTo>
                        <a:pt x="162" y="229"/>
                      </a:lnTo>
                      <a:lnTo>
                        <a:pt x="152" y="215"/>
                      </a:lnTo>
                      <a:lnTo>
                        <a:pt x="144" y="202"/>
                      </a:lnTo>
                      <a:lnTo>
                        <a:pt x="137" y="189"/>
                      </a:lnTo>
                      <a:lnTo>
                        <a:pt x="126" y="168"/>
                      </a:lnTo>
                      <a:lnTo>
                        <a:pt x="119" y="154"/>
                      </a:lnTo>
                      <a:lnTo>
                        <a:pt x="102" y="154"/>
                      </a:lnTo>
                      <a:lnTo>
                        <a:pt x="89" y="154"/>
                      </a:lnTo>
                      <a:lnTo>
                        <a:pt x="77" y="154"/>
                      </a:lnTo>
                      <a:lnTo>
                        <a:pt x="67" y="154"/>
                      </a:lnTo>
                      <a:lnTo>
                        <a:pt x="61" y="155"/>
                      </a:lnTo>
                      <a:lnTo>
                        <a:pt x="57" y="155"/>
                      </a:lnTo>
                      <a:lnTo>
                        <a:pt x="51" y="157"/>
                      </a:lnTo>
                      <a:lnTo>
                        <a:pt x="46" y="159"/>
                      </a:lnTo>
                      <a:lnTo>
                        <a:pt x="34" y="164"/>
                      </a:lnTo>
                      <a:lnTo>
                        <a:pt x="21" y="172"/>
                      </a:lnTo>
                      <a:lnTo>
                        <a:pt x="15" y="165"/>
                      </a:lnTo>
                      <a:lnTo>
                        <a:pt x="12" y="158"/>
                      </a:lnTo>
                      <a:lnTo>
                        <a:pt x="7" y="150"/>
                      </a:lnTo>
                      <a:lnTo>
                        <a:pt x="5" y="141"/>
                      </a:lnTo>
                      <a:lnTo>
                        <a:pt x="3" y="133"/>
                      </a:lnTo>
                      <a:lnTo>
                        <a:pt x="1" y="123"/>
                      </a:lnTo>
                      <a:lnTo>
                        <a:pt x="1" y="114"/>
                      </a:lnTo>
                      <a:lnTo>
                        <a:pt x="0" y="105"/>
                      </a:lnTo>
                      <a:lnTo>
                        <a:pt x="1" y="93"/>
                      </a:lnTo>
                      <a:lnTo>
                        <a:pt x="3" y="83"/>
                      </a:lnTo>
                      <a:lnTo>
                        <a:pt x="5" y="71"/>
                      </a:lnTo>
                      <a:lnTo>
                        <a:pt x="6" y="55"/>
                      </a:lnTo>
                      <a:lnTo>
                        <a:pt x="6" y="49"/>
                      </a:lnTo>
                      <a:lnTo>
                        <a:pt x="27" y="49"/>
                      </a:lnTo>
                      <a:lnTo>
                        <a:pt x="34" y="47"/>
                      </a:lnTo>
                      <a:lnTo>
                        <a:pt x="39" y="44"/>
                      </a:lnTo>
                      <a:lnTo>
                        <a:pt x="45" y="41"/>
                      </a:lnTo>
                      <a:lnTo>
                        <a:pt x="49" y="37"/>
                      </a:lnTo>
                      <a:lnTo>
                        <a:pt x="58" y="31"/>
                      </a:lnTo>
                      <a:lnTo>
                        <a:pt x="67" y="25"/>
                      </a:lnTo>
                      <a:lnTo>
                        <a:pt x="68" y="33"/>
                      </a:lnTo>
                      <a:lnTo>
                        <a:pt x="70" y="39"/>
                      </a:lnTo>
                      <a:lnTo>
                        <a:pt x="73" y="44"/>
                      </a:lnTo>
                      <a:lnTo>
                        <a:pt x="78" y="46"/>
                      </a:lnTo>
                      <a:lnTo>
                        <a:pt x="83" y="48"/>
                      </a:lnTo>
                      <a:lnTo>
                        <a:pt x="89" y="49"/>
                      </a:lnTo>
                      <a:lnTo>
                        <a:pt x="94" y="49"/>
                      </a:lnTo>
                      <a:lnTo>
                        <a:pt x="100" y="49"/>
                      </a:lnTo>
                      <a:lnTo>
                        <a:pt x="104" y="44"/>
                      </a:lnTo>
                      <a:lnTo>
                        <a:pt x="113" y="38"/>
                      </a:lnTo>
                      <a:lnTo>
                        <a:pt x="124" y="31"/>
                      </a:lnTo>
                      <a:lnTo>
                        <a:pt x="136" y="24"/>
                      </a:lnTo>
                      <a:lnTo>
                        <a:pt x="149" y="16"/>
                      </a:lnTo>
                      <a:lnTo>
                        <a:pt x="160" y="11"/>
                      </a:lnTo>
                      <a:lnTo>
                        <a:pt x="168" y="7"/>
                      </a:lnTo>
                      <a:lnTo>
                        <a:pt x="173" y="6"/>
                      </a:lnTo>
                      <a:lnTo>
                        <a:pt x="239" y="0"/>
                      </a:lnTo>
                      <a:lnTo>
                        <a:pt x="243" y="4"/>
                      </a:lnTo>
                      <a:lnTo>
                        <a:pt x="248" y="8"/>
                      </a:lnTo>
                      <a:lnTo>
                        <a:pt x="252" y="11"/>
                      </a:lnTo>
                      <a:lnTo>
                        <a:pt x="257" y="13"/>
                      </a:lnTo>
                      <a:lnTo>
                        <a:pt x="266" y="16"/>
                      </a:lnTo>
                      <a:lnTo>
                        <a:pt x="279" y="19"/>
                      </a:lnTo>
                      <a:lnTo>
                        <a:pt x="304" y="20"/>
                      </a:lnTo>
                      <a:lnTo>
                        <a:pt x="332" y="19"/>
                      </a:lnTo>
                      <a:lnTo>
                        <a:pt x="331" y="34"/>
                      </a:lnTo>
                      <a:lnTo>
                        <a:pt x="329" y="46"/>
                      </a:lnTo>
                      <a:lnTo>
                        <a:pt x="325" y="56"/>
                      </a:lnTo>
                      <a:lnTo>
                        <a:pt x="322" y="65"/>
                      </a:lnTo>
                      <a:lnTo>
                        <a:pt x="320" y="74"/>
                      </a:lnTo>
                      <a:lnTo>
                        <a:pt x="321" y="82"/>
                      </a:lnTo>
                      <a:lnTo>
                        <a:pt x="322" y="86"/>
                      </a:lnTo>
                      <a:lnTo>
                        <a:pt x="325" y="90"/>
                      </a:lnTo>
                      <a:lnTo>
                        <a:pt x="328" y="94"/>
                      </a:lnTo>
                      <a:lnTo>
                        <a:pt x="332" y="9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68" name="Freeform 18">
                  <a:extLst>
                    <a:ext uri="{FF2B5EF4-FFF2-40B4-BE49-F238E27FC236}">
                      <a16:creationId xmlns:a16="http://schemas.microsoft.com/office/drawing/2014/main" xmlns="" id="{E426788A-6141-4FBB-88D6-D0494FA2B040}"/>
                    </a:ext>
                  </a:extLst>
                </p:cNvPr>
                <p:cNvSpPr>
                  <a:spLocks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4191000" y="2351088"/>
                  <a:ext cx="33338" cy="82550"/>
                </a:xfrm>
                <a:custGeom>
                  <a:avLst/>
                  <a:gdLst>
                    <a:gd name="T0" fmla="*/ 0 w 79"/>
                    <a:gd name="T1" fmla="*/ 2147483646 h 160"/>
                    <a:gd name="T2" fmla="*/ 2147483646 w 79"/>
                    <a:gd name="T3" fmla="*/ 2147483646 h 160"/>
                    <a:gd name="T4" fmla="*/ 2147483646 w 79"/>
                    <a:gd name="T5" fmla="*/ 2147483646 h 160"/>
                    <a:gd name="T6" fmla="*/ 2147483646 w 79"/>
                    <a:gd name="T7" fmla="*/ 2147483646 h 160"/>
                    <a:gd name="T8" fmla="*/ 2147483646 w 79"/>
                    <a:gd name="T9" fmla="*/ 2147483646 h 160"/>
                    <a:gd name="T10" fmla="*/ 2147483646 w 79"/>
                    <a:gd name="T11" fmla="*/ 2147483646 h 160"/>
                    <a:gd name="T12" fmla="*/ 2147483646 w 79"/>
                    <a:gd name="T13" fmla="*/ 2147483646 h 160"/>
                    <a:gd name="T14" fmla="*/ 2147483646 w 79"/>
                    <a:gd name="T15" fmla="*/ 2147483646 h 160"/>
                    <a:gd name="T16" fmla="*/ 2147483646 w 79"/>
                    <a:gd name="T17" fmla="*/ 2147483646 h 160"/>
                    <a:gd name="T18" fmla="*/ 2147483646 w 79"/>
                    <a:gd name="T19" fmla="*/ 2147483646 h 160"/>
                    <a:gd name="T20" fmla="*/ 2147483646 w 79"/>
                    <a:gd name="T21" fmla="*/ 0 h 160"/>
                    <a:gd name="T22" fmla="*/ 2147483646 w 79"/>
                    <a:gd name="T23" fmla="*/ 2147483646 h 160"/>
                    <a:gd name="T24" fmla="*/ 2147483646 w 79"/>
                    <a:gd name="T25" fmla="*/ 2147483646 h 160"/>
                    <a:gd name="T26" fmla="*/ 2147483646 w 79"/>
                    <a:gd name="T27" fmla="*/ 2147483646 h 160"/>
                    <a:gd name="T28" fmla="*/ 2147483646 w 79"/>
                    <a:gd name="T29" fmla="*/ 2147483646 h 160"/>
                    <a:gd name="T30" fmla="*/ 2147483646 w 79"/>
                    <a:gd name="T31" fmla="*/ 2147483646 h 160"/>
                    <a:gd name="T32" fmla="*/ 2147483646 w 79"/>
                    <a:gd name="T33" fmla="*/ 2147483646 h 160"/>
                    <a:gd name="T34" fmla="*/ 2147483646 w 79"/>
                    <a:gd name="T35" fmla="*/ 2147483646 h 160"/>
                    <a:gd name="T36" fmla="*/ 2147483646 w 79"/>
                    <a:gd name="T37" fmla="*/ 2147483646 h 160"/>
                    <a:gd name="T38" fmla="*/ 2147483646 w 79"/>
                    <a:gd name="T39" fmla="*/ 2147483646 h 160"/>
                    <a:gd name="T40" fmla="*/ 2147483646 w 79"/>
                    <a:gd name="T41" fmla="*/ 2147483646 h 160"/>
                    <a:gd name="T42" fmla="*/ 2147483646 w 79"/>
                    <a:gd name="T43" fmla="*/ 2147483646 h 160"/>
                    <a:gd name="T44" fmla="*/ 2147483646 w 79"/>
                    <a:gd name="T45" fmla="*/ 2147483646 h 160"/>
                    <a:gd name="T46" fmla="*/ 2147483646 w 79"/>
                    <a:gd name="T47" fmla="*/ 2147483646 h 160"/>
                    <a:gd name="T48" fmla="*/ 2147483646 w 79"/>
                    <a:gd name="T49" fmla="*/ 2147483646 h 160"/>
                    <a:gd name="T50" fmla="*/ 2147483646 w 79"/>
                    <a:gd name="T51" fmla="*/ 2147483646 h 160"/>
                    <a:gd name="T52" fmla="*/ 2147483646 w 79"/>
                    <a:gd name="T53" fmla="*/ 2147483646 h 160"/>
                    <a:gd name="T54" fmla="*/ 2147483646 w 79"/>
                    <a:gd name="T55" fmla="*/ 2147483646 h 160"/>
                    <a:gd name="T56" fmla="*/ 2147483646 w 79"/>
                    <a:gd name="T57" fmla="*/ 2147483646 h 160"/>
                    <a:gd name="T58" fmla="*/ 2147483646 w 79"/>
                    <a:gd name="T59" fmla="*/ 2147483646 h 160"/>
                    <a:gd name="T60" fmla="*/ 2147483646 w 79"/>
                    <a:gd name="T61" fmla="*/ 2147483646 h 160"/>
                    <a:gd name="T62" fmla="*/ 2147483646 w 79"/>
                    <a:gd name="T63" fmla="*/ 2147483646 h 160"/>
                    <a:gd name="T64" fmla="*/ 2147483646 w 79"/>
                    <a:gd name="T65" fmla="*/ 2147483646 h 160"/>
                    <a:gd name="T66" fmla="*/ 2147483646 w 79"/>
                    <a:gd name="T67" fmla="*/ 2147483646 h 160"/>
                    <a:gd name="T68" fmla="*/ 2147483646 w 79"/>
                    <a:gd name="T69" fmla="*/ 2147483646 h 160"/>
                    <a:gd name="T70" fmla="*/ 2147483646 w 79"/>
                    <a:gd name="T71" fmla="*/ 2147483646 h 160"/>
                    <a:gd name="T72" fmla="*/ 2147483646 w 79"/>
                    <a:gd name="T73" fmla="*/ 2147483646 h 160"/>
                    <a:gd name="T74" fmla="*/ 2147483646 w 79"/>
                    <a:gd name="T75" fmla="*/ 2147483646 h 160"/>
                    <a:gd name="T76" fmla="*/ 0 w 79"/>
                    <a:gd name="T77" fmla="*/ 2147483646 h 160"/>
                    <a:gd name="T78" fmla="*/ 0 w 79"/>
                    <a:gd name="T79" fmla="*/ 2147483646 h 160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79"/>
                    <a:gd name="T121" fmla="*/ 0 h 160"/>
                    <a:gd name="T122" fmla="*/ 79 w 79"/>
                    <a:gd name="T123" fmla="*/ 160 h 160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79" h="160">
                      <a:moveTo>
                        <a:pt x="0" y="37"/>
                      </a:moveTo>
                      <a:lnTo>
                        <a:pt x="6" y="37"/>
                      </a:lnTo>
                      <a:lnTo>
                        <a:pt x="11" y="36"/>
                      </a:lnTo>
                      <a:lnTo>
                        <a:pt x="16" y="35"/>
                      </a:lnTo>
                      <a:lnTo>
                        <a:pt x="19" y="33"/>
                      </a:lnTo>
                      <a:lnTo>
                        <a:pt x="26" y="28"/>
                      </a:lnTo>
                      <a:lnTo>
                        <a:pt x="31" y="22"/>
                      </a:lnTo>
                      <a:lnTo>
                        <a:pt x="37" y="16"/>
                      </a:lnTo>
                      <a:lnTo>
                        <a:pt x="41" y="10"/>
                      </a:lnTo>
                      <a:lnTo>
                        <a:pt x="46" y="5"/>
                      </a:lnTo>
                      <a:lnTo>
                        <a:pt x="53" y="0"/>
                      </a:lnTo>
                      <a:lnTo>
                        <a:pt x="57" y="3"/>
                      </a:lnTo>
                      <a:lnTo>
                        <a:pt x="62" y="7"/>
                      </a:lnTo>
                      <a:lnTo>
                        <a:pt x="64" y="10"/>
                      </a:lnTo>
                      <a:lnTo>
                        <a:pt x="66" y="14"/>
                      </a:lnTo>
                      <a:lnTo>
                        <a:pt x="69" y="22"/>
                      </a:lnTo>
                      <a:lnTo>
                        <a:pt x="72" y="32"/>
                      </a:lnTo>
                      <a:lnTo>
                        <a:pt x="73" y="40"/>
                      </a:lnTo>
                      <a:lnTo>
                        <a:pt x="74" y="49"/>
                      </a:lnTo>
                      <a:lnTo>
                        <a:pt x="76" y="58"/>
                      </a:lnTo>
                      <a:lnTo>
                        <a:pt x="79" y="67"/>
                      </a:lnTo>
                      <a:lnTo>
                        <a:pt x="79" y="98"/>
                      </a:lnTo>
                      <a:lnTo>
                        <a:pt x="68" y="115"/>
                      </a:lnTo>
                      <a:lnTo>
                        <a:pt x="59" y="129"/>
                      </a:lnTo>
                      <a:lnTo>
                        <a:pt x="53" y="136"/>
                      </a:lnTo>
                      <a:lnTo>
                        <a:pt x="50" y="144"/>
                      </a:lnTo>
                      <a:lnTo>
                        <a:pt x="48" y="151"/>
                      </a:lnTo>
                      <a:lnTo>
                        <a:pt x="46" y="160"/>
                      </a:lnTo>
                      <a:lnTo>
                        <a:pt x="40" y="155"/>
                      </a:lnTo>
                      <a:lnTo>
                        <a:pt x="33" y="150"/>
                      </a:lnTo>
                      <a:lnTo>
                        <a:pt x="28" y="144"/>
                      </a:lnTo>
                      <a:lnTo>
                        <a:pt x="22" y="137"/>
                      </a:lnTo>
                      <a:lnTo>
                        <a:pt x="18" y="130"/>
                      </a:lnTo>
                      <a:lnTo>
                        <a:pt x="15" y="123"/>
                      </a:lnTo>
                      <a:lnTo>
                        <a:pt x="11" y="115"/>
                      </a:lnTo>
                      <a:lnTo>
                        <a:pt x="8" y="108"/>
                      </a:lnTo>
                      <a:lnTo>
                        <a:pt x="4" y="91"/>
                      </a:lnTo>
                      <a:lnTo>
                        <a:pt x="1" y="73"/>
                      </a:lnTo>
                      <a:lnTo>
                        <a:pt x="0" y="55"/>
                      </a:lnTo>
                      <a:lnTo>
                        <a:pt x="0" y="3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69" name="Group 19">
                  <a:extLst>
                    <a:ext uri="{FF2B5EF4-FFF2-40B4-BE49-F238E27FC236}">
                      <a16:creationId xmlns:a16="http://schemas.microsoft.com/office/drawing/2014/main" xmlns="" id="{1122C7E2-8AE0-42F5-9C3F-59171A67E304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16"/>
                  </p:custDataLst>
                </p:nvPr>
              </p:nvGrpSpPr>
              <p:grpSpPr bwMode="auto">
                <a:xfrm>
                  <a:off x="6510338" y="3411538"/>
                  <a:ext cx="473075" cy="212725"/>
                  <a:chOff x="4488" y="2394"/>
                  <a:chExt cx="358" cy="124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599" name="Freeform 20">
                    <a:extLst>
                      <a:ext uri="{FF2B5EF4-FFF2-40B4-BE49-F238E27FC236}">
                        <a16:creationId xmlns:a16="http://schemas.microsoft.com/office/drawing/2014/main" xmlns="" id="{2C0A09B0-7ABF-408C-85D5-F751E7C76B7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675" y="2394"/>
                    <a:ext cx="171" cy="124"/>
                  </a:xfrm>
                  <a:custGeom>
                    <a:avLst/>
                    <a:gdLst>
                      <a:gd name="T0" fmla="*/ 2 w 512"/>
                      <a:gd name="T1" fmla="*/ 1 h 408"/>
                      <a:gd name="T2" fmla="*/ 2 w 512"/>
                      <a:gd name="T3" fmla="*/ 1 h 408"/>
                      <a:gd name="T4" fmla="*/ 2 w 512"/>
                      <a:gd name="T5" fmla="*/ 1 h 408"/>
                      <a:gd name="T6" fmla="*/ 1 w 512"/>
                      <a:gd name="T7" fmla="*/ 1 h 408"/>
                      <a:gd name="T8" fmla="*/ 1 w 512"/>
                      <a:gd name="T9" fmla="*/ 1 h 408"/>
                      <a:gd name="T10" fmla="*/ 1 w 512"/>
                      <a:gd name="T11" fmla="*/ 1 h 408"/>
                      <a:gd name="T12" fmla="*/ 1 w 512"/>
                      <a:gd name="T13" fmla="*/ 1 h 408"/>
                      <a:gd name="T14" fmla="*/ 1 w 512"/>
                      <a:gd name="T15" fmla="*/ 1 h 408"/>
                      <a:gd name="T16" fmla="*/ 1 w 512"/>
                      <a:gd name="T17" fmla="*/ 1 h 408"/>
                      <a:gd name="T18" fmla="*/ 1 w 512"/>
                      <a:gd name="T19" fmla="*/ 1 h 408"/>
                      <a:gd name="T20" fmla="*/ 1 w 512"/>
                      <a:gd name="T21" fmla="*/ 1 h 408"/>
                      <a:gd name="T22" fmla="*/ 1 w 512"/>
                      <a:gd name="T23" fmla="*/ 1 h 408"/>
                      <a:gd name="T24" fmla="*/ 1 w 512"/>
                      <a:gd name="T25" fmla="*/ 1 h 408"/>
                      <a:gd name="T26" fmla="*/ 1 w 512"/>
                      <a:gd name="T27" fmla="*/ 1 h 408"/>
                      <a:gd name="T28" fmla="*/ 1 w 512"/>
                      <a:gd name="T29" fmla="*/ 1 h 408"/>
                      <a:gd name="T30" fmla="*/ 0 w 512"/>
                      <a:gd name="T31" fmla="*/ 1 h 408"/>
                      <a:gd name="T32" fmla="*/ 0 w 512"/>
                      <a:gd name="T33" fmla="*/ 1 h 408"/>
                      <a:gd name="T34" fmla="*/ 0 w 512"/>
                      <a:gd name="T35" fmla="*/ 1 h 408"/>
                      <a:gd name="T36" fmla="*/ 0 w 512"/>
                      <a:gd name="T37" fmla="*/ 1 h 408"/>
                      <a:gd name="T38" fmla="*/ 0 w 512"/>
                      <a:gd name="T39" fmla="*/ 1 h 408"/>
                      <a:gd name="T40" fmla="*/ 0 w 512"/>
                      <a:gd name="T41" fmla="*/ 1 h 408"/>
                      <a:gd name="T42" fmla="*/ 0 w 512"/>
                      <a:gd name="T43" fmla="*/ 1 h 408"/>
                      <a:gd name="T44" fmla="*/ 0 w 512"/>
                      <a:gd name="T45" fmla="*/ 1 h 408"/>
                      <a:gd name="T46" fmla="*/ 0 w 512"/>
                      <a:gd name="T47" fmla="*/ 1 h 408"/>
                      <a:gd name="T48" fmla="*/ 0 w 512"/>
                      <a:gd name="T49" fmla="*/ 1 h 408"/>
                      <a:gd name="T50" fmla="*/ 0 w 512"/>
                      <a:gd name="T51" fmla="*/ 1 h 408"/>
                      <a:gd name="T52" fmla="*/ 0 w 512"/>
                      <a:gd name="T53" fmla="*/ 1 h 408"/>
                      <a:gd name="T54" fmla="*/ 0 w 512"/>
                      <a:gd name="T55" fmla="*/ 1 h 408"/>
                      <a:gd name="T56" fmla="*/ 1 w 512"/>
                      <a:gd name="T57" fmla="*/ 1 h 408"/>
                      <a:gd name="T58" fmla="*/ 1 w 512"/>
                      <a:gd name="T59" fmla="*/ 1 h 408"/>
                      <a:gd name="T60" fmla="*/ 1 w 512"/>
                      <a:gd name="T61" fmla="*/ 1 h 408"/>
                      <a:gd name="T62" fmla="*/ 1 w 512"/>
                      <a:gd name="T63" fmla="*/ 1 h 408"/>
                      <a:gd name="T64" fmla="*/ 1 w 512"/>
                      <a:gd name="T65" fmla="*/ 1 h 408"/>
                      <a:gd name="T66" fmla="*/ 1 w 512"/>
                      <a:gd name="T67" fmla="*/ 1 h 408"/>
                      <a:gd name="T68" fmla="*/ 1 w 512"/>
                      <a:gd name="T69" fmla="*/ 0 h 408"/>
                      <a:gd name="T70" fmla="*/ 1 w 512"/>
                      <a:gd name="T71" fmla="*/ 0 h 408"/>
                      <a:gd name="T72" fmla="*/ 1 w 512"/>
                      <a:gd name="T73" fmla="*/ 0 h 408"/>
                      <a:gd name="T74" fmla="*/ 1 w 512"/>
                      <a:gd name="T75" fmla="*/ 0 h 408"/>
                      <a:gd name="T76" fmla="*/ 1 w 512"/>
                      <a:gd name="T77" fmla="*/ 1 h 408"/>
                      <a:gd name="T78" fmla="*/ 1 w 512"/>
                      <a:gd name="T79" fmla="*/ 1 h 408"/>
                      <a:gd name="T80" fmla="*/ 1 w 512"/>
                      <a:gd name="T81" fmla="*/ 1 h 408"/>
                      <a:gd name="T82" fmla="*/ 1 w 512"/>
                      <a:gd name="T83" fmla="*/ 1 h 408"/>
                      <a:gd name="T84" fmla="*/ 1 w 512"/>
                      <a:gd name="T85" fmla="*/ 1 h 408"/>
                      <a:gd name="T86" fmla="*/ 1 w 512"/>
                      <a:gd name="T87" fmla="*/ 1 h 408"/>
                      <a:gd name="T88" fmla="*/ 1 w 512"/>
                      <a:gd name="T89" fmla="*/ 1 h 408"/>
                      <a:gd name="T90" fmla="*/ 1 w 512"/>
                      <a:gd name="T91" fmla="*/ 0 h 408"/>
                      <a:gd name="T92" fmla="*/ 1 w 512"/>
                      <a:gd name="T93" fmla="*/ 0 h 408"/>
                      <a:gd name="T94" fmla="*/ 1 w 512"/>
                      <a:gd name="T95" fmla="*/ 0 h 408"/>
                      <a:gd name="T96" fmla="*/ 2 w 512"/>
                      <a:gd name="T97" fmla="*/ 0 h 408"/>
                      <a:gd name="T98" fmla="*/ 2 w 512"/>
                      <a:gd name="T99" fmla="*/ 0 h 408"/>
                      <a:gd name="T100" fmla="*/ 2 w 512"/>
                      <a:gd name="T101" fmla="*/ 0 h 408"/>
                      <a:gd name="T102" fmla="*/ 2 w 512"/>
                      <a:gd name="T103" fmla="*/ 0 h 408"/>
                      <a:gd name="T104" fmla="*/ 2 w 512"/>
                      <a:gd name="T105" fmla="*/ 0 h 408"/>
                      <a:gd name="T106" fmla="*/ 2 w 512"/>
                      <a:gd name="T107" fmla="*/ 0 h 408"/>
                      <a:gd name="T108" fmla="*/ 2 w 512"/>
                      <a:gd name="T109" fmla="*/ 0 h 408"/>
                      <a:gd name="T110" fmla="*/ 2 w 512"/>
                      <a:gd name="T111" fmla="*/ 0 h 408"/>
                      <a:gd name="T112" fmla="*/ 2 w 512"/>
                      <a:gd name="T113" fmla="*/ 0 h 408"/>
                      <a:gd name="T114" fmla="*/ 2 w 512"/>
                      <a:gd name="T115" fmla="*/ 1 h 408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512"/>
                      <a:gd name="T175" fmla="*/ 0 h 408"/>
                      <a:gd name="T176" fmla="*/ 512 w 512"/>
                      <a:gd name="T177" fmla="*/ 408 h 408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512" h="408">
                        <a:moveTo>
                          <a:pt x="452" y="204"/>
                        </a:moveTo>
                        <a:lnTo>
                          <a:pt x="442" y="202"/>
                        </a:lnTo>
                        <a:lnTo>
                          <a:pt x="424" y="198"/>
                        </a:lnTo>
                        <a:lnTo>
                          <a:pt x="407" y="194"/>
                        </a:lnTo>
                        <a:lnTo>
                          <a:pt x="392" y="192"/>
                        </a:lnTo>
                        <a:lnTo>
                          <a:pt x="387" y="193"/>
                        </a:lnTo>
                        <a:lnTo>
                          <a:pt x="380" y="195"/>
                        </a:lnTo>
                        <a:lnTo>
                          <a:pt x="374" y="198"/>
                        </a:lnTo>
                        <a:lnTo>
                          <a:pt x="367" y="203"/>
                        </a:lnTo>
                        <a:lnTo>
                          <a:pt x="362" y="207"/>
                        </a:lnTo>
                        <a:lnTo>
                          <a:pt x="356" y="212"/>
                        </a:lnTo>
                        <a:lnTo>
                          <a:pt x="354" y="217"/>
                        </a:lnTo>
                        <a:lnTo>
                          <a:pt x="353" y="222"/>
                        </a:lnTo>
                        <a:lnTo>
                          <a:pt x="351" y="238"/>
                        </a:lnTo>
                        <a:lnTo>
                          <a:pt x="347" y="254"/>
                        </a:lnTo>
                        <a:lnTo>
                          <a:pt x="342" y="271"/>
                        </a:lnTo>
                        <a:lnTo>
                          <a:pt x="335" y="289"/>
                        </a:lnTo>
                        <a:lnTo>
                          <a:pt x="327" y="306"/>
                        </a:lnTo>
                        <a:lnTo>
                          <a:pt x="316" y="321"/>
                        </a:lnTo>
                        <a:lnTo>
                          <a:pt x="310" y="328"/>
                        </a:lnTo>
                        <a:lnTo>
                          <a:pt x="305" y="335"/>
                        </a:lnTo>
                        <a:lnTo>
                          <a:pt x="299" y="341"/>
                        </a:lnTo>
                        <a:lnTo>
                          <a:pt x="293" y="346"/>
                        </a:lnTo>
                        <a:lnTo>
                          <a:pt x="289" y="350"/>
                        </a:lnTo>
                        <a:lnTo>
                          <a:pt x="284" y="354"/>
                        </a:lnTo>
                        <a:lnTo>
                          <a:pt x="277" y="356"/>
                        </a:lnTo>
                        <a:lnTo>
                          <a:pt x="271" y="359"/>
                        </a:lnTo>
                        <a:lnTo>
                          <a:pt x="264" y="362"/>
                        </a:lnTo>
                        <a:lnTo>
                          <a:pt x="258" y="366"/>
                        </a:lnTo>
                        <a:lnTo>
                          <a:pt x="256" y="368"/>
                        </a:lnTo>
                        <a:lnTo>
                          <a:pt x="254" y="370"/>
                        </a:lnTo>
                        <a:lnTo>
                          <a:pt x="253" y="373"/>
                        </a:lnTo>
                        <a:lnTo>
                          <a:pt x="253" y="376"/>
                        </a:lnTo>
                        <a:lnTo>
                          <a:pt x="227" y="376"/>
                        </a:lnTo>
                        <a:lnTo>
                          <a:pt x="221" y="373"/>
                        </a:lnTo>
                        <a:lnTo>
                          <a:pt x="215" y="370"/>
                        </a:lnTo>
                        <a:lnTo>
                          <a:pt x="208" y="369"/>
                        </a:lnTo>
                        <a:lnTo>
                          <a:pt x="200" y="368"/>
                        </a:lnTo>
                        <a:lnTo>
                          <a:pt x="183" y="367"/>
                        </a:lnTo>
                        <a:lnTo>
                          <a:pt x="160" y="364"/>
                        </a:lnTo>
                        <a:lnTo>
                          <a:pt x="157" y="369"/>
                        </a:lnTo>
                        <a:lnTo>
                          <a:pt x="155" y="373"/>
                        </a:lnTo>
                        <a:lnTo>
                          <a:pt x="152" y="377"/>
                        </a:lnTo>
                        <a:lnTo>
                          <a:pt x="148" y="381"/>
                        </a:lnTo>
                        <a:lnTo>
                          <a:pt x="138" y="388"/>
                        </a:lnTo>
                        <a:lnTo>
                          <a:pt x="126" y="396"/>
                        </a:lnTo>
                        <a:lnTo>
                          <a:pt x="111" y="401"/>
                        </a:lnTo>
                        <a:lnTo>
                          <a:pt x="97" y="405"/>
                        </a:lnTo>
                        <a:lnTo>
                          <a:pt x="82" y="407"/>
                        </a:lnTo>
                        <a:lnTo>
                          <a:pt x="66" y="408"/>
                        </a:lnTo>
                        <a:lnTo>
                          <a:pt x="62" y="407"/>
                        </a:lnTo>
                        <a:lnTo>
                          <a:pt x="56" y="406"/>
                        </a:lnTo>
                        <a:lnTo>
                          <a:pt x="51" y="403"/>
                        </a:lnTo>
                        <a:lnTo>
                          <a:pt x="45" y="400"/>
                        </a:lnTo>
                        <a:lnTo>
                          <a:pt x="34" y="390"/>
                        </a:lnTo>
                        <a:lnTo>
                          <a:pt x="24" y="379"/>
                        </a:lnTo>
                        <a:lnTo>
                          <a:pt x="15" y="368"/>
                        </a:lnTo>
                        <a:lnTo>
                          <a:pt x="7" y="356"/>
                        </a:lnTo>
                        <a:lnTo>
                          <a:pt x="4" y="350"/>
                        </a:lnTo>
                        <a:lnTo>
                          <a:pt x="2" y="344"/>
                        </a:lnTo>
                        <a:lnTo>
                          <a:pt x="0" y="338"/>
                        </a:lnTo>
                        <a:lnTo>
                          <a:pt x="0" y="333"/>
                        </a:lnTo>
                        <a:lnTo>
                          <a:pt x="8" y="335"/>
                        </a:lnTo>
                        <a:lnTo>
                          <a:pt x="19" y="340"/>
                        </a:lnTo>
                        <a:lnTo>
                          <a:pt x="27" y="342"/>
                        </a:lnTo>
                        <a:lnTo>
                          <a:pt x="34" y="344"/>
                        </a:lnTo>
                        <a:lnTo>
                          <a:pt x="43" y="346"/>
                        </a:lnTo>
                        <a:lnTo>
                          <a:pt x="53" y="346"/>
                        </a:lnTo>
                        <a:lnTo>
                          <a:pt x="53" y="336"/>
                        </a:lnTo>
                        <a:lnTo>
                          <a:pt x="54" y="328"/>
                        </a:lnTo>
                        <a:lnTo>
                          <a:pt x="54" y="321"/>
                        </a:lnTo>
                        <a:lnTo>
                          <a:pt x="56" y="314"/>
                        </a:lnTo>
                        <a:lnTo>
                          <a:pt x="60" y="308"/>
                        </a:lnTo>
                        <a:lnTo>
                          <a:pt x="64" y="303"/>
                        </a:lnTo>
                        <a:lnTo>
                          <a:pt x="71" y="300"/>
                        </a:lnTo>
                        <a:lnTo>
                          <a:pt x="80" y="297"/>
                        </a:lnTo>
                        <a:lnTo>
                          <a:pt x="81" y="291"/>
                        </a:lnTo>
                        <a:lnTo>
                          <a:pt x="82" y="286"/>
                        </a:lnTo>
                        <a:lnTo>
                          <a:pt x="84" y="281"/>
                        </a:lnTo>
                        <a:lnTo>
                          <a:pt x="86" y="276"/>
                        </a:lnTo>
                        <a:lnTo>
                          <a:pt x="89" y="272"/>
                        </a:lnTo>
                        <a:lnTo>
                          <a:pt x="93" y="268"/>
                        </a:lnTo>
                        <a:lnTo>
                          <a:pt x="97" y="265"/>
                        </a:lnTo>
                        <a:lnTo>
                          <a:pt x="101" y="262"/>
                        </a:lnTo>
                        <a:lnTo>
                          <a:pt x="112" y="256"/>
                        </a:lnTo>
                        <a:lnTo>
                          <a:pt x="125" y="251"/>
                        </a:lnTo>
                        <a:lnTo>
                          <a:pt x="137" y="246"/>
                        </a:lnTo>
                        <a:lnTo>
                          <a:pt x="150" y="241"/>
                        </a:lnTo>
                        <a:lnTo>
                          <a:pt x="163" y="237"/>
                        </a:lnTo>
                        <a:lnTo>
                          <a:pt x="175" y="232"/>
                        </a:lnTo>
                        <a:lnTo>
                          <a:pt x="187" y="226"/>
                        </a:lnTo>
                        <a:lnTo>
                          <a:pt x="198" y="220"/>
                        </a:lnTo>
                        <a:lnTo>
                          <a:pt x="202" y="217"/>
                        </a:lnTo>
                        <a:lnTo>
                          <a:pt x="207" y="213"/>
                        </a:lnTo>
                        <a:lnTo>
                          <a:pt x="210" y="210"/>
                        </a:lnTo>
                        <a:lnTo>
                          <a:pt x="213" y="205"/>
                        </a:lnTo>
                        <a:lnTo>
                          <a:pt x="216" y="201"/>
                        </a:lnTo>
                        <a:lnTo>
                          <a:pt x="218" y="196"/>
                        </a:lnTo>
                        <a:lnTo>
                          <a:pt x="219" y="191"/>
                        </a:lnTo>
                        <a:lnTo>
                          <a:pt x="219" y="186"/>
                        </a:lnTo>
                        <a:lnTo>
                          <a:pt x="221" y="175"/>
                        </a:lnTo>
                        <a:lnTo>
                          <a:pt x="227" y="161"/>
                        </a:lnTo>
                        <a:lnTo>
                          <a:pt x="231" y="150"/>
                        </a:lnTo>
                        <a:lnTo>
                          <a:pt x="233" y="143"/>
                        </a:lnTo>
                        <a:lnTo>
                          <a:pt x="229" y="149"/>
                        </a:lnTo>
                        <a:lnTo>
                          <a:pt x="228" y="153"/>
                        </a:lnTo>
                        <a:lnTo>
                          <a:pt x="229" y="153"/>
                        </a:lnTo>
                        <a:lnTo>
                          <a:pt x="231" y="152"/>
                        </a:lnTo>
                        <a:lnTo>
                          <a:pt x="237" y="146"/>
                        </a:lnTo>
                        <a:lnTo>
                          <a:pt x="240" y="143"/>
                        </a:lnTo>
                        <a:lnTo>
                          <a:pt x="239" y="143"/>
                        </a:lnTo>
                        <a:lnTo>
                          <a:pt x="238" y="146"/>
                        </a:lnTo>
                        <a:lnTo>
                          <a:pt x="237" y="150"/>
                        </a:lnTo>
                        <a:lnTo>
                          <a:pt x="237" y="155"/>
                        </a:lnTo>
                        <a:lnTo>
                          <a:pt x="238" y="160"/>
                        </a:lnTo>
                        <a:lnTo>
                          <a:pt x="239" y="166"/>
                        </a:lnTo>
                        <a:lnTo>
                          <a:pt x="240" y="174"/>
                        </a:lnTo>
                        <a:lnTo>
                          <a:pt x="243" y="181"/>
                        </a:lnTo>
                        <a:lnTo>
                          <a:pt x="246" y="187"/>
                        </a:lnTo>
                        <a:lnTo>
                          <a:pt x="251" y="193"/>
                        </a:lnTo>
                        <a:lnTo>
                          <a:pt x="256" y="198"/>
                        </a:lnTo>
                        <a:lnTo>
                          <a:pt x="264" y="202"/>
                        </a:lnTo>
                        <a:lnTo>
                          <a:pt x="272" y="205"/>
                        </a:lnTo>
                        <a:lnTo>
                          <a:pt x="282" y="207"/>
                        </a:lnTo>
                        <a:lnTo>
                          <a:pt x="293" y="206"/>
                        </a:lnTo>
                        <a:lnTo>
                          <a:pt x="306" y="204"/>
                        </a:lnTo>
                        <a:lnTo>
                          <a:pt x="311" y="206"/>
                        </a:lnTo>
                        <a:lnTo>
                          <a:pt x="317" y="206"/>
                        </a:lnTo>
                        <a:lnTo>
                          <a:pt x="320" y="205"/>
                        </a:lnTo>
                        <a:lnTo>
                          <a:pt x="323" y="204"/>
                        </a:lnTo>
                        <a:lnTo>
                          <a:pt x="325" y="201"/>
                        </a:lnTo>
                        <a:lnTo>
                          <a:pt x="327" y="198"/>
                        </a:lnTo>
                        <a:lnTo>
                          <a:pt x="328" y="193"/>
                        </a:lnTo>
                        <a:lnTo>
                          <a:pt x="328" y="188"/>
                        </a:lnTo>
                        <a:lnTo>
                          <a:pt x="324" y="176"/>
                        </a:lnTo>
                        <a:lnTo>
                          <a:pt x="319" y="161"/>
                        </a:lnTo>
                        <a:lnTo>
                          <a:pt x="310" y="146"/>
                        </a:lnTo>
                        <a:lnTo>
                          <a:pt x="299" y="130"/>
                        </a:lnTo>
                        <a:lnTo>
                          <a:pt x="307" y="124"/>
                        </a:lnTo>
                        <a:lnTo>
                          <a:pt x="312" y="118"/>
                        </a:lnTo>
                        <a:lnTo>
                          <a:pt x="319" y="109"/>
                        </a:lnTo>
                        <a:lnTo>
                          <a:pt x="324" y="101"/>
                        </a:lnTo>
                        <a:lnTo>
                          <a:pt x="334" y="84"/>
                        </a:lnTo>
                        <a:lnTo>
                          <a:pt x="344" y="66"/>
                        </a:lnTo>
                        <a:lnTo>
                          <a:pt x="354" y="47"/>
                        </a:lnTo>
                        <a:lnTo>
                          <a:pt x="366" y="30"/>
                        </a:lnTo>
                        <a:lnTo>
                          <a:pt x="374" y="22"/>
                        </a:lnTo>
                        <a:lnTo>
                          <a:pt x="381" y="14"/>
                        </a:lnTo>
                        <a:lnTo>
                          <a:pt x="389" y="7"/>
                        </a:lnTo>
                        <a:lnTo>
                          <a:pt x="399" y="0"/>
                        </a:lnTo>
                        <a:lnTo>
                          <a:pt x="399" y="9"/>
                        </a:lnTo>
                        <a:lnTo>
                          <a:pt x="400" y="16"/>
                        </a:lnTo>
                        <a:lnTo>
                          <a:pt x="401" y="23"/>
                        </a:lnTo>
                        <a:lnTo>
                          <a:pt x="403" y="29"/>
                        </a:lnTo>
                        <a:lnTo>
                          <a:pt x="408" y="41"/>
                        </a:lnTo>
                        <a:lnTo>
                          <a:pt x="413" y="50"/>
                        </a:lnTo>
                        <a:lnTo>
                          <a:pt x="421" y="59"/>
                        </a:lnTo>
                        <a:lnTo>
                          <a:pt x="430" y="68"/>
                        </a:lnTo>
                        <a:lnTo>
                          <a:pt x="439" y="75"/>
                        </a:lnTo>
                        <a:lnTo>
                          <a:pt x="447" y="81"/>
                        </a:lnTo>
                        <a:lnTo>
                          <a:pt x="467" y="93"/>
                        </a:lnTo>
                        <a:lnTo>
                          <a:pt x="486" y="106"/>
                        </a:lnTo>
                        <a:lnTo>
                          <a:pt x="493" y="113"/>
                        </a:lnTo>
                        <a:lnTo>
                          <a:pt x="501" y="123"/>
                        </a:lnTo>
                        <a:lnTo>
                          <a:pt x="508" y="132"/>
                        </a:lnTo>
                        <a:lnTo>
                          <a:pt x="512" y="143"/>
                        </a:lnTo>
                        <a:lnTo>
                          <a:pt x="504" y="146"/>
                        </a:lnTo>
                        <a:lnTo>
                          <a:pt x="499" y="149"/>
                        </a:lnTo>
                        <a:lnTo>
                          <a:pt x="493" y="150"/>
                        </a:lnTo>
                        <a:lnTo>
                          <a:pt x="489" y="151"/>
                        </a:lnTo>
                        <a:lnTo>
                          <a:pt x="478" y="152"/>
                        </a:lnTo>
                        <a:lnTo>
                          <a:pt x="465" y="155"/>
                        </a:lnTo>
                        <a:lnTo>
                          <a:pt x="463" y="166"/>
                        </a:lnTo>
                        <a:lnTo>
                          <a:pt x="458" y="180"/>
                        </a:lnTo>
                        <a:lnTo>
                          <a:pt x="454" y="193"/>
                        </a:lnTo>
                        <a:lnTo>
                          <a:pt x="452" y="204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600" name="Freeform 21">
                    <a:extLst>
                      <a:ext uri="{FF2B5EF4-FFF2-40B4-BE49-F238E27FC236}">
                        <a16:creationId xmlns:a16="http://schemas.microsoft.com/office/drawing/2014/main" xmlns="" id="{D0F57365-3196-4012-9998-E6B3C9AFB0F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88" y="2420"/>
                    <a:ext cx="77" cy="89"/>
                  </a:xfrm>
                  <a:custGeom>
                    <a:avLst/>
                    <a:gdLst>
                      <a:gd name="T0" fmla="*/ 1 w 232"/>
                      <a:gd name="T1" fmla="*/ 0 h 289"/>
                      <a:gd name="T2" fmla="*/ 1 w 232"/>
                      <a:gd name="T3" fmla="*/ 0 h 289"/>
                      <a:gd name="T4" fmla="*/ 1 w 232"/>
                      <a:gd name="T5" fmla="*/ 0 h 289"/>
                      <a:gd name="T6" fmla="*/ 1 w 232"/>
                      <a:gd name="T7" fmla="*/ 0 h 289"/>
                      <a:gd name="T8" fmla="*/ 1 w 232"/>
                      <a:gd name="T9" fmla="*/ 1 h 289"/>
                      <a:gd name="T10" fmla="*/ 1 w 232"/>
                      <a:gd name="T11" fmla="*/ 1 h 289"/>
                      <a:gd name="T12" fmla="*/ 1 w 232"/>
                      <a:gd name="T13" fmla="*/ 1 h 289"/>
                      <a:gd name="T14" fmla="*/ 1 w 232"/>
                      <a:gd name="T15" fmla="*/ 1 h 289"/>
                      <a:gd name="T16" fmla="*/ 1 w 232"/>
                      <a:gd name="T17" fmla="*/ 1 h 289"/>
                      <a:gd name="T18" fmla="*/ 1 w 232"/>
                      <a:gd name="T19" fmla="*/ 1 h 289"/>
                      <a:gd name="T20" fmla="*/ 1 w 232"/>
                      <a:gd name="T21" fmla="*/ 1 h 289"/>
                      <a:gd name="T22" fmla="*/ 1 w 232"/>
                      <a:gd name="T23" fmla="*/ 1 h 289"/>
                      <a:gd name="T24" fmla="*/ 0 w 232"/>
                      <a:gd name="T25" fmla="*/ 1 h 289"/>
                      <a:gd name="T26" fmla="*/ 0 w 232"/>
                      <a:gd name="T27" fmla="*/ 1 h 289"/>
                      <a:gd name="T28" fmla="*/ 0 w 232"/>
                      <a:gd name="T29" fmla="*/ 1 h 289"/>
                      <a:gd name="T30" fmla="*/ 0 w 232"/>
                      <a:gd name="T31" fmla="*/ 0 h 289"/>
                      <a:gd name="T32" fmla="*/ 0 w 232"/>
                      <a:gd name="T33" fmla="*/ 0 h 289"/>
                      <a:gd name="T34" fmla="*/ 0 w 232"/>
                      <a:gd name="T35" fmla="*/ 0 h 289"/>
                      <a:gd name="T36" fmla="*/ 0 w 232"/>
                      <a:gd name="T37" fmla="*/ 0 h 289"/>
                      <a:gd name="T38" fmla="*/ 0 w 232"/>
                      <a:gd name="T39" fmla="*/ 0 h 289"/>
                      <a:gd name="T40" fmla="*/ 0 w 232"/>
                      <a:gd name="T41" fmla="*/ 0 h 289"/>
                      <a:gd name="T42" fmla="*/ 0 w 232"/>
                      <a:gd name="T43" fmla="*/ 0 h 289"/>
                      <a:gd name="T44" fmla="*/ 0 w 232"/>
                      <a:gd name="T45" fmla="*/ 0 h 289"/>
                      <a:gd name="T46" fmla="*/ 0 w 232"/>
                      <a:gd name="T47" fmla="*/ 0 h 289"/>
                      <a:gd name="T48" fmla="*/ 0 w 232"/>
                      <a:gd name="T49" fmla="*/ 0 h 289"/>
                      <a:gd name="T50" fmla="*/ 0 w 232"/>
                      <a:gd name="T51" fmla="*/ 0 h 289"/>
                      <a:gd name="T52" fmla="*/ 0 w 232"/>
                      <a:gd name="T53" fmla="*/ 0 h 289"/>
                      <a:gd name="T54" fmla="*/ 0 w 232"/>
                      <a:gd name="T55" fmla="*/ 0 h 289"/>
                      <a:gd name="T56" fmla="*/ 0 w 232"/>
                      <a:gd name="T57" fmla="*/ 0 h 289"/>
                      <a:gd name="T58" fmla="*/ 0 w 232"/>
                      <a:gd name="T59" fmla="*/ 0 h 289"/>
                      <a:gd name="T60" fmla="*/ 0 w 232"/>
                      <a:gd name="T61" fmla="*/ 0 h 289"/>
                      <a:gd name="T62" fmla="*/ 0 w 232"/>
                      <a:gd name="T63" fmla="*/ 0 h 289"/>
                      <a:gd name="T64" fmla="*/ 0 w 232"/>
                      <a:gd name="T65" fmla="*/ 0 h 289"/>
                      <a:gd name="T66" fmla="*/ 1 w 232"/>
                      <a:gd name="T67" fmla="*/ 0 h 289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w 232"/>
                      <a:gd name="T103" fmla="*/ 0 h 289"/>
                      <a:gd name="T104" fmla="*/ 232 w 232"/>
                      <a:gd name="T105" fmla="*/ 289 h 289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T102" t="T103" r="T104" b="T105"/>
                    <a:pathLst>
                      <a:path w="232" h="289">
                        <a:moveTo>
                          <a:pt x="140" y="6"/>
                        </a:moveTo>
                        <a:lnTo>
                          <a:pt x="151" y="24"/>
                        </a:lnTo>
                        <a:lnTo>
                          <a:pt x="159" y="41"/>
                        </a:lnTo>
                        <a:lnTo>
                          <a:pt x="165" y="48"/>
                        </a:lnTo>
                        <a:lnTo>
                          <a:pt x="170" y="54"/>
                        </a:lnTo>
                        <a:lnTo>
                          <a:pt x="174" y="56"/>
                        </a:lnTo>
                        <a:lnTo>
                          <a:pt x="177" y="59"/>
                        </a:lnTo>
                        <a:lnTo>
                          <a:pt x="181" y="60"/>
                        </a:lnTo>
                        <a:lnTo>
                          <a:pt x="186" y="62"/>
                        </a:lnTo>
                        <a:lnTo>
                          <a:pt x="186" y="166"/>
                        </a:lnTo>
                        <a:lnTo>
                          <a:pt x="187" y="183"/>
                        </a:lnTo>
                        <a:lnTo>
                          <a:pt x="189" y="196"/>
                        </a:lnTo>
                        <a:lnTo>
                          <a:pt x="191" y="202"/>
                        </a:lnTo>
                        <a:lnTo>
                          <a:pt x="193" y="207"/>
                        </a:lnTo>
                        <a:lnTo>
                          <a:pt x="196" y="212"/>
                        </a:lnTo>
                        <a:lnTo>
                          <a:pt x="199" y="216"/>
                        </a:lnTo>
                        <a:lnTo>
                          <a:pt x="213" y="230"/>
                        </a:lnTo>
                        <a:lnTo>
                          <a:pt x="232" y="246"/>
                        </a:lnTo>
                        <a:lnTo>
                          <a:pt x="232" y="289"/>
                        </a:lnTo>
                        <a:lnTo>
                          <a:pt x="219" y="288"/>
                        </a:lnTo>
                        <a:lnTo>
                          <a:pt x="202" y="286"/>
                        </a:lnTo>
                        <a:lnTo>
                          <a:pt x="186" y="282"/>
                        </a:lnTo>
                        <a:lnTo>
                          <a:pt x="172" y="277"/>
                        </a:lnTo>
                        <a:lnTo>
                          <a:pt x="151" y="264"/>
                        </a:lnTo>
                        <a:lnTo>
                          <a:pt x="131" y="249"/>
                        </a:lnTo>
                        <a:lnTo>
                          <a:pt x="113" y="235"/>
                        </a:lnTo>
                        <a:lnTo>
                          <a:pt x="97" y="221"/>
                        </a:lnTo>
                        <a:lnTo>
                          <a:pt x="81" y="207"/>
                        </a:lnTo>
                        <a:lnTo>
                          <a:pt x="68" y="191"/>
                        </a:lnTo>
                        <a:lnTo>
                          <a:pt x="56" y="176"/>
                        </a:lnTo>
                        <a:lnTo>
                          <a:pt x="46" y="160"/>
                        </a:lnTo>
                        <a:lnTo>
                          <a:pt x="31" y="145"/>
                        </a:lnTo>
                        <a:lnTo>
                          <a:pt x="15" y="132"/>
                        </a:lnTo>
                        <a:lnTo>
                          <a:pt x="9" y="126"/>
                        </a:lnTo>
                        <a:lnTo>
                          <a:pt x="4" y="120"/>
                        </a:lnTo>
                        <a:lnTo>
                          <a:pt x="2" y="117"/>
                        </a:lnTo>
                        <a:lnTo>
                          <a:pt x="1" y="113"/>
                        </a:lnTo>
                        <a:lnTo>
                          <a:pt x="0" y="109"/>
                        </a:lnTo>
                        <a:lnTo>
                          <a:pt x="0" y="105"/>
                        </a:lnTo>
                        <a:lnTo>
                          <a:pt x="0" y="100"/>
                        </a:lnTo>
                        <a:lnTo>
                          <a:pt x="1" y="96"/>
                        </a:lnTo>
                        <a:lnTo>
                          <a:pt x="3" y="92"/>
                        </a:lnTo>
                        <a:lnTo>
                          <a:pt x="7" y="88"/>
                        </a:lnTo>
                        <a:lnTo>
                          <a:pt x="11" y="79"/>
                        </a:lnTo>
                        <a:lnTo>
                          <a:pt x="13" y="74"/>
                        </a:lnTo>
                        <a:lnTo>
                          <a:pt x="12" y="52"/>
                        </a:lnTo>
                        <a:lnTo>
                          <a:pt x="10" y="33"/>
                        </a:lnTo>
                        <a:lnTo>
                          <a:pt x="7" y="15"/>
                        </a:lnTo>
                        <a:lnTo>
                          <a:pt x="7" y="0"/>
                        </a:lnTo>
                        <a:lnTo>
                          <a:pt x="13" y="0"/>
                        </a:lnTo>
                        <a:lnTo>
                          <a:pt x="20" y="1"/>
                        </a:lnTo>
                        <a:lnTo>
                          <a:pt x="26" y="3"/>
                        </a:lnTo>
                        <a:lnTo>
                          <a:pt x="32" y="5"/>
                        </a:lnTo>
                        <a:lnTo>
                          <a:pt x="42" y="10"/>
                        </a:lnTo>
                        <a:lnTo>
                          <a:pt x="51" y="15"/>
                        </a:lnTo>
                        <a:lnTo>
                          <a:pt x="59" y="21"/>
                        </a:lnTo>
                        <a:lnTo>
                          <a:pt x="68" y="26"/>
                        </a:lnTo>
                        <a:lnTo>
                          <a:pt x="73" y="28"/>
                        </a:lnTo>
                        <a:lnTo>
                          <a:pt x="77" y="29"/>
                        </a:lnTo>
                        <a:lnTo>
                          <a:pt x="81" y="31"/>
                        </a:lnTo>
                        <a:lnTo>
                          <a:pt x="86" y="31"/>
                        </a:lnTo>
                        <a:lnTo>
                          <a:pt x="91" y="31"/>
                        </a:lnTo>
                        <a:lnTo>
                          <a:pt x="98" y="28"/>
                        </a:lnTo>
                        <a:lnTo>
                          <a:pt x="105" y="26"/>
                        </a:lnTo>
                        <a:lnTo>
                          <a:pt x="112" y="23"/>
                        </a:lnTo>
                        <a:lnTo>
                          <a:pt x="120" y="19"/>
                        </a:lnTo>
                        <a:lnTo>
                          <a:pt x="127" y="15"/>
                        </a:lnTo>
                        <a:lnTo>
                          <a:pt x="133" y="11"/>
                        </a:lnTo>
                        <a:lnTo>
                          <a:pt x="140" y="6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70" name="Freeform 22">
                  <a:extLst>
                    <a:ext uri="{FF2B5EF4-FFF2-40B4-BE49-F238E27FC236}">
                      <a16:creationId xmlns:a16="http://schemas.microsoft.com/office/drawing/2014/main" xmlns="" id="{1EF8C7E1-EC08-4035-BAB6-43E024F2A2B8}"/>
                    </a:ext>
                  </a:extLst>
                </p:cNvPr>
                <p:cNvSpPr>
                  <a:spLocks/>
                </p:cNvSpPr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4532313" y="1287463"/>
                  <a:ext cx="3065462" cy="1074737"/>
                </a:xfrm>
                <a:custGeom>
                  <a:avLst/>
                  <a:gdLst>
                    <a:gd name="T0" fmla="*/ 2147483646 w 7049"/>
                    <a:gd name="T1" fmla="*/ 2147483646 h 2048"/>
                    <a:gd name="T2" fmla="*/ 2147483646 w 7049"/>
                    <a:gd name="T3" fmla="*/ 2147483646 h 2048"/>
                    <a:gd name="T4" fmla="*/ 2147483646 w 7049"/>
                    <a:gd name="T5" fmla="*/ 2147483646 h 2048"/>
                    <a:gd name="T6" fmla="*/ 2147483646 w 7049"/>
                    <a:gd name="T7" fmla="*/ 2147483646 h 2048"/>
                    <a:gd name="T8" fmla="*/ 2147483646 w 7049"/>
                    <a:gd name="T9" fmla="*/ 2147483646 h 2048"/>
                    <a:gd name="T10" fmla="*/ 2147483646 w 7049"/>
                    <a:gd name="T11" fmla="*/ 2147483646 h 2048"/>
                    <a:gd name="T12" fmla="*/ 2147483646 w 7049"/>
                    <a:gd name="T13" fmla="*/ 2147483646 h 2048"/>
                    <a:gd name="T14" fmla="*/ 2147483646 w 7049"/>
                    <a:gd name="T15" fmla="*/ 2147483646 h 2048"/>
                    <a:gd name="T16" fmla="*/ 2147483646 w 7049"/>
                    <a:gd name="T17" fmla="*/ 2147483646 h 2048"/>
                    <a:gd name="T18" fmla="*/ 2147483646 w 7049"/>
                    <a:gd name="T19" fmla="*/ 2147483646 h 2048"/>
                    <a:gd name="T20" fmla="*/ 2147483646 w 7049"/>
                    <a:gd name="T21" fmla="*/ 2147483646 h 2048"/>
                    <a:gd name="T22" fmla="*/ 2147483646 w 7049"/>
                    <a:gd name="T23" fmla="*/ 2147483646 h 2048"/>
                    <a:gd name="T24" fmla="*/ 2147483646 w 7049"/>
                    <a:gd name="T25" fmla="*/ 2147483646 h 2048"/>
                    <a:gd name="T26" fmla="*/ 2147483646 w 7049"/>
                    <a:gd name="T27" fmla="*/ 2147483646 h 2048"/>
                    <a:gd name="T28" fmla="*/ 2147483646 w 7049"/>
                    <a:gd name="T29" fmla="*/ 2147483646 h 2048"/>
                    <a:gd name="T30" fmla="*/ 2147483646 w 7049"/>
                    <a:gd name="T31" fmla="*/ 2147483646 h 2048"/>
                    <a:gd name="T32" fmla="*/ 2147483646 w 7049"/>
                    <a:gd name="T33" fmla="*/ 2147483646 h 2048"/>
                    <a:gd name="T34" fmla="*/ 2147483646 w 7049"/>
                    <a:gd name="T35" fmla="*/ 2147483646 h 2048"/>
                    <a:gd name="T36" fmla="*/ 2147483646 w 7049"/>
                    <a:gd name="T37" fmla="*/ 2147483646 h 2048"/>
                    <a:gd name="T38" fmla="*/ 2147483646 w 7049"/>
                    <a:gd name="T39" fmla="*/ 2147483646 h 2048"/>
                    <a:gd name="T40" fmla="*/ 2147483646 w 7049"/>
                    <a:gd name="T41" fmla="*/ 2147483646 h 2048"/>
                    <a:gd name="T42" fmla="*/ 2147483646 w 7049"/>
                    <a:gd name="T43" fmla="*/ 2147483646 h 2048"/>
                    <a:gd name="T44" fmla="*/ 2147483646 w 7049"/>
                    <a:gd name="T45" fmla="*/ 2147483646 h 2048"/>
                    <a:gd name="T46" fmla="*/ 2147483646 w 7049"/>
                    <a:gd name="T47" fmla="*/ 2147483646 h 2048"/>
                    <a:gd name="T48" fmla="*/ 2147483646 w 7049"/>
                    <a:gd name="T49" fmla="*/ 2147483646 h 2048"/>
                    <a:gd name="T50" fmla="*/ 2147483646 w 7049"/>
                    <a:gd name="T51" fmla="*/ 2147483646 h 2048"/>
                    <a:gd name="T52" fmla="*/ 2147483646 w 7049"/>
                    <a:gd name="T53" fmla="*/ 2147483646 h 2048"/>
                    <a:gd name="T54" fmla="*/ 2147483646 w 7049"/>
                    <a:gd name="T55" fmla="*/ 2147483646 h 2048"/>
                    <a:gd name="T56" fmla="*/ 2147483646 w 7049"/>
                    <a:gd name="T57" fmla="*/ 2147483646 h 2048"/>
                    <a:gd name="T58" fmla="*/ 2147483646 w 7049"/>
                    <a:gd name="T59" fmla="*/ 2147483646 h 2048"/>
                    <a:gd name="T60" fmla="*/ 2147483646 w 7049"/>
                    <a:gd name="T61" fmla="*/ 2147483646 h 2048"/>
                    <a:gd name="T62" fmla="*/ 2147483646 w 7049"/>
                    <a:gd name="T63" fmla="*/ 2147483646 h 2048"/>
                    <a:gd name="T64" fmla="*/ 2147483646 w 7049"/>
                    <a:gd name="T65" fmla="*/ 2147483646 h 2048"/>
                    <a:gd name="T66" fmla="*/ 2147483646 w 7049"/>
                    <a:gd name="T67" fmla="*/ 2147483646 h 2048"/>
                    <a:gd name="T68" fmla="*/ 2147483646 w 7049"/>
                    <a:gd name="T69" fmla="*/ 2147483646 h 2048"/>
                    <a:gd name="T70" fmla="*/ 2147483646 w 7049"/>
                    <a:gd name="T71" fmla="*/ 2147483646 h 2048"/>
                    <a:gd name="T72" fmla="*/ 2147483646 w 7049"/>
                    <a:gd name="T73" fmla="*/ 2147483646 h 2048"/>
                    <a:gd name="T74" fmla="*/ 2147483646 w 7049"/>
                    <a:gd name="T75" fmla="*/ 2147483646 h 2048"/>
                    <a:gd name="T76" fmla="*/ 2147483646 w 7049"/>
                    <a:gd name="T77" fmla="*/ 2147483646 h 2048"/>
                    <a:gd name="T78" fmla="*/ 2147483646 w 7049"/>
                    <a:gd name="T79" fmla="*/ 2147483646 h 2048"/>
                    <a:gd name="T80" fmla="*/ 2147483646 w 7049"/>
                    <a:gd name="T81" fmla="*/ 2147483646 h 2048"/>
                    <a:gd name="T82" fmla="*/ 2147483646 w 7049"/>
                    <a:gd name="T83" fmla="*/ 2147483646 h 2048"/>
                    <a:gd name="T84" fmla="*/ 2147483646 w 7049"/>
                    <a:gd name="T85" fmla="*/ 2147483646 h 2048"/>
                    <a:gd name="T86" fmla="*/ 2147483646 w 7049"/>
                    <a:gd name="T87" fmla="*/ 2147483646 h 2048"/>
                    <a:gd name="T88" fmla="*/ 2147483646 w 7049"/>
                    <a:gd name="T89" fmla="*/ 2147483646 h 2048"/>
                    <a:gd name="T90" fmla="*/ 2147483646 w 7049"/>
                    <a:gd name="T91" fmla="*/ 2147483646 h 2048"/>
                    <a:gd name="T92" fmla="*/ 2147483646 w 7049"/>
                    <a:gd name="T93" fmla="*/ 2147483646 h 2048"/>
                    <a:gd name="T94" fmla="*/ 2147483646 w 7049"/>
                    <a:gd name="T95" fmla="*/ 2147483646 h 2048"/>
                    <a:gd name="T96" fmla="*/ 2147483646 w 7049"/>
                    <a:gd name="T97" fmla="*/ 2147483646 h 2048"/>
                    <a:gd name="T98" fmla="*/ 2147483646 w 7049"/>
                    <a:gd name="T99" fmla="*/ 2147483646 h 2048"/>
                    <a:gd name="T100" fmla="*/ 2147483646 w 7049"/>
                    <a:gd name="T101" fmla="*/ 2147483646 h 2048"/>
                    <a:gd name="T102" fmla="*/ 2147483646 w 7049"/>
                    <a:gd name="T103" fmla="*/ 2147483646 h 2048"/>
                    <a:gd name="T104" fmla="*/ 2147483646 w 7049"/>
                    <a:gd name="T105" fmla="*/ 2147483646 h 2048"/>
                    <a:gd name="T106" fmla="*/ 2147483646 w 7049"/>
                    <a:gd name="T107" fmla="*/ 2147483646 h 2048"/>
                    <a:gd name="T108" fmla="*/ 2147483646 w 7049"/>
                    <a:gd name="T109" fmla="*/ 2147483646 h 2048"/>
                    <a:gd name="T110" fmla="*/ 2147483646 w 7049"/>
                    <a:gd name="T111" fmla="*/ 2147483646 h 2048"/>
                    <a:gd name="T112" fmla="*/ 2147483646 w 7049"/>
                    <a:gd name="T113" fmla="*/ 2147483646 h 2048"/>
                    <a:gd name="T114" fmla="*/ 2147483646 w 7049"/>
                    <a:gd name="T115" fmla="*/ 2147483646 h 2048"/>
                    <a:gd name="T116" fmla="*/ 2147483646 w 7049"/>
                    <a:gd name="T117" fmla="*/ 2147483646 h 2048"/>
                    <a:gd name="T118" fmla="*/ 2147483646 w 7049"/>
                    <a:gd name="T119" fmla="*/ 2147483646 h 2048"/>
                    <a:gd name="T120" fmla="*/ 2147483646 w 7049"/>
                    <a:gd name="T121" fmla="*/ 2147483646 h 2048"/>
                    <a:gd name="T122" fmla="*/ 2147483646 w 7049"/>
                    <a:gd name="T123" fmla="*/ 2147483646 h 204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7049"/>
                    <a:gd name="T187" fmla="*/ 0 h 2048"/>
                    <a:gd name="T188" fmla="*/ 7049 w 7049"/>
                    <a:gd name="T189" fmla="*/ 2048 h 204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7049" h="2048">
                      <a:moveTo>
                        <a:pt x="365" y="1401"/>
                      </a:moveTo>
                      <a:lnTo>
                        <a:pt x="373" y="1401"/>
                      </a:lnTo>
                      <a:lnTo>
                        <a:pt x="405" y="1401"/>
                      </a:lnTo>
                      <a:lnTo>
                        <a:pt x="425" y="1388"/>
                      </a:lnTo>
                      <a:lnTo>
                        <a:pt x="471" y="1388"/>
                      </a:lnTo>
                      <a:lnTo>
                        <a:pt x="491" y="1401"/>
                      </a:lnTo>
                      <a:lnTo>
                        <a:pt x="519" y="1426"/>
                      </a:lnTo>
                      <a:lnTo>
                        <a:pt x="505" y="1451"/>
                      </a:lnTo>
                      <a:lnTo>
                        <a:pt x="558" y="1451"/>
                      </a:lnTo>
                      <a:lnTo>
                        <a:pt x="578" y="1499"/>
                      </a:lnTo>
                      <a:lnTo>
                        <a:pt x="604" y="1493"/>
                      </a:lnTo>
                      <a:lnTo>
                        <a:pt x="632" y="1512"/>
                      </a:lnTo>
                      <a:lnTo>
                        <a:pt x="665" y="1499"/>
                      </a:lnTo>
                      <a:lnTo>
                        <a:pt x="698" y="1524"/>
                      </a:lnTo>
                      <a:lnTo>
                        <a:pt x="737" y="1524"/>
                      </a:lnTo>
                      <a:lnTo>
                        <a:pt x="778" y="1543"/>
                      </a:lnTo>
                      <a:lnTo>
                        <a:pt x="817" y="1555"/>
                      </a:lnTo>
                      <a:lnTo>
                        <a:pt x="811" y="1586"/>
                      </a:lnTo>
                      <a:lnTo>
                        <a:pt x="804" y="1623"/>
                      </a:lnTo>
                      <a:lnTo>
                        <a:pt x="817" y="1647"/>
                      </a:lnTo>
                      <a:lnTo>
                        <a:pt x="784" y="1647"/>
                      </a:lnTo>
                      <a:lnTo>
                        <a:pt x="744" y="1660"/>
                      </a:lnTo>
                      <a:lnTo>
                        <a:pt x="737" y="1691"/>
                      </a:lnTo>
                      <a:lnTo>
                        <a:pt x="743" y="1690"/>
                      </a:lnTo>
                      <a:lnTo>
                        <a:pt x="757" y="1685"/>
                      </a:lnTo>
                      <a:lnTo>
                        <a:pt x="752" y="1691"/>
                      </a:lnTo>
                      <a:lnTo>
                        <a:pt x="747" y="1696"/>
                      </a:lnTo>
                      <a:lnTo>
                        <a:pt x="743" y="1701"/>
                      </a:lnTo>
                      <a:lnTo>
                        <a:pt x="737" y="1705"/>
                      </a:lnTo>
                      <a:lnTo>
                        <a:pt x="725" y="1713"/>
                      </a:lnTo>
                      <a:lnTo>
                        <a:pt x="711" y="1721"/>
                      </a:lnTo>
                      <a:lnTo>
                        <a:pt x="712" y="1724"/>
                      </a:lnTo>
                      <a:lnTo>
                        <a:pt x="715" y="1728"/>
                      </a:lnTo>
                      <a:lnTo>
                        <a:pt x="719" y="1731"/>
                      </a:lnTo>
                      <a:lnTo>
                        <a:pt x="725" y="1733"/>
                      </a:lnTo>
                      <a:lnTo>
                        <a:pt x="736" y="1738"/>
                      </a:lnTo>
                      <a:lnTo>
                        <a:pt x="744" y="1740"/>
                      </a:lnTo>
                      <a:lnTo>
                        <a:pt x="741" y="1749"/>
                      </a:lnTo>
                      <a:lnTo>
                        <a:pt x="738" y="1756"/>
                      </a:lnTo>
                      <a:lnTo>
                        <a:pt x="734" y="1763"/>
                      </a:lnTo>
                      <a:lnTo>
                        <a:pt x="728" y="1769"/>
                      </a:lnTo>
                      <a:lnTo>
                        <a:pt x="722" y="1774"/>
                      </a:lnTo>
                      <a:lnTo>
                        <a:pt x="715" y="1779"/>
                      </a:lnTo>
                      <a:lnTo>
                        <a:pt x="707" y="1785"/>
                      </a:lnTo>
                      <a:lnTo>
                        <a:pt x="698" y="1790"/>
                      </a:lnTo>
                      <a:lnTo>
                        <a:pt x="696" y="1796"/>
                      </a:lnTo>
                      <a:lnTo>
                        <a:pt x="698" y="1801"/>
                      </a:lnTo>
                      <a:lnTo>
                        <a:pt x="700" y="1806"/>
                      </a:lnTo>
                      <a:lnTo>
                        <a:pt x="702" y="1809"/>
                      </a:lnTo>
                      <a:lnTo>
                        <a:pt x="706" y="1812"/>
                      </a:lnTo>
                      <a:lnTo>
                        <a:pt x="711" y="1815"/>
                      </a:lnTo>
                      <a:lnTo>
                        <a:pt x="716" y="1817"/>
                      </a:lnTo>
                      <a:lnTo>
                        <a:pt x="722" y="1819"/>
                      </a:lnTo>
                      <a:lnTo>
                        <a:pt x="734" y="1823"/>
                      </a:lnTo>
                      <a:lnTo>
                        <a:pt x="747" y="1828"/>
                      </a:lnTo>
                      <a:lnTo>
                        <a:pt x="754" y="1831"/>
                      </a:lnTo>
                      <a:lnTo>
                        <a:pt x="759" y="1835"/>
                      </a:lnTo>
                      <a:lnTo>
                        <a:pt x="766" y="1840"/>
                      </a:lnTo>
                      <a:lnTo>
                        <a:pt x="771" y="1845"/>
                      </a:lnTo>
                      <a:lnTo>
                        <a:pt x="781" y="1854"/>
                      </a:lnTo>
                      <a:lnTo>
                        <a:pt x="794" y="1861"/>
                      </a:lnTo>
                      <a:lnTo>
                        <a:pt x="807" y="1868"/>
                      </a:lnTo>
                      <a:lnTo>
                        <a:pt x="823" y="1875"/>
                      </a:lnTo>
                      <a:lnTo>
                        <a:pt x="856" y="1887"/>
                      </a:lnTo>
                      <a:lnTo>
                        <a:pt x="890" y="1901"/>
                      </a:lnTo>
                      <a:lnTo>
                        <a:pt x="897" y="1901"/>
                      </a:lnTo>
                      <a:lnTo>
                        <a:pt x="950" y="1919"/>
                      </a:lnTo>
                      <a:lnTo>
                        <a:pt x="996" y="1931"/>
                      </a:lnTo>
                      <a:lnTo>
                        <a:pt x="1024" y="1919"/>
                      </a:lnTo>
                      <a:lnTo>
                        <a:pt x="1070" y="1937"/>
                      </a:lnTo>
                      <a:lnTo>
                        <a:pt x="1096" y="1956"/>
                      </a:lnTo>
                      <a:lnTo>
                        <a:pt x="1136" y="1950"/>
                      </a:lnTo>
                      <a:lnTo>
                        <a:pt x="1176" y="1962"/>
                      </a:lnTo>
                      <a:lnTo>
                        <a:pt x="1203" y="1980"/>
                      </a:lnTo>
                      <a:lnTo>
                        <a:pt x="1249" y="2005"/>
                      </a:lnTo>
                      <a:lnTo>
                        <a:pt x="1282" y="2030"/>
                      </a:lnTo>
                      <a:lnTo>
                        <a:pt x="1316" y="2048"/>
                      </a:lnTo>
                      <a:lnTo>
                        <a:pt x="1342" y="2011"/>
                      </a:lnTo>
                      <a:lnTo>
                        <a:pt x="1355" y="2011"/>
                      </a:lnTo>
                      <a:lnTo>
                        <a:pt x="1350" y="2009"/>
                      </a:lnTo>
                      <a:lnTo>
                        <a:pt x="1345" y="2006"/>
                      </a:lnTo>
                      <a:lnTo>
                        <a:pt x="1341" y="2001"/>
                      </a:lnTo>
                      <a:lnTo>
                        <a:pt x="1337" y="1998"/>
                      </a:lnTo>
                      <a:lnTo>
                        <a:pt x="1333" y="1994"/>
                      </a:lnTo>
                      <a:lnTo>
                        <a:pt x="1331" y="1989"/>
                      </a:lnTo>
                      <a:lnTo>
                        <a:pt x="1329" y="1985"/>
                      </a:lnTo>
                      <a:lnTo>
                        <a:pt x="1329" y="1980"/>
                      </a:lnTo>
                      <a:lnTo>
                        <a:pt x="1318" y="1972"/>
                      </a:lnTo>
                      <a:lnTo>
                        <a:pt x="1296" y="1952"/>
                      </a:lnTo>
                      <a:lnTo>
                        <a:pt x="1283" y="1941"/>
                      </a:lnTo>
                      <a:lnTo>
                        <a:pt x="1273" y="1931"/>
                      </a:lnTo>
                      <a:lnTo>
                        <a:pt x="1265" y="1923"/>
                      </a:lnTo>
                      <a:lnTo>
                        <a:pt x="1262" y="1919"/>
                      </a:lnTo>
                      <a:lnTo>
                        <a:pt x="1255" y="1887"/>
                      </a:lnTo>
                      <a:lnTo>
                        <a:pt x="1255" y="1869"/>
                      </a:lnTo>
                      <a:lnTo>
                        <a:pt x="1245" y="1869"/>
                      </a:lnTo>
                      <a:lnTo>
                        <a:pt x="1237" y="1866"/>
                      </a:lnTo>
                      <a:lnTo>
                        <a:pt x="1229" y="1862"/>
                      </a:lnTo>
                      <a:lnTo>
                        <a:pt x="1222" y="1857"/>
                      </a:lnTo>
                      <a:lnTo>
                        <a:pt x="1217" y="1851"/>
                      </a:lnTo>
                      <a:lnTo>
                        <a:pt x="1212" y="1844"/>
                      </a:lnTo>
                      <a:lnTo>
                        <a:pt x="1210" y="1835"/>
                      </a:lnTo>
                      <a:lnTo>
                        <a:pt x="1209" y="1826"/>
                      </a:lnTo>
                      <a:lnTo>
                        <a:pt x="1210" y="1821"/>
                      </a:lnTo>
                      <a:lnTo>
                        <a:pt x="1212" y="1814"/>
                      </a:lnTo>
                      <a:lnTo>
                        <a:pt x="1216" y="1807"/>
                      </a:lnTo>
                      <a:lnTo>
                        <a:pt x="1220" y="1799"/>
                      </a:lnTo>
                      <a:lnTo>
                        <a:pt x="1229" y="1786"/>
                      </a:lnTo>
                      <a:lnTo>
                        <a:pt x="1236" y="1777"/>
                      </a:lnTo>
                      <a:lnTo>
                        <a:pt x="1254" y="1767"/>
                      </a:lnTo>
                      <a:lnTo>
                        <a:pt x="1272" y="1758"/>
                      </a:lnTo>
                      <a:lnTo>
                        <a:pt x="1287" y="1749"/>
                      </a:lnTo>
                      <a:lnTo>
                        <a:pt x="1303" y="1740"/>
                      </a:lnTo>
                      <a:lnTo>
                        <a:pt x="1309" y="1728"/>
                      </a:lnTo>
                      <a:lnTo>
                        <a:pt x="1282" y="1721"/>
                      </a:lnTo>
                      <a:lnTo>
                        <a:pt x="1309" y="1703"/>
                      </a:lnTo>
                      <a:lnTo>
                        <a:pt x="1282" y="1679"/>
                      </a:lnTo>
                      <a:lnTo>
                        <a:pt x="1255" y="1654"/>
                      </a:lnTo>
                      <a:lnTo>
                        <a:pt x="1216" y="1654"/>
                      </a:lnTo>
                      <a:lnTo>
                        <a:pt x="1203" y="1629"/>
                      </a:lnTo>
                      <a:lnTo>
                        <a:pt x="1183" y="1617"/>
                      </a:lnTo>
                      <a:lnTo>
                        <a:pt x="1176" y="1586"/>
                      </a:lnTo>
                      <a:lnTo>
                        <a:pt x="1176" y="1549"/>
                      </a:lnTo>
                      <a:lnTo>
                        <a:pt x="1189" y="1524"/>
                      </a:lnTo>
                      <a:lnTo>
                        <a:pt x="1196" y="1499"/>
                      </a:lnTo>
                      <a:lnTo>
                        <a:pt x="1229" y="1518"/>
                      </a:lnTo>
                      <a:lnTo>
                        <a:pt x="1262" y="1530"/>
                      </a:lnTo>
                      <a:lnTo>
                        <a:pt x="1282" y="1524"/>
                      </a:lnTo>
                      <a:lnTo>
                        <a:pt x="1255" y="1493"/>
                      </a:lnTo>
                      <a:lnTo>
                        <a:pt x="1289" y="1475"/>
                      </a:lnTo>
                      <a:lnTo>
                        <a:pt x="1322" y="1444"/>
                      </a:lnTo>
                      <a:lnTo>
                        <a:pt x="1355" y="1438"/>
                      </a:lnTo>
                      <a:lnTo>
                        <a:pt x="1395" y="1438"/>
                      </a:lnTo>
                      <a:lnTo>
                        <a:pt x="1422" y="1426"/>
                      </a:lnTo>
                      <a:lnTo>
                        <a:pt x="1468" y="1438"/>
                      </a:lnTo>
                      <a:lnTo>
                        <a:pt x="1514" y="1457"/>
                      </a:lnTo>
                      <a:lnTo>
                        <a:pt x="1555" y="1493"/>
                      </a:lnTo>
                      <a:lnTo>
                        <a:pt x="1601" y="1487"/>
                      </a:lnTo>
                      <a:lnTo>
                        <a:pt x="1641" y="1469"/>
                      </a:lnTo>
                      <a:lnTo>
                        <a:pt x="1674" y="1469"/>
                      </a:lnTo>
                      <a:lnTo>
                        <a:pt x="1714" y="1463"/>
                      </a:lnTo>
                      <a:lnTo>
                        <a:pt x="1754" y="1481"/>
                      </a:lnTo>
                      <a:lnTo>
                        <a:pt x="1800" y="1493"/>
                      </a:lnTo>
                      <a:lnTo>
                        <a:pt x="1847" y="1487"/>
                      </a:lnTo>
                      <a:lnTo>
                        <a:pt x="1893" y="1469"/>
                      </a:lnTo>
                      <a:lnTo>
                        <a:pt x="1893" y="1444"/>
                      </a:lnTo>
                      <a:lnTo>
                        <a:pt x="1860" y="1438"/>
                      </a:lnTo>
                      <a:lnTo>
                        <a:pt x="1821" y="1426"/>
                      </a:lnTo>
                      <a:lnTo>
                        <a:pt x="1793" y="1414"/>
                      </a:lnTo>
                      <a:lnTo>
                        <a:pt x="1834" y="1401"/>
                      </a:lnTo>
                      <a:lnTo>
                        <a:pt x="1827" y="1364"/>
                      </a:lnTo>
                      <a:lnTo>
                        <a:pt x="1880" y="1358"/>
                      </a:lnTo>
                      <a:lnTo>
                        <a:pt x="1814" y="1309"/>
                      </a:lnTo>
                      <a:lnTo>
                        <a:pt x="1920" y="1291"/>
                      </a:lnTo>
                      <a:lnTo>
                        <a:pt x="2006" y="1284"/>
                      </a:lnTo>
                      <a:lnTo>
                        <a:pt x="2020" y="1259"/>
                      </a:lnTo>
                      <a:lnTo>
                        <a:pt x="2080" y="1253"/>
                      </a:lnTo>
                      <a:lnTo>
                        <a:pt x="2139" y="1241"/>
                      </a:lnTo>
                      <a:lnTo>
                        <a:pt x="2159" y="1216"/>
                      </a:lnTo>
                      <a:lnTo>
                        <a:pt x="2226" y="1229"/>
                      </a:lnTo>
                      <a:lnTo>
                        <a:pt x="2265" y="1222"/>
                      </a:lnTo>
                      <a:lnTo>
                        <a:pt x="2292" y="1241"/>
                      </a:lnTo>
                      <a:lnTo>
                        <a:pt x="2298" y="1291"/>
                      </a:lnTo>
                      <a:lnTo>
                        <a:pt x="2339" y="1291"/>
                      </a:lnTo>
                      <a:lnTo>
                        <a:pt x="2352" y="1277"/>
                      </a:lnTo>
                      <a:lnTo>
                        <a:pt x="2372" y="1291"/>
                      </a:lnTo>
                      <a:lnTo>
                        <a:pt x="2411" y="1297"/>
                      </a:lnTo>
                      <a:lnTo>
                        <a:pt x="2431" y="1297"/>
                      </a:lnTo>
                      <a:lnTo>
                        <a:pt x="2431" y="1333"/>
                      </a:lnTo>
                      <a:lnTo>
                        <a:pt x="2472" y="1327"/>
                      </a:lnTo>
                      <a:lnTo>
                        <a:pt x="2511" y="1309"/>
                      </a:lnTo>
                      <a:lnTo>
                        <a:pt x="2551" y="1277"/>
                      </a:lnTo>
                      <a:lnTo>
                        <a:pt x="2577" y="1265"/>
                      </a:lnTo>
                      <a:lnTo>
                        <a:pt x="2577" y="1297"/>
                      </a:lnTo>
                      <a:lnTo>
                        <a:pt x="2618" y="1315"/>
                      </a:lnTo>
                      <a:lnTo>
                        <a:pt x="2664" y="1333"/>
                      </a:lnTo>
                      <a:lnTo>
                        <a:pt x="2704" y="1376"/>
                      </a:lnTo>
                      <a:lnTo>
                        <a:pt x="2757" y="1420"/>
                      </a:lnTo>
                      <a:lnTo>
                        <a:pt x="2803" y="1457"/>
                      </a:lnTo>
                      <a:lnTo>
                        <a:pt x="2823" y="1487"/>
                      </a:lnTo>
                      <a:lnTo>
                        <a:pt x="2836" y="1457"/>
                      </a:lnTo>
                      <a:lnTo>
                        <a:pt x="2864" y="1451"/>
                      </a:lnTo>
                      <a:lnTo>
                        <a:pt x="2884" y="1475"/>
                      </a:lnTo>
                      <a:lnTo>
                        <a:pt x="2923" y="1487"/>
                      </a:lnTo>
                      <a:lnTo>
                        <a:pt x="2969" y="1481"/>
                      </a:lnTo>
                      <a:lnTo>
                        <a:pt x="2997" y="1469"/>
                      </a:lnTo>
                      <a:lnTo>
                        <a:pt x="3036" y="1499"/>
                      </a:lnTo>
                      <a:lnTo>
                        <a:pt x="3082" y="1524"/>
                      </a:lnTo>
                      <a:lnTo>
                        <a:pt x="3123" y="1549"/>
                      </a:lnTo>
                      <a:lnTo>
                        <a:pt x="3176" y="1555"/>
                      </a:lnTo>
                      <a:lnTo>
                        <a:pt x="3182" y="1562"/>
                      </a:lnTo>
                      <a:lnTo>
                        <a:pt x="3186" y="1560"/>
                      </a:lnTo>
                      <a:lnTo>
                        <a:pt x="3189" y="1557"/>
                      </a:lnTo>
                      <a:lnTo>
                        <a:pt x="3193" y="1556"/>
                      </a:lnTo>
                      <a:lnTo>
                        <a:pt x="3198" y="1555"/>
                      </a:lnTo>
                      <a:lnTo>
                        <a:pt x="3211" y="1555"/>
                      </a:lnTo>
                      <a:lnTo>
                        <a:pt x="3228" y="1555"/>
                      </a:lnTo>
                      <a:lnTo>
                        <a:pt x="3234" y="1554"/>
                      </a:lnTo>
                      <a:lnTo>
                        <a:pt x="3239" y="1552"/>
                      </a:lnTo>
                      <a:lnTo>
                        <a:pt x="3246" y="1549"/>
                      </a:lnTo>
                      <a:lnTo>
                        <a:pt x="3251" y="1546"/>
                      </a:lnTo>
                      <a:lnTo>
                        <a:pt x="3261" y="1539"/>
                      </a:lnTo>
                      <a:lnTo>
                        <a:pt x="3269" y="1537"/>
                      </a:lnTo>
                      <a:lnTo>
                        <a:pt x="3278" y="1536"/>
                      </a:lnTo>
                      <a:lnTo>
                        <a:pt x="3288" y="1534"/>
                      </a:lnTo>
                      <a:lnTo>
                        <a:pt x="3296" y="1531"/>
                      </a:lnTo>
                      <a:lnTo>
                        <a:pt x="3304" y="1527"/>
                      </a:lnTo>
                      <a:lnTo>
                        <a:pt x="3320" y="1517"/>
                      </a:lnTo>
                      <a:lnTo>
                        <a:pt x="3335" y="1506"/>
                      </a:lnTo>
                      <a:lnTo>
                        <a:pt x="3350" y="1494"/>
                      </a:lnTo>
                      <a:lnTo>
                        <a:pt x="3366" y="1485"/>
                      </a:lnTo>
                      <a:lnTo>
                        <a:pt x="3374" y="1481"/>
                      </a:lnTo>
                      <a:lnTo>
                        <a:pt x="3383" y="1478"/>
                      </a:lnTo>
                      <a:lnTo>
                        <a:pt x="3392" y="1476"/>
                      </a:lnTo>
                      <a:lnTo>
                        <a:pt x="3402" y="1475"/>
                      </a:lnTo>
                      <a:lnTo>
                        <a:pt x="3413" y="1476"/>
                      </a:lnTo>
                      <a:lnTo>
                        <a:pt x="3423" y="1477"/>
                      </a:lnTo>
                      <a:lnTo>
                        <a:pt x="3432" y="1479"/>
                      </a:lnTo>
                      <a:lnTo>
                        <a:pt x="3439" y="1481"/>
                      </a:lnTo>
                      <a:lnTo>
                        <a:pt x="3447" y="1483"/>
                      </a:lnTo>
                      <a:lnTo>
                        <a:pt x="3453" y="1485"/>
                      </a:lnTo>
                      <a:lnTo>
                        <a:pt x="3461" y="1487"/>
                      </a:lnTo>
                      <a:lnTo>
                        <a:pt x="3468" y="1487"/>
                      </a:lnTo>
                      <a:lnTo>
                        <a:pt x="3494" y="1475"/>
                      </a:lnTo>
                      <a:lnTo>
                        <a:pt x="3507" y="1475"/>
                      </a:lnTo>
                      <a:lnTo>
                        <a:pt x="3522" y="1475"/>
                      </a:lnTo>
                      <a:lnTo>
                        <a:pt x="3522" y="1483"/>
                      </a:lnTo>
                      <a:lnTo>
                        <a:pt x="3524" y="1490"/>
                      </a:lnTo>
                      <a:lnTo>
                        <a:pt x="3526" y="1496"/>
                      </a:lnTo>
                      <a:lnTo>
                        <a:pt x="3528" y="1501"/>
                      </a:lnTo>
                      <a:lnTo>
                        <a:pt x="3535" y="1510"/>
                      </a:lnTo>
                      <a:lnTo>
                        <a:pt x="3541" y="1518"/>
                      </a:lnTo>
                      <a:lnTo>
                        <a:pt x="3720" y="1518"/>
                      </a:lnTo>
                      <a:lnTo>
                        <a:pt x="3721" y="1510"/>
                      </a:lnTo>
                      <a:lnTo>
                        <a:pt x="3720" y="1501"/>
                      </a:lnTo>
                      <a:lnTo>
                        <a:pt x="3718" y="1494"/>
                      </a:lnTo>
                      <a:lnTo>
                        <a:pt x="3716" y="1488"/>
                      </a:lnTo>
                      <a:lnTo>
                        <a:pt x="3713" y="1482"/>
                      </a:lnTo>
                      <a:lnTo>
                        <a:pt x="3708" y="1477"/>
                      </a:lnTo>
                      <a:lnTo>
                        <a:pt x="3704" y="1472"/>
                      </a:lnTo>
                      <a:lnTo>
                        <a:pt x="3699" y="1467"/>
                      </a:lnTo>
                      <a:lnTo>
                        <a:pt x="3691" y="1459"/>
                      </a:lnTo>
                      <a:lnTo>
                        <a:pt x="3682" y="1449"/>
                      </a:lnTo>
                      <a:lnTo>
                        <a:pt x="3679" y="1443"/>
                      </a:lnTo>
                      <a:lnTo>
                        <a:pt x="3676" y="1438"/>
                      </a:lnTo>
                      <a:lnTo>
                        <a:pt x="3674" y="1432"/>
                      </a:lnTo>
                      <a:lnTo>
                        <a:pt x="3674" y="1426"/>
                      </a:lnTo>
                      <a:lnTo>
                        <a:pt x="3674" y="1418"/>
                      </a:lnTo>
                      <a:lnTo>
                        <a:pt x="3674" y="1411"/>
                      </a:lnTo>
                      <a:lnTo>
                        <a:pt x="3674" y="1404"/>
                      </a:lnTo>
                      <a:lnTo>
                        <a:pt x="3674" y="1395"/>
                      </a:lnTo>
                      <a:lnTo>
                        <a:pt x="3687" y="1388"/>
                      </a:lnTo>
                      <a:lnTo>
                        <a:pt x="3880" y="1426"/>
                      </a:lnTo>
                      <a:lnTo>
                        <a:pt x="3883" y="1437"/>
                      </a:lnTo>
                      <a:lnTo>
                        <a:pt x="3886" y="1446"/>
                      </a:lnTo>
                      <a:lnTo>
                        <a:pt x="3890" y="1456"/>
                      </a:lnTo>
                      <a:lnTo>
                        <a:pt x="3895" y="1464"/>
                      </a:lnTo>
                      <a:lnTo>
                        <a:pt x="3900" y="1472"/>
                      </a:lnTo>
                      <a:lnTo>
                        <a:pt x="3906" y="1478"/>
                      </a:lnTo>
                      <a:lnTo>
                        <a:pt x="3914" y="1484"/>
                      </a:lnTo>
                      <a:lnTo>
                        <a:pt x="3920" y="1489"/>
                      </a:lnTo>
                      <a:lnTo>
                        <a:pt x="3929" y="1493"/>
                      </a:lnTo>
                      <a:lnTo>
                        <a:pt x="3938" y="1496"/>
                      </a:lnTo>
                      <a:lnTo>
                        <a:pt x="3948" y="1499"/>
                      </a:lnTo>
                      <a:lnTo>
                        <a:pt x="3957" y="1502"/>
                      </a:lnTo>
                      <a:lnTo>
                        <a:pt x="3968" y="1504"/>
                      </a:lnTo>
                      <a:lnTo>
                        <a:pt x="3981" y="1505"/>
                      </a:lnTo>
                      <a:lnTo>
                        <a:pt x="3993" y="1506"/>
                      </a:lnTo>
                      <a:lnTo>
                        <a:pt x="4006" y="1506"/>
                      </a:lnTo>
                      <a:lnTo>
                        <a:pt x="4018" y="1506"/>
                      </a:lnTo>
                      <a:lnTo>
                        <a:pt x="4029" y="1502"/>
                      </a:lnTo>
                      <a:lnTo>
                        <a:pt x="4039" y="1500"/>
                      </a:lnTo>
                      <a:lnTo>
                        <a:pt x="4050" y="1496"/>
                      </a:lnTo>
                      <a:lnTo>
                        <a:pt x="4060" y="1493"/>
                      </a:lnTo>
                      <a:lnTo>
                        <a:pt x="4069" y="1490"/>
                      </a:lnTo>
                      <a:lnTo>
                        <a:pt x="4080" y="1488"/>
                      </a:lnTo>
                      <a:lnTo>
                        <a:pt x="4093" y="1487"/>
                      </a:lnTo>
                      <a:lnTo>
                        <a:pt x="4108" y="1488"/>
                      </a:lnTo>
                      <a:lnTo>
                        <a:pt x="4123" y="1490"/>
                      </a:lnTo>
                      <a:lnTo>
                        <a:pt x="4136" y="1492"/>
                      </a:lnTo>
                      <a:lnTo>
                        <a:pt x="4150" y="1496"/>
                      </a:lnTo>
                      <a:lnTo>
                        <a:pt x="4162" y="1500"/>
                      </a:lnTo>
                      <a:lnTo>
                        <a:pt x="4173" y="1506"/>
                      </a:lnTo>
                      <a:lnTo>
                        <a:pt x="4184" y="1511"/>
                      </a:lnTo>
                      <a:lnTo>
                        <a:pt x="4195" y="1517"/>
                      </a:lnTo>
                      <a:lnTo>
                        <a:pt x="4214" y="1528"/>
                      </a:lnTo>
                      <a:lnTo>
                        <a:pt x="4233" y="1539"/>
                      </a:lnTo>
                      <a:lnTo>
                        <a:pt x="4243" y="1544"/>
                      </a:lnTo>
                      <a:lnTo>
                        <a:pt x="4253" y="1548"/>
                      </a:lnTo>
                      <a:lnTo>
                        <a:pt x="4262" y="1552"/>
                      </a:lnTo>
                      <a:lnTo>
                        <a:pt x="4272" y="1555"/>
                      </a:lnTo>
                      <a:lnTo>
                        <a:pt x="4306" y="1555"/>
                      </a:lnTo>
                      <a:lnTo>
                        <a:pt x="4334" y="1555"/>
                      </a:lnTo>
                      <a:lnTo>
                        <a:pt x="4358" y="1555"/>
                      </a:lnTo>
                      <a:lnTo>
                        <a:pt x="4378" y="1555"/>
                      </a:lnTo>
                      <a:lnTo>
                        <a:pt x="4396" y="1555"/>
                      </a:lnTo>
                      <a:lnTo>
                        <a:pt x="4412" y="1555"/>
                      </a:lnTo>
                      <a:lnTo>
                        <a:pt x="4427" y="1555"/>
                      </a:lnTo>
                      <a:lnTo>
                        <a:pt x="4445" y="1555"/>
                      </a:lnTo>
                      <a:lnTo>
                        <a:pt x="4455" y="1554"/>
                      </a:lnTo>
                      <a:lnTo>
                        <a:pt x="4464" y="1553"/>
                      </a:lnTo>
                      <a:lnTo>
                        <a:pt x="4470" y="1550"/>
                      </a:lnTo>
                      <a:lnTo>
                        <a:pt x="4476" y="1547"/>
                      </a:lnTo>
                      <a:lnTo>
                        <a:pt x="4480" y="1544"/>
                      </a:lnTo>
                      <a:lnTo>
                        <a:pt x="4485" y="1539"/>
                      </a:lnTo>
                      <a:lnTo>
                        <a:pt x="4488" y="1535"/>
                      </a:lnTo>
                      <a:lnTo>
                        <a:pt x="4490" y="1530"/>
                      </a:lnTo>
                      <a:lnTo>
                        <a:pt x="4495" y="1522"/>
                      </a:lnTo>
                      <a:lnTo>
                        <a:pt x="4503" y="1514"/>
                      </a:lnTo>
                      <a:lnTo>
                        <a:pt x="4509" y="1511"/>
                      </a:lnTo>
                      <a:lnTo>
                        <a:pt x="4514" y="1508"/>
                      </a:lnTo>
                      <a:lnTo>
                        <a:pt x="4522" y="1507"/>
                      </a:lnTo>
                      <a:lnTo>
                        <a:pt x="4531" y="1506"/>
                      </a:lnTo>
                      <a:lnTo>
                        <a:pt x="4554" y="1507"/>
                      </a:lnTo>
                      <a:lnTo>
                        <a:pt x="4577" y="1509"/>
                      </a:lnTo>
                      <a:lnTo>
                        <a:pt x="4599" y="1512"/>
                      </a:lnTo>
                      <a:lnTo>
                        <a:pt x="4620" y="1515"/>
                      </a:lnTo>
                      <a:lnTo>
                        <a:pt x="4651" y="1522"/>
                      </a:lnTo>
                      <a:lnTo>
                        <a:pt x="4663" y="1524"/>
                      </a:lnTo>
                      <a:lnTo>
                        <a:pt x="4678" y="1524"/>
                      </a:lnTo>
                      <a:lnTo>
                        <a:pt x="4690" y="1524"/>
                      </a:lnTo>
                      <a:lnTo>
                        <a:pt x="4700" y="1524"/>
                      </a:lnTo>
                      <a:lnTo>
                        <a:pt x="4711" y="1524"/>
                      </a:lnTo>
                      <a:lnTo>
                        <a:pt x="4718" y="1524"/>
                      </a:lnTo>
                      <a:lnTo>
                        <a:pt x="4727" y="1521"/>
                      </a:lnTo>
                      <a:lnTo>
                        <a:pt x="4737" y="1518"/>
                      </a:lnTo>
                      <a:lnTo>
                        <a:pt x="4746" y="1513"/>
                      </a:lnTo>
                      <a:lnTo>
                        <a:pt x="4755" y="1508"/>
                      </a:lnTo>
                      <a:lnTo>
                        <a:pt x="4763" y="1501"/>
                      </a:lnTo>
                      <a:lnTo>
                        <a:pt x="4771" y="1494"/>
                      </a:lnTo>
                      <a:lnTo>
                        <a:pt x="4777" y="1487"/>
                      </a:lnTo>
                      <a:lnTo>
                        <a:pt x="4771" y="1484"/>
                      </a:lnTo>
                      <a:lnTo>
                        <a:pt x="4766" y="1481"/>
                      </a:lnTo>
                      <a:lnTo>
                        <a:pt x="4760" y="1476"/>
                      </a:lnTo>
                      <a:lnTo>
                        <a:pt x="4756" y="1471"/>
                      </a:lnTo>
                      <a:lnTo>
                        <a:pt x="4750" y="1465"/>
                      </a:lnTo>
                      <a:lnTo>
                        <a:pt x="4747" y="1458"/>
                      </a:lnTo>
                      <a:lnTo>
                        <a:pt x="4745" y="1452"/>
                      </a:lnTo>
                      <a:lnTo>
                        <a:pt x="4744" y="1444"/>
                      </a:lnTo>
                      <a:lnTo>
                        <a:pt x="4745" y="1435"/>
                      </a:lnTo>
                      <a:lnTo>
                        <a:pt x="4747" y="1428"/>
                      </a:lnTo>
                      <a:lnTo>
                        <a:pt x="4750" y="1422"/>
                      </a:lnTo>
                      <a:lnTo>
                        <a:pt x="4754" y="1417"/>
                      </a:lnTo>
                      <a:lnTo>
                        <a:pt x="4757" y="1411"/>
                      </a:lnTo>
                      <a:lnTo>
                        <a:pt x="4760" y="1405"/>
                      </a:lnTo>
                      <a:lnTo>
                        <a:pt x="4762" y="1398"/>
                      </a:lnTo>
                      <a:lnTo>
                        <a:pt x="4763" y="1388"/>
                      </a:lnTo>
                      <a:lnTo>
                        <a:pt x="4763" y="1382"/>
                      </a:lnTo>
                      <a:lnTo>
                        <a:pt x="4761" y="1377"/>
                      </a:lnTo>
                      <a:lnTo>
                        <a:pt x="4759" y="1372"/>
                      </a:lnTo>
                      <a:lnTo>
                        <a:pt x="4756" y="1369"/>
                      </a:lnTo>
                      <a:lnTo>
                        <a:pt x="4747" y="1363"/>
                      </a:lnTo>
                      <a:lnTo>
                        <a:pt x="4737" y="1359"/>
                      </a:lnTo>
                      <a:lnTo>
                        <a:pt x="4727" y="1355"/>
                      </a:lnTo>
                      <a:lnTo>
                        <a:pt x="4718" y="1350"/>
                      </a:lnTo>
                      <a:lnTo>
                        <a:pt x="4715" y="1347"/>
                      </a:lnTo>
                      <a:lnTo>
                        <a:pt x="4713" y="1343"/>
                      </a:lnTo>
                      <a:lnTo>
                        <a:pt x="4711" y="1339"/>
                      </a:lnTo>
                      <a:lnTo>
                        <a:pt x="4711" y="1333"/>
                      </a:lnTo>
                      <a:lnTo>
                        <a:pt x="4711" y="1324"/>
                      </a:lnTo>
                      <a:lnTo>
                        <a:pt x="4711" y="1315"/>
                      </a:lnTo>
                      <a:lnTo>
                        <a:pt x="4830" y="1297"/>
                      </a:lnTo>
                      <a:lnTo>
                        <a:pt x="4869" y="1307"/>
                      </a:lnTo>
                      <a:lnTo>
                        <a:pt x="4898" y="1315"/>
                      </a:lnTo>
                      <a:lnTo>
                        <a:pt x="4928" y="1322"/>
                      </a:lnTo>
                      <a:lnTo>
                        <a:pt x="4963" y="1333"/>
                      </a:lnTo>
                      <a:lnTo>
                        <a:pt x="4974" y="1338"/>
                      </a:lnTo>
                      <a:lnTo>
                        <a:pt x="4985" y="1343"/>
                      </a:lnTo>
                      <a:lnTo>
                        <a:pt x="4995" y="1349"/>
                      </a:lnTo>
                      <a:lnTo>
                        <a:pt x="5005" y="1356"/>
                      </a:lnTo>
                      <a:lnTo>
                        <a:pt x="5021" y="1371"/>
                      </a:lnTo>
                      <a:lnTo>
                        <a:pt x="5038" y="1386"/>
                      </a:lnTo>
                      <a:lnTo>
                        <a:pt x="5046" y="1395"/>
                      </a:lnTo>
                      <a:lnTo>
                        <a:pt x="5054" y="1402"/>
                      </a:lnTo>
                      <a:lnTo>
                        <a:pt x="5063" y="1408"/>
                      </a:lnTo>
                      <a:lnTo>
                        <a:pt x="5073" y="1414"/>
                      </a:lnTo>
                      <a:lnTo>
                        <a:pt x="5084" y="1419"/>
                      </a:lnTo>
                      <a:lnTo>
                        <a:pt x="5095" y="1423"/>
                      </a:lnTo>
                      <a:lnTo>
                        <a:pt x="5108" y="1425"/>
                      </a:lnTo>
                      <a:lnTo>
                        <a:pt x="5122" y="1426"/>
                      </a:lnTo>
                      <a:lnTo>
                        <a:pt x="5127" y="1438"/>
                      </a:lnTo>
                      <a:lnTo>
                        <a:pt x="5132" y="1449"/>
                      </a:lnTo>
                      <a:lnTo>
                        <a:pt x="5139" y="1459"/>
                      </a:lnTo>
                      <a:lnTo>
                        <a:pt x="5148" y="1468"/>
                      </a:lnTo>
                      <a:lnTo>
                        <a:pt x="5156" y="1476"/>
                      </a:lnTo>
                      <a:lnTo>
                        <a:pt x="5166" y="1484"/>
                      </a:lnTo>
                      <a:lnTo>
                        <a:pt x="5176" y="1490"/>
                      </a:lnTo>
                      <a:lnTo>
                        <a:pt x="5188" y="1496"/>
                      </a:lnTo>
                      <a:lnTo>
                        <a:pt x="5199" y="1502"/>
                      </a:lnTo>
                      <a:lnTo>
                        <a:pt x="5211" y="1508"/>
                      </a:lnTo>
                      <a:lnTo>
                        <a:pt x="5225" y="1512"/>
                      </a:lnTo>
                      <a:lnTo>
                        <a:pt x="5237" y="1516"/>
                      </a:lnTo>
                      <a:lnTo>
                        <a:pt x="5263" y="1524"/>
                      </a:lnTo>
                      <a:lnTo>
                        <a:pt x="5288" y="1530"/>
                      </a:lnTo>
                      <a:lnTo>
                        <a:pt x="5303" y="1536"/>
                      </a:lnTo>
                      <a:lnTo>
                        <a:pt x="5317" y="1542"/>
                      </a:lnTo>
                      <a:lnTo>
                        <a:pt x="5330" y="1550"/>
                      </a:lnTo>
                      <a:lnTo>
                        <a:pt x="5342" y="1558"/>
                      </a:lnTo>
                      <a:lnTo>
                        <a:pt x="5365" y="1577"/>
                      </a:lnTo>
                      <a:lnTo>
                        <a:pt x="5388" y="1595"/>
                      </a:lnTo>
                      <a:lnTo>
                        <a:pt x="5399" y="1604"/>
                      </a:lnTo>
                      <a:lnTo>
                        <a:pt x="5410" y="1612"/>
                      </a:lnTo>
                      <a:lnTo>
                        <a:pt x="5422" y="1621"/>
                      </a:lnTo>
                      <a:lnTo>
                        <a:pt x="5434" y="1628"/>
                      </a:lnTo>
                      <a:lnTo>
                        <a:pt x="5446" y="1633"/>
                      </a:lnTo>
                      <a:lnTo>
                        <a:pt x="5460" y="1638"/>
                      </a:lnTo>
                      <a:lnTo>
                        <a:pt x="5473" y="1640"/>
                      </a:lnTo>
                      <a:lnTo>
                        <a:pt x="5488" y="1641"/>
                      </a:lnTo>
                      <a:lnTo>
                        <a:pt x="5497" y="1641"/>
                      </a:lnTo>
                      <a:lnTo>
                        <a:pt x="5506" y="1640"/>
                      </a:lnTo>
                      <a:lnTo>
                        <a:pt x="5514" y="1638"/>
                      </a:lnTo>
                      <a:lnTo>
                        <a:pt x="5522" y="1635"/>
                      </a:lnTo>
                      <a:lnTo>
                        <a:pt x="5536" y="1628"/>
                      </a:lnTo>
                      <a:lnTo>
                        <a:pt x="5551" y="1620"/>
                      </a:lnTo>
                      <a:lnTo>
                        <a:pt x="5565" y="1611"/>
                      </a:lnTo>
                      <a:lnTo>
                        <a:pt x="5579" y="1605"/>
                      </a:lnTo>
                      <a:lnTo>
                        <a:pt x="5587" y="1602"/>
                      </a:lnTo>
                      <a:lnTo>
                        <a:pt x="5596" y="1600"/>
                      </a:lnTo>
                      <a:lnTo>
                        <a:pt x="5604" y="1599"/>
                      </a:lnTo>
                      <a:lnTo>
                        <a:pt x="5614" y="1598"/>
                      </a:lnTo>
                      <a:lnTo>
                        <a:pt x="5621" y="1599"/>
                      </a:lnTo>
                      <a:lnTo>
                        <a:pt x="5626" y="1601"/>
                      </a:lnTo>
                      <a:lnTo>
                        <a:pt x="5631" y="1604"/>
                      </a:lnTo>
                      <a:lnTo>
                        <a:pt x="5635" y="1607"/>
                      </a:lnTo>
                      <a:lnTo>
                        <a:pt x="5642" y="1613"/>
                      </a:lnTo>
                      <a:lnTo>
                        <a:pt x="5647" y="1617"/>
                      </a:lnTo>
                      <a:lnTo>
                        <a:pt x="5647" y="1629"/>
                      </a:lnTo>
                      <a:lnTo>
                        <a:pt x="5647" y="1638"/>
                      </a:lnTo>
                      <a:lnTo>
                        <a:pt x="5647" y="1645"/>
                      </a:lnTo>
                      <a:lnTo>
                        <a:pt x="5647" y="1654"/>
                      </a:lnTo>
                      <a:lnTo>
                        <a:pt x="5647" y="1662"/>
                      </a:lnTo>
                      <a:lnTo>
                        <a:pt x="5649" y="1672"/>
                      </a:lnTo>
                      <a:lnTo>
                        <a:pt x="5652" y="1679"/>
                      </a:lnTo>
                      <a:lnTo>
                        <a:pt x="5655" y="1686"/>
                      </a:lnTo>
                      <a:lnTo>
                        <a:pt x="5659" y="1693"/>
                      </a:lnTo>
                      <a:lnTo>
                        <a:pt x="5664" y="1699"/>
                      </a:lnTo>
                      <a:lnTo>
                        <a:pt x="5668" y="1704"/>
                      </a:lnTo>
                      <a:lnTo>
                        <a:pt x="5674" y="1709"/>
                      </a:lnTo>
                      <a:lnTo>
                        <a:pt x="5674" y="1790"/>
                      </a:lnTo>
                      <a:lnTo>
                        <a:pt x="5666" y="1791"/>
                      </a:lnTo>
                      <a:lnTo>
                        <a:pt x="5657" y="1792"/>
                      </a:lnTo>
                      <a:lnTo>
                        <a:pt x="5649" y="1792"/>
                      </a:lnTo>
                      <a:lnTo>
                        <a:pt x="5641" y="1792"/>
                      </a:lnTo>
                      <a:lnTo>
                        <a:pt x="5623" y="1790"/>
                      </a:lnTo>
                      <a:lnTo>
                        <a:pt x="5608" y="1790"/>
                      </a:lnTo>
                      <a:lnTo>
                        <a:pt x="5604" y="1790"/>
                      </a:lnTo>
                      <a:lnTo>
                        <a:pt x="5602" y="1792"/>
                      </a:lnTo>
                      <a:lnTo>
                        <a:pt x="5600" y="1794"/>
                      </a:lnTo>
                      <a:lnTo>
                        <a:pt x="5598" y="1796"/>
                      </a:lnTo>
                      <a:lnTo>
                        <a:pt x="5595" y="1802"/>
                      </a:lnTo>
                      <a:lnTo>
                        <a:pt x="5593" y="1808"/>
                      </a:lnTo>
                      <a:lnTo>
                        <a:pt x="5595" y="1818"/>
                      </a:lnTo>
                      <a:lnTo>
                        <a:pt x="5597" y="1827"/>
                      </a:lnTo>
                      <a:lnTo>
                        <a:pt x="5600" y="1835"/>
                      </a:lnTo>
                      <a:lnTo>
                        <a:pt x="5604" y="1844"/>
                      </a:lnTo>
                      <a:lnTo>
                        <a:pt x="5609" y="1852"/>
                      </a:lnTo>
                      <a:lnTo>
                        <a:pt x="5614" y="1859"/>
                      </a:lnTo>
                      <a:lnTo>
                        <a:pt x="5620" y="1865"/>
                      </a:lnTo>
                      <a:lnTo>
                        <a:pt x="5626" y="1871"/>
                      </a:lnTo>
                      <a:lnTo>
                        <a:pt x="5637" y="1881"/>
                      </a:lnTo>
                      <a:lnTo>
                        <a:pt x="5647" y="1890"/>
                      </a:lnTo>
                      <a:lnTo>
                        <a:pt x="5651" y="1896"/>
                      </a:lnTo>
                      <a:lnTo>
                        <a:pt x="5653" y="1899"/>
                      </a:lnTo>
                      <a:lnTo>
                        <a:pt x="5654" y="1903"/>
                      </a:lnTo>
                      <a:lnTo>
                        <a:pt x="5654" y="1907"/>
                      </a:lnTo>
                      <a:lnTo>
                        <a:pt x="5747" y="1919"/>
                      </a:lnTo>
                      <a:lnTo>
                        <a:pt x="5754" y="1918"/>
                      </a:lnTo>
                      <a:lnTo>
                        <a:pt x="5761" y="1917"/>
                      </a:lnTo>
                      <a:lnTo>
                        <a:pt x="5768" y="1915"/>
                      </a:lnTo>
                      <a:lnTo>
                        <a:pt x="5775" y="1912"/>
                      </a:lnTo>
                      <a:lnTo>
                        <a:pt x="5780" y="1908"/>
                      </a:lnTo>
                      <a:lnTo>
                        <a:pt x="5786" y="1904"/>
                      </a:lnTo>
                      <a:lnTo>
                        <a:pt x="5792" y="1899"/>
                      </a:lnTo>
                      <a:lnTo>
                        <a:pt x="5797" y="1892"/>
                      </a:lnTo>
                      <a:lnTo>
                        <a:pt x="5807" y="1880"/>
                      </a:lnTo>
                      <a:lnTo>
                        <a:pt x="5815" y="1865"/>
                      </a:lnTo>
                      <a:lnTo>
                        <a:pt x="5823" y="1850"/>
                      </a:lnTo>
                      <a:lnTo>
                        <a:pt x="5830" y="1832"/>
                      </a:lnTo>
                      <a:lnTo>
                        <a:pt x="5835" y="1815"/>
                      </a:lnTo>
                      <a:lnTo>
                        <a:pt x="5841" y="1797"/>
                      </a:lnTo>
                      <a:lnTo>
                        <a:pt x="5845" y="1779"/>
                      </a:lnTo>
                      <a:lnTo>
                        <a:pt x="5847" y="1763"/>
                      </a:lnTo>
                      <a:lnTo>
                        <a:pt x="5852" y="1733"/>
                      </a:lnTo>
                      <a:lnTo>
                        <a:pt x="5853" y="1709"/>
                      </a:lnTo>
                      <a:lnTo>
                        <a:pt x="5853" y="1694"/>
                      </a:lnTo>
                      <a:lnTo>
                        <a:pt x="5853" y="1677"/>
                      </a:lnTo>
                      <a:lnTo>
                        <a:pt x="5853" y="1657"/>
                      </a:lnTo>
                      <a:lnTo>
                        <a:pt x="5853" y="1635"/>
                      </a:lnTo>
                      <a:lnTo>
                        <a:pt x="5853" y="1623"/>
                      </a:lnTo>
                      <a:lnTo>
                        <a:pt x="5853" y="1612"/>
                      </a:lnTo>
                      <a:lnTo>
                        <a:pt x="5855" y="1607"/>
                      </a:lnTo>
                      <a:lnTo>
                        <a:pt x="5858" y="1604"/>
                      </a:lnTo>
                      <a:lnTo>
                        <a:pt x="5865" y="1601"/>
                      </a:lnTo>
                      <a:lnTo>
                        <a:pt x="5873" y="1598"/>
                      </a:lnTo>
                      <a:lnTo>
                        <a:pt x="5873" y="1568"/>
                      </a:lnTo>
                      <a:lnTo>
                        <a:pt x="5867" y="1564"/>
                      </a:lnTo>
                      <a:lnTo>
                        <a:pt x="5859" y="1558"/>
                      </a:lnTo>
                      <a:lnTo>
                        <a:pt x="5850" y="1551"/>
                      </a:lnTo>
                      <a:lnTo>
                        <a:pt x="5843" y="1543"/>
                      </a:lnTo>
                      <a:lnTo>
                        <a:pt x="5835" y="1534"/>
                      </a:lnTo>
                      <a:lnTo>
                        <a:pt x="5830" y="1525"/>
                      </a:lnTo>
                      <a:lnTo>
                        <a:pt x="5827" y="1520"/>
                      </a:lnTo>
                      <a:lnTo>
                        <a:pt x="5826" y="1516"/>
                      </a:lnTo>
                      <a:lnTo>
                        <a:pt x="5826" y="1511"/>
                      </a:lnTo>
                      <a:lnTo>
                        <a:pt x="5826" y="1506"/>
                      </a:lnTo>
                      <a:lnTo>
                        <a:pt x="5816" y="1498"/>
                      </a:lnTo>
                      <a:lnTo>
                        <a:pt x="5808" y="1490"/>
                      </a:lnTo>
                      <a:lnTo>
                        <a:pt x="5799" y="1481"/>
                      </a:lnTo>
                      <a:lnTo>
                        <a:pt x="5791" y="1472"/>
                      </a:lnTo>
                      <a:lnTo>
                        <a:pt x="5776" y="1451"/>
                      </a:lnTo>
                      <a:lnTo>
                        <a:pt x="5761" y="1428"/>
                      </a:lnTo>
                      <a:lnTo>
                        <a:pt x="5748" y="1404"/>
                      </a:lnTo>
                      <a:lnTo>
                        <a:pt x="5735" y="1378"/>
                      </a:lnTo>
                      <a:lnTo>
                        <a:pt x="5721" y="1353"/>
                      </a:lnTo>
                      <a:lnTo>
                        <a:pt x="5707" y="1327"/>
                      </a:lnTo>
                      <a:lnTo>
                        <a:pt x="5700" y="1316"/>
                      </a:lnTo>
                      <a:lnTo>
                        <a:pt x="5692" y="1307"/>
                      </a:lnTo>
                      <a:lnTo>
                        <a:pt x="5684" y="1299"/>
                      </a:lnTo>
                      <a:lnTo>
                        <a:pt x="5674" y="1291"/>
                      </a:lnTo>
                      <a:lnTo>
                        <a:pt x="5664" y="1285"/>
                      </a:lnTo>
                      <a:lnTo>
                        <a:pt x="5652" y="1279"/>
                      </a:lnTo>
                      <a:lnTo>
                        <a:pt x="5640" y="1274"/>
                      </a:lnTo>
                      <a:lnTo>
                        <a:pt x="5628" y="1270"/>
                      </a:lnTo>
                      <a:lnTo>
                        <a:pt x="5600" y="1263"/>
                      </a:lnTo>
                      <a:lnTo>
                        <a:pt x="5570" y="1256"/>
                      </a:lnTo>
                      <a:lnTo>
                        <a:pt x="5540" y="1249"/>
                      </a:lnTo>
                      <a:lnTo>
                        <a:pt x="5508" y="1241"/>
                      </a:lnTo>
                      <a:lnTo>
                        <a:pt x="5503" y="1252"/>
                      </a:lnTo>
                      <a:lnTo>
                        <a:pt x="5500" y="1265"/>
                      </a:lnTo>
                      <a:lnTo>
                        <a:pt x="5498" y="1272"/>
                      </a:lnTo>
                      <a:lnTo>
                        <a:pt x="5496" y="1279"/>
                      </a:lnTo>
                      <a:lnTo>
                        <a:pt x="5492" y="1285"/>
                      </a:lnTo>
                      <a:lnTo>
                        <a:pt x="5488" y="1291"/>
                      </a:lnTo>
                      <a:lnTo>
                        <a:pt x="5483" y="1284"/>
                      </a:lnTo>
                      <a:lnTo>
                        <a:pt x="5476" y="1278"/>
                      </a:lnTo>
                      <a:lnTo>
                        <a:pt x="5469" y="1275"/>
                      </a:lnTo>
                      <a:lnTo>
                        <a:pt x="5462" y="1272"/>
                      </a:lnTo>
                      <a:lnTo>
                        <a:pt x="5446" y="1267"/>
                      </a:lnTo>
                      <a:lnTo>
                        <a:pt x="5431" y="1264"/>
                      </a:lnTo>
                      <a:lnTo>
                        <a:pt x="5423" y="1262"/>
                      </a:lnTo>
                      <a:lnTo>
                        <a:pt x="5417" y="1260"/>
                      </a:lnTo>
                      <a:lnTo>
                        <a:pt x="5411" y="1257"/>
                      </a:lnTo>
                      <a:lnTo>
                        <a:pt x="5406" y="1254"/>
                      </a:lnTo>
                      <a:lnTo>
                        <a:pt x="5401" y="1249"/>
                      </a:lnTo>
                      <a:lnTo>
                        <a:pt x="5398" y="1244"/>
                      </a:lnTo>
                      <a:lnTo>
                        <a:pt x="5396" y="1237"/>
                      </a:lnTo>
                      <a:lnTo>
                        <a:pt x="5395" y="1229"/>
                      </a:lnTo>
                      <a:lnTo>
                        <a:pt x="5378" y="1226"/>
                      </a:lnTo>
                      <a:lnTo>
                        <a:pt x="5341" y="1218"/>
                      </a:lnTo>
                      <a:lnTo>
                        <a:pt x="5322" y="1214"/>
                      </a:lnTo>
                      <a:lnTo>
                        <a:pt x="5305" y="1210"/>
                      </a:lnTo>
                      <a:lnTo>
                        <a:pt x="5293" y="1207"/>
                      </a:lnTo>
                      <a:lnTo>
                        <a:pt x="5288" y="1204"/>
                      </a:lnTo>
                      <a:lnTo>
                        <a:pt x="5289" y="1197"/>
                      </a:lnTo>
                      <a:lnTo>
                        <a:pt x="5293" y="1191"/>
                      </a:lnTo>
                      <a:lnTo>
                        <a:pt x="5298" y="1185"/>
                      </a:lnTo>
                      <a:lnTo>
                        <a:pt x="5304" y="1180"/>
                      </a:lnTo>
                      <a:lnTo>
                        <a:pt x="5319" y="1167"/>
                      </a:lnTo>
                      <a:lnTo>
                        <a:pt x="5334" y="1154"/>
                      </a:lnTo>
                      <a:lnTo>
                        <a:pt x="5331" y="1147"/>
                      </a:lnTo>
                      <a:lnTo>
                        <a:pt x="5329" y="1140"/>
                      </a:lnTo>
                      <a:lnTo>
                        <a:pt x="5328" y="1132"/>
                      </a:lnTo>
                      <a:lnTo>
                        <a:pt x="5329" y="1125"/>
                      </a:lnTo>
                      <a:lnTo>
                        <a:pt x="5331" y="1117"/>
                      </a:lnTo>
                      <a:lnTo>
                        <a:pt x="5334" y="1108"/>
                      </a:lnTo>
                      <a:lnTo>
                        <a:pt x="5339" y="1100"/>
                      </a:lnTo>
                      <a:lnTo>
                        <a:pt x="5343" y="1092"/>
                      </a:lnTo>
                      <a:lnTo>
                        <a:pt x="5365" y="1064"/>
                      </a:lnTo>
                      <a:lnTo>
                        <a:pt x="5382" y="1043"/>
                      </a:lnTo>
                      <a:lnTo>
                        <a:pt x="5382" y="964"/>
                      </a:lnTo>
                      <a:lnTo>
                        <a:pt x="5388" y="962"/>
                      </a:lnTo>
                      <a:lnTo>
                        <a:pt x="5396" y="961"/>
                      </a:lnTo>
                      <a:lnTo>
                        <a:pt x="5402" y="961"/>
                      </a:lnTo>
                      <a:lnTo>
                        <a:pt x="5409" y="962"/>
                      </a:lnTo>
                      <a:lnTo>
                        <a:pt x="5423" y="963"/>
                      </a:lnTo>
                      <a:lnTo>
                        <a:pt x="5441" y="964"/>
                      </a:lnTo>
                      <a:lnTo>
                        <a:pt x="5465" y="964"/>
                      </a:lnTo>
                      <a:lnTo>
                        <a:pt x="5492" y="966"/>
                      </a:lnTo>
                      <a:lnTo>
                        <a:pt x="5521" y="968"/>
                      </a:lnTo>
                      <a:lnTo>
                        <a:pt x="5552" y="970"/>
                      </a:lnTo>
                      <a:lnTo>
                        <a:pt x="5583" y="972"/>
                      </a:lnTo>
                      <a:lnTo>
                        <a:pt x="5612" y="974"/>
                      </a:lnTo>
                      <a:lnTo>
                        <a:pt x="5641" y="975"/>
                      </a:lnTo>
                      <a:lnTo>
                        <a:pt x="5667" y="976"/>
                      </a:lnTo>
                      <a:lnTo>
                        <a:pt x="5671" y="975"/>
                      </a:lnTo>
                      <a:lnTo>
                        <a:pt x="5677" y="972"/>
                      </a:lnTo>
                      <a:lnTo>
                        <a:pt x="5682" y="968"/>
                      </a:lnTo>
                      <a:lnTo>
                        <a:pt x="5687" y="964"/>
                      </a:lnTo>
                      <a:lnTo>
                        <a:pt x="5674" y="945"/>
                      </a:lnTo>
                      <a:lnTo>
                        <a:pt x="5807" y="945"/>
                      </a:lnTo>
                      <a:lnTo>
                        <a:pt x="5809" y="949"/>
                      </a:lnTo>
                      <a:lnTo>
                        <a:pt x="5816" y="955"/>
                      </a:lnTo>
                      <a:lnTo>
                        <a:pt x="5825" y="962"/>
                      </a:lnTo>
                      <a:lnTo>
                        <a:pt x="5836" y="969"/>
                      </a:lnTo>
                      <a:lnTo>
                        <a:pt x="5857" y="982"/>
                      </a:lnTo>
                      <a:lnTo>
                        <a:pt x="5867" y="988"/>
                      </a:lnTo>
                      <a:lnTo>
                        <a:pt x="5871" y="988"/>
                      </a:lnTo>
                      <a:lnTo>
                        <a:pt x="5875" y="987"/>
                      </a:lnTo>
                      <a:lnTo>
                        <a:pt x="5878" y="985"/>
                      </a:lnTo>
                      <a:lnTo>
                        <a:pt x="5880" y="983"/>
                      </a:lnTo>
                      <a:lnTo>
                        <a:pt x="5884" y="979"/>
                      </a:lnTo>
                      <a:lnTo>
                        <a:pt x="5888" y="973"/>
                      </a:lnTo>
                      <a:lnTo>
                        <a:pt x="5892" y="967"/>
                      </a:lnTo>
                      <a:lnTo>
                        <a:pt x="5898" y="963"/>
                      </a:lnTo>
                      <a:lnTo>
                        <a:pt x="5902" y="961"/>
                      </a:lnTo>
                      <a:lnTo>
                        <a:pt x="5906" y="959"/>
                      </a:lnTo>
                      <a:lnTo>
                        <a:pt x="5913" y="958"/>
                      </a:lnTo>
                      <a:lnTo>
                        <a:pt x="5920" y="958"/>
                      </a:lnTo>
                      <a:lnTo>
                        <a:pt x="5911" y="954"/>
                      </a:lnTo>
                      <a:lnTo>
                        <a:pt x="5904" y="950"/>
                      </a:lnTo>
                      <a:lnTo>
                        <a:pt x="5900" y="945"/>
                      </a:lnTo>
                      <a:lnTo>
                        <a:pt x="5897" y="941"/>
                      </a:lnTo>
                      <a:lnTo>
                        <a:pt x="5894" y="935"/>
                      </a:lnTo>
                      <a:lnTo>
                        <a:pt x="5893" y="927"/>
                      </a:lnTo>
                      <a:lnTo>
                        <a:pt x="5893" y="916"/>
                      </a:lnTo>
                      <a:lnTo>
                        <a:pt x="5893" y="902"/>
                      </a:lnTo>
                      <a:lnTo>
                        <a:pt x="5893" y="886"/>
                      </a:lnTo>
                      <a:lnTo>
                        <a:pt x="5894" y="871"/>
                      </a:lnTo>
                      <a:lnTo>
                        <a:pt x="5897" y="858"/>
                      </a:lnTo>
                      <a:lnTo>
                        <a:pt x="5900" y="846"/>
                      </a:lnTo>
                      <a:lnTo>
                        <a:pt x="5902" y="841"/>
                      </a:lnTo>
                      <a:lnTo>
                        <a:pt x="5904" y="835"/>
                      </a:lnTo>
                      <a:lnTo>
                        <a:pt x="5906" y="831"/>
                      </a:lnTo>
                      <a:lnTo>
                        <a:pt x="5910" y="828"/>
                      </a:lnTo>
                      <a:lnTo>
                        <a:pt x="5913" y="825"/>
                      </a:lnTo>
                      <a:lnTo>
                        <a:pt x="5917" y="823"/>
                      </a:lnTo>
                      <a:lnTo>
                        <a:pt x="5922" y="822"/>
                      </a:lnTo>
                      <a:lnTo>
                        <a:pt x="5926" y="822"/>
                      </a:lnTo>
                      <a:lnTo>
                        <a:pt x="5945" y="822"/>
                      </a:lnTo>
                      <a:lnTo>
                        <a:pt x="5974" y="822"/>
                      </a:lnTo>
                      <a:lnTo>
                        <a:pt x="6006" y="822"/>
                      </a:lnTo>
                      <a:lnTo>
                        <a:pt x="6033" y="822"/>
                      </a:lnTo>
                      <a:lnTo>
                        <a:pt x="6037" y="828"/>
                      </a:lnTo>
                      <a:lnTo>
                        <a:pt x="6045" y="838"/>
                      </a:lnTo>
                      <a:lnTo>
                        <a:pt x="6055" y="849"/>
                      </a:lnTo>
                      <a:lnTo>
                        <a:pt x="6066" y="860"/>
                      </a:lnTo>
                      <a:lnTo>
                        <a:pt x="6077" y="871"/>
                      </a:lnTo>
                      <a:lnTo>
                        <a:pt x="6086" y="881"/>
                      </a:lnTo>
                      <a:lnTo>
                        <a:pt x="6094" y="887"/>
                      </a:lnTo>
                      <a:lnTo>
                        <a:pt x="6099" y="889"/>
                      </a:lnTo>
                      <a:lnTo>
                        <a:pt x="6102" y="881"/>
                      </a:lnTo>
                      <a:lnTo>
                        <a:pt x="6105" y="874"/>
                      </a:lnTo>
                      <a:lnTo>
                        <a:pt x="6108" y="867"/>
                      </a:lnTo>
                      <a:lnTo>
                        <a:pt x="6112" y="861"/>
                      </a:lnTo>
                      <a:lnTo>
                        <a:pt x="6116" y="855"/>
                      </a:lnTo>
                      <a:lnTo>
                        <a:pt x="6119" y="848"/>
                      </a:lnTo>
                      <a:lnTo>
                        <a:pt x="6123" y="839"/>
                      </a:lnTo>
                      <a:lnTo>
                        <a:pt x="6125" y="828"/>
                      </a:lnTo>
                      <a:lnTo>
                        <a:pt x="6128" y="830"/>
                      </a:lnTo>
                      <a:lnTo>
                        <a:pt x="6132" y="831"/>
                      </a:lnTo>
                      <a:lnTo>
                        <a:pt x="6135" y="832"/>
                      </a:lnTo>
                      <a:lnTo>
                        <a:pt x="6139" y="832"/>
                      </a:lnTo>
                      <a:lnTo>
                        <a:pt x="6144" y="832"/>
                      </a:lnTo>
                      <a:lnTo>
                        <a:pt x="6149" y="831"/>
                      </a:lnTo>
                      <a:lnTo>
                        <a:pt x="6153" y="830"/>
                      </a:lnTo>
                      <a:lnTo>
                        <a:pt x="6159" y="828"/>
                      </a:lnTo>
                      <a:lnTo>
                        <a:pt x="6148" y="815"/>
                      </a:lnTo>
                      <a:lnTo>
                        <a:pt x="6137" y="803"/>
                      </a:lnTo>
                      <a:lnTo>
                        <a:pt x="6133" y="796"/>
                      </a:lnTo>
                      <a:lnTo>
                        <a:pt x="6128" y="789"/>
                      </a:lnTo>
                      <a:lnTo>
                        <a:pt x="6126" y="782"/>
                      </a:lnTo>
                      <a:lnTo>
                        <a:pt x="6125" y="772"/>
                      </a:lnTo>
                      <a:lnTo>
                        <a:pt x="6126" y="767"/>
                      </a:lnTo>
                      <a:lnTo>
                        <a:pt x="6128" y="764"/>
                      </a:lnTo>
                      <a:lnTo>
                        <a:pt x="6132" y="761"/>
                      </a:lnTo>
                      <a:lnTo>
                        <a:pt x="6135" y="760"/>
                      </a:lnTo>
                      <a:lnTo>
                        <a:pt x="6140" y="759"/>
                      </a:lnTo>
                      <a:lnTo>
                        <a:pt x="6146" y="759"/>
                      </a:lnTo>
                      <a:lnTo>
                        <a:pt x="6152" y="760"/>
                      </a:lnTo>
                      <a:lnTo>
                        <a:pt x="6159" y="762"/>
                      </a:lnTo>
                      <a:lnTo>
                        <a:pt x="6188" y="771"/>
                      </a:lnTo>
                      <a:lnTo>
                        <a:pt x="6212" y="778"/>
                      </a:lnTo>
                      <a:lnTo>
                        <a:pt x="6202" y="779"/>
                      </a:lnTo>
                      <a:lnTo>
                        <a:pt x="6193" y="782"/>
                      </a:lnTo>
                      <a:lnTo>
                        <a:pt x="6184" y="784"/>
                      </a:lnTo>
                      <a:lnTo>
                        <a:pt x="6179" y="785"/>
                      </a:lnTo>
                      <a:lnTo>
                        <a:pt x="6180" y="792"/>
                      </a:lnTo>
                      <a:lnTo>
                        <a:pt x="6183" y="797"/>
                      </a:lnTo>
                      <a:lnTo>
                        <a:pt x="6186" y="802"/>
                      </a:lnTo>
                      <a:lnTo>
                        <a:pt x="6191" y="807"/>
                      </a:lnTo>
                      <a:lnTo>
                        <a:pt x="6201" y="815"/>
                      </a:lnTo>
                      <a:lnTo>
                        <a:pt x="6211" y="822"/>
                      </a:lnTo>
                      <a:lnTo>
                        <a:pt x="6222" y="829"/>
                      </a:lnTo>
                      <a:lnTo>
                        <a:pt x="6230" y="837"/>
                      </a:lnTo>
                      <a:lnTo>
                        <a:pt x="6234" y="842"/>
                      </a:lnTo>
                      <a:lnTo>
                        <a:pt x="6236" y="847"/>
                      </a:lnTo>
                      <a:lnTo>
                        <a:pt x="6238" y="853"/>
                      </a:lnTo>
                      <a:lnTo>
                        <a:pt x="6238" y="859"/>
                      </a:lnTo>
                      <a:lnTo>
                        <a:pt x="6237" y="867"/>
                      </a:lnTo>
                      <a:lnTo>
                        <a:pt x="6231" y="878"/>
                      </a:lnTo>
                      <a:lnTo>
                        <a:pt x="6224" y="893"/>
                      </a:lnTo>
                      <a:lnTo>
                        <a:pt x="6215" y="907"/>
                      </a:lnTo>
                      <a:lnTo>
                        <a:pt x="6206" y="922"/>
                      </a:lnTo>
                      <a:lnTo>
                        <a:pt x="6200" y="937"/>
                      </a:lnTo>
                      <a:lnTo>
                        <a:pt x="6196" y="944"/>
                      </a:lnTo>
                      <a:lnTo>
                        <a:pt x="6194" y="952"/>
                      </a:lnTo>
                      <a:lnTo>
                        <a:pt x="6192" y="958"/>
                      </a:lnTo>
                      <a:lnTo>
                        <a:pt x="6192" y="964"/>
                      </a:lnTo>
                      <a:lnTo>
                        <a:pt x="6193" y="970"/>
                      </a:lnTo>
                      <a:lnTo>
                        <a:pt x="6195" y="974"/>
                      </a:lnTo>
                      <a:lnTo>
                        <a:pt x="6198" y="977"/>
                      </a:lnTo>
                      <a:lnTo>
                        <a:pt x="6202" y="979"/>
                      </a:lnTo>
                      <a:lnTo>
                        <a:pt x="6205" y="981"/>
                      </a:lnTo>
                      <a:lnTo>
                        <a:pt x="6208" y="984"/>
                      </a:lnTo>
                      <a:lnTo>
                        <a:pt x="6211" y="988"/>
                      </a:lnTo>
                      <a:lnTo>
                        <a:pt x="6212" y="994"/>
                      </a:lnTo>
                      <a:lnTo>
                        <a:pt x="6212" y="1001"/>
                      </a:lnTo>
                      <a:lnTo>
                        <a:pt x="6211" y="1010"/>
                      </a:lnTo>
                      <a:lnTo>
                        <a:pt x="6208" y="1018"/>
                      </a:lnTo>
                      <a:lnTo>
                        <a:pt x="6204" y="1026"/>
                      </a:lnTo>
                      <a:lnTo>
                        <a:pt x="6202" y="1030"/>
                      </a:lnTo>
                      <a:lnTo>
                        <a:pt x="6200" y="1033"/>
                      </a:lnTo>
                      <a:lnTo>
                        <a:pt x="6196" y="1036"/>
                      </a:lnTo>
                      <a:lnTo>
                        <a:pt x="6192" y="1039"/>
                      </a:lnTo>
                      <a:lnTo>
                        <a:pt x="6188" y="1041"/>
                      </a:lnTo>
                      <a:lnTo>
                        <a:pt x="6183" y="1042"/>
                      </a:lnTo>
                      <a:lnTo>
                        <a:pt x="6178" y="1043"/>
                      </a:lnTo>
                      <a:lnTo>
                        <a:pt x="6172" y="1043"/>
                      </a:lnTo>
                      <a:lnTo>
                        <a:pt x="6173" y="1062"/>
                      </a:lnTo>
                      <a:lnTo>
                        <a:pt x="6175" y="1079"/>
                      </a:lnTo>
                      <a:lnTo>
                        <a:pt x="6181" y="1095"/>
                      </a:lnTo>
                      <a:lnTo>
                        <a:pt x="6186" y="1111"/>
                      </a:lnTo>
                      <a:lnTo>
                        <a:pt x="6194" y="1126"/>
                      </a:lnTo>
                      <a:lnTo>
                        <a:pt x="6204" y="1140"/>
                      </a:lnTo>
                      <a:lnTo>
                        <a:pt x="6214" y="1153"/>
                      </a:lnTo>
                      <a:lnTo>
                        <a:pt x="6226" y="1166"/>
                      </a:lnTo>
                      <a:lnTo>
                        <a:pt x="6238" y="1179"/>
                      </a:lnTo>
                      <a:lnTo>
                        <a:pt x="6252" y="1190"/>
                      </a:lnTo>
                      <a:lnTo>
                        <a:pt x="6267" y="1201"/>
                      </a:lnTo>
                      <a:lnTo>
                        <a:pt x="6281" y="1211"/>
                      </a:lnTo>
                      <a:lnTo>
                        <a:pt x="6296" y="1220"/>
                      </a:lnTo>
                      <a:lnTo>
                        <a:pt x="6313" y="1230"/>
                      </a:lnTo>
                      <a:lnTo>
                        <a:pt x="6328" y="1239"/>
                      </a:lnTo>
                      <a:lnTo>
                        <a:pt x="6345" y="1247"/>
                      </a:lnTo>
                      <a:lnTo>
                        <a:pt x="6352" y="1251"/>
                      </a:lnTo>
                      <a:lnTo>
                        <a:pt x="6360" y="1256"/>
                      </a:lnTo>
                      <a:lnTo>
                        <a:pt x="6365" y="1261"/>
                      </a:lnTo>
                      <a:lnTo>
                        <a:pt x="6371" y="1267"/>
                      </a:lnTo>
                      <a:lnTo>
                        <a:pt x="6379" y="1282"/>
                      </a:lnTo>
                      <a:lnTo>
                        <a:pt x="6387" y="1297"/>
                      </a:lnTo>
                      <a:lnTo>
                        <a:pt x="6392" y="1304"/>
                      </a:lnTo>
                      <a:lnTo>
                        <a:pt x="6396" y="1311"/>
                      </a:lnTo>
                      <a:lnTo>
                        <a:pt x="6402" y="1318"/>
                      </a:lnTo>
                      <a:lnTo>
                        <a:pt x="6407" y="1325"/>
                      </a:lnTo>
                      <a:lnTo>
                        <a:pt x="6415" y="1331"/>
                      </a:lnTo>
                      <a:lnTo>
                        <a:pt x="6422" y="1337"/>
                      </a:lnTo>
                      <a:lnTo>
                        <a:pt x="6432" y="1342"/>
                      </a:lnTo>
                      <a:lnTo>
                        <a:pt x="6444" y="1346"/>
                      </a:lnTo>
                      <a:lnTo>
                        <a:pt x="6452" y="1347"/>
                      </a:lnTo>
                      <a:lnTo>
                        <a:pt x="6464" y="1351"/>
                      </a:lnTo>
                      <a:lnTo>
                        <a:pt x="6471" y="1353"/>
                      </a:lnTo>
                      <a:lnTo>
                        <a:pt x="6476" y="1356"/>
                      </a:lnTo>
                      <a:lnTo>
                        <a:pt x="6481" y="1360"/>
                      </a:lnTo>
                      <a:lnTo>
                        <a:pt x="6484" y="1364"/>
                      </a:lnTo>
                      <a:lnTo>
                        <a:pt x="6491" y="1374"/>
                      </a:lnTo>
                      <a:lnTo>
                        <a:pt x="6497" y="1384"/>
                      </a:lnTo>
                      <a:lnTo>
                        <a:pt x="6506" y="1395"/>
                      </a:lnTo>
                      <a:lnTo>
                        <a:pt x="6515" y="1404"/>
                      </a:lnTo>
                      <a:lnTo>
                        <a:pt x="6525" y="1413"/>
                      </a:lnTo>
                      <a:lnTo>
                        <a:pt x="6533" y="1420"/>
                      </a:lnTo>
                      <a:lnTo>
                        <a:pt x="6538" y="1422"/>
                      </a:lnTo>
                      <a:lnTo>
                        <a:pt x="6542" y="1424"/>
                      </a:lnTo>
                      <a:lnTo>
                        <a:pt x="6547" y="1425"/>
                      </a:lnTo>
                      <a:lnTo>
                        <a:pt x="6551" y="1426"/>
                      </a:lnTo>
                      <a:lnTo>
                        <a:pt x="6554" y="1425"/>
                      </a:lnTo>
                      <a:lnTo>
                        <a:pt x="6558" y="1425"/>
                      </a:lnTo>
                      <a:lnTo>
                        <a:pt x="6561" y="1423"/>
                      </a:lnTo>
                      <a:lnTo>
                        <a:pt x="6564" y="1421"/>
                      </a:lnTo>
                      <a:lnTo>
                        <a:pt x="6570" y="1416"/>
                      </a:lnTo>
                      <a:lnTo>
                        <a:pt x="6575" y="1410"/>
                      </a:lnTo>
                      <a:lnTo>
                        <a:pt x="6578" y="1402"/>
                      </a:lnTo>
                      <a:lnTo>
                        <a:pt x="6582" y="1391"/>
                      </a:lnTo>
                      <a:lnTo>
                        <a:pt x="6583" y="1381"/>
                      </a:lnTo>
                      <a:lnTo>
                        <a:pt x="6584" y="1370"/>
                      </a:lnTo>
                      <a:lnTo>
                        <a:pt x="6583" y="1366"/>
                      </a:lnTo>
                      <a:lnTo>
                        <a:pt x="6582" y="1362"/>
                      </a:lnTo>
                      <a:lnTo>
                        <a:pt x="6579" y="1359"/>
                      </a:lnTo>
                      <a:lnTo>
                        <a:pt x="6576" y="1356"/>
                      </a:lnTo>
                      <a:lnTo>
                        <a:pt x="6570" y="1350"/>
                      </a:lnTo>
                      <a:lnTo>
                        <a:pt x="6561" y="1345"/>
                      </a:lnTo>
                      <a:lnTo>
                        <a:pt x="6552" y="1340"/>
                      </a:lnTo>
                      <a:lnTo>
                        <a:pt x="6544" y="1333"/>
                      </a:lnTo>
                      <a:lnTo>
                        <a:pt x="6542" y="1329"/>
                      </a:lnTo>
                      <a:lnTo>
                        <a:pt x="6539" y="1325"/>
                      </a:lnTo>
                      <a:lnTo>
                        <a:pt x="6538" y="1320"/>
                      </a:lnTo>
                      <a:lnTo>
                        <a:pt x="6538" y="1315"/>
                      </a:lnTo>
                      <a:lnTo>
                        <a:pt x="6539" y="1313"/>
                      </a:lnTo>
                      <a:lnTo>
                        <a:pt x="6542" y="1310"/>
                      </a:lnTo>
                      <a:lnTo>
                        <a:pt x="6547" y="1308"/>
                      </a:lnTo>
                      <a:lnTo>
                        <a:pt x="6552" y="1306"/>
                      </a:lnTo>
                      <a:lnTo>
                        <a:pt x="6565" y="1301"/>
                      </a:lnTo>
                      <a:lnTo>
                        <a:pt x="6577" y="1297"/>
                      </a:lnTo>
                      <a:lnTo>
                        <a:pt x="6569" y="1280"/>
                      </a:lnTo>
                      <a:lnTo>
                        <a:pt x="6560" y="1268"/>
                      </a:lnTo>
                      <a:lnTo>
                        <a:pt x="6550" y="1256"/>
                      </a:lnTo>
                      <a:lnTo>
                        <a:pt x="6538" y="1241"/>
                      </a:lnTo>
                      <a:lnTo>
                        <a:pt x="6540" y="1239"/>
                      </a:lnTo>
                      <a:lnTo>
                        <a:pt x="6544" y="1238"/>
                      </a:lnTo>
                      <a:lnTo>
                        <a:pt x="6550" y="1237"/>
                      </a:lnTo>
                      <a:lnTo>
                        <a:pt x="6556" y="1236"/>
                      </a:lnTo>
                      <a:lnTo>
                        <a:pt x="6572" y="1235"/>
                      </a:lnTo>
                      <a:lnTo>
                        <a:pt x="6590" y="1235"/>
                      </a:lnTo>
                      <a:lnTo>
                        <a:pt x="6583" y="1229"/>
                      </a:lnTo>
                      <a:lnTo>
                        <a:pt x="6572" y="1219"/>
                      </a:lnTo>
                      <a:lnTo>
                        <a:pt x="6566" y="1214"/>
                      </a:lnTo>
                      <a:lnTo>
                        <a:pt x="6562" y="1210"/>
                      </a:lnTo>
                      <a:lnTo>
                        <a:pt x="6559" y="1207"/>
                      </a:lnTo>
                      <a:lnTo>
                        <a:pt x="6558" y="1204"/>
                      </a:lnTo>
                      <a:lnTo>
                        <a:pt x="6550" y="1199"/>
                      </a:lnTo>
                      <a:lnTo>
                        <a:pt x="6544" y="1194"/>
                      </a:lnTo>
                      <a:lnTo>
                        <a:pt x="6540" y="1187"/>
                      </a:lnTo>
                      <a:lnTo>
                        <a:pt x="6537" y="1180"/>
                      </a:lnTo>
                      <a:lnTo>
                        <a:pt x="6533" y="1173"/>
                      </a:lnTo>
                      <a:lnTo>
                        <a:pt x="6532" y="1163"/>
                      </a:lnTo>
                      <a:lnTo>
                        <a:pt x="6531" y="1153"/>
                      </a:lnTo>
                      <a:lnTo>
                        <a:pt x="6531" y="1142"/>
                      </a:lnTo>
                      <a:lnTo>
                        <a:pt x="6536" y="1142"/>
                      </a:lnTo>
                      <a:lnTo>
                        <a:pt x="6540" y="1140"/>
                      </a:lnTo>
                      <a:lnTo>
                        <a:pt x="6545" y="1138"/>
                      </a:lnTo>
                      <a:lnTo>
                        <a:pt x="6549" y="1136"/>
                      </a:lnTo>
                      <a:lnTo>
                        <a:pt x="6552" y="1133"/>
                      </a:lnTo>
                      <a:lnTo>
                        <a:pt x="6555" y="1130"/>
                      </a:lnTo>
                      <a:lnTo>
                        <a:pt x="6556" y="1127"/>
                      </a:lnTo>
                      <a:lnTo>
                        <a:pt x="6558" y="1124"/>
                      </a:lnTo>
                      <a:lnTo>
                        <a:pt x="6539" y="1118"/>
                      </a:lnTo>
                      <a:lnTo>
                        <a:pt x="6522" y="1110"/>
                      </a:lnTo>
                      <a:lnTo>
                        <a:pt x="6508" y="1103"/>
                      </a:lnTo>
                      <a:lnTo>
                        <a:pt x="6496" y="1095"/>
                      </a:lnTo>
                      <a:lnTo>
                        <a:pt x="6476" y="1078"/>
                      </a:lnTo>
                      <a:lnTo>
                        <a:pt x="6460" y="1063"/>
                      </a:lnTo>
                      <a:lnTo>
                        <a:pt x="6452" y="1055"/>
                      </a:lnTo>
                      <a:lnTo>
                        <a:pt x="6444" y="1048"/>
                      </a:lnTo>
                      <a:lnTo>
                        <a:pt x="6437" y="1043"/>
                      </a:lnTo>
                      <a:lnTo>
                        <a:pt x="6427" y="1039"/>
                      </a:lnTo>
                      <a:lnTo>
                        <a:pt x="6417" y="1036"/>
                      </a:lnTo>
                      <a:lnTo>
                        <a:pt x="6406" y="1035"/>
                      </a:lnTo>
                      <a:lnTo>
                        <a:pt x="6393" y="1035"/>
                      </a:lnTo>
                      <a:lnTo>
                        <a:pt x="6377" y="1037"/>
                      </a:lnTo>
                      <a:lnTo>
                        <a:pt x="6375" y="1038"/>
                      </a:lnTo>
                      <a:lnTo>
                        <a:pt x="6373" y="1037"/>
                      </a:lnTo>
                      <a:lnTo>
                        <a:pt x="6372" y="1036"/>
                      </a:lnTo>
                      <a:lnTo>
                        <a:pt x="6370" y="1035"/>
                      </a:lnTo>
                      <a:lnTo>
                        <a:pt x="6368" y="1031"/>
                      </a:lnTo>
                      <a:lnTo>
                        <a:pt x="6365" y="1025"/>
                      </a:lnTo>
                      <a:lnTo>
                        <a:pt x="6363" y="1009"/>
                      </a:lnTo>
                      <a:lnTo>
                        <a:pt x="6360" y="990"/>
                      </a:lnTo>
                      <a:lnTo>
                        <a:pt x="6358" y="981"/>
                      </a:lnTo>
                      <a:lnTo>
                        <a:pt x="6354" y="972"/>
                      </a:lnTo>
                      <a:lnTo>
                        <a:pt x="6351" y="963"/>
                      </a:lnTo>
                      <a:lnTo>
                        <a:pt x="6346" y="956"/>
                      </a:lnTo>
                      <a:lnTo>
                        <a:pt x="6340" y="949"/>
                      </a:lnTo>
                      <a:lnTo>
                        <a:pt x="6332" y="943"/>
                      </a:lnTo>
                      <a:lnTo>
                        <a:pt x="6328" y="941"/>
                      </a:lnTo>
                      <a:lnTo>
                        <a:pt x="6323" y="940"/>
                      </a:lnTo>
                      <a:lnTo>
                        <a:pt x="6317" y="939"/>
                      </a:lnTo>
                      <a:lnTo>
                        <a:pt x="6312" y="939"/>
                      </a:lnTo>
                      <a:lnTo>
                        <a:pt x="6392" y="889"/>
                      </a:lnTo>
                      <a:lnTo>
                        <a:pt x="6396" y="890"/>
                      </a:lnTo>
                      <a:lnTo>
                        <a:pt x="6399" y="894"/>
                      </a:lnTo>
                      <a:lnTo>
                        <a:pt x="6403" y="898"/>
                      </a:lnTo>
                      <a:lnTo>
                        <a:pt x="6405" y="902"/>
                      </a:lnTo>
                      <a:lnTo>
                        <a:pt x="6408" y="907"/>
                      </a:lnTo>
                      <a:lnTo>
                        <a:pt x="6413" y="911"/>
                      </a:lnTo>
                      <a:lnTo>
                        <a:pt x="6415" y="912"/>
                      </a:lnTo>
                      <a:lnTo>
                        <a:pt x="6418" y="913"/>
                      </a:lnTo>
                      <a:lnTo>
                        <a:pt x="6421" y="914"/>
                      </a:lnTo>
                      <a:lnTo>
                        <a:pt x="6425" y="914"/>
                      </a:lnTo>
                      <a:lnTo>
                        <a:pt x="6435" y="913"/>
                      </a:lnTo>
                      <a:lnTo>
                        <a:pt x="6446" y="910"/>
                      </a:lnTo>
                      <a:lnTo>
                        <a:pt x="6458" y="906"/>
                      </a:lnTo>
                      <a:lnTo>
                        <a:pt x="6470" y="901"/>
                      </a:lnTo>
                      <a:lnTo>
                        <a:pt x="6495" y="888"/>
                      </a:lnTo>
                      <a:lnTo>
                        <a:pt x="6525" y="877"/>
                      </a:lnTo>
                      <a:lnTo>
                        <a:pt x="6544" y="877"/>
                      </a:lnTo>
                      <a:lnTo>
                        <a:pt x="6547" y="885"/>
                      </a:lnTo>
                      <a:lnTo>
                        <a:pt x="6551" y="893"/>
                      </a:lnTo>
                      <a:lnTo>
                        <a:pt x="6556" y="899"/>
                      </a:lnTo>
                      <a:lnTo>
                        <a:pt x="6562" y="905"/>
                      </a:lnTo>
                      <a:lnTo>
                        <a:pt x="6576" y="915"/>
                      </a:lnTo>
                      <a:lnTo>
                        <a:pt x="6590" y="927"/>
                      </a:lnTo>
                      <a:lnTo>
                        <a:pt x="6596" y="906"/>
                      </a:lnTo>
                      <a:lnTo>
                        <a:pt x="6601" y="884"/>
                      </a:lnTo>
                      <a:lnTo>
                        <a:pt x="6605" y="873"/>
                      </a:lnTo>
                      <a:lnTo>
                        <a:pt x="6609" y="863"/>
                      </a:lnTo>
                      <a:lnTo>
                        <a:pt x="6614" y="854"/>
                      </a:lnTo>
                      <a:lnTo>
                        <a:pt x="6619" y="845"/>
                      </a:lnTo>
                      <a:lnTo>
                        <a:pt x="6626" y="835"/>
                      </a:lnTo>
                      <a:lnTo>
                        <a:pt x="6633" y="827"/>
                      </a:lnTo>
                      <a:lnTo>
                        <a:pt x="6642" y="821"/>
                      </a:lnTo>
                      <a:lnTo>
                        <a:pt x="6651" y="815"/>
                      </a:lnTo>
                      <a:lnTo>
                        <a:pt x="6662" y="810"/>
                      </a:lnTo>
                      <a:lnTo>
                        <a:pt x="6674" y="806"/>
                      </a:lnTo>
                      <a:lnTo>
                        <a:pt x="6688" y="804"/>
                      </a:lnTo>
                      <a:lnTo>
                        <a:pt x="6704" y="803"/>
                      </a:lnTo>
                      <a:lnTo>
                        <a:pt x="6701" y="799"/>
                      </a:lnTo>
                      <a:lnTo>
                        <a:pt x="6700" y="794"/>
                      </a:lnTo>
                      <a:lnTo>
                        <a:pt x="6700" y="790"/>
                      </a:lnTo>
                      <a:lnTo>
                        <a:pt x="6701" y="785"/>
                      </a:lnTo>
                      <a:lnTo>
                        <a:pt x="6702" y="775"/>
                      </a:lnTo>
                      <a:lnTo>
                        <a:pt x="6704" y="766"/>
                      </a:lnTo>
                      <a:lnTo>
                        <a:pt x="6709" y="770"/>
                      </a:lnTo>
                      <a:lnTo>
                        <a:pt x="6715" y="773"/>
                      </a:lnTo>
                      <a:lnTo>
                        <a:pt x="6721" y="775"/>
                      </a:lnTo>
                      <a:lnTo>
                        <a:pt x="6729" y="777"/>
                      </a:lnTo>
                      <a:lnTo>
                        <a:pt x="6744" y="778"/>
                      </a:lnTo>
                      <a:lnTo>
                        <a:pt x="6763" y="778"/>
                      </a:lnTo>
                      <a:lnTo>
                        <a:pt x="6774" y="781"/>
                      </a:lnTo>
                      <a:lnTo>
                        <a:pt x="6787" y="784"/>
                      </a:lnTo>
                      <a:lnTo>
                        <a:pt x="6795" y="785"/>
                      </a:lnTo>
                      <a:lnTo>
                        <a:pt x="6801" y="784"/>
                      </a:lnTo>
                      <a:lnTo>
                        <a:pt x="6809" y="783"/>
                      </a:lnTo>
                      <a:lnTo>
                        <a:pt x="6817" y="778"/>
                      </a:lnTo>
                      <a:lnTo>
                        <a:pt x="6813" y="767"/>
                      </a:lnTo>
                      <a:lnTo>
                        <a:pt x="6813" y="762"/>
                      </a:lnTo>
                      <a:lnTo>
                        <a:pt x="6816" y="757"/>
                      </a:lnTo>
                      <a:lnTo>
                        <a:pt x="6817" y="742"/>
                      </a:lnTo>
                      <a:lnTo>
                        <a:pt x="6790" y="738"/>
                      </a:lnTo>
                      <a:lnTo>
                        <a:pt x="6766" y="733"/>
                      </a:lnTo>
                      <a:lnTo>
                        <a:pt x="6743" y="727"/>
                      </a:lnTo>
                      <a:lnTo>
                        <a:pt x="6722" y="720"/>
                      </a:lnTo>
                      <a:lnTo>
                        <a:pt x="6685" y="706"/>
                      </a:lnTo>
                      <a:lnTo>
                        <a:pt x="6650" y="692"/>
                      </a:lnTo>
                      <a:lnTo>
                        <a:pt x="6632" y="685"/>
                      </a:lnTo>
                      <a:lnTo>
                        <a:pt x="6616" y="678"/>
                      </a:lnTo>
                      <a:lnTo>
                        <a:pt x="6598" y="672"/>
                      </a:lnTo>
                      <a:lnTo>
                        <a:pt x="6579" y="666"/>
                      </a:lnTo>
                      <a:lnTo>
                        <a:pt x="6561" y="662"/>
                      </a:lnTo>
                      <a:lnTo>
                        <a:pt x="6541" y="658"/>
                      </a:lnTo>
                      <a:lnTo>
                        <a:pt x="6520" y="656"/>
                      </a:lnTo>
                      <a:lnTo>
                        <a:pt x="6497" y="655"/>
                      </a:lnTo>
                      <a:lnTo>
                        <a:pt x="6543" y="659"/>
                      </a:lnTo>
                      <a:lnTo>
                        <a:pt x="6582" y="663"/>
                      </a:lnTo>
                      <a:lnTo>
                        <a:pt x="6592" y="663"/>
                      </a:lnTo>
                      <a:lnTo>
                        <a:pt x="6600" y="663"/>
                      </a:lnTo>
                      <a:lnTo>
                        <a:pt x="6610" y="662"/>
                      </a:lnTo>
                      <a:lnTo>
                        <a:pt x="6619" y="660"/>
                      </a:lnTo>
                      <a:lnTo>
                        <a:pt x="6628" y="658"/>
                      </a:lnTo>
                      <a:lnTo>
                        <a:pt x="6638" y="654"/>
                      </a:lnTo>
                      <a:lnTo>
                        <a:pt x="6648" y="649"/>
                      </a:lnTo>
                      <a:lnTo>
                        <a:pt x="6657" y="643"/>
                      </a:lnTo>
                      <a:lnTo>
                        <a:pt x="6653" y="637"/>
                      </a:lnTo>
                      <a:lnTo>
                        <a:pt x="6649" y="632"/>
                      </a:lnTo>
                      <a:lnTo>
                        <a:pt x="6644" y="627"/>
                      </a:lnTo>
                      <a:lnTo>
                        <a:pt x="6639" y="624"/>
                      </a:lnTo>
                      <a:lnTo>
                        <a:pt x="6628" y="618"/>
                      </a:lnTo>
                      <a:lnTo>
                        <a:pt x="6616" y="612"/>
                      </a:lnTo>
                      <a:lnTo>
                        <a:pt x="6605" y="607"/>
                      </a:lnTo>
                      <a:lnTo>
                        <a:pt x="6593" y="601"/>
                      </a:lnTo>
                      <a:lnTo>
                        <a:pt x="6587" y="598"/>
                      </a:lnTo>
                      <a:lnTo>
                        <a:pt x="6581" y="593"/>
                      </a:lnTo>
                      <a:lnTo>
                        <a:pt x="6576" y="588"/>
                      </a:lnTo>
                      <a:lnTo>
                        <a:pt x="6571" y="582"/>
                      </a:lnTo>
                      <a:lnTo>
                        <a:pt x="6597" y="582"/>
                      </a:lnTo>
                      <a:lnTo>
                        <a:pt x="6600" y="587"/>
                      </a:lnTo>
                      <a:lnTo>
                        <a:pt x="6605" y="592"/>
                      </a:lnTo>
                      <a:lnTo>
                        <a:pt x="6610" y="599"/>
                      </a:lnTo>
                      <a:lnTo>
                        <a:pt x="6617" y="604"/>
                      </a:lnTo>
                      <a:lnTo>
                        <a:pt x="6626" y="610"/>
                      </a:lnTo>
                      <a:lnTo>
                        <a:pt x="6634" y="615"/>
                      </a:lnTo>
                      <a:lnTo>
                        <a:pt x="6640" y="617"/>
                      </a:lnTo>
                      <a:lnTo>
                        <a:pt x="6645" y="618"/>
                      </a:lnTo>
                      <a:lnTo>
                        <a:pt x="6651" y="619"/>
                      </a:lnTo>
                      <a:lnTo>
                        <a:pt x="6657" y="619"/>
                      </a:lnTo>
                      <a:lnTo>
                        <a:pt x="6665" y="618"/>
                      </a:lnTo>
                      <a:lnTo>
                        <a:pt x="6670" y="617"/>
                      </a:lnTo>
                      <a:lnTo>
                        <a:pt x="6673" y="615"/>
                      </a:lnTo>
                      <a:lnTo>
                        <a:pt x="6675" y="612"/>
                      </a:lnTo>
                      <a:lnTo>
                        <a:pt x="6678" y="610"/>
                      </a:lnTo>
                      <a:lnTo>
                        <a:pt x="6683" y="608"/>
                      </a:lnTo>
                      <a:lnTo>
                        <a:pt x="6691" y="606"/>
                      </a:lnTo>
                      <a:lnTo>
                        <a:pt x="6704" y="606"/>
                      </a:lnTo>
                      <a:lnTo>
                        <a:pt x="6718" y="606"/>
                      </a:lnTo>
                      <a:lnTo>
                        <a:pt x="6730" y="607"/>
                      </a:lnTo>
                      <a:lnTo>
                        <a:pt x="6742" y="609"/>
                      </a:lnTo>
                      <a:lnTo>
                        <a:pt x="6752" y="612"/>
                      </a:lnTo>
                      <a:lnTo>
                        <a:pt x="6762" y="616"/>
                      </a:lnTo>
                      <a:lnTo>
                        <a:pt x="6771" y="619"/>
                      </a:lnTo>
                      <a:lnTo>
                        <a:pt x="6778" y="623"/>
                      </a:lnTo>
                      <a:lnTo>
                        <a:pt x="6786" y="627"/>
                      </a:lnTo>
                      <a:lnTo>
                        <a:pt x="6799" y="636"/>
                      </a:lnTo>
                      <a:lnTo>
                        <a:pt x="6812" y="645"/>
                      </a:lnTo>
                      <a:lnTo>
                        <a:pt x="6827" y="654"/>
                      </a:lnTo>
                      <a:lnTo>
                        <a:pt x="6843" y="661"/>
                      </a:lnTo>
                      <a:lnTo>
                        <a:pt x="6943" y="661"/>
                      </a:lnTo>
                      <a:lnTo>
                        <a:pt x="6945" y="667"/>
                      </a:lnTo>
                      <a:lnTo>
                        <a:pt x="6950" y="673"/>
                      </a:lnTo>
                      <a:lnTo>
                        <a:pt x="6955" y="676"/>
                      </a:lnTo>
                      <a:lnTo>
                        <a:pt x="6961" y="678"/>
                      </a:lnTo>
                      <a:lnTo>
                        <a:pt x="6971" y="680"/>
                      </a:lnTo>
                      <a:lnTo>
                        <a:pt x="6982" y="680"/>
                      </a:lnTo>
                      <a:lnTo>
                        <a:pt x="6989" y="680"/>
                      </a:lnTo>
                      <a:lnTo>
                        <a:pt x="7006" y="680"/>
                      </a:lnTo>
                      <a:lnTo>
                        <a:pt x="7027" y="678"/>
                      </a:lnTo>
                      <a:lnTo>
                        <a:pt x="7049" y="674"/>
                      </a:lnTo>
                      <a:lnTo>
                        <a:pt x="7031" y="668"/>
                      </a:lnTo>
                      <a:lnTo>
                        <a:pt x="7011" y="659"/>
                      </a:lnTo>
                      <a:lnTo>
                        <a:pt x="7002" y="654"/>
                      </a:lnTo>
                      <a:lnTo>
                        <a:pt x="6996" y="647"/>
                      </a:lnTo>
                      <a:lnTo>
                        <a:pt x="6993" y="644"/>
                      </a:lnTo>
                      <a:lnTo>
                        <a:pt x="6991" y="640"/>
                      </a:lnTo>
                      <a:lnTo>
                        <a:pt x="6989" y="636"/>
                      </a:lnTo>
                      <a:lnTo>
                        <a:pt x="6989" y="631"/>
                      </a:lnTo>
                      <a:lnTo>
                        <a:pt x="6990" y="621"/>
                      </a:lnTo>
                      <a:lnTo>
                        <a:pt x="6991" y="614"/>
                      </a:lnTo>
                      <a:lnTo>
                        <a:pt x="6992" y="608"/>
                      </a:lnTo>
                      <a:lnTo>
                        <a:pt x="6992" y="602"/>
                      </a:lnTo>
                      <a:lnTo>
                        <a:pt x="6991" y="593"/>
                      </a:lnTo>
                      <a:lnTo>
                        <a:pt x="6989" y="582"/>
                      </a:lnTo>
                      <a:lnTo>
                        <a:pt x="6975" y="581"/>
                      </a:lnTo>
                      <a:lnTo>
                        <a:pt x="6961" y="579"/>
                      </a:lnTo>
                      <a:lnTo>
                        <a:pt x="6947" y="577"/>
                      </a:lnTo>
                      <a:lnTo>
                        <a:pt x="6934" y="573"/>
                      </a:lnTo>
                      <a:lnTo>
                        <a:pt x="6910" y="564"/>
                      </a:lnTo>
                      <a:lnTo>
                        <a:pt x="6886" y="553"/>
                      </a:lnTo>
                      <a:lnTo>
                        <a:pt x="6861" y="543"/>
                      </a:lnTo>
                      <a:lnTo>
                        <a:pt x="6835" y="535"/>
                      </a:lnTo>
                      <a:lnTo>
                        <a:pt x="6821" y="531"/>
                      </a:lnTo>
                      <a:lnTo>
                        <a:pt x="6807" y="529"/>
                      </a:lnTo>
                      <a:lnTo>
                        <a:pt x="6793" y="527"/>
                      </a:lnTo>
                      <a:lnTo>
                        <a:pt x="6776" y="526"/>
                      </a:lnTo>
                      <a:lnTo>
                        <a:pt x="6769" y="527"/>
                      </a:lnTo>
                      <a:lnTo>
                        <a:pt x="6761" y="531"/>
                      </a:lnTo>
                      <a:lnTo>
                        <a:pt x="6756" y="533"/>
                      </a:lnTo>
                      <a:lnTo>
                        <a:pt x="6753" y="536"/>
                      </a:lnTo>
                      <a:lnTo>
                        <a:pt x="6751" y="540"/>
                      </a:lnTo>
                      <a:lnTo>
                        <a:pt x="6750" y="544"/>
                      </a:lnTo>
                      <a:lnTo>
                        <a:pt x="6751" y="547"/>
                      </a:lnTo>
                      <a:lnTo>
                        <a:pt x="6752" y="548"/>
                      </a:lnTo>
                      <a:lnTo>
                        <a:pt x="6754" y="550"/>
                      </a:lnTo>
                      <a:lnTo>
                        <a:pt x="6757" y="552"/>
                      </a:lnTo>
                      <a:lnTo>
                        <a:pt x="6765" y="555"/>
                      </a:lnTo>
                      <a:lnTo>
                        <a:pt x="6775" y="559"/>
                      </a:lnTo>
                      <a:lnTo>
                        <a:pt x="6785" y="563"/>
                      </a:lnTo>
                      <a:lnTo>
                        <a:pt x="6795" y="567"/>
                      </a:lnTo>
                      <a:lnTo>
                        <a:pt x="6799" y="570"/>
                      </a:lnTo>
                      <a:lnTo>
                        <a:pt x="6803" y="574"/>
                      </a:lnTo>
                      <a:lnTo>
                        <a:pt x="6807" y="577"/>
                      </a:lnTo>
                      <a:lnTo>
                        <a:pt x="6810" y="582"/>
                      </a:lnTo>
                      <a:lnTo>
                        <a:pt x="6778" y="567"/>
                      </a:lnTo>
                      <a:lnTo>
                        <a:pt x="6751" y="552"/>
                      </a:lnTo>
                      <a:lnTo>
                        <a:pt x="6728" y="539"/>
                      </a:lnTo>
                      <a:lnTo>
                        <a:pt x="6706" y="528"/>
                      </a:lnTo>
                      <a:lnTo>
                        <a:pt x="6684" y="517"/>
                      </a:lnTo>
                      <a:lnTo>
                        <a:pt x="6660" y="506"/>
                      </a:lnTo>
                      <a:lnTo>
                        <a:pt x="6631" y="494"/>
                      </a:lnTo>
                      <a:lnTo>
                        <a:pt x="6597" y="483"/>
                      </a:lnTo>
                      <a:lnTo>
                        <a:pt x="6573" y="477"/>
                      </a:lnTo>
                      <a:lnTo>
                        <a:pt x="6548" y="471"/>
                      </a:lnTo>
                      <a:lnTo>
                        <a:pt x="6525" y="466"/>
                      </a:lnTo>
                      <a:lnTo>
                        <a:pt x="6500" y="462"/>
                      </a:lnTo>
                      <a:lnTo>
                        <a:pt x="6454" y="455"/>
                      </a:lnTo>
                      <a:lnTo>
                        <a:pt x="6408" y="450"/>
                      </a:lnTo>
                      <a:lnTo>
                        <a:pt x="6363" y="443"/>
                      </a:lnTo>
                      <a:lnTo>
                        <a:pt x="6318" y="436"/>
                      </a:lnTo>
                      <a:lnTo>
                        <a:pt x="6295" y="432"/>
                      </a:lnTo>
                      <a:lnTo>
                        <a:pt x="6272" y="427"/>
                      </a:lnTo>
                      <a:lnTo>
                        <a:pt x="6249" y="422"/>
                      </a:lnTo>
                      <a:lnTo>
                        <a:pt x="6225" y="415"/>
                      </a:lnTo>
                      <a:lnTo>
                        <a:pt x="6146" y="415"/>
                      </a:lnTo>
                      <a:lnTo>
                        <a:pt x="6133" y="407"/>
                      </a:lnTo>
                      <a:lnTo>
                        <a:pt x="6121" y="402"/>
                      </a:lnTo>
                      <a:lnTo>
                        <a:pt x="6114" y="400"/>
                      </a:lnTo>
                      <a:lnTo>
                        <a:pt x="6106" y="398"/>
                      </a:lnTo>
                      <a:lnTo>
                        <a:pt x="6096" y="397"/>
                      </a:lnTo>
                      <a:lnTo>
                        <a:pt x="6085" y="397"/>
                      </a:lnTo>
                      <a:lnTo>
                        <a:pt x="6071" y="398"/>
                      </a:lnTo>
                      <a:lnTo>
                        <a:pt x="6058" y="400"/>
                      </a:lnTo>
                      <a:lnTo>
                        <a:pt x="6045" y="403"/>
                      </a:lnTo>
                      <a:lnTo>
                        <a:pt x="6033" y="406"/>
                      </a:lnTo>
                      <a:lnTo>
                        <a:pt x="6020" y="410"/>
                      </a:lnTo>
                      <a:lnTo>
                        <a:pt x="6007" y="412"/>
                      </a:lnTo>
                      <a:lnTo>
                        <a:pt x="5993" y="415"/>
                      </a:lnTo>
                      <a:lnTo>
                        <a:pt x="5979" y="415"/>
                      </a:lnTo>
                      <a:lnTo>
                        <a:pt x="5971" y="415"/>
                      </a:lnTo>
                      <a:lnTo>
                        <a:pt x="5960" y="412"/>
                      </a:lnTo>
                      <a:lnTo>
                        <a:pt x="5945" y="409"/>
                      </a:lnTo>
                      <a:lnTo>
                        <a:pt x="5929" y="405"/>
                      </a:lnTo>
                      <a:lnTo>
                        <a:pt x="5913" y="400"/>
                      </a:lnTo>
                      <a:lnTo>
                        <a:pt x="5899" y="395"/>
                      </a:lnTo>
                      <a:lnTo>
                        <a:pt x="5887" y="389"/>
                      </a:lnTo>
                      <a:lnTo>
                        <a:pt x="5880" y="384"/>
                      </a:lnTo>
                      <a:lnTo>
                        <a:pt x="5833" y="384"/>
                      </a:lnTo>
                      <a:lnTo>
                        <a:pt x="5835" y="394"/>
                      </a:lnTo>
                      <a:lnTo>
                        <a:pt x="5838" y="402"/>
                      </a:lnTo>
                      <a:lnTo>
                        <a:pt x="5843" y="410"/>
                      </a:lnTo>
                      <a:lnTo>
                        <a:pt x="5847" y="417"/>
                      </a:lnTo>
                      <a:lnTo>
                        <a:pt x="5853" y="423"/>
                      </a:lnTo>
                      <a:lnTo>
                        <a:pt x="5859" y="429"/>
                      </a:lnTo>
                      <a:lnTo>
                        <a:pt x="5866" y="435"/>
                      </a:lnTo>
                      <a:lnTo>
                        <a:pt x="5872" y="439"/>
                      </a:lnTo>
                      <a:lnTo>
                        <a:pt x="5895" y="454"/>
                      </a:lnTo>
                      <a:lnTo>
                        <a:pt x="5906" y="459"/>
                      </a:lnTo>
                      <a:lnTo>
                        <a:pt x="5883" y="448"/>
                      </a:lnTo>
                      <a:lnTo>
                        <a:pt x="5860" y="435"/>
                      </a:lnTo>
                      <a:lnTo>
                        <a:pt x="5848" y="430"/>
                      </a:lnTo>
                      <a:lnTo>
                        <a:pt x="5834" y="425"/>
                      </a:lnTo>
                      <a:lnTo>
                        <a:pt x="5826" y="424"/>
                      </a:lnTo>
                      <a:lnTo>
                        <a:pt x="5819" y="422"/>
                      </a:lnTo>
                      <a:lnTo>
                        <a:pt x="5810" y="422"/>
                      </a:lnTo>
                      <a:lnTo>
                        <a:pt x="5800" y="421"/>
                      </a:lnTo>
                      <a:lnTo>
                        <a:pt x="5804" y="417"/>
                      </a:lnTo>
                      <a:lnTo>
                        <a:pt x="5807" y="412"/>
                      </a:lnTo>
                      <a:lnTo>
                        <a:pt x="5809" y="405"/>
                      </a:lnTo>
                      <a:lnTo>
                        <a:pt x="5813" y="397"/>
                      </a:lnTo>
                      <a:lnTo>
                        <a:pt x="5796" y="397"/>
                      </a:lnTo>
                      <a:lnTo>
                        <a:pt x="5781" y="396"/>
                      </a:lnTo>
                      <a:lnTo>
                        <a:pt x="5767" y="395"/>
                      </a:lnTo>
                      <a:lnTo>
                        <a:pt x="5754" y="390"/>
                      </a:lnTo>
                      <a:lnTo>
                        <a:pt x="5753" y="395"/>
                      </a:lnTo>
                      <a:lnTo>
                        <a:pt x="5752" y="399"/>
                      </a:lnTo>
                      <a:lnTo>
                        <a:pt x="5751" y="402"/>
                      </a:lnTo>
                      <a:lnTo>
                        <a:pt x="5748" y="405"/>
                      </a:lnTo>
                      <a:lnTo>
                        <a:pt x="5745" y="407"/>
                      </a:lnTo>
                      <a:lnTo>
                        <a:pt x="5742" y="409"/>
                      </a:lnTo>
                      <a:lnTo>
                        <a:pt x="5737" y="411"/>
                      </a:lnTo>
                      <a:lnTo>
                        <a:pt x="5733" y="412"/>
                      </a:lnTo>
                      <a:lnTo>
                        <a:pt x="5724" y="414"/>
                      </a:lnTo>
                      <a:lnTo>
                        <a:pt x="5714" y="415"/>
                      </a:lnTo>
                      <a:lnTo>
                        <a:pt x="5703" y="415"/>
                      </a:lnTo>
                      <a:lnTo>
                        <a:pt x="5693" y="415"/>
                      </a:lnTo>
                      <a:lnTo>
                        <a:pt x="5667" y="415"/>
                      </a:lnTo>
                      <a:lnTo>
                        <a:pt x="5643" y="413"/>
                      </a:lnTo>
                      <a:lnTo>
                        <a:pt x="5621" y="411"/>
                      </a:lnTo>
                      <a:lnTo>
                        <a:pt x="5599" y="409"/>
                      </a:lnTo>
                      <a:lnTo>
                        <a:pt x="5578" y="407"/>
                      </a:lnTo>
                      <a:lnTo>
                        <a:pt x="5557" y="408"/>
                      </a:lnTo>
                      <a:lnTo>
                        <a:pt x="5546" y="409"/>
                      </a:lnTo>
                      <a:lnTo>
                        <a:pt x="5536" y="410"/>
                      </a:lnTo>
                      <a:lnTo>
                        <a:pt x="5525" y="412"/>
                      </a:lnTo>
                      <a:lnTo>
                        <a:pt x="5514" y="415"/>
                      </a:lnTo>
                      <a:lnTo>
                        <a:pt x="5528" y="430"/>
                      </a:lnTo>
                      <a:lnTo>
                        <a:pt x="5539" y="439"/>
                      </a:lnTo>
                      <a:lnTo>
                        <a:pt x="5551" y="450"/>
                      </a:lnTo>
                      <a:lnTo>
                        <a:pt x="5567" y="465"/>
                      </a:lnTo>
                      <a:lnTo>
                        <a:pt x="5531" y="450"/>
                      </a:lnTo>
                      <a:lnTo>
                        <a:pt x="5497" y="437"/>
                      </a:lnTo>
                      <a:lnTo>
                        <a:pt x="5465" y="426"/>
                      </a:lnTo>
                      <a:lnTo>
                        <a:pt x="5433" y="414"/>
                      </a:lnTo>
                      <a:lnTo>
                        <a:pt x="5419" y="407"/>
                      </a:lnTo>
                      <a:lnTo>
                        <a:pt x="5404" y="400"/>
                      </a:lnTo>
                      <a:lnTo>
                        <a:pt x="5388" y="392"/>
                      </a:lnTo>
                      <a:lnTo>
                        <a:pt x="5374" y="383"/>
                      </a:lnTo>
                      <a:lnTo>
                        <a:pt x="5360" y="373"/>
                      </a:lnTo>
                      <a:lnTo>
                        <a:pt x="5344" y="362"/>
                      </a:lnTo>
                      <a:lnTo>
                        <a:pt x="5330" y="350"/>
                      </a:lnTo>
                      <a:lnTo>
                        <a:pt x="5315" y="336"/>
                      </a:lnTo>
                      <a:lnTo>
                        <a:pt x="5109" y="336"/>
                      </a:lnTo>
                      <a:lnTo>
                        <a:pt x="5104" y="337"/>
                      </a:lnTo>
                      <a:lnTo>
                        <a:pt x="5099" y="339"/>
                      </a:lnTo>
                      <a:lnTo>
                        <a:pt x="5094" y="343"/>
                      </a:lnTo>
                      <a:lnTo>
                        <a:pt x="5090" y="348"/>
                      </a:lnTo>
                      <a:lnTo>
                        <a:pt x="5009" y="354"/>
                      </a:lnTo>
                      <a:lnTo>
                        <a:pt x="5003" y="353"/>
                      </a:lnTo>
                      <a:lnTo>
                        <a:pt x="4996" y="353"/>
                      </a:lnTo>
                      <a:lnTo>
                        <a:pt x="4991" y="351"/>
                      </a:lnTo>
                      <a:lnTo>
                        <a:pt x="4986" y="349"/>
                      </a:lnTo>
                      <a:lnTo>
                        <a:pt x="4979" y="344"/>
                      </a:lnTo>
                      <a:lnTo>
                        <a:pt x="4972" y="339"/>
                      </a:lnTo>
                      <a:lnTo>
                        <a:pt x="4964" y="332"/>
                      </a:lnTo>
                      <a:lnTo>
                        <a:pt x="4956" y="327"/>
                      </a:lnTo>
                      <a:lnTo>
                        <a:pt x="4951" y="325"/>
                      </a:lnTo>
                      <a:lnTo>
                        <a:pt x="4945" y="324"/>
                      </a:lnTo>
                      <a:lnTo>
                        <a:pt x="4938" y="323"/>
                      </a:lnTo>
                      <a:lnTo>
                        <a:pt x="4929" y="323"/>
                      </a:lnTo>
                      <a:lnTo>
                        <a:pt x="4924" y="323"/>
                      </a:lnTo>
                      <a:lnTo>
                        <a:pt x="4918" y="324"/>
                      </a:lnTo>
                      <a:lnTo>
                        <a:pt x="4916" y="326"/>
                      </a:lnTo>
                      <a:lnTo>
                        <a:pt x="4913" y="329"/>
                      </a:lnTo>
                      <a:lnTo>
                        <a:pt x="4911" y="331"/>
                      </a:lnTo>
                      <a:lnTo>
                        <a:pt x="4907" y="333"/>
                      </a:lnTo>
                      <a:lnTo>
                        <a:pt x="4903" y="334"/>
                      </a:lnTo>
                      <a:lnTo>
                        <a:pt x="4896" y="336"/>
                      </a:lnTo>
                      <a:lnTo>
                        <a:pt x="4884" y="334"/>
                      </a:lnTo>
                      <a:lnTo>
                        <a:pt x="4873" y="332"/>
                      </a:lnTo>
                      <a:lnTo>
                        <a:pt x="4863" y="328"/>
                      </a:lnTo>
                      <a:lnTo>
                        <a:pt x="4853" y="324"/>
                      </a:lnTo>
                      <a:lnTo>
                        <a:pt x="4836" y="314"/>
                      </a:lnTo>
                      <a:lnTo>
                        <a:pt x="4816" y="304"/>
                      </a:lnTo>
                      <a:lnTo>
                        <a:pt x="4830" y="292"/>
                      </a:lnTo>
                      <a:lnTo>
                        <a:pt x="4826" y="290"/>
                      </a:lnTo>
                      <a:lnTo>
                        <a:pt x="4816" y="286"/>
                      </a:lnTo>
                      <a:lnTo>
                        <a:pt x="4808" y="284"/>
                      </a:lnTo>
                      <a:lnTo>
                        <a:pt x="4799" y="282"/>
                      </a:lnTo>
                      <a:lnTo>
                        <a:pt x="4789" y="281"/>
                      </a:lnTo>
                      <a:lnTo>
                        <a:pt x="4777" y="279"/>
                      </a:lnTo>
                      <a:lnTo>
                        <a:pt x="4766" y="281"/>
                      </a:lnTo>
                      <a:lnTo>
                        <a:pt x="4757" y="281"/>
                      </a:lnTo>
                      <a:lnTo>
                        <a:pt x="4748" y="283"/>
                      </a:lnTo>
                      <a:lnTo>
                        <a:pt x="4740" y="285"/>
                      </a:lnTo>
                      <a:lnTo>
                        <a:pt x="4728" y="290"/>
                      </a:lnTo>
                      <a:lnTo>
                        <a:pt x="4717" y="295"/>
                      </a:lnTo>
                      <a:lnTo>
                        <a:pt x="4710" y="301"/>
                      </a:lnTo>
                      <a:lnTo>
                        <a:pt x="4701" y="306"/>
                      </a:lnTo>
                      <a:lnTo>
                        <a:pt x="4698" y="308"/>
                      </a:lnTo>
                      <a:lnTo>
                        <a:pt x="4693" y="309"/>
                      </a:lnTo>
                      <a:lnTo>
                        <a:pt x="4689" y="310"/>
                      </a:lnTo>
                      <a:lnTo>
                        <a:pt x="4683" y="310"/>
                      </a:lnTo>
                      <a:lnTo>
                        <a:pt x="4670" y="310"/>
                      </a:lnTo>
                      <a:lnTo>
                        <a:pt x="4657" y="310"/>
                      </a:lnTo>
                      <a:lnTo>
                        <a:pt x="4657" y="279"/>
                      </a:lnTo>
                      <a:lnTo>
                        <a:pt x="4650" y="275"/>
                      </a:lnTo>
                      <a:lnTo>
                        <a:pt x="4644" y="272"/>
                      </a:lnTo>
                      <a:lnTo>
                        <a:pt x="4638" y="271"/>
                      </a:lnTo>
                      <a:lnTo>
                        <a:pt x="4633" y="270"/>
                      </a:lnTo>
                      <a:lnTo>
                        <a:pt x="4627" y="271"/>
                      </a:lnTo>
                      <a:lnTo>
                        <a:pt x="4621" y="272"/>
                      </a:lnTo>
                      <a:lnTo>
                        <a:pt x="4613" y="275"/>
                      </a:lnTo>
                      <a:lnTo>
                        <a:pt x="4604" y="279"/>
                      </a:lnTo>
                      <a:lnTo>
                        <a:pt x="4603" y="277"/>
                      </a:lnTo>
                      <a:lnTo>
                        <a:pt x="4601" y="275"/>
                      </a:lnTo>
                      <a:lnTo>
                        <a:pt x="4599" y="273"/>
                      </a:lnTo>
                      <a:lnTo>
                        <a:pt x="4597" y="272"/>
                      </a:lnTo>
                      <a:lnTo>
                        <a:pt x="4589" y="270"/>
                      </a:lnTo>
                      <a:lnTo>
                        <a:pt x="4579" y="268"/>
                      </a:lnTo>
                      <a:lnTo>
                        <a:pt x="4557" y="267"/>
                      </a:lnTo>
                      <a:lnTo>
                        <a:pt x="4532" y="267"/>
                      </a:lnTo>
                      <a:lnTo>
                        <a:pt x="4486" y="271"/>
                      </a:lnTo>
                      <a:lnTo>
                        <a:pt x="4465" y="273"/>
                      </a:lnTo>
                      <a:lnTo>
                        <a:pt x="4398" y="273"/>
                      </a:lnTo>
                      <a:lnTo>
                        <a:pt x="4399" y="276"/>
                      </a:lnTo>
                      <a:lnTo>
                        <a:pt x="4400" y="279"/>
                      </a:lnTo>
                      <a:lnTo>
                        <a:pt x="4402" y="283"/>
                      </a:lnTo>
                      <a:lnTo>
                        <a:pt x="4405" y="285"/>
                      </a:lnTo>
                      <a:lnTo>
                        <a:pt x="4409" y="288"/>
                      </a:lnTo>
                      <a:lnTo>
                        <a:pt x="4412" y="290"/>
                      </a:lnTo>
                      <a:lnTo>
                        <a:pt x="4415" y="292"/>
                      </a:lnTo>
                      <a:lnTo>
                        <a:pt x="4418" y="292"/>
                      </a:lnTo>
                      <a:lnTo>
                        <a:pt x="4420" y="299"/>
                      </a:lnTo>
                      <a:lnTo>
                        <a:pt x="4425" y="307"/>
                      </a:lnTo>
                      <a:lnTo>
                        <a:pt x="4432" y="316"/>
                      </a:lnTo>
                      <a:lnTo>
                        <a:pt x="4438" y="323"/>
                      </a:lnTo>
                      <a:lnTo>
                        <a:pt x="4429" y="323"/>
                      </a:lnTo>
                      <a:lnTo>
                        <a:pt x="4420" y="324"/>
                      </a:lnTo>
                      <a:lnTo>
                        <a:pt x="4412" y="326"/>
                      </a:lnTo>
                      <a:lnTo>
                        <a:pt x="4403" y="329"/>
                      </a:lnTo>
                      <a:lnTo>
                        <a:pt x="4394" y="331"/>
                      </a:lnTo>
                      <a:lnTo>
                        <a:pt x="4383" y="333"/>
                      </a:lnTo>
                      <a:lnTo>
                        <a:pt x="4373" y="334"/>
                      </a:lnTo>
                      <a:lnTo>
                        <a:pt x="4358" y="336"/>
                      </a:lnTo>
                      <a:lnTo>
                        <a:pt x="4337" y="334"/>
                      </a:lnTo>
                      <a:lnTo>
                        <a:pt x="4317" y="331"/>
                      </a:lnTo>
                      <a:lnTo>
                        <a:pt x="4295" y="327"/>
                      </a:lnTo>
                      <a:lnTo>
                        <a:pt x="4272" y="323"/>
                      </a:lnTo>
                      <a:lnTo>
                        <a:pt x="4250" y="318"/>
                      </a:lnTo>
                      <a:lnTo>
                        <a:pt x="4228" y="314"/>
                      </a:lnTo>
                      <a:lnTo>
                        <a:pt x="4206" y="311"/>
                      </a:lnTo>
                      <a:lnTo>
                        <a:pt x="4186" y="310"/>
                      </a:lnTo>
                      <a:lnTo>
                        <a:pt x="4176" y="310"/>
                      </a:lnTo>
                      <a:lnTo>
                        <a:pt x="4166" y="310"/>
                      </a:lnTo>
                      <a:lnTo>
                        <a:pt x="4166" y="348"/>
                      </a:lnTo>
                      <a:lnTo>
                        <a:pt x="4139" y="348"/>
                      </a:lnTo>
                      <a:lnTo>
                        <a:pt x="4131" y="345"/>
                      </a:lnTo>
                      <a:lnTo>
                        <a:pt x="4122" y="342"/>
                      </a:lnTo>
                      <a:lnTo>
                        <a:pt x="4113" y="340"/>
                      </a:lnTo>
                      <a:lnTo>
                        <a:pt x="4102" y="338"/>
                      </a:lnTo>
                      <a:lnTo>
                        <a:pt x="4082" y="333"/>
                      </a:lnTo>
                      <a:lnTo>
                        <a:pt x="4060" y="330"/>
                      </a:lnTo>
                      <a:lnTo>
                        <a:pt x="4039" y="326"/>
                      </a:lnTo>
                      <a:lnTo>
                        <a:pt x="4019" y="321"/>
                      </a:lnTo>
                      <a:lnTo>
                        <a:pt x="4009" y="318"/>
                      </a:lnTo>
                      <a:lnTo>
                        <a:pt x="4000" y="314"/>
                      </a:lnTo>
                      <a:lnTo>
                        <a:pt x="3993" y="310"/>
                      </a:lnTo>
                      <a:lnTo>
                        <a:pt x="3986" y="304"/>
                      </a:lnTo>
                      <a:lnTo>
                        <a:pt x="3946" y="304"/>
                      </a:lnTo>
                      <a:lnTo>
                        <a:pt x="3953" y="317"/>
                      </a:lnTo>
                      <a:lnTo>
                        <a:pt x="3960" y="329"/>
                      </a:lnTo>
                      <a:lnTo>
                        <a:pt x="3941" y="318"/>
                      </a:lnTo>
                      <a:lnTo>
                        <a:pt x="3920" y="305"/>
                      </a:lnTo>
                      <a:lnTo>
                        <a:pt x="3898" y="294"/>
                      </a:lnTo>
                      <a:lnTo>
                        <a:pt x="3880" y="286"/>
                      </a:lnTo>
                      <a:lnTo>
                        <a:pt x="3820" y="286"/>
                      </a:lnTo>
                      <a:lnTo>
                        <a:pt x="3820" y="287"/>
                      </a:lnTo>
                      <a:lnTo>
                        <a:pt x="3819" y="288"/>
                      </a:lnTo>
                      <a:lnTo>
                        <a:pt x="3818" y="288"/>
                      </a:lnTo>
                      <a:lnTo>
                        <a:pt x="3816" y="287"/>
                      </a:lnTo>
                      <a:lnTo>
                        <a:pt x="3809" y="286"/>
                      </a:lnTo>
                      <a:lnTo>
                        <a:pt x="3800" y="283"/>
                      </a:lnTo>
                      <a:lnTo>
                        <a:pt x="3777" y="274"/>
                      </a:lnTo>
                      <a:lnTo>
                        <a:pt x="3752" y="265"/>
                      </a:lnTo>
                      <a:lnTo>
                        <a:pt x="3727" y="256"/>
                      </a:lnTo>
                      <a:lnTo>
                        <a:pt x="3706" y="249"/>
                      </a:lnTo>
                      <a:lnTo>
                        <a:pt x="3698" y="247"/>
                      </a:lnTo>
                      <a:lnTo>
                        <a:pt x="3694" y="246"/>
                      </a:lnTo>
                      <a:lnTo>
                        <a:pt x="3693" y="246"/>
                      </a:lnTo>
                      <a:lnTo>
                        <a:pt x="3692" y="247"/>
                      </a:lnTo>
                      <a:lnTo>
                        <a:pt x="3693" y="248"/>
                      </a:lnTo>
                      <a:lnTo>
                        <a:pt x="3694" y="249"/>
                      </a:lnTo>
                      <a:lnTo>
                        <a:pt x="3677" y="249"/>
                      </a:lnTo>
                      <a:lnTo>
                        <a:pt x="3663" y="251"/>
                      </a:lnTo>
                      <a:lnTo>
                        <a:pt x="3650" y="253"/>
                      </a:lnTo>
                      <a:lnTo>
                        <a:pt x="3637" y="255"/>
                      </a:lnTo>
                      <a:lnTo>
                        <a:pt x="3624" y="257"/>
                      </a:lnTo>
                      <a:lnTo>
                        <a:pt x="3608" y="259"/>
                      </a:lnTo>
                      <a:lnTo>
                        <a:pt x="3593" y="261"/>
                      </a:lnTo>
                      <a:lnTo>
                        <a:pt x="3574" y="261"/>
                      </a:lnTo>
                      <a:lnTo>
                        <a:pt x="3559" y="261"/>
                      </a:lnTo>
                      <a:lnTo>
                        <a:pt x="3544" y="260"/>
                      </a:lnTo>
                      <a:lnTo>
                        <a:pt x="3528" y="258"/>
                      </a:lnTo>
                      <a:lnTo>
                        <a:pt x="3515" y="256"/>
                      </a:lnTo>
                      <a:lnTo>
                        <a:pt x="3488" y="252"/>
                      </a:lnTo>
                      <a:lnTo>
                        <a:pt x="3461" y="246"/>
                      </a:lnTo>
                      <a:lnTo>
                        <a:pt x="3435" y="240"/>
                      </a:lnTo>
                      <a:lnTo>
                        <a:pt x="3408" y="236"/>
                      </a:lnTo>
                      <a:lnTo>
                        <a:pt x="3394" y="234"/>
                      </a:lnTo>
                      <a:lnTo>
                        <a:pt x="3379" y="232"/>
                      </a:lnTo>
                      <a:lnTo>
                        <a:pt x="3365" y="231"/>
                      </a:lnTo>
                      <a:lnTo>
                        <a:pt x="3348" y="231"/>
                      </a:lnTo>
                      <a:lnTo>
                        <a:pt x="3334" y="227"/>
                      </a:lnTo>
                      <a:lnTo>
                        <a:pt x="3313" y="219"/>
                      </a:lnTo>
                      <a:lnTo>
                        <a:pt x="3304" y="216"/>
                      </a:lnTo>
                      <a:lnTo>
                        <a:pt x="3296" y="214"/>
                      </a:lnTo>
                      <a:lnTo>
                        <a:pt x="3293" y="214"/>
                      </a:lnTo>
                      <a:lnTo>
                        <a:pt x="3291" y="215"/>
                      </a:lnTo>
                      <a:lnTo>
                        <a:pt x="3289" y="216"/>
                      </a:lnTo>
                      <a:lnTo>
                        <a:pt x="3289" y="218"/>
                      </a:lnTo>
                      <a:lnTo>
                        <a:pt x="3289" y="221"/>
                      </a:lnTo>
                      <a:lnTo>
                        <a:pt x="3290" y="226"/>
                      </a:lnTo>
                      <a:lnTo>
                        <a:pt x="3292" y="229"/>
                      </a:lnTo>
                      <a:lnTo>
                        <a:pt x="3295" y="233"/>
                      </a:lnTo>
                      <a:lnTo>
                        <a:pt x="3302" y="240"/>
                      </a:lnTo>
                      <a:lnTo>
                        <a:pt x="3310" y="247"/>
                      </a:lnTo>
                      <a:lnTo>
                        <a:pt x="3320" y="252"/>
                      </a:lnTo>
                      <a:lnTo>
                        <a:pt x="3328" y="257"/>
                      </a:lnTo>
                      <a:lnTo>
                        <a:pt x="3336" y="260"/>
                      </a:lnTo>
                      <a:lnTo>
                        <a:pt x="3341" y="261"/>
                      </a:lnTo>
                      <a:lnTo>
                        <a:pt x="3332" y="260"/>
                      </a:lnTo>
                      <a:lnTo>
                        <a:pt x="3323" y="257"/>
                      </a:lnTo>
                      <a:lnTo>
                        <a:pt x="3314" y="255"/>
                      </a:lnTo>
                      <a:lnTo>
                        <a:pt x="3305" y="251"/>
                      </a:lnTo>
                      <a:lnTo>
                        <a:pt x="3290" y="244"/>
                      </a:lnTo>
                      <a:lnTo>
                        <a:pt x="3273" y="235"/>
                      </a:lnTo>
                      <a:lnTo>
                        <a:pt x="3257" y="225"/>
                      </a:lnTo>
                      <a:lnTo>
                        <a:pt x="3239" y="213"/>
                      </a:lnTo>
                      <a:lnTo>
                        <a:pt x="3219" y="203"/>
                      </a:lnTo>
                      <a:lnTo>
                        <a:pt x="3195" y="193"/>
                      </a:lnTo>
                      <a:lnTo>
                        <a:pt x="3198" y="192"/>
                      </a:lnTo>
                      <a:lnTo>
                        <a:pt x="3200" y="190"/>
                      </a:lnTo>
                      <a:lnTo>
                        <a:pt x="3201" y="186"/>
                      </a:lnTo>
                      <a:lnTo>
                        <a:pt x="3201" y="181"/>
                      </a:lnTo>
                      <a:lnTo>
                        <a:pt x="3202" y="173"/>
                      </a:lnTo>
                      <a:lnTo>
                        <a:pt x="3202" y="169"/>
                      </a:lnTo>
                      <a:lnTo>
                        <a:pt x="3169" y="169"/>
                      </a:lnTo>
                      <a:lnTo>
                        <a:pt x="3164" y="170"/>
                      </a:lnTo>
                      <a:lnTo>
                        <a:pt x="3159" y="173"/>
                      </a:lnTo>
                      <a:lnTo>
                        <a:pt x="3154" y="177"/>
                      </a:lnTo>
                      <a:lnTo>
                        <a:pt x="3149" y="181"/>
                      </a:lnTo>
                      <a:lnTo>
                        <a:pt x="3153" y="187"/>
                      </a:lnTo>
                      <a:lnTo>
                        <a:pt x="3156" y="193"/>
                      </a:lnTo>
                      <a:lnTo>
                        <a:pt x="3144" y="196"/>
                      </a:lnTo>
                      <a:lnTo>
                        <a:pt x="3133" y="199"/>
                      </a:lnTo>
                      <a:lnTo>
                        <a:pt x="3122" y="203"/>
                      </a:lnTo>
                      <a:lnTo>
                        <a:pt x="3112" y="206"/>
                      </a:lnTo>
                      <a:lnTo>
                        <a:pt x="3093" y="215"/>
                      </a:lnTo>
                      <a:lnTo>
                        <a:pt x="3076" y="225"/>
                      </a:lnTo>
                      <a:lnTo>
                        <a:pt x="3058" y="235"/>
                      </a:lnTo>
                      <a:lnTo>
                        <a:pt x="3040" y="245"/>
                      </a:lnTo>
                      <a:lnTo>
                        <a:pt x="3030" y="249"/>
                      </a:lnTo>
                      <a:lnTo>
                        <a:pt x="3020" y="253"/>
                      </a:lnTo>
                      <a:lnTo>
                        <a:pt x="3008" y="257"/>
                      </a:lnTo>
                      <a:lnTo>
                        <a:pt x="2997" y="261"/>
                      </a:lnTo>
                      <a:lnTo>
                        <a:pt x="2997" y="257"/>
                      </a:lnTo>
                      <a:lnTo>
                        <a:pt x="2998" y="252"/>
                      </a:lnTo>
                      <a:lnTo>
                        <a:pt x="2999" y="248"/>
                      </a:lnTo>
                      <a:lnTo>
                        <a:pt x="3002" y="243"/>
                      </a:lnTo>
                      <a:lnTo>
                        <a:pt x="3008" y="235"/>
                      </a:lnTo>
                      <a:lnTo>
                        <a:pt x="3016" y="226"/>
                      </a:lnTo>
                      <a:lnTo>
                        <a:pt x="3026" y="217"/>
                      </a:lnTo>
                      <a:lnTo>
                        <a:pt x="3038" y="209"/>
                      </a:lnTo>
                      <a:lnTo>
                        <a:pt x="3052" y="201"/>
                      </a:lnTo>
                      <a:lnTo>
                        <a:pt x="3065" y="193"/>
                      </a:lnTo>
                      <a:lnTo>
                        <a:pt x="3093" y="179"/>
                      </a:lnTo>
                      <a:lnTo>
                        <a:pt x="3122" y="165"/>
                      </a:lnTo>
                      <a:lnTo>
                        <a:pt x="3148" y="154"/>
                      </a:lnTo>
                      <a:lnTo>
                        <a:pt x="3169" y="144"/>
                      </a:lnTo>
                      <a:lnTo>
                        <a:pt x="3157" y="136"/>
                      </a:lnTo>
                      <a:lnTo>
                        <a:pt x="3144" y="129"/>
                      </a:lnTo>
                      <a:lnTo>
                        <a:pt x="3130" y="122"/>
                      </a:lnTo>
                      <a:lnTo>
                        <a:pt x="3114" y="115"/>
                      </a:lnTo>
                      <a:lnTo>
                        <a:pt x="3098" y="107"/>
                      </a:lnTo>
                      <a:lnTo>
                        <a:pt x="3080" y="102"/>
                      </a:lnTo>
                      <a:lnTo>
                        <a:pt x="3063" y="96"/>
                      </a:lnTo>
                      <a:lnTo>
                        <a:pt x="3044" y="91"/>
                      </a:lnTo>
                      <a:lnTo>
                        <a:pt x="3024" y="86"/>
                      </a:lnTo>
                      <a:lnTo>
                        <a:pt x="3004" y="82"/>
                      </a:lnTo>
                      <a:lnTo>
                        <a:pt x="2985" y="79"/>
                      </a:lnTo>
                      <a:lnTo>
                        <a:pt x="2965" y="76"/>
                      </a:lnTo>
                      <a:lnTo>
                        <a:pt x="2944" y="74"/>
                      </a:lnTo>
                      <a:lnTo>
                        <a:pt x="2923" y="72"/>
                      </a:lnTo>
                      <a:lnTo>
                        <a:pt x="2903" y="71"/>
                      </a:lnTo>
                      <a:lnTo>
                        <a:pt x="2884" y="70"/>
                      </a:lnTo>
                      <a:lnTo>
                        <a:pt x="2875" y="71"/>
                      </a:lnTo>
                      <a:lnTo>
                        <a:pt x="2867" y="72"/>
                      </a:lnTo>
                      <a:lnTo>
                        <a:pt x="2862" y="74"/>
                      </a:lnTo>
                      <a:lnTo>
                        <a:pt x="2856" y="76"/>
                      </a:lnTo>
                      <a:lnTo>
                        <a:pt x="2850" y="79"/>
                      </a:lnTo>
                      <a:lnTo>
                        <a:pt x="2843" y="81"/>
                      </a:lnTo>
                      <a:lnTo>
                        <a:pt x="2834" y="82"/>
                      </a:lnTo>
                      <a:lnTo>
                        <a:pt x="2823" y="83"/>
                      </a:lnTo>
                      <a:lnTo>
                        <a:pt x="2723" y="64"/>
                      </a:lnTo>
                      <a:lnTo>
                        <a:pt x="2724" y="58"/>
                      </a:lnTo>
                      <a:lnTo>
                        <a:pt x="2726" y="52"/>
                      </a:lnTo>
                      <a:lnTo>
                        <a:pt x="2729" y="47"/>
                      </a:lnTo>
                      <a:lnTo>
                        <a:pt x="2731" y="42"/>
                      </a:lnTo>
                      <a:lnTo>
                        <a:pt x="2738" y="33"/>
                      </a:lnTo>
                      <a:lnTo>
                        <a:pt x="2744" y="21"/>
                      </a:lnTo>
                      <a:lnTo>
                        <a:pt x="2743" y="19"/>
                      </a:lnTo>
                      <a:lnTo>
                        <a:pt x="2742" y="17"/>
                      </a:lnTo>
                      <a:lnTo>
                        <a:pt x="2739" y="15"/>
                      </a:lnTo>
                      <a:lnTo>
                        <a:pt x="2735" y="13"/>
                      </a:lnTo>
                      <a:lnTo>
                        <a:pt x="2727" y="10"/>
                      </a:lnTo>
                      <a:lnTo>
                        <a:pt x="2717" y="9"/>
                      </a:lnTo>
                      <a:lnTo>
                        <a:pt x="2712" y="5"/>
                      </a:lnTo>
                      <a:lnTo>
                        <a:pt x="2707" y="1"/>
                      </a:lnTo>
                      <a:lnTo>
                        <a:pt x="2701" y="0"/>
                      </a:lnTo>
                      <a:lnTo>
                        <a:pt x="2696" y="0"/>
                      </a:lnTo>
                      <a:lnTo>
                        <a:pt x="2691" y="3"/>
                      </a:lnTo>
                      <a:lnTo>
                        <a:pt x="2687" y="7"/>
                      </a:lnTo>
                      <a:lnTo>
                        <a:pt x="2685" y="13"/>
                      </a:lnTo>
                      <a:lnTo>
                        <a:pt x="2684" y="21"/>
                      </a:lnTo>
                      <a:lnTo>
                        <a:pt x="2667" y="24"/>
                      </a:lnTo>
                      <a:lnTo>
                        <a:pt x="2653" y="29"/>
                      </a:lnTo>
                      <a:lnTo>
                        <a:pt x="2641" y="34"/>
                      </a:lnTo>
                      <a:lnTo>
                        <a:pt x="2630" y="40"/>
                      </a:lnTo>
                      <a:lnTo>
                        <a:pt x="2610" y="53"/>
                      </a:lnTo>
                      <a:lnTo>
                        <a:pt x="2590" y="64"/>
                      </a:lnTo>
                      <a:lnTo>
                        <a:pt x="2618" y="83"/>
                      </a:lnTo>
                      <a:lnTo>
                        <a:pt x="2611" y="83"/>
                      </a:lnTo>
                      <a:lnTo>
                        <a:pt x="2597" y="83"/>
                      </a:lnTo>
                      <a:lnTo>
                        <a:pt x="2575" y="83"/>
                      </a:lnTo>
                      <a:lnTo>
                        <a:pt x="2551" y="83"/>
                      </a:lnTo>
                      <a:lnTo>
                        <a:pt x="2567" y="97"/>
                      </a:lnTo>
                      <a:lnTo>
                        <a:pt x="2587" y="118"/>
                      </a:lnTo>
                      <a:lnTo>
                        <a:pt x="2598" y="128"/>
                      </a:lnTo>
                      <a:lnTo>
                        <a:pt x="2610" y="136"/>
                      </a:lnTo>
                      <a:lnTo>
                        <a:pt x="2617" y="140"/>
                      </a:lnTo>
                      <a:lnTo>
                        <a:pt x="2623" y="142"/>
                      </a:lnTo>
                      <a:lnTo>
                        <a:pt x="2630" y="144"/>
                      </a:lnTo>
                      <a:lnTo>
                        <a:pt x="2638" y="144"/>
                      </a:lnTo>
                      <a:lnTo>
                        <a:pt x="2630" y="144"/>
                      </a:lnTo>
                      <a:lnTo>
                        <a:pt x="2623" y="142"/>
                      </a:lnTo>
                      <a:lnTo>
                        <a:pt x="2618" y="140"/>
                      </a:lnTo>
                      <a:lnTo>
                        <a:pt x="2611" y="137"/>
                      </a:lnTo>
                      <a:lnTo>
                        <a:pt x="2600" y="130"/>
                      </a:lnTo>
                      <a:lnTo>
                        <a:pt x="2590" y="121"/>
                      </a:lnTo>
                      <a:lnTo>
                        <a:pt x="2579" y="110"/>
                      </a:lnTo>
                      <a:lnTo>
                        <a:pt x="2567" y="100"/>
                      </a:lnTo>
                      <a:lnTo>
                        <a:pt x="2561" y="95"/>
                      </a:lnTo>
                      <a:lnTo>
                        <a:pt x="2554" y="90"/>
                      </a:lnTo>
                      <a:lnTo>
                        <a:pt x="2547" y="86"/>
                      </a:lnTo>
                      <a:lnTo>
                        <a:pt x="2538" y="83"/>
                      </a:lnTo>
                      <a:lnTo>
                        <a:pt x="2465" y="114"/>
                      </a:lnTo>
                      <a:lnTo>
                        <a:pt x="2462" y="110"/>
                      </a:lnTo>
                      <a:lnTo>
                        <a:pt x="2455" y="104"/>
                      </a:lnTo>
                      <a:lnTo>
                        <a:pt x="2451" y="100"/>
                      </a:lnTo>
                      <a:lnTo>
                        <a:pt x="2446" y="98"/>
                      </a:lnTo>
                      <a:lnTo>
                        <a:pt x="2439" y="95"/>
                      </a:lnTo>
                      <a:lnTo>
                        <a:pt x="2431" y="95"/>
                      </a:lnTo>
                      <a:lnTo>
                        <a:pt x="2410" y="95"/>
                      </a:lnTo>
                      <a:lnTo>
                        <a:pt x="2391" y="98"/>
                      </a:lnTo>
                      <a:lnTo>
                        <a:pt x="2372" y="101"/>
                      </a:lnTo>
                      <a:lnTo>
                        <a:pt x="2354" y="105"/>
                      </a:lnTo>
                      <a:lnTo>
                        <a:pt x="2319" y="117"/>
                      </a:lnTo>
                      <a:lnTo>
                        <a:pt x="2284" y="129"/>
                      </a:lnTo>
                      <a:lnTo>
                        <a:pt x="2250" y="141"/>
                      </a:lnTo>
                      <a:lnTo>
                        <a:pt x="2214" y="152"/>
                      </a:lnTo>
                      <a:lnTo>
                        <a:pt x="2195" y="156"/>
                      </a:lnTo>
                      <a:lnTo>
                        <a:pt x="2175" y="159"/>
                      </a:lnTo>
                      <a:lnTo>
                        <a:pt x="2155" y="161"/>
                      </a:lnTo>
                      <a:lnTo>
                        <a:pt x="2133" y="162"/>
                      </a:lnTo>
                      <a:lnTo>
                        <a:pt x="2134" y="167"/>
                      </a:lnTo>
                      <a:lnTo>
                        <a:pt x="2137" y="173"/>
                      </a:lnTo>
                      <a:lnTo>
                        <a:pt x="2142" y="178"/>
                      </a:lnTo>
                      <a:lnTo>
                        <a:pt x="2149" y="183"/>
                      </a:lnTo>
                      <a:lnTo>
                        <a:pt x="2157" y="187"/>
                      </a:lnTo>
                      <a:lnTo>
                        <a:pt x="2167" y="190"/>
                      </a:lnTo>
                      <a:lnTo>
                        <a:pt x="2175" y="193"/>
                      </a:lnTo>
                      <a:lnTo>
                        <a:pt x="2185" y="193"/>
                      </a:lnTo>
                      <a:lnTo>
                        <a:pt x="2186" y="198"/>
                      </a:lnTo>
                      <a:lnTo>
                        <a:pt x="2187" y="203"/>
                      </a:lnTo>
                      <a:lnTo>
                        <a:pt x="2190" y="208"/>
                      </a:lnTo>
                      <a:lnTo>
                        <a:pt x="2192" y="213"/>
                      </a:lnTo>
                      <a:lnTo>
                        <a:pt x="2198" y="225"/>
                      </a:lnTo>
                      <a:lnTo>
                        <a:pt x="2207" y="235"/>
                      </a:lnTo>
                      <a:lnTo>
                        <a:pt x="2216" y="244"/>
                      </a:lnTo>
                      <a:lnTo>
                        <a:pt x="2225" y="251"/>
                      </a:lnTo>
                      <a:lnTo>
                        <a:pt x="2233" y="257"/>
                      </a:lnTo>
                      <a:lnTo>
                        <a:pt x="2239" y="261"/>
                      </a:lnTo>
                      <a:lnTo>
                        <a:pt x="2233" y="261"/>
                      </a:lnTo>
                      <a:lnTo>
                        <a:pt x="2227" y="260"/>
                      </a:lnTo>
                      <a:lnTo>
                        <a:pt x="2223" y="259"/>
                      </a:lnTo>
                      <a:lnTo>
                        <a:pt x="2217" y="257"/>
                      </a:lnTo>
                      <a:lnTo>
                        <a:pt x="2214" y="254"/>
                      </a:lnTo>
                      <a:lnTo>
                        <a:pt x="2209" y="251"/>
                      </a:lnTo>
                      <a:lnTo>
                        <a:pt x="2206" y="248"/>
                      </a:lnTo>
                      <a:lnTo>
                        <a:pt x="2203" y="244"/>
                      </a:lnTo>
                      <a:lnTo>
                        <a:pt x="2198" y="236"/>
                      </a:lnTo>
                      <a:lnTo>
                        <a:pt x="2195" y="225"/>
                      </a:lnTo>
                      <a:lnTo>
                        <a:pt x="2193" y="213"/>
                      </a:lnTo>
                      <a:lnTo>
                        <a:pt x="2192" y="200"/>
                      </a:lnTo>
                      <a:lnTo>
                        <a:pt x="2190" y="201"/>
                      </a:lnTo>
                      <a:lnTo>
                        <a:pt x="2186" y="202"/>
                      </a:lnTo>
                      <a:lnTo>
                        <a:pt x="2182" y="202"/>
                      </a:lnTo>
                      <a:lnTo>
                        <a:pt x="2179" y="202"/>
                      </a:lnTo>
                      <a:lnTo>
                        <a:pt x="2169" y="200"/>
                      </a:lnTo>
                      <a:lnTo>
                        <a:pt x="2159" y="200"/>
                      </a:lnTo>
                      <a:lnTo>
                        <a:pt x="2150" y="200"/>
                      </a:lnTo>
                      <a:lnTo>
                        <a:pt x="2141" y="202"/>
                      </a:lnTo>
                      <a:lnTo>
                        <a:pt x="2134" y="205"/>
                      </a:lnTo>
                      <a:lnTo>
                        <a:pt x="2126" y="209"/>
                      </a:lnTo>
                      <a:lnTo>
                        <a:pt x="2118" y="212"/>
                      </a:lnTo>
                      <a:lnTo>
                        <a:pt x="2111" y="215"/>
                      </a:lnTo>
                      <a:lnTo>
                        <a:pt x="2102" y="217"/>
                      </a:lnTo>
                      <a:lnTo>
                        <a:pt x="2093" y="218"/>
                      </a:lnTo>
                      <a:lnTo>
                        <a:pt x="2083" y="217"/>
                      </a:lnTo>
                      <a:lnTo>
                        <a:pt x="2073" y="214"/>
                      </a:lnTo>
                      <a:lnTo>
                        <a:pt x="2066" y="210"/>
                      </a:lnTo>
                      <a:lnTo>
                        <a:pt x="2059" y="206"/>
                      </a:lnTo>
                      <a:lnTo>
                        <a:pt x="2020" y="218"/>
                      </a:lnTo>
                      <a:lnTo>
                        <a:pt x="2013" y="218"/>
                      </a:lnTo>
                      <a:lnTo>
                        <a:pt x="2000" y="219"/>
                      </a:lnTo>
                      <a:lnTo>
                        <a:pt x="1992" y="221"/>
                      </a:lnTo>
                      <a:lnTo>
                        <a:pt x="1985" y="223"/>
                      </a:lnTo>
                      <a:lnTo>
                        <a:pt x="1983" y="225"/>
                      </a:lnTo>
                      <a:lnTo>
                        <a:pt x="1981" y="227"/>
                      </a:lnTo>
                      <a:lnTo>
                        <a:pt x="1980" y="229"/>
                      </a:lnTo>
                      <a:lnTo>
                        <a:pt x="1980" y="231"/>
                      </a:lnTo>
                      <a:lnTo>
                        <a:pt x="1980" y="234"/>
                      </a:lnTo>
                      <a:lnTo>
                        <a:pt x="1982" y="238"/>
                      </a:lnTo>
                      <a:lnTo>
                        <a:pt x="1984" y="242"/>
                      </a:lnTo>
                      <a:lnTo>
                        <a:pt x="1988" y="245"/>
                      </a:lnTo>
                      <a:lnTo>
                        <a:pt x="1996" y="253"/>
                      </a:lnTo>
                      <a:lnTo>
                        <a:pt x="2009" y="261"/>
                      </a:lnTo>
                      <a:lnTo>
                        <a:pt x="2023" y="270"/>
                      </a:lnTo>
                      <a:lnTo>
                        <a:pt x="2038" y="278"/>
                      </a:lnTo>
                      <a:lnTo>
                        <a:pt x="2056" y="287"/>
                      </a:lnTo>
                      <a:lnTo>
                        <a:pt x="2074" y="295"/>
                      </a:lnTo>
                      <a:lnTo>
                        <a:pt x="2112" y="311"/>
                      </a:lnTo>
                      <a:lnTo>
                        <a:pt x="2148" y="324"/>
                      </a:lnTo>
                      <a:lnTo>
                        <a:pt x="2178" y="334"/>
                      </a:lnTo>
                      <a:lnTo>
                        <a:pt x="2198" y="342"/>
                      </a:lnTo>
                      <a:lnTo>
                        <a:pt x="2200" y="352"/>
                      </a:lnTo>
                      <a:lnTo>
                        <a:pt x="2202" y="361"/>
                      </a:lnTo>
                      <a:lnTo>
                        <a:pt x="2204" y="369"/>
                      </a:lnTo>
                      <a:lnTo>
                        <a:pt x="2207" y="376"/>
                      </a:lnTo>
                      <a:lnTo>
                        <a:pt x="2216" y="389"/>
                      </a:lnTo>
                      <a:lnTo>
                        <a:pt x="2226" y="403"/>
                      </a:lnTo>
                      <a:lnTo>
                        <a:pt x="2214" y="405"/>
                      </a:lnTo>
                      <a:lnTo>
                        <a:pt x="2203" y="404"/>
                      </a:lnTo>
                      <a:lnTo>
                        <a:pt x="2193" y="402"/>
                      </a:lnTo>
                      <a:lnTo>
                        <a:pt x="2184" y="399"/>
                      </a:lnTo>
                      <a:lnTo>
                        <a:pt x="2177" y="394"/>
                      </a:lnTo>
                      <a:lnTo>
                        <a:pt x="2169" y="387"/>
                      </a:lnTo>
                      <a:lnTo>
                        <a:pt x="2161" y="381"/>
                      </a:lnTo>
                      <a:lnTo>
                        <a:pt x="2155" y="374"/>
                      </a:lnTo>
                      <a:lnTo>
                        <a:pt x="2142" y="360"/>
                      </a:lnTo>
                      <a:lnTo>
                        <a:pt x="2129" y="345"/>
                      </a:lnTo>
                      <a:lnTo>
                        <a:pt x="2123" y="339"/>
                      </a:lnTo>
                      <a:lnTo>
                        <a:pt x="2115" y="332"/>
                      </a:lnTo>
                      <a:lnTo>
                        <a:pt x="2107" y="327"/>
                      </a:lnTo>
                      <a:lnTo>
                        <a:pt x="2100" y="323"/>
                      </a:lnTo>
                      <a:lnTo>
                        <a:pt x="2065" y="315"/>
                      </a:lnTo>
                      <a:lnTo>
                        <a:pt x="2020" y="305"/>
                      </a:lnTo>
                      <a:lnTo>
                        <a:pt x="2009" y="302"/>
                      </a:lnTo>
                      <a:lnTo>
                        <a:pt x="1999" y="298"/>
                      </a:lnTo>
                      <a:lnTo>
                        <a:pt x="1989" y="293"/>
                      </a:lnTo>
                      <a:lnTo>
                        <a:pt x="1980" y="288"/>
                      </a:lnTo>
                      <a:lnTo>
                        <a:pt x="1972" y="281"/>
                      </a:lnTo>
                      <a:lnTo>
                        <a:pt x="1967" y="273"/>
                      </a:lnTo>
                      <a:lnTo>
                        <a:pt x="1964" y="269"/>
                      </a:lnTo>
                      <a:lnTo>
                        <a:pt x="1962" y="265"/>
                      </a:lnTo>
                      <a:lnTo>
                        <a:pt x="1960" y="260"/>
                      </a:lnTo>
                      <a:lnTo>
                        <a:pt x="1960" y="255"/>
                      </a:lnTo>
                      <a:lnTo>
                        <a:pt x="1947" y="255"/>
                      </a:lnTo>
                      <a:lnTo>
                        <a:pt x="1940" y="255"/>
                      </a:lnTo>
                      <a:lnTo>
                        <a:pt x="1933" y="256"/>
                      </a:lnTo>
                      <a:lnTo>
                        <a:pt x="1927" y="258"/>
                      </a:lnTo>
                      <a:lnTo>
                        <a:pt x="1922" y="261"/>
                      </a:lnTo>
                      <a:lnTo>
                        <a:pt x="1916" y="264"/>
                      </a:lnTo>
                      <a:lnTo>
                        <a:pt x="1910" y="267"/>
                      </a:lnTo>
                      <a:lnTo>
                        <a:pt x="1903" y="270"/>
                      </a:lnTo>
                      <a:lnTo>
                        <a:pt x="1895" y="272"/>
                      </a:lnTo>
                      <a:lnTo>
                        <a:pt x="1887" y="273"/>
                      </a:lnTo>
                      <a:lnTo>
                        <a:pt x="1882" y="287"/>
                      </a:lnTo>
                      <a:lnTo>
                        <a:pt x="1879" y="297"/>
                      </a:lnTo>
                      <a:lnTo>
                        <a:pt x="1877" y="301"/>
                      </a:lnTo>
                      <a:lnTo>
                        <a:pt x="1875" y="305"/>
                      </a:lnTo>
                      <a:lnTo>
                        <a:pt x="1871" y="308"/>
                      </a:lnTo>
                      <a:lnTo>
                        <a:pt x="1867" y="310"/>
                      </a:lnTo>
                      <a:lnTo>
                        <a:pt x="1871" y="316"/>
                      </a:lnTo>
                      <a:lnTo>
                        <a:pt x="1876" y="320"/>
                      </a:lnTo>
                      <a:lnTo>
                        <a:pt x="1882" y="325"/>
                      </a:lnTo>
                      <a:lnTo>
                        <a:pt x="1889" y="328"/>
                      </a:lnTo>
                      <a:lnTo>
                        <a:pt x="1903" y="334"/>
                      </a:lnTo>
                      <a:lnTo>
                        <a:pt x="1921" y="340"/>
                      </a:lnTo>
                      <a:lnTo>
                        <a:pt x="1959" y="349"/>
                      </a:lnTo>
                      <a:lnTo>
                        <a:pt x="2000" y="360"/>
                      </a:lnTo>
                      <a:lnTo>
                        <a:pt x="1954" y="360"/>
                      </a:lnTo>
                      <a:lnTo>
                        <a:pt x="1929" y="354"/>
                      </a:lnTo>
                      <a:lnTo>
                        <a:pt x="1906" y="349"/>
                      </a:lnTo>
                      <a:lnTo>
                        <a:pt x="1886" y="344"/>
                      </a:lnTo>
                      <a:lnTo>
                        <a:pt x="1866" y="338"/>
                      </a:lnTo>
                      <a:lnTo>
                        <a:pt x="1857" y="333"/>
                      </a:lnTo>
                      <a:lnTo>
                        <a:pt x="1849" y="328"/>
                      </a:lnTo>
                      <a:lnTo>
                        <a:pt x="1842" y="322"/>
                      </a:lnTo>
                      <a:lnTo>
                        <a:pt x="1835" y="315"/>
                      </a:lnTo>
                      <a:lnTo>
                        <a:pt x="1828" y="307"/>
                      </a:lnTo>
                      <a:lnTo>
                        <a:pt x="1823" y="298"/>
                      </a:lnTo>
                      <a:lnTo>
                        <a:pt x="1817" y="287"/>
                      </a:lnTo>
                      <a:lnTo>
                        <a:pt x="1814" y="273"/>
                      </a:lnTo>
                      <a:lnTo>
                        <a:pt x="1787" y="273"/>
                      </a:lnTo>
                      <a:lnTo>
                        <a:pt x="1787" y="282"/>
                      </a:lnTo>
                      <a:lnTo>
                        <a:pt x="1786" y="288"/>
                      </a:lnTo>
                      <a:lnTo>
                        <a:pt x="1785" y="293"/>
                      </a:lnTo>
                      <a:lnTo>
                        <a:pt x="1782" y="298"/>
                      </a:lnTo>
                      <a:lnTo>
                        <a:pt x="1776" y="306"/>
                      </a:lnTo>
                      <a:lnTo>
                        <a:pt x="1767" y="316"/>
                      </a:lnTo>
                      <a:lnTo>
                        <a:pt x="1771" y="323"/>
                      </a:lnTo>
                      <a:lnTo>
                        <a:pt x="1775" y="328"/>
                      </a:lnTo>
                      <a:lnTo>
                        <a:pt x="1779" y="332"/>
                      </a:lnTo>
                      <a:lnTo>
                        <a:pt x="1785" y="336"/>
                      </a:lnTo>
                      <a:lnTo>
                        <a:pt x="1793" y="342"/>
                      </a:lnTo>
                      <a:lnTo>
                        <a:pt x="1803" y="346"/>
                      </a:lnTo>
                      <a:lnTo>
                        <a:pt x="1813" y="351"/>
                      </a:lnTo>
                      <a:lnTo>
                        <a:pt x="1823" y="358"/>
                      </a:lnTo>
                      <a:lnTo>
                        <a:pt x="1827" y="363"/>
                      </a:lnTo>
                      <a:lnTo>
                        <a:pt x="1832" y="369"/>
                      </a:lnTo>
                      <a:lnTo>
                        <a:pt x="1836" y="376"/>
                      </a:lnTo>
                      <a:lnTo>
                        <a:pt x="1841" y="384"/>
                      </a:lnTo>
                      <a:lnTo>
                        <a:pt x="1842" y="389"/>
                      </a:lnTo>
                      <a:lnTo>
                        <a:pt x="1843" y="396"/>
                      </a:lnTo>
                      <a:lnTo>
                        <a:pt x="1844" y="402"/>
                      </a:lnTo>
                      <a:lnTo>
                        <a:pt x="1844" y="409"/>
                      </a:lnTo>
                      <a:lnTo>
                        <a:pt x="1844" y="415"/>
                      </a:lnTo>
                      <a:lnTo>
                        <a:pt x="1844" y="420"/>
                      </a:lnTo>
                      <a:lnTo>
                        <a:pt x="1845" y="424"/>
                      </a:lnTo>
                      <a:lnTo>
                        <a:pt x="1847" y="427"/>
                      </a:lnTo>
                      <a:lnTo>
                        <a:pt x="1859" y="436"/>
                      </a:lnTo>
                      <a:lnTo>
                        <a:pt x="1868" y="444"/>
                      </a:lnTo>
                      <a:lnTo>
                        <a:pt x="1872" y="448"/>
                      </a:lnTo>
                      <a:lnTo>
                        <a:pt x="1878" y="451"/>
                      </a:lnTo>
                      <a:lnTo>
                        <a:pt x="1884" y="452"/>
                      </a:lnTo>
                      <a:lnTo>
                        <a:pt x="1893" y="453"/>
                      </a:lnTo>
                      <a:lnTo>
                        <a:pt x="1902" y="452"/>
                      </a:lnTo>
                      <a:lnTo>
                        <a:pt x="1910" y="450"/>
                      </a:lnTo>
                      <a:lnTo>
                        <a:pt x="1917" y="446"/>
                      </a:lnTo>
                      <a:lnTo>
                        <a:pt x="1923" y="443"/>
                      </a:lnTo>
                      <a:lnTo>
                        <a:pt x="1929" y="439"/>
                      </a:lnTo>
                      <a:lnTo>
                        <a:pt x="1936" y="436"/>
                      </a:lnTo>
                      <a:lnTo>
                        <a:pt x="1944" y="434"/>
                      </a:lnTo>
                      <a:lnTo>
                        <a:pt x="1954" y="433"/>
                      </a:lnTo>
                      <a:lnTo>
                        <a:pt x="1961" y="434"/>
                      </a:lnTo>
                      <a:lnTo>
                        <a:pt x="1970" y="435"/>
                      </a:lnTo>
                      <a:lnTo>
                        <a:pt x="1978" y="437"/>
                      </a:lnTo>
                      <a:lnTo>
                        <a:pt x="1985" y="439"/>
                      </a:lnTo>
                      <a:lnTo>
                        <a:pt x="1999" y="445"/>
                      </a:lnTo>
                      <a:lnTo>
                        <a:pt x="2013" y="453"/>
                      </a:lnTo>
                      <a:lnTo>
                        <a:pt x="2027" y="459"/>
                      </a:lnTo>
                      <a:lnTo>
                        <a:pt x="2041" y="465"/>
                      </a:lnTo>
                      <a:lnTo>
                        <a:pt x="2048" y="467"/>
                      </a:lnTo>
                      <a:lnTo>
                        <a:pt x="2056" y="469"/>
                      </a:lnTo>
                      <a:lnTo>
                        <a:pt x="2065" y="470"/>
                      </a:lnTo>
                      <a:lnTo>
                        <a:pt x="2073" y="471"/>
                      </a:lnTo>
                      <a:lnTo>
                        <a:pt x="2076" y="482"/>
                      </a:lnTo>
                      <a:lnTo>
                        <a:pt x="2078" y="492"/>
                      </a:lnTo>
                      <a:lnTo>
                        <a:pt x="2082" y="503"/>
                      </a:lnTo>
                      <a:lnTo>
                        <a:pt x="2086" y="511"/>
                      </a:lnTo>
                      <a:lnTo>
                        <a:pt x="2090" y="515"/>
                      </a:lnTo>
                      <a:lnTo>
                        <a:pt x="2093" y="518"/>
                      </a:lnTo>
                      <a:lnTo>
                        <a:pt x="2097" y="522"/>
                      </a:lnTo>
                      <a:lnTo>
                        <a:pt x="2102" y="525"/>
                      </a:lnTo>
                      <a:lnTo>
                        <a:pt x="2106" y="527"/>
                      </a:lnTo>
                      <a:lnTo>
                        <a:pt x="2113" y="529"/>
                      </a:lnTo>
                      <a:lnTo>
                        <a:pt x="2118" y="531"/>
                      </a:lnTo>
                      <a:lnTo>
                        <a:pt x="2126" y="532"/>
                      </a:lnTo>
                      <a:lnTo>
                        <a:pt x="2111" y="532"/>
                      </a:lnTo>
                      <a:lnTo>
                        <a:pt x="2100" y="532"/>
                      </a:lnTo>
                      <a:lnTo>
                        <a:pt x="2093" y="532"/>
                      </a:lnTo>
                      <a:lnTo>
                        <a:pt x="2086" y="531"/>
                      </a:lnTo>
                      <a:lnTo>
                        <a:pt x="2081" y="530"/>
                      </a:lnTo>
                      <a:lnTo>
                        <a:pt x="2076" y="529"/>
                      </a:lnTo>
                      <a:lnTo>
                        <a:pt x="2067" y="524"/>
                      </a:lnTo>
                      <a:lnTo>
                        <a:pt x="2059" y="519"/>
                      </a:lnTo>
                      <a:lnTo>
                        <a:pt x="2052" y="513"/>
                      </a:lnTo>
                      <a:lnTo>
                        <a:pt x="2046" y="506"/>
                      </a:lnTo>
                      <a:lnTo>
                        <a:pt x="2040" y="497"/>
                      </a:lnTo>
                      <a:lnTo>
                        <a:pt x="2035" y="489"/>
                      </a:lnTo>
                      <a:lnTo>
                        <a:pt x="2030" y="481"/>
                      </a:lnTo>
                      <a:lnTo>
                        <a:pt x="2024" y="473"/>
                      </a:lnTo>
                      <a:lnTo>
                        <a:pt x="2017" y="466"/>
                      </a:lnTo>
                      <a:lnTo>
                        <a:pt x="2011" y="460"/>
                      </a:lnTo>
                      <a:lnTo>
                        <a:pt x="2002" y="454"/>
                      </a:lnTo>
                      <a:lnTo>
                        <a:pt x="1992" y="450"/>
                      </a:lnTo>
                      <a:lnTo>
                        <a:pt x="1980" y="448"/>
                      </a:lnTo>
                      <a:lnTo>
                        <a:pt x="1967" y="446"/>
                      </a:lnTo>
                      <a:lnTo>
                        <a:pt x="1959" y="446"/>
                      </a:lnTo>
                      <a:lnTo>
                        <a:pt x="1953" y="449"/>
                      </a:lnTo>
                      <a:lnTo>
                        <a:pt x="1946" y="451"/>
                      </a:lnTo>
                      <a:lnTo>
                        <a:pt x="1939" y="453"/>
                      </a:lnTo>
                      <a:lnTo>
                        <a:pt x="1927" y="459"/>
                      </a:lnTo>
                      <a:lnTo>
                        <a:pt x="1913" y="465"/>
                      </a:lnTo>
                      <a:lnTo>
                        <a:pt x="1918" y="477"/>
                      </a:lnTo>
                      <a:lnTo>
                        <a:pt x="1932" y="499"/>
                      </a:lnTo>
                      <a:lnTo>
                        <a:pt x="1939" y="512"/>
                      </a:lnTo>
                      <a:lnTo>
                        <a:pt x="1947" y="523"/>
                      </a:lnTo>
                      <a:lnTo>
                        <a:pt x="1954" y="532"/>
                      </a:lnTo>
                      <a:lnTo>
                        <a:pt x="1960" y="538"/>
                      </a:lnTo>
                      <a:lnTo>
                        <a:pt x="1945" y="554"/>
                      </a:lnTo>
                      <a:lnTo>
                        <a:pt x="1929" y="573"/>
                      </a:lnTo>
                      <a:lnTo>
                        <a:pt x="1924" y="578"/>
                      </a:lnTo>
                      <a:lnTo>
                        <a:pt x="1918" y="581"/>
                      </a:lnTo>
                      <a:lnTo>
                        <a:pt x="1913" y="585"/>
                      </a:lnTo>
                      <a:lnTo>
                        <a:pt x="1906" y="588"/>
                      </a:lnTo>
                      <a:lnTo>
                        <a:pt x="1900" y="590"/>
                      </a:lnTo>
                      <a:lnTo>
                        <a:pt x="1892" y="592"/>
                      </a:lnTo>
                      <a:lnTo>
                        <a:pt x="1883" y="593"/>
                      </a:lnTo>
                      <a:lnTo>
                        <a:pt x="1873" y="594"/>
                      </a:lnTo>
                      <a:lnTo>
                        <a:pt x="1855" y="595"/>
                      </a:lnTo>
                      <a:lnTo>
                        <a:pt x="1838" y="597"/>
                      </a:lnTo>
                      <a:lnTo>
                        <a:pt x="1823" y="600"/>
                      </a:lnTo>
                      <a:lnTo>
                        <a:pt x="1810" y="603"/>
                      </a:lnTo>
                      <a:lnTo>
                        <a:pt x="1797" y="604"/>
                      </a:lnTo>
                      <a:lnTo>
                        <a:pt x="1785" y="604"/>
                      </a:lnTo>
                      <a:lnTo>
                        <a:pt x="1779" y="603"/>
                      </a:lnTo>
                      <a:lnTo>
                        <a:pt x="1772" y="601"/>
                      </a:lnTo>
                      <a:lnTo>
                        <a:pt x="1767" y="598"/>
                      </a:lnTo>
                      <a:lnTo>
                        <a:pt x="1760" y="594"/>
                      </a:lnTo>
                      <a:lnTo>
                        <a:pt x="1778" y="593"/>
                      </a:lnTo>
                      <a:lnTo>
                        <a:pt x="1793" y="591"/>
                      </a:lnTo>
                      <a:lnTo>
                        <a:pt x="1806" y="589"/>
                      </a:lnTo>
                      <a:lnTo>
                        <a:pt x="1821" y="588"/>
                      </a:lnTo>
                      <a:lnTo>
                        <a:pt x="1826" y="587"/>
                      </a:lnTo>
                      <a:lnTo>
                        <a:pt x="1832" y="586"/>
                      </a:lnTo>
                      <a:lnTo>
                        <a:pt x="1837" y="585"/>
                      </a:lnTo>
                      <a:lnTo>
                        <a:pt x="1843" y="583"/>
                      </a:lnTo>
                      <a:lnTo>
                        <a:pt x="1847" y="580"/>
                      </a:lnTo>
                      <a:lnTo>
                        <a:pt x="1852" y="577"/>
                      </a:lnTo>
                      <a:lnTo>
                        <a:pt x="1856" y="573"/>
                      </a:lnTo>
                      <a:lnTo>
                        <a:pt x="1859" y="569"/>
                      </a:lnTo>
                      <a:lnTo>
                        <a:pt x="1866" y="560"/>
                      </a:lnTo>
                      <a:lnTo>
                        <a:pt x="1870" y="548"/>
                      </a:lnTo>
                      <a:lnTo>
                        <a:pt x="1872" y="538"/>
                      </a:lnTo>
                      <a:lnTo>
                        <a:pt x="1873" y="526"/>
                      </a:lnTo>
                      <a:lnTo>
                        <a:pt x="1873" y="520"/>
                      </a:lnTo>
                      <a:lnTo>
                        <a:pt x="1873" y="512"/>
                      </a:lnTo>
                      <a:lnTo>
                        <a:pt x="1873" y="499"/>
                      </a:lnTo>
                      <a:lnTo>
                        <a:pt x="1873" y="483"/>
                      </a:lnTo>
                      <a:lnTo>
                        <a:pt x="1860" y="480"/>
                      </a:lnTo>
                      <a:lnTo>
                        <a:pt x="1849" y="476"/>
                      </a:lnTo>
                      <a:lnTo>
                        <a:pt x="1839" y="470"/>
                      </a:lnTo>
                      <a:lnTo>
                        <a:pt x="1832" y="464"/>
                      </a:lnTo>
                      <a:lnTo>
                        <a:pt x="1824" y="457"/>
                      </a:lnTo>
                      <a:lnTo>
                        <a:pt x="1817" y="449"/>
                      </a:lnTo>
                      <a:lnTo>
                        <a:pt x="1812" y="440"/>
                      </a:lnTo>
                      <a:lnTo>
                        <a:pt x="1806" y="431"/>
                      </a:lnTo>
                      <a:lnTo>
                        <a:pt x="1796" y="413"/>
                      </a:lnTo>
                      <a:lnTo>
                        <a:pt x="1785" y="396"/>
                      </a:lnTo>
                      <a:lnTo>
                        <a:pt x="1778" y="387"/>
                      </a:lnTo>
                      <a:lnTo>
                        <a:pt x="1771" y="379"/>
                      </a:lnTo>
                      <a:lnTo>
                        <a:pt x="1764" y="372"/>
                      </a:lnTo>
                      <a:lnTo>
                        <a:pt x="1754" y="366"/>
                      </a:lnTo>
                      <a:lnTo>
                        <a:pt x="1708" y="348"/>
                      </a:lnTo>
                      <a:lnTo>
                        <a:pt x="1705" y="342"/>
                      </a:lnTo>
                      <a:lnTo>
                        <a:pt x="1707" y="333"/>
                      </a:lnTo>
                      <a:lnTo>
                        <a:pt x="1708" y="324"/>
                      </a:lnTo>
                      <a:lnTo>
                        <a:pt x="1709" y="313"/>
                      </a:lnTo>
                      <a:lnTo>
                        <a:pt x="1710" y="303"/>
                      </a:lnTo>
                      <a:lnTo>
                        <a:pt x="1709" y="294"/>
                      </a:lnTo>
                      <a:lnTo>
                        <a:pt x="1708" y="290"/>
                      </a:lnTo>
                      <a:lnTo>
                        <a:pt x="1707" y="286"/>
                      </a:lnTo>
                      <a:lnTo>
                        <a:pt x="1704" y="283"/>
                      </a:lnTo>
                      <a:lnTo>
                        <a:pt x="1701" y="279"/>
                      </a:lnTo>
                      <a:lnTo>
                        <a:pt x="1698" y="276"/>
                      </a:lnTo>
                      <a:lnTo>
                        <a:pt x="1693" y="273"/>
                      </a:lnTo>
                      <a:lnTo>
                        <a:pt x="1689" y="271"/>
                      </a:lnTo>
                      <a:lnTo>
                        <a:pt x="1682" y="269"/>
                      </a:lnTo>
                      <a:lnTo>
                        <a:pt x="1669" y="266"/>
                      </a:lnTo>
                      <a:lnTo>
                        <a:pt x="1654" y="263"/>
                      </a:lnTo>
                      <a:lnTo>
                        <a:pt x="1618" y="261"/>
                      </a:lnTo>
                      <a:lnTo>
                        <a:pt x="1581" y="261"/>
                      </a:lnTo>
                      <a:lnTo>
                        <a:pt x="1596" y="257"/>
                      </a:lnTo>
                      <a:lnTo>
                        <a:pt x="1609" y="253"/>
                      </a:lnTo>
                      <a:lnTo>
                        <a:pt x="1613" y="249"/>
                      </a:lnTo>
                      <a:lnTo>
                        <a:pt x="1618" y="245"/>
                      </a:lnTo>
                      <a:lnTo>
                        <a:pt x="1620" y="239"/>
                      </a:lnTo>
                      <a:lnTo>
                        <a:pt x="1621" y="231"/>
                      </a:lnTo>
                      <a:lnTo>
                        <a:pt x="1608" y="231"/>
                      </a:lnTo>
                      <a:lnTo>
                        <a:pt x="1596" y="231"/>
                      </a:lnTo>
                      <a:lnTo>
                        <a:pt x="1581" y="231"/>
                      </a:lnTo>
                      <a:lnTo>
                        <a:pt x="1562" y="231"/>
                      </a:lnTo>
                      <a:lnTo>
                        <a:pt x="1559" y="246"/>
                      </a:lnTo>
                      <a:lnTo>
                        <a:pt x="1555" y="263"/>
                      </a:lnTo>
                      <a:lnTo>
                        <a:pt x="1550" y="279"/>
                      </a:lnTo>
                      <a:lnTo>
                        <a:pt x="1548" y="292"/>
                      </a:lnTo>
                      <a:lnTo>
                        <a:pt x="1548" y="294"/>
                      </a:lnTo>
                      <a:lnTo>
                        <a:pt x="1550" y="295"/>
                      </a:lnTo>
                      <a:lnTo>
                        <a:pt x="1552" y="295"/>
                      </a:lnTo>
                      <a:lnTo>
                        <a:pt x="1555" y="295"/>
                      </a:lnTo>
                      <a:lnTo>
                        <a:pt x="1559" y="293"/>
                      </a:lnTo>
                      <a:lnTo>
                        <a:pt x="1562" y="292"/>
                      </a:lnTo>
                      <a:lnTo>
                        <a:pt x="1562" y="323"/>
                      </a:lnTo>
                      <a:lnTo>
                        <a:pt x="1552" y="327"/>
                      </a:lnTo>
                      <a:lnTo>
                        <a:pt x="1543" y="331"/>
                      </a:lnTo>
                      <a:lnTo>
                        <a:pt x="1537" y="332"/>
                      </a:lnTo>
                      <a:lnTo>
                        <a:pt x="1531" y="334"/>
                      </a:lnTo>
                      <a:lnTo>
                        <a:pt x="1524" y="334"/>
                      </a:lnTo>
                      <a:lnTo>
                        <a:pt x="1514" y="336"/>
                      </a:lnTo>
                      <a:lnTo>
                        <a:pt x="1514" y="345"/>
                      </a:lnTo>
                      <a:lnTo>
                        <a:pt x="1514" y="354"/>
                      </a:lnTo>
                      <a:lnTo>
                        <a:pt x="1532" y="375"/>
                      </a:lnTo>
                      <a:lnTo>
                        <a:pt x="1555" y="404"/>
                      </a:lnTo>
                      <a:lnTo>
                        <a:pt x="1562" y="411"/>
                      </a:lnTo>
                      <a:lnTo>
                        <a:pt x="1569" y="418"/>
                      </a:lnTo>
                      <a:lnTo>
                        <a:pt x="1577" y="424"/>
                      </a:lnTo>
                      <a:lnTo>
                        <a:pt x="1585" y="429"/>
                      </a:lnTo>
                      <a:lnTo>
                        <a:pt x="1593" y="433"/>
                      </a:lnTo>
                      <a:lnTo>
                        <a:pt x="1602" y="437"/>
                      </a:lnTo>
                      <a:lnTo>
                        <a:pt x="1611" y="439"/>
                      </a:lnTo>
                      <a:lnTo>
                        <a:pt x="1621" y="439"/>
                      </a:lnTo>
                      <a:lnTo>
                        <a:pt x="1622" y="445"/>
                      </a:lnTo>
                      <a:lnTo>
                        <a:pt x="1623" y="451"/>
                      </a:lnTo>
                      <a:lnTo>
                        <a:pt x="1625" y="455"/>
                      </a:lnTo>
                      <a:lnTo>
                        <a:pt x="1629" y="458"/>
                      </a:lnTo>
                      <a:lnTo>
                        <a:pt x="1636" y="465"/>
                      </a:lnTo>
                      <a:lnTo>
                        <a:pt x="1645" y="471"/>
                      </a:lnTo>
                      <a:lnTo>
                        <a:pt x="1654" y="477"/>
                      </a:lnTo>
                      <a:lnTo>
                        <a:pt x="1663" y="483"/>
                      </a:lnTo>
                      <a:lnTo>
                        <a:pt x="1667" y="487"/>
                      </a:lnTo>
                      <a:lnTo>
                        <a:pt x="1670" y="491"/>
                      </a:lnTo>
                      <a:lnTo>
                        <a:pt x="1673" y="496"/>
                      </a:lnTo>
                      <a:lnTo>
                        <a:pt x="1674" y="501"/>
                      </a:lnTo>
                      <a:lnTo>
                        <a:pt x="1667" y="501"/>
                      </a:lnTo>
                      <a:lnTo>
                        <a:pt x="1654" y="501"/>
                      </a:lnTo>
                      <a:lnTo>
                        <a:pt x="1645" y="499"/>
                      </a:lnTo>
                      <a:lnTo>
                        <a:pt x="1625" y="494"/>
                      </a:lnTo>
                      <a:lnTo>
                        <a:pt x="1599" y="487"/>
                      </a:lnTo>
                      <a:lnTo>
                        <a:pt x="1568" y="478"/>
                      </a:lnTo>
                      <a:lnTo>
                        <a:pt x="1539" y="468"/>
                      </a:lnTo>
                      <a:lnTo>
                        <a:pt x="1513" y="458"/>
                      </a:lnTo>
                      <a:lnTo>
                        <a:pt x="1502" y="453"/>
                      </a:lnTo>
                      <a:lnTo>
                        <a:pt x="1495" y="448"/>
                      </a:lnTo>
                      <a:lnTo>
                        <a:pt x="1492" y="445"/>
                      </a:lnTo>
                      <a:lnTo>
                        <a:pt x="1490" y="443"/>
                      </a:lnTo>
                      <a:lnTo>
                        <a:pt x="1488" y="441"/>
                      </a:lnTo>
                      <a:lnTo>
                        <a:pt x="1488" y="439"/>
                      </a:lnTo>
                      <a:lnTo>
                        <a:pt x="1467" y="439"/>
                      </a:lnTo>
                      <a:lnTo>
                        <a:pt x="1432" y="436"/>
                      </a:lnTo>
                      <a:lnTo>
                        <a:pt x="1389" y="432"/>
                      </a:lnTo>
                      <a:lnTo>
                        <a:pt x="1343" y="425"/>
                      </a:lnTo>
                      <a:lnTo>
                        <a:pt x="1320" y="421"/>
                      </a:lnTo>
                      <a:lnTo>
                        <a:pt x="1298" y="417"/>
                      </a:lnTo>
                      <a:lnTo>
                        <a:pt x="1277" y="412"/>
                      </a:lnTo>
                      <a:lnTo>
                        <a:pt x="1260" y="406"/>
                      </a:lnTo>
                      <a:lnTo>
                        <a:pt x="1251" y="403"/>
                      </a:lnTo>
                      <a:lnTo>
                        <a:pt x="1244" y="400"/>
                      </a:lnTo>
                      <a:lnTo>
                        <a:pt x="1238" y="397"/>
                      </a:lnTo>
                      <a:lnTo>
                        <a:pt x="1232" y="394"/>
                      </a:lnTo>
                      <a:lnTo>
                        <a:pt x="1228" y="389"/>
                      </a:lnTo>
                      <a:lnTo>
                        <a:pt x="1225" y="386"/>
                      </a:lnTo>
                      <a:lnTo>
                        <a:pt x="1223" y="382"/>
                      </a:lnTo>
                      <a:lnTo>
                        <a:pt x="1222" y="378"/>
                      </a:lnTo>
                      <a:lnTo>
                        <a:pt x="1210" y="381"/>
                      </a:lnTo>
                      <a:lnTo>
                        <a:pt x="1203" y="384"/>
                      </a:lnTo>
                      <a:lnTo>
                        <a:pt x="1203" y="389"/>
                      </a:lnTo>
                      <a:lnTo>
                        <a:pt x="1204" y="395"/>
                      </a:lnTo>
                      <a:lnTo>
                        <a:pt x="1205" y="399"/>
                      </a:lnTo>
                      <a:lnTo>
                        <a:pt x="1207" y="403"/>
                      </a:lnTo>
                      <a:lnTo>
                        <a:pt x="1211" y="410"/>
                      </a:lnTo>
                      <a:lnTo>
                        <a:pt x="1218" y="416"/>
                      </a:lnTo>
                      <a:lnTo>
                        <a:pt x="1225" y="421"/>
                      </a:lnTo>
                      <a:lnTo>
                        <a:pt x="1233" y="425"/>
                      </a:lnTo>
                      <a:lnTo>
                        <a:pt x="1243" y="429"/>
                      </a:lnTo>
                      <a:lnTo>
                        <a:pt x="1253" y="433"/>
                      </a:lnTo>
                      <a:lnTo>
                        <a:pt x="1274" y="442"/>
                      </a:lnTo>
                      <a:lnTo>
                        <a:pt x="1295" y="452"/>
                      </a:lnTo>
                      <a:lnTo>
                        <a:pt x="1305" y="458"/>
                      </a:lnTo>
                      <a:lnTo>
                        <a:pt x="1313" y="465"/>
                      </a:lnTo>
                      <a:lnTo>
                        <a:pt x="1322" y="473"/>
                      </a:lnTo>
                      <a:lnTo>
                        <a:pt x="1329" y="483"/>
                      </a:lnTo>
                      <a:lnTo>
                        <a:pt x="1319" y="483"/>
                      </a:lnTo>
                      <a:lnTo>
                        <a:pt x="1309" y="483"/>
                      </a:lnTo>
                      <a:lnTo>
                        <a:pt x="1297" y="481"/>
                      </a:lnTo>
                      <a:lnTo>
                        <a:pt x="1281" y="477"/>
                      </a:lnTo>
                      <a:lnTo>
                        <a:pt x="1272" y="475"/>
                      </a:lnTo>
                      <a:lnTo>
                        <a:pt x="1262" y="473"/>
                      </a:lnTo>
                      <a:lnTo>
                        <a:pt x="1252" y="471"/>
                      </a:lnTo>
                      <a:lnTo>
                        <a:pt x="1242" y="471"/>
                      </a:lnTo>
                      <a:lnTo>
                        <a:pt x="1232" y="471"/>
                      </a:lnTo>
                      <a:lnTo>
                        <a:pt x="1221" y="473"/>
                      </a:lnTo>
                      <a:lnTo>
                        <a:pt x="1210" y="475"/>
                      </a:lnTo>
                      <a:lnTo>
                        <a:pt x="1198" y="477"/>
                      </a:lnTo>
                      <a:lnTo>
                        <a:pt x="1174" y="484"/>
                      </a:lnTo>
                      <a:lnTo>
                        <a:pt x="1149" y="492"/>
                      </a:lnTo>
                      <a:lnTo>
                        <a:pt x="1122" y="500"/>
                      </a:lnTo>
                      <a:lnTo>
                        <a:pt x="1097" y="508"/>
                      </a:lnTo>
                      <a:lnTo>
                        <a:pt x="1085" y="510"/>
                      </a:lnTo>
                      <a:lnTo>
                        <a:pt x="1073" y="512"/>
                      </a:lnTo>
                      <a:lnTo>
                        <a:pt x="1061" y="514"/>
                      </a:lnTo>
                      <a:lnTo>
                        <a:pt x="1050" y="514"/>
                      </a:lnTo>
                      <a:lnTo>
                        <a:pt x="1046" y="513"/>
                      </a:lnTo>
                      <a:lnTo>
                        <a:pt x="1042" y="511"/>
                      </a:lnTo>
                      <a:lnTo>
                        <a:pt x="1040" y="507"/>
                      </a:lnTo>
                      <a:lnTo>
                        <a:pt x="1040" y="503"/>
                      </a:lnTo>
                      <a:lnTo>
                        <a:pt x="1040" y="496"/>
                      </a:lnTo>
                      <a:lnTo>
                        <a:pt x="1042" y="490"/>
                      </a:lnTo>
                      <a:lnTo>
                        <a:pt x="1046" y="484"/>
                      </a:lnTo>
                      <a:lnTo>
                        <a:pt x="1050" y="477"/>
                      </a:lnTo>
                      <a:lnTo>
                        <a:pt x="1040" y="473"/>
                      </a:lnTo>
                      <a:lnTo>
                        <a:pt x="1030" y="472"/>
                      </a:lnTo>
                      <a:lnTo>
                        <a:pt x="1019" y="471"/>
                      </a:lnTo>
                      <a:lnTo>
                        <a:pt x="1009" y="471"/>
                      </a:lnTo>
                      <a:lnTo>
                        <a:pt x="1007" y="475"/>
                      </a:lnTo>
                      <a:lnTo>
                        <a:pt x="1004" y="477"/>
                      </a:lnTo>
                      <a:lnTo>
                        <a:pt x="999" y="479"/>
                      </a:lnTo>
                      <a:lnTo>
                        <a:pt x="994" y="480"/>
                      </a:lnTo>
                      <a:lnTo>
                        <a:pt x="984" y="480"/>
                      </a:lnTo>
                      <a:lnTo>
                        <a:pt x="972" y="479"/>
                      </a:lnTo>
                      <a:lnTo>
                        <a:pt x="961" y="477"/>
                      </a:lnTo>
                      <a:lnTo>
                        <a:pt x="949" y="477"/>
                      </a:lnTo>
                      <a:lnTo>
                        <a:pt x="943" y="477"/>
                      </a:lnTo>
                      <a:lnTo>
                        <a:pt x="939" y="478"/>
                      </a:lnTo>
                      <a:lnTo>
                        <a:pt x="934" y="480"/>
                      </a:lnTo>
                      <a:lnTo>
                        <a:pt x="930" y="483"/>
                      </a:lnTo>
                      <a:lnTo>
                        <a:pt x="924" y="489"/>
                      </a:lnTo>
                      <a:lnTo>
                        <a:pt x="916" y="495"/>
                      </a:lnTo>
                      <a:lnTo>
                        <a:pt x="908" y="500"/>
                      </a:lnTo>
                      <a:lnTo>
                        <a:pt x="900" y="505"/>
                      </a:lnTo>
                      <a:lnTo>
                        <a:pt x="882" y="513"/>
                      </a:lnTo>
                      <a:lnTo>
                        <a:pt x="864" y="522"/>
                      </a:lnTo>
                      <a:lnTo>
                        <a:pt x="857" y="526"/>
                      </a:lnTo>
                      <a:lnTo>
                        <a:pt x="849" y="532"/>
                      </a:lnTo>
                      <a:lnTo>
                        <a:pt x="841" y="538"/>
                      </a:lnTo>
                      <a:lnTo>
                        <a:pt x="836" y="545"/>
                      </a:lnTo>
                      <a:lnTo>
                        <a:pt x="830" y="553"/>
                      </a:lnTo>
                      <a:lnTo>
                        <a:pt x="827" y="564"/>
                      </a:lnTo>
                      <a:lnTo>
                        <a:pt x="825" y="575"/>
                      </a:lnTo>
                      <a:lnTo>
                        <a:pt x="824" y="588"/>
                      </a:lnTo>
                      <a:lnTo>
                        <a:pt x="810" y="584"/>
                      </a:lnTo>
                      <a:lnTo>
                        <a:pt x="797" y="581"/>
                      </a:lnTo>
                      <a:lnTo>
                        <a:pt x="791" y="581"/>
                      </a:lnTo>
                      <a:lnTo>
                        <a:pt x="784" y="582"/>
                      </a:lnTo>
                      <a:lnTo>
                        <a:pt x="778" y="584"/>
                      </a:lnTo>
                      <a:lnTo>
                        <a:pt x="771" y="588"/>
                      </a:lnTo>
                      <a:lnTo>
                        <a:pt x="758" y="582"/>
                      </a:lnTo>
                      <a:lnTo>
                        <a:pt x="740" y="575"/>
                      </a:lnTo>
                      <a:lnTo>
                        <a:pt x="732" y="571"/>
                      </a:lnTo>
                      <a:lnTo>
                        <a:pt x="724" y="566"/>
                      </a:lnTo>
                      <a:lnTo>
                        <a:pt x="716" y="562"/>
                      </a:lnTo>
                      <a:lnTo>
                        <a:pt x="711" y="556"/>
                      </a:lnTo>
                      <a:lnTo>
                        <a:pt x="711" y="526"/>
                      </a:lnTo>
                      <a:lnTo>
                        <a:pt x="721" y="526"/>
                      </a:lnTo>
                      <a:lnTo>
                        <a:pt x="730" y="526"/>
                      </a:lnTo>
                      <a:lnTo>
                        <a:pt x="738" y="526"/>
                      </a:lnTo>
                      <a:lnTo>
                        <a:pt x="744" y="526"/>
                      </a:lnTo>
                      <a:lnTo>
                        <a:pt x="740" y="516"/>
                      </a:lnTo>
                      <a:lnTo>
                        <a:pt x="736" y="507"/>
                      </a:lnTo>
                      <a:lnTo>
                        <a:pt x="730" y="499"/>
                      </a:lnTo>
                      <a:lnTo>
                        <a:pt x="723" y="493"/>
                      </a:lnTo>
                      <a:lnTo>
                        <a:pt x="714" y="488"/>
                      </a:lnTo>
                      <a:lnTo>
                        <a:pt x="704" y="485"/>
                      </a:lnTo>
                      <a:lnTo>
                        <a:pt x="692" y="483"/>
                      </a:lnTo>
                      <a:lnTo>
                        <a:pt x="678" y="483"/>
                      </a:lnTo>
                      <a:lnTo>
                        <a:pt x="668" y="483"/>
                      </a:lnTo>
                      <a:lnTo>
                        <a:pt x="656" y="483"/>
                      </a:lnTo>
                      <a:lnTo>
                        <a:pt x="643" y="483"/>
                      </a:lnTo>
                      <a:lnTo>
                        <a:pt x="624" y="483"/>
                      </a:lnTo>
                      <a:lnTo>
                        <a:pt x="627" y="487"/>
                      </a:lnTo>
                      <a:lnTo>
                        <a:pt x="632" y="491"/>
                      </a:lnTo>
                      <a:lnTo>
                        <a:pt x="636" y="495"/>
                      </a:lnTo>
                      <a:lnTo>
                        <a:pt x="640" y="498"/>
                      </a:lnTo>
                      <a:lnTo>
                        <a:pt x="645" y="501"/>
                      </a:lnTo>
                      <a:lnTo>
                        <a:pt x="648" y="506"/>
                      </a:lnTo>
                      <a:lnTo>
                        <a:pt x="650" y="510"/>
                      </a:lnTo>
                      <a:lnTo>
                        <a:pt x="651" y="514"/>
                      </a:lnTo>
                      <a:lnTo>
                        <a:pt x="650" y="519"/>
                      </a:lnTo>
                      <a:lnTo>
                        <a:pt x="649" y="523"/>
                      </a:lnTo>
                      <a:lnTo>
                        <a:pt x="648" y="525"/>
                      </a:lnTo>
                      <a:lnTo>
                        <a:pt x="646" y="528"/>
                      </a:lnTo>
                      <a:lnTo>
                        <a:pt x="643" y="530"/>
                      </a:lnTo>
                      <a:lnTo>
                        <a:pt x="638" y="532"/>
                      </a:lnTo>
                      <a:lnTo>
                        <a:pt x="647" y="541"/>
                      </a:lnTo>
                      <a:lnTo>
                        <a:pt x="656" y="550"/>
                      </a:lnTo>
                      <a:lnTo>
                        <a:pt x="661" y="554"/>
                      </a:lnTo>
                      <a:lnTo>
                        <a:pt x="668" y="557"/>
                      </a:lnTo>
                      <a:lnTo>
                        <a:pt x="676" y="561"/>
                      </a:lnTo>
                      <a:lnTo>
                        <a:pt x="684" y="564"/>
                      </a:lnTo>
                      <a:lnTo>
                        <a:pt x="684" y="619"/>
                      </a:lnTo>
                      <a:lnTo>
                        <a:pt x="677" y="619"/>
                      </a:lnTo>
                      <a:lnTo>
                        <a:pt x="665" y="619"/>
                      </a:lnTo>
                      <a:lnTo>
                        <a:pt x="659" y="610"/>
                      </a:lnTo>
                      <a:lnTo>
                        <a:pt x="654" y="604"/>
                      </a:lnTo>
                      <a:lnTo>
                        <a:pt x="647" y="599"/>
                      </a:lnTo>
                      <a:lnTo>
                        <a:pt x="639" y="595"/>
                      </a:lnTo>
                      <a:lnTo>
                        <a:pt x="623" y="589"/>
                      </a:lnTo>
                      <a:lnTo>
                        <a:pt x="604" y="582"/>
                      </a:lnTo>
                      <a:lnTo>
                        <a:pt x="602" y="585"/>
                      </a:lnTo>
                      <a:lnTo>
                        <a:pt x="599" y="589"/>
                      </a:lnTo>
                      <a:lnTo>
                        <a:pt x="594" y="593"/>
                      </a:lnTo>
                      <a:lnTo>
                        <a:pt x="588" y="597"/>
                      </a:lnTo>
                      <a:lnTo>
                        <a:pt x="575" y="606"/>
                      </a:lnTo>
                      <a:lnTo>
                        <a:pt x="559" y="615"/>
                      </a:lnTo>
                      <a:lnTo>
                        <a:pt x="544" y="624"/>
                      </a:lnTo>
                      <a:lnTo>
                        <a:pt x="531" y="631"/>
                      </a:lnTo>
                      <a:lnTo>
                        <a:pt x="525" y="635"/>
                      </a:lnTo>
                      <a:lnTo>
                        <a:pt x="522" y="638"/>
                      </a:lnTo>
                      <a:lnTo>
                        <a:pt x="519" y="641"/>
                      </a:lnTo>
                      <a:lnTo>
                        <a:pt x="519" y="643"/>
                      </a:lnTo>
                      <a:lnTo>
                        <a:pt x="519" y="647"/>
                      </a:lnTo>
                      <a:lnTo>
                        <a:pt x="520" y="651"/>
                      </a:lnTo>
                      <a:lnTo>
                        <a:pt x="521" y="655"/>
                      </a:lnTo>
                      <a:lnTo>
                        <a:pt x="523" y="658"/>
                      </a:lnTo>
                      <a:lnTo>
                        <a:pt x="528" y="663"/>
                      </a:lnTo>
                      <a:lnTo>
                        <a:pt x="536" y="667"/>
                      </a:lnTo>
                      <a:lnTo>
                        <a:pt x="543" y="673"/>
                      </a:lnTo>
                      <a:lnTo>
                        <a:pt x="549" y="678"/>
                      </a:lnTo>
                      <a:lnTo>
                        <a:pt x="551" y="681"/>
                      </a:lnTo>
                      <a:lnTo>
                        <a:pt x="555" y="685"/>
                      </a:lnTo>
                      <a:lnTo>
                        <a:pt x="557" y="688"/>
                      </a:lnTo>
                      <a:lnTo>
                        <a:pt x="558" y="693"/>
                      </a:lnTo>
                      <a:lnTo>
                        <a:pt x="471" y="693"/>
                      </a:lnTo>
                      <a:lnTo>
                        <a:pt x="467" y="705"/>
                      </a:lnTo>
                      <a:lnTo>
                        <a:pt x="464" y="721"/>
                      </a:lnTo>
                      <a:lnTo>
                        <a:pt x="460" y="730"/>
                      </a:lnTo>
                      <a:lnTo>
                        <a:pt x="457" y="736"/>
                      </a:lnTo>
                      <a:lnTo>
                        <a:pt x="454" y="739"/>
                      </a:lnTo>
                      <a:lnTo>
                        <a:pt x="452" y="740"/>
                      </a:lnTo>
                      <a:lnTo>
                        <a:pt x="448" y="742"/>
                      </a:lnTo>
                      <a:lnTo>
                        <a:pt x="445" y="742"/>
                      </a:lnTo>
                      <a:lnTo>
                        <a:pt x="433" y="742"/>
                      </a:lnTo>
                      <a:lnTo>
                        <a:pt x="420" y="741"/>
                      </a:lnTo>
                      <a:lnTo>
                        <a:pt x="407" y="739"/>
                      </a:lnTo>
                      <a:lnTo>
                        <a:pt x="393" y="736"/>
                      </a:lnTo>
                      <a:lnTo>
                        <a:pt x="380" y="733"/>
                      </a:lnTo>
                      <a:lnTo>
                        <a:pt x="367" y="729"/>
                      </a:lnTo>
                      <a:lnTo>
                        <a:pt x="355" y="723"/>
                      </a:lnTo>
                      <a:lnTo>
                        <a:pt x="344" y="718"/>
                      </a:lnTo>
                      <a:lnTo>
                        <a:pt x="333" y="711"/>
                      </a:lnTo>
                      <a:lnTo>
                        <a:pt x="323" y="704"/>
                      </a:lnTo>
                      <a:lnTo>
                        <a:pt x="314" y="696"/>
                      </a:lnTo>
                      <a:lnTo>
                        <a:pt x="307" y="687"/>
                      </a:lnTo>
                      <a:lnTo>
                        <a:pt x="301" y="678"/>
                      </a:lnTo>
                      <a:lnTo>
                        <a:pt x="296" y="666"/>
                      </a:lnTo>
                      <a:lnTo>
                        <a:pt x="293" y="655"/>
                      </a:lnTo>
                      <a:lnTo>
                        <a:pt x="292" y="643"/>
                      </a:lnTo>
                      <a:lnTo>
                        <a:pt x="289" y="636"/>
                      </a:lnTo>
                      <a:lnTo>
                        <a:pt x="286" y="625"/>
                      </a:lnTo>
                      <a:lnTo>
                        <a:pt x="273" y="622"/>
                      </a:lnTo>
                      <a:lnTo>
                        <a:pt x="254" y="616"/>
                      </a:lnTo>
                      <a:lnTo>
                        <a:pt x="232" y="609"/>
                      </a:lnTo>
                      <a:lnTo>
                        <a:pt x="209" y="601"/>
                      </a:lnTo>
                      <a:lnTo>
                        <a:pt x="188" y="592"/>
                      </a:lnTo>
                      <a:lnTo>
                        <a:pt x="169" y="582"/>
                      </a:lnTo>
                      <a:lnTo>
                        <a:pt x="163" y="578"/>
                      </a:lnTo>
                      <a:lnTo>
                        <a:pt x="157" y="573"/>
                      </a:lnTo>
                      <a:lnTo>
                        <a:pt x="154" y="568"/>
                      </a:lnTo>
                      <a:lnTo>
                        <a:pt x="153" y="564"/>
                      </a:lnTo>
                      <a:lnTo>
                        <a:pt x="162" y="567"/>
                      </a:lnTo>
                      <a:lnTo>
                        <a:pt x="183" y="574"/>
                      </a:lnTo>
                      <a:lnTo>
                        <a:pt x="211" y="582"/>
                      </a:lnTo>
                      <a:lnTo>
                        <a:pt x="244" y="590"/>
                      </a:lnTo>
                      <a:lnTo>
                        <a:pt x="277" y="598"/>
                      </a:lnTo>
                      <a:lnTo>
                        <a:pt x="308" y="605"/>
                      </a:lnTo>
                      <a:lnTo>
                        <a:pt x="332" y="610"/>
                      </a:lnTo>
                      <a:lnTo>
                        <a:pt x="345" y="612"/>
                      </a:lnTo>
                      <a:lnTo>
                        <a:pt x="368" y="612"/>
                      </a:lnTo>
                      <a:lnTo>
                        <a:pt x="390" y="612"/>
                      </a:lnTo>
                      <a:lnTo>
                        <a:pt x="414" y="612"/>
                      </a:lnTo>
                      <a:lnTo>
                        <a:pt x="445" y="612"/>
                      </a:lnTo>
                      <a:lnTo>
                        <a:pt x="454" y="612"/>
                      </a:lnTo>
                      <a:lnTo>
                        <a:pt x="461" y="611"/>
                      </a:lnTo>
                      <a:lnTo>
                        <a:pt x="469" y="609"/>
                      </a:lnTo>
                      <a:lnTo>
                        <a:pt x="477" y="607"/>
                      </a:lnTo>
                      <a:lnTo>
                        <a:pt x="490" y="601"/>
                      </a:lnTo>
                      <a:lnTo>
                        <a:pt x="502" y="594"/>
                      </a:lnTo>
                      <a:lnTo>
                        <a:pt x="514" y="585"/>
                      </a:lnTo>
                      <a:lnTo>
                        <a:pt x="524" y="576"/>
                      </a:lnTo>
                      <a:lnTo>
                        <a:pt x="535" y="567"/>
                      </a:lnTo>
                      <a:lnTo>
                        <a:pt x="545" y="556"/>
                      </a:lnTo>
                      <a:lnTo>
                        <a:pt x="536" y="547"/>
                      </a:lnTo>
                      <a:lnTo>
                        <a:pt x="527" y="536"/>
                      </a:lnTo>
                      <a:lnTo>
                        <a:pt x="523" y="531"/>
                      </a:lnTo>
                      <a:lnTo>
                        <a:pt x="517" y="527"/>
                      </a:lnTo>
                      <a:lnTo>
                        <a:pt x="512" y="523"/>
                      </a:lnTo>
                      <a:lnTo>
                        <a:pt x="505" y="520"/>
                      </a:lnTo>
                      <a:lnTo>
                        <a:pt x="500" y="518"/>
                      </a:lnTo>
                      <a:lnTo>
                        <a:pt x="484" y="511"/>
                      </a:lnTo>
                      <a:lnTo>
                        <a:pt x="459" y="499"/>
                      </a:lnTo>
                      <a:lnTo>
                        <a:pt x="424" y="487"/>
                      </a:lnTo>
                      <a:lnTo>
                        <a:pt x="403" y="481"/>
                      </a:lnTo>
                      <a:lnTo>
                        <a:pt x="379" y="475"/>
                      </a:lnTo>
                      <a:lnTo>
                        <a:pt x="352" y="469"/>
                      </a:lnTo>
                      <a:lnTo>
                        <a:pt x="323" y="463"/>
                      </a:lnTo>
                      <a:lnTo>
                        <a:pt x="291" y="458"/>
                      </a:lnTo>
                      <a:lnTo>
                        <a:pt x="256" y="453"/>
                      </a:lnTo>
                      <a:lnTo>
                        <a:pt x="219" y="449"/>
                      </a:lnTo>
                      <a:lnTo>
                        <a:pt x="179" y="446"/>
                      </a:lnTo>
                      <a:lnTo>
                        <a:pt x="172" y="446"/>
                      </a:lnTo>
                      <a:lnTo>
                        <a:pt x="165" y="445"/>
                      </a:lnTo>
                      <a:lnTo>
                        <a:pt x="158" y="444"/>
                      </a:lnTo>
                      <a:lnTo>
                        <a:pt x="152" y="442"/>
                      </a:lnTo>
                      <a:lnTo>
                        <a:pt x="150" y="440"/>
                      </a:lnTo>
                      <a:lnTo>
                        <a:pt x="146" y="438"/>
                      </a:lnTo>
                      <a:lnTo>
                        <a:pt x="144" y="436"/>
                      </a:lnTo>
                      <a:lnTo>
                        <a:pt x="143" y="433"/>
                      </a:lnTo>
                      <a:lnTo>
                        <a:pt x="141" y="425"/>
                      </a:lnTo>
                      <a:lnTo>
                        <a:pt x="140" y="415"/>
                      </a:lnTo>
                      <a:lnTo>
                        <a:pt x="120" y="420"/>
                      </a:lnTo>
                      <a:lnTo>
                        <a:pt x="99" y="425"/>
                      </a:lnTo>
                      <a:lnTo>
                        <a:pt x="77" y="431"/>
                      </a:lnTo>
                      <a:lnTo>
                        <a:pt x="53" y="439"/>
                      </a:lnTo>
                      <a:lnTo>
                        <a:pt x="50" y="441"/>
                      </a:lnTo>
                      <a:lnTo>
                        <a:pt x="43" y="445"/>
                      </a:lnTo>
                      <a:lnTo>
                        <a:pt x="40" y="446"/>
                      </a:lnTo>
                      <a:lnTo>
                        <a:pt x="37" y="448"/>
                      </a:lnTo>
                      <a:lnTo>
                        <a:pt x="34" y="448"/>
                      </a:lnTo>
                      <a:lnTo>
                        <a:pt x="33" y="446"/>
                      </a:lnTo>
                      <a:lnTo>
                        <a:pt x="0" y="483"/>
                      </a:lnTo>
                      <a:lnTo>
                        <a:pt x="4" y="488"/>
                      </a:lnTo>
                      <a:lnTo>
                        <a:pt x="8" y="493"/>
                      </a:lnTo>
                      <a:lnTo>
                        <a:pt x="13" y="498"/>
                      </a:lnTo>
                      <a:lnTo>
                        <a:pt x="18" y="503"/>
                      </a:lnTo>
                      <a:lnTo>
                        <a:pt x="29" y="509"/>
                      </a:lnTo>
                      <a:lnTo>
                        <a:pt x="40" y="515"/>
                      </a:lnTo>
                      <a:lnTo>
                        <a:pt x="62" y="524"/>
                      </a:lnTo>
                      <a:lnTo>
                        <a:pt x="79" y="532"/>
                      </a:lnTo>
                      <a:lnTo>
                        <a:pt x="77" y="540"/>
                      </a:lnTo>
                      <a:lnTo>
                        <a:pt x="74" y="547"/>
                      </a:lnTo>
                      <a:lnTo>
                        <a:pt x="71" y="552"/>
                      </a:lnTo>
                      <a:lnTo>
                        <a:pt x="67" y="556"/>
                      </a:lnTo>
                      <a:lnTo>
                        <a:pt x="64" y="562"/>
                      </a:lnTo>
                      <a:lnTo>
                        <a:pt x="62" y="567"/>
                      </a:lnTo>
                      <a:lnTo>
                        <a:pt x="61" y="574"/>
                      </a:lnTo>
                      <a:lnTo>
                        <a:pt x="60" y="582"/>
                      </a:lnTo>
                      <a:lnTo>
                        <a:pt x="61" y="589"/>
                      </a:lnTo>
                      <a:lnTo>
                        <a:pt x="65" y="597"/>
                      </a:lnTo>
                      <a:lnTo>
                        <a:pt x="71" y="605"/>
                      </a:lnTo>
                      <a:lnTo>
                        <a:pt x="77" y="614"/>
                      </a:lnTo>
                      <a:lnTo>
                        <a:pt x="84" y="621"/>
                      </a:lnTo>
                      <a:lnTo>
                        <a:pt x="90" y="626"/>
                      </a:lnTo>
                      <a:lnTo>
                        <a:pt x="96" y="630"/>
                      </a:lnTo>
                      <a:lnTo>
                        <a:pt x="99" y="631"/>
                      </a:lnTo>
                      <a:lnTo>
                        <a:pt x="100" y="647"/>
                      </a:lnTo>
                      <a:lnTo>
                        <a:pt x="102" y="662"/>
                      </a:lnTo>
                      <a:lnTo>
                        <a:pt x="106" y="677"/>
                      </a:lnTo>
                      <a:lnTo>
                        <a:pt x="111" y="689"/>
                      </a:lnTo>
                      <a:lnTo>
                        <a:pt x="117" y="700"/>
                      </a:lnTo>
                      <a:lnTo>
                        <a:pt x="123" y="710"/>
                      </a:lnTo>
                      <a:lnTo>
                        <a:pt x="131" y="719"/>
                      </a:lnTo>
                      <a:lnTo>
                        <a:pt x="140" y="728"/>
                      </a:lnTo>
                      <a:lnTo>
                        <a:pt x="149" y="736"/>
                      </a:lnTo>
                      <a:lnTo>
                        <a:pt x="158" y="743"/>
                      </a:lnTo>
                      <a:lnTo>
                        <a:pt x="168" y="750"/>
                      </a:lnTo>
                      <a:lnTo>
                        <a:pt x="178" y="756"/>
                      </a:lnTo>
                      <a:lnTo>
                        <a:pt x="199" y="767"/>
                      </a:lnTo>
                      <a:lnTo>
                        <a:pt x="219" y="778"/>
                      </a:lnTo>
                      <a:lnTo>
                        <a:pt x="184" y="815"/>
                      </a:lnTo>
                      <a:lnTo>
                        <a:pt x="146" y="856"/>
                      </a:lnTo>
                      <a:lnTo>
                        <a:pt x="128" y="875"/>
                      </a:lnTo>
                      <a:lnTo>
                        <a:pt x="109" y="892"/>
                      </a:lnTo>
                      <a:lnTo>
                        <a:pt x="100" y="899"/>
                      </a:lnTo>
                      <a:lnTo>
                        <a:pt x="90" y="905"/>
                      </a:lnTo>
                      <a:lnTo>
                        <a:pt x="82" y="910"/>
                      </a:lnTo>
                      <a:lnTo>
                        <a:pt x="73" y="914"/>
                      </a:lnTo>
                      <a:lnTo>
                        <a:pt x="74" y="917"/>
                      </a:lnTo>
                      <a:lnTo>
                        <a:pt x="75" y="920"/>
                      </a:lnTo>
                      <a:lnTo>
                        <a:pt x="77" y="923"/>
                      </a:lnTo>
                      <a:lnTo>
                        <a:pt x="80" y="926"/>
                      </a:lnTo>
                      <a:lnTo>
                        <a:pt x="88" y="934"/>
                      </a:lnTo>
                      <a:lnTo>
                        <a:pt x="96" y="942"/>
                      </a:lnTo>
                      <a:lnTo>
                        <a:pt x="105" y="951"/>
                      </a:lnTo>
                      <a:lnTo>
                        <a:pt x="112" y="958"/>
                      </a:lnTo>
                      <a:lnTo>
                        <a:pt x="118" y="965"/>
                      </a:lnTo>
                      <a:lnTo>
                        <a:pt x="120" y="970"/>
                      </a:lnTo>
                      <a:lnTo>
                        <a:pt x="116" y="976"/>
                      </a:lnTo>
                      <a:lnTo>
                        <a:pt x="112" y="981"/>
                      </a:lnTo>
                      <a:lnTo>
                        <a:pt x="110" y="987"/>
                      </a:lnTo>
                      <a:lnTo>
                        <a:pt x="109" y="993"/>
                      </a:lnTo>
                      <a:lnTo>
                        <a:pt x="109" y="1005"/>
                      </a:lnTo>
                      <a:lnTo>
                        <a:pt x="111" y="1017"/>
                      </a:lnTo>
                      <a:lnTo>
                        <a:pt x="113" y="1029"/>
                      </a:lnTo>
                      <a:lnTo>
                        <a:pt x="116" y="1042"/>
                      </a:lnTo>
                      <a:lnTo>
                        <a:pt x="117" y="1048"/>
                      </a:lnTo>
                      <a:lnTo>
                        <a:pt x="116" y="1054"/>
                      </a:lnTo>
                      <a:lnTo>
                        <a:pt x="114" y="1062"/>
                      </a:lnTo>
                      <a:lnTo>
                        <a:pt x="113" y="1069"/>
                      </a:lnTo>
                      <a:lnTo>
                        <a:pt x="120" y="1090"/>
                      </a:lnTo>
                      <a:lnTo>
                        <a:pt x="130" y="1115"/>
                      </a:lnTo>
                      <a:lnTo>
                        <a:pt x="142" y="1139"/>
                      </a:lnTo>
                      <a:lnTo>
                        <a:pt x="153" y="1160"/>
                      </a:lnTo>
                      <a:lnTo>
                        <a:pt x="192" y="1180"/>
                      </a:lnTo>
                      <a:lnTo>
                        <a:pt x="232" y="1180"/>
                      </a:lnTo>
                      <a:lnTo>
                        <a:pt x="240" y="1204"/>
                      </a:lnTo>
                      <a:lnTo>
                        <a:pt x="279" y="1192"/>
                      </a:lnTo>
                      <a:lnTo>
                        <a:pt x="312" y="1204"/>
                      </a:lnTo>
                      <a:lnTo>
                        <a:pt x="319" y="1253"/>
                      </a:lnTo>
                      <a:lnTo>
                        <a:pt x="365" y="1291"/>
                      </a:lnTo>
                      <a:lnTo>
                        <a:pt x="399" y="1309"/>
                      </a:lnTo>
                      <a:lnTo>
                        <a:pt x="425" y="1327"/>
                      </a:lnTo>
                      <a:lnTo>
                        <a:pt x="399" y="1346"/>
                      </a:lnTo>
                      <a:lnTo>
                        <a:pt x="352" y="1333"/>
                      </a:lnTo>
                      <a:lnTo>
                        <a:pt x="358" y="1358"/>
                      </a:lnTo>
                      <a:lnTo>
                        <a:pt x="373" y="1370"/>
                      </a:lnTo>
                      <a:lnTo>
                        <a:pt x="373" y="1401"/>
                      </a:lnTo>
                      <a:lnTo>
                        <a:pt x="365" y="140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71" name="Freeform 23">
                  <a:extLst>
                    <a:ext uri="{FF2B5EF4-FFF2-40B4-BE49-F238E27FC236}">
                      <a16:creationId xmlns:a16="http://schemas.microsoft.com/office/drawing/2014/main" xmlns="" id="{5CB789E3-69F9-4095-BACF-A00F846AD61B}"/>
                    </a:ext>
                  </a:extLst>
                </p:cNvPr>
                <p:cNvSpPr>
                  <a:spLocks/>
                </p:cNvSpPr>
                <p:nvPr>
                  <p:custDataLst>
                    <p:tags r:id="rId18"/>
                  </p:custDataLst>
                </p:nvPr>
              </p:nvSpPr>
              <p:spPr bwMode="auto">
                <a:xfrm>
                  <a:off x="3795713" y="2274888"/>
                  <a:ext cx="280987" cy="247650"/>
                </a:xfrm>
                <a:custGeom>
                  <a:avLst/>
                  <a:gdLst>
                    <a:gd name="T0" fmla="*/ 2147483646 w 647"/>
                    <a:gd name="T1" fmla="*/ 2147483646 h 470"/>
                    <a:gd name="T2" fmla="*/ 2147483646 w 647"/>
                    <a:gd name="T3" fmla="*/ 2147483646 h 470"/>
                    <a:gd name="T4" fmla="*/ 2147483646 w 647"/>
                    <a:gd name="T5" fmla="*/ 2147483646 h 470"/>
                    <a:gd name="T6" fmla="*/ 2147483646 w 647"/>
                    <a:gd name="T7" fmla="*/ 2147483646 h 470"/>
                    <a:gd name="T8" fmla="*/ 2147483646 w 647"/>
                    <a:gd name="T9" fmla="*/ 2147483646 h 470"/>
                    <a:gd name="T10" fmla="*/ 2147483646 w 647"/>
                    <a:gd name="T11" fmla="*/ 2147483646 h 470"/>
                    <a:gd name="T12" fmla="*/ 2147483646 w 647"/>
                    <a:gd name="T13" fmla="*/ 2147483646 h 470"/>
                    <a:gd name="T14" fmla="*/ 2147483646 w 647"/>
                    <a:gd name="T15" fmla="*/ 2147483646 h 470"/>
                    <a:gd name="T16" fmla="*/ 2147483646 w 647"/>
                    <a:gd name="T17" fmla="*/ 2147483646 h 470"/>
                    <a:gd name="T18" fmla="*/ 2147483646 w 647"/>
                    <a:gd name="T19" fmla="*/ 2147483646 h 470"/>
                    <a:gd name="T20" fmla="*/ 2147483646 w 647"/>
                    <a:gd name="T21" fmla="*/ 2147483646 h 470"/>
                    <a:gd name="T22" fmla="*/ 2147483646 w 647"/>
                    <a:gd name="T23" fmla="*/ 2147483646 h 470"/>
                    <a:gd name="T24" fmla="*/ 2147483646 w 647"/>
                    <a:gd name="T25" fmla="*/ 2147483646 h 470"/>
                    <a:gd name="T26" fmla="*/ 2147483646 w 647"/>
                    <a:gd name="T27" fmla="*/ 2147483646 h 470"/>
                    <a:gd name="T28" fmla="*/ 2147483646 w 647"/>
                    <a:gd name="T29" fmla="*/ 2147483646 h 470"/>
                    <a:gd name="T30" fmla="*/ 2147483646 w 647"/>
                    <a:gd name="T31" fmla="*/ 2147483646 h 470"/>
                    <a:gd name="T32" fmla="*/ 2147483646 w 647"/>
                    <a:gd name="T33" fmla="*/ 2147483646 h 470"/>
                    <a:gd name="T34" fmla="*/ 2147483646 w 647"/>
                    <a:gd name="T35" fmla="*/ 2147483646 h 470"/>
                    <a:gd name="T36" fmla="*/ 2147483646 w 647"/>
                    <a:gd name="T37" fmla="*/ 2147483646 h 470"/>
                    <a:gd name="T38" fmla="*/ 2147483646 w 647"/>
                    <a:gd name="T39" fmla="*/ 2147483646 h 470"/>
                    <a:gd name="T40" fmla="*/ 2147483646 w 647"/>
                    <a:gd name="T41" fmla="*/ 2147483646 h 470"/>
                    <a:gd name="T42" fmla="*/ 2147483646 w 647"/>
                    <a:gd name="T43" fmla="*/ 2147483646 h 470"/>
                    <a:gd name="T44" fmla="*/ 2147483646 w 647"/>
                    <a:gd name="T45" fmla="*/ 2147483646 h 470"/>
                    <a:gd name="T46" fmla="*/ 2147483646 w 647"/>
                    <a:gd name="T47" fmla="*/ 2147483646 h 470"/>
                    <a:gd name="T48" fmla="*/ 2147483646 w 647"/>
                    <a:gd name="T49" fmla="*/ 2147483646 h 470"/>
                    <a:gd name="T50" fmla="*/ 2147483646 w 647"/>
                    <a:gd name="T51" fmla="*/ 2147483646 h 470"/>
                    <a:gd name="T52" fmla="*/ 2147483646 w 647"/>
                    <a:gd name="T53" fmla="*/ 2147483646 h 470"/>
                    <a:gd name="T54" fmla="*/ 2147483646 w 647"/>
                    <a:gd name="T55" fmla="*/ 2147483646 h 470"/>
                    <a:gd name="T56" fmla="*/ 2147483646 w 647"/>
                    <a:gd name="T57" fmla="*/ 2147483646 h 470"/>
                    <a:gd name="T58" fmla="*/ 2147483646 w 647"/>
                    <a:gd name="T59" fmla="*/ 2147483646 h 470"/>
                    <a:gd name="T60" fmla="*/ 2147483646 w 647"/>
                    <a:gd name="T61" fmla="*/ 2147483646 h 470"/>
                    <a:gd name="T62" fmla="*/ 2147483646 w 647"/>
                    <a:gd name="T63" fmla="*/ 2147483646 h 470"/>
                    <a:gd name="T64" fmla="*/ 2147483646 w 647"/>
                    <a:gd name="T65" fmla="*/ 2147483646 h 470"/>
                    <a:gd name="T66" fmla="*/ 2147483646 w 647"/>
                    <a:gd name="T67" fmla="*/ 2147483646 h 470"/>
                    <a:gd name="T68" fmla="*/ 2147483646 w 647"/>
                    <a:gd name="T69" fmla="*/ 2147483646 h 470"/>
                    <a:gd name="T70" fmla="*/ 2147483646 w 647"/>
                    <a:gd name="T71" fmla="*/ 2147483646 h 470"/>
                    <a:gd name="T72" fmla="*/ 2147483646 w 647"/>
                    <a:gd name="T73" fmla="*/ 2147483646 h 470"/>
                    <a:gd name="T74" fmla="*/ 2147483646 w 647"/>
                    <a:gd name="T75" fmla="*/ 2147483646 h 470"/>
                    <a:gd name="T76" fmla="*/ 2147483646 w 647"/>
                    <a:gd name="T77" fmla="*/ 2147483646 h 470"/>
                    <a:gd name="T78" fmla="*/ 2147483646 w 647"/>
                    <a:gd name="T79" fmla="*/ 2147483646 h 470"/>
                    <a:gd name="T80" fmla="*/ 2147483646 w 647"/>
                    <a:gd name="T81" fmla="*/ 2147483646 h 470"/>
                    <a:gd name="T82" fmla="*/ 2147483646 w 647"/>
                    <a:gd name="T83" fmla="*/ 2147483646 h 470"/>
                    <a:gd name="T84" fmla="*/ 2147483646 w 647"/>
                    <a:gd name="T85" fmla="*/ 2147483646 h 470"/>
                    <a:gd name="T86" fmla="*/ 2147483646 w 647"/>
                    <a:gd name="T87" fmla="*/ 2147483646 h 470"/>
                    <a:gd name="T88" fmla="*/ 2147483646 w 647"/>
                    <a:gd name="T89" fmla="*/ 2147483646 h 470"/>
                    <a:gd name="T90" fmla="*/ 2147483646 w 647"/>
                    <a:gd name="T91" fmla="*/ 2147483646 h 470"/>
                    <a:gd name="T92" fmla="*/ 0 w 647"/>
                    <a:gd name="T93" fmla="*/ 2147483646 h 470"/>
                    <a:gd name="T94" fmla="*/ 2147483646 w 647"/>
                    <a:gd name="T95" fmla="*/ 2147483646 h 470"/>
                    <a:gd name="T96" fmla="*/ 2147483646 w 647"/>
                    <a:gd name="T97" fmla="*/ 2147483646 h 470"/>
                    <a:gd name="T98" fmla="*/ 2147483646 w 647"/>
                    <a:gd name="T99" fmla="*/ 2147483646 h 470"/>
                    <a:gd name="T100" fmla="*/ 2147483646 w 647"/>
                    <a:gd name="T101" fmla="*/ 0 h 470"/>
                    <a:gd name="T102" fmla="*/ 2147483646 w 647"/>
                    <a:gd name="T103" fmla="*/ 2147483646 h 470"/>
                    <a:gd name="T104" fmla="*/ 2147483646 w 647"/>
                    <a:gd name="T105" fmla="*/ 2147483646 h 470"/>
                    <a:gd name="T106" fmla="*/ 2147483646 w 647"/>
                    <a:gd name="T107" fmla="*/ 2147483646 h 470"/>
                    <a:gd name="T108" fmla="*/ 2147483646 w 647"/>
                    <a:gd name="T109" fmla="*/ 2147483646 h 470"/>
                    <a:gd name="T110" fmla="*/ 2147483646 w 647"/>
                    <a:gd name="T111" fmla="*/ 2147483646 h 470"/>
                    <a:gd name="T112" fmla="*/ 2147483646 w 647"/>
                    <a:gd name="T113" fmla="*/ 2147483646 h 47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647"/>
                    <a:gd name="T172" fmla="*/ 0 h 470"/>
                    <a:gd name="T173" fmla="*/ 647 w 647"/>
                    <a:gd name="T174" fmla="*/ 470 h 47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647" h="470">
                      <a:moveTo>
                        <a:pt x="399" y="14"/>
                      </a:moveTo>
                      <a:lnTo>
                        <a:pt x="402" y="20"/>
                      </a:lnTo>
                      <a:lnTo>
                        <a:pt x="406" y="27"/>
                      </a:lnTo>
                      <a:lnTo>
                        <a:pt x="413" y="33"/>
                      </a:lnTo>
                      <a:lnTo>
                        <a:pt x="421" y="39"/>
                      </a:lnTo>
                      <a:lnTo>
                        <a:pt x="428" y="45"/>
                      </a:lnTo>
                      <a:lnTo>
                        <a:pt x="438" y="51"/>
                      </a:lnTo>
                      <a:lnTo>
                        <a:pt x="448" y="56"/>
                      </a:lnTo>
                      <a:lnTo>
                        <a:pt x="458" y="60"/>
                      </a:lnTo>
                      <a:lnTo>
                        <a:pt x="480" y="70"/>
                      </a:lnTo>
                      <a:lnTo>
                        <a:pt x="501" y="76"/>
                      </a:lnTo>
                      <a:lnTo>
                        <a:pt x="512" y="78"/>
                      </a:lnTo>
                      <a:lnTo>
                        <a:pt x="521" y="80"/>
                      </a:lnTo>
                      <a:lnTo>
                        <a:pt x="530" y="81"/>
                      </a:lnTo>
                      <a:lnTo>
                        <a:pt x="538" y="81"/>
                      </a:lnTo>
                      <a:lnTo>
                        <a:pt x="548" y="88"/>
                      </a:lnTo>
                      <a:lnTo>
                        <a:pt x="561" y="99"/>
                      </a:lnTo>
                      <a:lnTo>
                        <a:pt x="562" y="99"/>
                      </a:lnTo>
                      <a:lnTo>
                        <a:pt x="564" y="99"/>
                      </a:lnTo>
                      <a:lnTo>
                        <a:pt x="566" y="98"/>
                      </a:lnTo>
                      <a:lnTo>
                        <a:pt x="567" y="97"/>
                      </a:lnTo>
                      <a:lnTo>
                        <a:pt x="570" y="93"/>
                      </a:lnTo>
                      <a:lnTo>
                        <a:pt x="572" y="89"/>
                      </a:lnTo>
                      <a:lnTo>
                        <a:pt x="575" y="85"/>
                      </a:lnTo>
                      <a:lnTo>
                        <a:pt x="578" y="81"/>
                      </a:lnTo>
                      <a:lnTo>
                        <a:pt x="580" y="79"/>
                      </a:lnTo>
                      <a:lnTo>
                        <a:pt x="583" y="78"/>
                      </a:lnTo>
                      <a:lnTo>
                        <a:pt x="590" y="80"/>
                      </a:lnTo>
                      <a:lnTo>
                        <a:pt x="596" y="80"/>
                      </a:lnTo>
                      <a:lnTo>
                        <a:pt x="603" y="80"/>
                      </a:lnTo>
                      <a:lnTo>
                        <a:pt x="609" y="80"/>
                      </a:lnTo>
                      <a:lnTo>
                        <a:pt x="617" y="79"/>
                      </a:lnTo>
                      <a:lnTo>
                        <a:pt x="624" y="79"/>
                      </a:lnTo>
                      <a:lnTo>
                        <a:pt x="631" y="80"/>
                      </a:lnTo>
                      <a:lnTo>
                        <a:pt x="638" y="81"/>
                      </a:lnTo>
                      <a:lnTo>
                        <a:pt x="640" y="84"/>
                      </a:lnTo>
                      <a:lnTo>
                        <a:pt x="642" y="89"/>
                      </a:lnTo>
                      <a:lnTo>
                        <a:pt x="645" y="95"/>
                      </a:lnTo>
                      <a:lnTo>
                        <a:pt x="646" y="103"/>
                      </a:lnTo>
                      <a:lnTo>
                        <a:pt x="647" y="111"/>
                      </a:lnTo>
                      <a:lnTo>
                        <a:pt x="647" y="118"/>
                      </a:lnTo>
                      <a:lnTo>
                        <a:pt x="646" y="123"/>
                      </a:lnTo>
                      <a:lnTo>
                        <a:pt x="645" y="124"/>
                      </a:lnTo>
                      <a:lnTo>
                        <a:pt x="631" y="127"/>
                      </a:lnTo>
                      <a:lnTo>
                        <a:pt x="618" y="131"/>
                      </a:lnTo>
                      <a:lnTo>
                        <a:pt x="607" y="135"/>
                      </a:lnTo>
                      <a:lnTo>
                        <a:pt x="596" y="140"/>
                      </a:lnTo>
                      <a:lnTo>
                        <a:pt x="586" y="146"/>
                      </a:lnTo>
                      <a:lnTo>
                        <a:pt x="577" y="152"/>
                      </a:lnTo>
                      <a:lnTo>
                        <a:pt x="569" y="158"/>
                      </a:lnTo>
                      <a:lnTo>
                        <a:pt x="560" y="165"/>
                      </a:lnTo>
                      <a:lnTo>
                        <a:pt x="533" y="191"/>
                      </a:lnTo>
                      <a:lnTo>
                        <a:pt x="512" y="210"/>
                      </a:lnTo>
                      <a:lnTo>
                        <a:pt x="504" y="214"/>
                      </a:lnTo>
                      <a:lnTo>
                        <a:pt x="499" y="218"/>
                      </a:lnTo>
                      <a:lnTo>
                        <a:pt x="493" y="222"/>
                      </a:lnTo>
                      <a:lnTo>
                        <a:pt x="489" y="227"/>
                      </a:lnTo>
                      <a:lnTo>
                        <a:pt x="481" y="236"/>
                      </a:lnTo>
                      <a:lnTo>
                        <a:pt x="477" y="245"/>
                      </a:lnTo>
                      <a:lnTo>
                        <a:pt x="474" y="254"/>
                      </a:lnTo>
                      <a:lnTo>
                        <a:pt x="473" y="263"/>
                      </a:lnTo>
                      <a:lnTo>
                        <a:pt x="472" y="272"/>
                      </a:lnTo>
                      <a:lnTo>
                        <a:pt x="473" y="282"/>
                      </a:lnTo>
                      <a:lnTo>
                        <a:pt x="473" y="292"/>
                      </a:lnTo>
                      <a:lnTo>
                        <a:pt x="474" y="301"/>
                      </a:lnTo>
                      <a:lnTo>
                        <a:pt x="473" y="311"/>
                      </a:lnTo>
                      <a:lnTo>
                        <a:pt x="472" y="320"/>
                      </a:lnTo>
                      <a:lnTo>
                        <a:pt x="469" y="330"/>
                      </a:lnTo>
                      <a:lnTo>
                        <a:pt x="463" y="340"/>
                      </a:lnTo>
                      <a:lnTo>
                        <a:pt x="460" y="345"/>
                      </a:lnTo>
                      <a:lnTo>
                        <a:pt x="456" y="349"/>
                      </a:lnTo>
                      <a:lnTo>
                        <a:pt x="450" y="354"/>
                      </a:lnTo>
                      <a:lnTo>
                        <a:pt x="445" y="358"/>
                      </a:lnTo>
                      <a:lnTo>
                        <a:pt x="426" y="372"/>
                      </a:lnTo>
                      <a:lnTo>
                        <a:pt x="411" y="384"/>
                      </a:lnTo>
                      <a:lnTo>
                        <a:pt x="399" y="394"/>
                      </a:lnTo>
                      <a:lnTo>
                        <a:pt x="390" y="404"/>
                      </a:lnTo>
                      <a:lnTo>
                        <a:pt x="383" y="411"/>
                      </a:lnTo>
                      <a:lnTo>
                        <a:pt x="379" y="417"/>
                      </a:lnTo>
                      <a:lnTo>
                        <a:pt x="376" y="422"/>
                      </a:lnTo>
                      <a:lnTo>
                        <a:pt x="374" y="425"/>
                      </a:lnTo>
                      <a:lnTo>
                        <a:pt x="373" y="430"/>
                      </a:lnTo>
                      <a:lnTo>
                        <a:pt x="373" y="432"/>
                      </a:lnTo>
                      <a:lnTo>
                        <a:pt x="369" y="432"/>
                      </a:lnTo>
                      <a:lnTo>
                        <a:pt x="358" y="432"/>
                      </a:lnTo>
                      <a:lnTo>
                        <a:pt x="333" y="430"/>
                      </a:lnTo>
                      <a:lnTo>
                        <a:pt x="310" y="429"/>
                      </a:lnTo>
                      <a:lnTo>
                        <a:pt x="290" y="429"/>
                      </a:lnTo>
                      <a:lnTo>
                        <a:pt x="272" y="431"/>
                      </a:lnTo>
                      <a:lnTo>
                        <a:pt x="257" y="434"/>
                      </a:lnTo>
                      <a:lnTo>
                        <a:pt x="245" y="437"/>
                      </a:lnTo>
                      <a:lnTo>
                        <a:pt x="234" y="441"/>
                      </a:lnTo>
                      <a:lnTo>
                        <a:pt x="224" y="446"/>
                      </a:lnTo>
                      <a:lnTo>
                        <a:pt x="209" y="456"/>
                      </a:lnTo>
                      <a:lnTo>
                        <a:pt x="198" y="464"/>
                      </a:lnTo>
                      <a:lnTo>
                        <a:pt x="193" y="467"/>
                      </a:lnTo>
                      <a:lnTo>
                        <a:pt x="189" y="469"/>
                      </a:lnTo>
                      <a:lnTo>
                        <a:pt x="183" y="470"/>
                      </a:lnTo>
                      <a:lnTo>
                        <a:pt x="179" y="469"/>
                      </a:lnTo>
                      <a:lnTo>
                        <a:pt x="176" y="468"/>
                      </a:lnTo>
                      <a:lnTo>
                        <a:pt x="172" y="465"/>
                      </a:lnTo>
                      <a:lnTo>
                        <a:pt x="169" y="461"/>
                      </a:lnTo>
                      <a:lnTo>
                        <a:pt x="166" y="456"/>
                      </a:lnTo>
                      <a:lnTo>
                        <a:pt x="159" y="444"/>
                      </a:lnTo>
                      <a:lnTo>
                        <a:pt x="153" y="432"/>
                      </a:lnTo>
                      <a:lnTo>
                        <a:pt x="148" y="426"/>
                      </a:lnTo>
                      <a:lnTo>
                        <a:pt x="144" y="420"/>
                      </a:lnTo>
                      <a:lnTo>
                        <a:pt x="140" y="414"/>
                      </a:lnTo>
                      <a:lnTo>
                        <a:pt x="134" y="409"/>
                      </a:lnTo>
                      <a:lnTo>
                        <a:pt x="129" y="404"/>
                      </a:lnTo>
                      <a:lnTo>
                        <a:pt x="122" y="400"/>
                      </a:lnTo>
                      <a:lnTo>
                        <a:pt x="114" y="397"/>
                      </a:lnTo>
                      <a:lnTo>
                        <a:pt x="107" y="396"/>
                      </a:lnTo>
                      <a:lnTo>
                        <a:pt x="114" y="379"/>
                      </a:lnTo>
                      <a:lnTo>
                        <a:pt x="121" y="365"/>
                      </a:lnTo>
                      <a:lnTo>
                        <a:pt x="124" y="351"/>
                      </a:lnTo>
                      <a:lnTo>
                        <a:pt x="126" y="336"/>
                      </a:lnTo>
                      <a:lnTo>
                        <a:pt x="126" y="309"/>
                      </a:lnTo>
                      <a:lnTo>
                        <a:pt x="126" y="278"/>
                      </a:lnTo>
                      <a:lnTo>
                        <a:pt x="127" y="267"/>
                      </a:lnTo>
                      <a:lnTo>
                        <a:pt x="132" y="250"/>
                      </a:lnTo>
                      <a:lnTo>
                        <a:pt x="138" y="229"/>
                      </a:lnTo>
                      <a:lnTo>
                        <a:pt x="147" y="206"/>
                      </a:lnTo>
                      <a:lnTo>
                        <a:pt x="155" y="184"/>
                      </a:lnTo>
                      <a:lnTo>
                        <a:pt x="163" y="163"/>
                      </a:lnTo>
                      <a:lnTo>
                        <a:pt x="168" y="149"/>
                      </a:lnTo>
                      <a:lnTo>
                        <a:pt x="172" y="143"/>
                      </a:lnTo>
                      <a:lnTo>
                        <a:pt x="172" y="137"/>
                      </a:lnTo>
                      <a:lnTo>
                        <a:pt x="172" y="131"/>
                      </a:lnTo>
                      <a:lnTo>
                        <a:pt x="153" y="130"/>
                      </a:lnTo>
                      <a:lnTo>
                        <a:pt x="135" y="127"/>
                      </a:lnTo>
                      <a:lnTo>
                        <a:pt x="116" y="123"/>
                      </a:lnTo>
                      <a:lnTo>
                        <a:pt x="99" y="118"/>
                      </a:lnTo>
                      <a:lnTo>
                        <a:pt x="80" y="113"/>
                      </a:lnTo>
                      <a:lnTo>
                        <a:pt x="62" y="109"/>
                      </a:lnTo>
                      <a:lnTo>
                        <a:pt x="42" y="106"/>
                      </a:lnTo>
                      <a:lnTo>
                        <a:pt x="20" y="105"/>
                      </a:lnTo>
                      <a:lnTo>
                        <a:pt x="17" y="93"/>
                      </a:lnTo>
                      <a:lnTo>
                        <a:pt x="10" y="72"/>
                      </a:lnTo>
                      <a:lnTo>
                        <a:pt x="3" y="50"/>
                      </a:lnTo>
                      <a:lnTo>
                        <a:pt x="0" y="38"/>
                      </a:lnTo>
                      <a:lnTo>
                        <a:pt x="8" y="37"/>
                      </a:lnTo>
                      <a:lnTo>
                        <a:pt x="15" y="36"/>
                      </a:lnTo>
                      <a:lnTo>
                        <a:pt x="23" y="34"/>
                      </a:lnTo>
                      <a:lnTo>
                        <a:pt x="29" y="32"/>
                      </a:lnTo>
                      <a:lnTo>
                        <a:pt x="41" y="26"/>
                      </a:lnTo>
                      <a:lnTo>
                        <a:pt x="51" y="20"/>
                      </a:lnTo>
                      <a:lnTo>
                        <a:pt x="59" y="13"/>
                      </a:lnTo>
                      <a:lnTo>
                        <a:pt x="68" y="7"/>
                      </a:lnTo>
                      <a:lnTo>
                        <a:pt x="73" y="4"/>
                      </a:lnTo>
                      <a:lnTo>
                        <a:pt x="77" y="2"/>
                      </a:lnTo>
                      <a:lnTo>
                        <a:pt x="81" y="1"/>
                      </a:lnTo>
                      <a:lnTo>
                        <a:pt x="86" y="0"/>
                      </a:lnTo>
                      <a:lnTo>
                        <a:pt x="102" y="1"/>
                      </a:lnTo>
                      <a:lnTo>
                        <a:pt x="118" y="3"/>
                      </a:lnTo>
                      <a:lnTo>
                        <a:pt x="132" y="7"/>
                      </a:lnTo>
                      <a:lnTo>
                        <a:pt x="145" y="11"/>
                      </a:lnTo>
                      <a:lnTo>
                        <a:pt x="158" y="14"/>
                      </a:lnTo>
                      <a:lnTo>
                        <a:pt x="171" y="17"/>
                      </a:lnTo>
                      <a:lnTo>
                        <a:pt x="185" y="19"/>
                      </a:lnTo>
                      <a:lnTo>
                        <a:pt x="199" y="20"/>
                      </a:lnTo>
                      <a:lnTo>
                        <a:pt x="209" y="20"/>
                      </a:lnTo>
                      <a:lnTo>
                        <a:pt x="217" y="22"/>
                      </a:lnTo>
                      <a:lnTo>
                        <a:pt x="226" y="25"/>
                      </a:lnTo>
                      <a:lnTo>
                        <a:pt x="235" y="29"/>
                      </a:lnTo>
                      <a:lnTo>
                        <a:pt x="243" y="32"/>
                      </a:lnTo>
                      <a:lnTo>
                        <a:pt x="250" y="35"/>
                      </a:lnTo>
                      <a:lnTo>
                        <a:pt x="258" y="37"/>
                      </a:lnTo>
                      <a:lnTo>
                        <a:pt x="266" y="38"/>
                      </a:lnTo>
                      <a:lnTo>
                        <a:pt x="372" y="38"/>
                      </a:lnTo>
                      <a:lnTo>
                        <a:pt x="385" y="26"/>
                      </a:lnTo>
                      <a:lnTo>
                        <a:pt x="399" y="1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72" name="Freeform 24">
                  <a:extLst>
                    <a:ext uri="{FF2B5EF4-FFF2-40B4-BE49-F238E27FC236}">
                      <a16:creationId xmlns:a16="http://schemas.microsoft.com/office/drawing/2014/main" xmlns="" id="{BED43C43-9D1A-4A5B-868F-EF26FCFA04CE}"/>
                    </a:ext>
                  </a:extLst>
                </p:cNvPr>
                <p:cNvSpPr>
                  <a:spLocks/>
                </p:cNvSpPr>
                <p:nvPr>
                  <p:custDataLst>
                    <p:tags r:id="rId19"/>
                  </p:custDataLst>
                </p:nvPr>
              </p:nvSpPr>
              <p:spPr bwMode="auto">
                <a:xfrm>
                  <a:off x="6427788" y="3013075"/>
                  <a:ext cx="207962" cy="455613"/>
                </a:xfrm>
                <a:custGeom>
                  <a:avLst/>
                  <a:gdLst>
                    <a:gd name="T0" fmla="*/ 2147483646 w 479"/>
                    <a:gd name="T1" fmla="*/ 2147483646 h 868"/>
                    <a:gd name="T2" fmla="*/ 2147483646 w 479"/>
                    <a:gd name="T3" fmla="*/ 2147483646 h 868"/>
                    <a:gd name="T4" fmla="*/ 2147483646 w 479"/>
                    <a:gd name="T5" fmla="*/ 2147483646 h 868"/>
                    <a:gd name="T6" fmla="*/ 2147483646 w 479"/>
                    <a:gd name="T7" fmla="*/ 2147483646 h 868"/>
                    <a:gd name="T8" fmla="*/ 2147483646 w 479"/>
                    <a:gd name="T9" fmla="*/ 2147483646 h 868"/>
                    <a:gd name="T10" fmla="*/ 2147483646 w 479"/>
                    <a:gd name="T11" fmla="*/ 2147483646 h 868"/>
                    <a:gd name="T12" fmla="*/ 2147483646 w 479"/>
                    <a:gd name="T13" fmla="*/ 2147483646 h 868"/>
                    <a:gd name="T14" fmla="*/ 2147483646 w 479"/>
                    <a:gd name="T15" fmla="*/ 2147483646 h 868"/>
                    <a:gd name="T16" fmla="*/ 2147483646 w 479"/>
                    <a:gd name="T17" fmla="*/ 2147483646 h 868"/>
                    <a:gd name="T18" fmla="*/ 2147483646 w 479"/>
                    <a:gd name="T19" fmla="*/ 2147483646 h 868"/>
                    <a:gd name="T20" fmla="*/ 2147483646 w 479"/>
                    <a:gd name="T21" fmla="*/ 2147483646 h 868"/>
                    <a:gd name="T22" fmla="*/ 2147483646 w 479"/>
                    <a:gd name="T23" fmla="*/ 2147483646 h 868"/>
                    <a:gd name="T24" fmla="*/ 2147483646 w 479"/>
                    <a:gd name="T25" fmla="*/ 2147483646 h 868"/>
                    <a:gd name="T26" fmla="*/ 2147483646 w 479"/>
                    <a:gd name="T27" fmla="*/ 2147483646 h 868"/>
                    <a:gd name="T28" fmla="*/ 2147483646 w 479"/>
                    <a:gd name="T29" fmla="*/ 2147483646 h 868"/>
                    <a:gd name="T30" fmla="*/ 2147483646 w 479"/>
                    <a:gd name="T31" fmla="*/ 2147483646 h 868"/>
                    <a:gd name="T32" fmla="*/ 2147483646 w 479"/>
                    <a:gd name="T33" fmla="*/ 2147483646 h 868"/>
                    <a:gd name="T34" fmla="*/ 2147483646 w 479"/>
                    <a:gd name="T35" fmla="*/ 2147483646 h 868"/>
                    <a:gd name="T36" fmla="*/ 2147483646 w 479"/>
                    <a:gd name="T37" fmla="*/ 2147483646 h 868"/>
                    <a:gd name="T38" fmla="*/ 2147483646 w 479"/>
                    <a:gd name="T39" fmla="*/ 2147483646 h 868"/>
                    <a:gd name="T40" fmla="*/ 2147483646 w 479"/>
                    <a:gd name="T41" fmla="*/ 2147483646 h 868"/>
                    <a:gd name="T42" fmla="*/ 2147483646 w 479"/>
                    <a:gd name="T43" fmla="*/ 2147483646 h 868"/>
                    <a:gd name="T44" fmla="*/ 2147483646 w 479"/>
                    <a:gd name="T45" fmla="*/ 2147483646 h 868"/>
                    <a:gd name="T46" fmla="*/ 2147483646 w 479"/>
                    <a:gd name="T47" fmla="*/ 2147483646 h 868"/>
                    <a:gd name="T48" fmla="*/ 2147483646 w 479"/>
                    <a:gd name="T49" fmla="*/ 2147483646 h 868"/>
                    <a:gd name="T50" fmla="*/ 2147483646 w 479"/>
                    <a:gd name="T51" fmla="*/ 2147483646 h 868"/>
                    <a:gd name="T52" fmla="*/ 2147483646 w 479"/>
                    <a:gd name="T53" fmla="*/ 2147483646 h 868"/>
                    <a:gd name="T54" fmla="*/ 2147483646 w 479"/>
                    <a:gd name="T55" fmla="*/ 2147483646 h 868"/>
                    <a:gd name="T56" fmla="*/ 2147483646 w 479"/>
                    <a:gd name="T57" fmla="*/ 2147483646 h 868"/>
                    <a:gd name="T58" fmla="*/ 2147483646 w 479"/>
                    <a:gd name="T59" fmla="*/ 2147483646 h 868"/>
                    <a:gd name="T60" fmla="*/ 2147483646 w 479"/>
                    <a:gd name="T61" fmla="*/ 2147483646 h 868"/>
                    <a:gd name="T62" fmla="*/ 2147483646 w 479"/>
                    <a:gd name="T63" fmla="*/ 2147483646 h 868"/>
                    <a:gd name="T64" fmla="*/ 2147483646 w 479"/>
                    <a:gd name="T65" fmla="*/ 2147483646 h 868"/>
                    <a:gd name="T66" fmla="*/ 2147483646 w 479"/>
                    <a:gd name="T67" fmla="*/ 2147483646 h 868"/>
                    <a:gd name="T68" fmla="*/ 2147483646 w 479"/>
                    <a:gd name="T69" fmla="*/ 2147483646 h 868"/>
                    <a:gd name="T70" fmla="*/ 2147483646 w 479"/>
                    <a:gd name="T71" fmla="*/ 2147483646 h 868"/>
                    <a:gd name="T72" fmla="*/ 2147483646 w 479"/>
                    <a:gd name="T73" fmla="*/ 2147483646 h 868"/>
                    <a:gd name="T74" fmla="*/ 2147483646 w 479"/>
                    <a:gd name="T75" fmla="*/ 2147483646 h 868"/>
                    <a:gd name="T76" fmla="*/ 2147483646 w 479"/>
                    <a:gd name="T77" fmla="*/ 2147483646 h 868"/>
                    <a:gd name="T78" fmla="*/ 2147483646 w 479"/>
                    <a:gd name="T79" fmla="*/ 2147483646 h 868"/>
                    <a:gd name="T80" fmla="*/ 2147483646 w 479"/>
                    <a:gd name="T81" fmla="*/ 2147483646 h 868"/>
                    <a:gd name="T82" fmla="*/ 2147483646 w 479"/>
                    <a:gd name="T83" fmla="*/ 0 h 868"/>
                    <a:gd name="T84" fmla="*/ 2147483646 w 479"/>
                    <a:gd name="T85" fmla="*/ 2147483646 h 868"/>
                    <a:gd name="T86" fmla="*/ 2147483646 w 479"/>
                    <a:gd name="T87" fmla="*/ 2147483646 h 868"/>
                    <a:gd name="T88" fmla="*/ 2147483646 w 479"/>
                    <a:gd name="T89" fmla="*/ 2147483646 h 868"/>
                    <a:gd name="T90" fmla="*/ 2147483646 w 479"/>
                    <a:gd name="T91" fmla="*/ 2147483646 h 868"/>
                    <a:gd name="T92" fmla="*/ 2147483646 w 479"/>
                    <a:gd name="T93" fmla="*/ 2147483646 h 868"/>
                    <a:gd name="T94" fmla="*/ 2147483646 w 479"/>
                    <a:gd name="T95" fmla="*/ 2147483646 h 868"/>
                    <a:gd name="T96" fmla="*/ 2147483646 w 479"/>
                    <a:gd name="T97" fmla="*/ 2147483646 h 868"/>
                    <a:gd name="T98" fmla="*/ 2147483646 w 479"/>
                    <a:gd name="T99" fmla="*/ 2147483646 h 868"/>
                    <a:gd name="T100" fmla="*/ 2147483646 w 479"/>
                    <a:gd name="T101" fmla="*/ 2147483646 h 868"/>
                    <a:gd name="T102" fmla="*/ 2147483646 w 479"/>
                    <a:gd name="T103" fmla="*/ 2147483646 h 868"/>
                    <a:gd name="T104" fmla="*/ 2147483646 w 479"/>
                    <a:gd name="T105" fmla="*/ 2147483646 h 868"/>
                    <a:gd name="T106" fmla="*/ 2147483646 w 479"/>
                    <a:gd name="T107" fmla="*/ 2147483646 h 868"/>
                    <a:gd name="T108" fmla="*/ 2147483646 w 479"/>
                    <a:gd name="T109" fmla="*/ 2147483646 h 868"/>
                    <a:gd name="T110" fmla="*/ 2147483646 w 479"/>
                    <a:gd name="T111" fmla="*/ 2147483646 h 868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479"/>
                    <a:gd name="T169" fmla="*/ 0 h 868"/>
                    <a:gd name="T170" fmla="*/ 479 w 479"/>
                    <a:gd name="T171" fmla="*/ 868 h 868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479" h="868">
                      <a:moveTo>
                        <a:pt x="445" y="357"/>
                      </a:moveTo>
                      <a:lnTo>
                        <a:pt x="425" y="357"/>
                      </a:lnTo>
                      <a:lnTo>
                        <a:pt x="408" y="357"/>
                      </a:lnTo>
                      <a:lnTo>
                        <a:pt x="391" y="357"/>
                      </a:lnTo>
                      <a:lnTo>
                        <a:pt x="379" y="357"/>
                      </a:lnTo>
                      <a:lnTo>
                        <a:pt x="370" y="358"/>
                      </a:lnTo>
                      <a:lnTo>
                        <a:pt x="360" y="359"/>
                      </a:lnTo>
                      <a:lnTo>
                        <a:pt x="349" y="362"/>
                      </a:lnTo>
                      <a:lnTo>
                        <a:pt x="338" y="367"/>
                      </a:lnTo>
                      <a:lnTo>
                        <a:pt x="333" y="370"/>
                      </a:lnTo>
                      <a:lnTo>
                        <a:pt x="329" y="374"/>
                      </a:lnTo>
                      <a:lnTo>
                        <a:pt x="324" y="377"/>
                      </a:lnTo>
                      <a:lnTo>
                        <a:pt x="320" y="381"/>
                      </a:lnTo>
                      <a:lnTo>
                        <a:pt x="316" y="385"/>
                      </a:lnTo>
                      <a:lnTo>
                        <a:pt x="314" y="390"/>
                      </a:lnTo>
                      <a:lnTo>
                        <a:pt x="313" y="395"/>
                      </a:lnTo>
                      <a:lnTo>
                        <a:pt x="312" y="400"/>
                      </a:lnTo>
                      <a:lnTo>
                        <a:pt x="313" y="410"/>
                      </a:lnTo>
                      <a:lnTo>
                        <a:pt x="314" y="419"/>
                      </a:lnTo>
                      <a:lnTo>
                        <a:pt x="316" y="428"/>
                      </a:lnTo>
                      <a:lnTo>
                        <a:pt x="320" y="436"/>
                      </a:lnTo>
                      <a:lnTo>
                        <a:pt x="327" y="451"/>
                      </a:lnTo>
                      <a:lnTo>
                        <a:pt x="336" y="464"/>
                      </a:lnTo>
                      <a:lnTo>
                        <a:pt x="344" y="477"/>
                      </a:lnTo>
                      <a:lnTo>
                        <a:pt x="352" y="492"/>
                      </a:lnTo>
                      <a:lnTo>
                        <a:pt x="355" y="499"/>
                      </a:lnTo>
                      <a:lnTo>
                        <a:pt x="357" y="507"/>
                      </a:lnTo>
                      <a:lnTo>
                        <a:pt x="358" y="515"/>
                      </a:lnTo>
                      <a:lnTo>
                        <a:pt x="359" y="523"/>
                      </a:lnTo>
                      <a:lnTo>
                        <a:pt x="359" y="530"/>
                      </a:lnTo>
                      <a:lnTo>
                        <a:pt x="359" y="539"/>
                      </a:lnTo>
                      <a:lnTo>
                        <a:pt x="360" y="544"/>
                      </a:lnTo>
                      <a:lnTo>
                        <a:pt x="361" y="548"/>
                      </a:lnTo>
                      <a:lnTo>
                        <a:pt x="364" y="552"/>
                      </a:lnTo>
                      <a:lnTo>
                        <a:pt x="366" y="555"/>
                      </a:lnTo>
                      <a:lnTo>
                        <a:pt x="354" y="552"/>
                      </a:lnTo>
                      <a:lnTo>
                        <a:pt x="344" y="547"/>
                      </a:lnTo>
                      <a:lnTo>
                        <a:pt x="336" y="541"/>
                      </a:lnTo>
                      <a:lnTo>
                        <a:pt x="329" y="533"/>
                      </a:lnTo>
                      <a:lnTo>
                        <a:pt x="323" y="526"/>
                      </a:lnTo>
                      <a:lnTo>
                        <a:pt x="319" y="517"/>
                      </a:lnTo>
                      <a:lnTo>
                        <a:pt x="315" y="508"/>
                      </a:lnTo>
                      <a:lnTo>
                        <a:pt x="312" y="499"/>
                      </a:lnTo>
                      <a:lnTo>
                        <a:pt x="311" y="495"/>
                      </a:lnTo>
                      <a:lnTo>
                        <a:pt x="309" y="492"/>
                      </a:lnTo>
                      <a:lnTo>
                        <a:pt x="307" y="489"/>
                      </a:lnTo>
                      <a:lnTo>
                        <a:pt x="303" y="486"/>
                      </a:lnTo>
                      <a:lnTo>
                        <a:pt x="297" y="479"/>
                      </a:lnTo>
                      <a:lnTo>
                        <a:pt x="288" y="475"/>
                      </a:lnTo>
                      <a:lnTo>
                        <a:pt x="269" y="467"/>
                      </a:lnTo>
                      <a:lnTo>
                        <a:pt x="247" y="459"/>
                      </a:lnTo>
                      <a:lnTo>
                        <a:pt x="237" y="455"/>
                      </a:lnTo>
                      <a:lnTo>
                        <a:pt x="228" y="450"/>
                      </a:lnTo>
                      <a:lnTo>
                        <a:pt x="218" y="445"/>
                      </a:lnTo>
                      <a:lnTo>
                        <a:pt x="210" y="439"/>
                      </a:lnTo>
                      <a:lnTo>
                        <a:pt x="202" y="431"/>
                      </a:lnTo>
                      <a:lnTo>
                        <a:pt x="198" y="422"/>
                      </a:lnTo>
                      <a:lnTo>
                        <a:pt x="196" y="417"/>
                      </a:lnTo>
                      <a:lnTo>
                        <a:pt x="195" y="412"/>
                      </a:lnTo>
                      <a:lnTo>
                        <a:pt x="193" y="406"/>
                      </a:lnTo>
                      <a:lnTo>
                        <a:pt x="192" y="400"/>
                      </a:lnTo>
                      <a:lnTo>
                        <a:pt x="153" y="394"/>
                      </a:lnTo>
                      <a:lnTo>
                        <a:pt x="153" y="450"/>
                      </a:lnTo>
                      <a:lnTo>
                        <a:pt x="154" y="463"/>
                      </a:lnTo>
                      <a:lnTo>
                        <a:pt x="156" y="477"/>
                      </a:lnTo>
                      <a:lnTo>
                        <a:pt x="158" y="492"/>
                      </a:lnTo>
                      <a:lnTo>
                        <a:pt x="159" y="505"/>
                      </a:lnTo>
                      <a:lnTo>
                        <a:pt x="159" y="512"/>
                      </a:lnTo>
                      <a:lnTo>
                        <a:pt x="158" y="518"/>
                      </a:lnTo>
                      <a:lnTo>
                        <a:pt x="156" y="524"/>
                      </a:lnTo>
                      <a:lnTo>
                        <a:pt x="154" y="529"/>
                      </a:lnTo>
                      <a:lnTo>
                        <a:pt x="150" y="539"/>
                      </a:lnTo>
                      <a:lnTo>
                        <a:pt x="143" y="551"/>
                      </a:lnTo>
                      <a:lnTo>
                        <a:pt x="136" y="562"/>
                      </a:lnTo>
                      <a:lnTo>
                        <a:pt x="132" y="575"/>
                      </a:lnTo>
                      <a:lnTo>
                        <a:pt x="130" y="583"/>
                      </a:lnTo>
                      <a:lnTo>
                        <a:pt x="128" y="591"/>
                      </a:lnTo>
                      <a:lnTo>
                        <a:pt x="127" y="600"/>
                      </a:lnTo>
                      <a:lnTo>
                        <a:pt x="127" y="610"/>
                      </a:lnTo>
                      <a:lnTo>
                        <a:pt x="128" y="621"/>
                      </a:lnTo>
                      <a:lnTo>
                        <a:pt x="130" y="630"/>
                      </a:lnTo>
                      <a:lnTo>
                        <a:pt x="134" y="637"/>
                      </a:lnTo>
                      <a:lnTo>
                        <a:pt x="140" y="643"/>
                      </a:lnTo>
                      <a:lnTo>
                        <a:pt x="146" y="647"/>
                      </a:lnTo>
                      <a:lnTo>
                        <a:pt x="154" y="650"/>
                      </a:lnTo>
                      <a:lnTo>
                        <a:pt x="163" y="653"/>
                      </a:lnTo>
                      <a:lnTo>
                        <a:pt x="173" y="653"/>
                      </a:lnTo>
                      <a:lnTo>
                        <a:pt x="173" y="667"/>
                      </a:lnTo>
                      <a:lnTo>
                        <a:pt x="174" y="679"/>
                      </a:lnTo>
                      <a:lnTo>
                        <a:pt x="175" y="685"/>
                      </a:lnTo>
                      <a:lnTo>
                        <a:pt x="176" y="689"/>
                      </a:lnTo>
                      <a:lnTo>
                        <a:pt x="177" y="693"/>
                      </a:lnTo>
                      <a:lnTo>
                        <a:pt x="179" y="696"/>
                      </a:lnTo>
                      <a:lnTo>
                        <a:pt x="179" y="721"/>
                      </a:lnTo>
                      <a:lnTo>
                        <a:pt x="185" y="730"/>
                      </a:lnTo>
                      <a:lnTo>
                        <a:pt x="191" y="740"/>
                      </a:lnTo>
                      <a:lnTo>
                        <a:pt x="199" y="750"/>
                      </a:lnTo>
                      <a:lnTo>
                        <a:pt x="208" y="760"/>
                      </a:lnTo>
                      <a:lnTo>
                        <a:pt x="217" y="771"/>
                      </a:lnTo>
                      <a:lnTo>
                        <a:pt x="226" y="780"/>
                      </a:lnTo>
                      <a:lnTo>
                        <a:pt x="236" y="790"/>
                      </a:lnTo>
                      <a:lnTo>
                        <a:pt x="247" y="799"/>
                      </a:lnTo>
                      <a:lnTo>
                        <a:pt x="258" y="808"/>
                      </a:lnTo>
                      <a:lnTo>
                        <a:pt x="269" y="816"/>
                      </a:lnTo>
                      <a:lnTo>
                        <a:pt x="281" y="825"/>
                      </a:lnTo>
                      <a:lnTo>
                        <a:pt x="292" y="832"/>
                      </a:lnTo>
                      <a:lnTo>
                        <a:pt x="304" y="838"/>
                      </a:lnTo>
                      <a:lnTo>
                        <a:pt x="316" y="843"/>
                      </a:lnTo>
                      <a:lnTo>
                        <a:pt x="327" y="847"/>
                      </a:lnTo>
                      <a:lnTo>
                        <a:pt x="340" y="850"/>
                      </a:lnTo>
                      <a:lnTo>
                        <a:pt x="333" y="854"/>
                      </a:lnTo>
                      <a:lnTo>
                        <a:pt x="327" y="858"/>
                      </a:lnTo>
                      <a:lnTo>
                        <a:pt x="320" y="861"/>
                      </a:lnTo>
                      <a:lnTo>
                        <a:pt x="312" y="864"/>
                      </a:lnTo>
                      <a:lnTo>
                        <a:pt x="298" y="867"/>
                      </a:lnTo>
                      <a:lnTo>
                        <a:pt x="286" y="868"/>
                      </a:lnTo>
                      <a:lnTo>
                        <a:pt x="281" y="868"/>
                      </a:lnTo>
                      <a:lnTo>
                        <a:pt x="277" y="867"/>
                      </a:lnTo>
                      <a:lnTo>
                        <a:pt x="273" y="866"/>
                      </a:lnTo>
                      <a:lnTo>
                        <a:pt x="269" y="864"/>
                      </a:lnTo>
                      <a:lnTo>
                        <a:pt x="262" y="859"/>
                      </a:lnTo>
                      <a:lnTo>
                        <a:pt x="254" y="853"/>
                      </a:lnTo>
                      <a:lnTo>
                        <a:pt x="245" y="848"/>
                      </a:lnTo>
                      <a:lnTo>
                        <a:pt x="234" y="843"/>
                      </a:lnTo>
                      <a:lnTo>
                        <a:pt x="229" y="841"/>
                      </a:lnTo>
                      <a:lnTo>
                        <a:pt x="222" y="839"/>
                      </a:lnTo>
                      <a:lnTo>
                        <a:pt x="214" y="838"/>
                      </a:lnTo>
                      <a:lnTo>
                        <a:pt x="207" y="838"/>
                      </a:lnTo>
                      <a:lnTo>
                        <a:pt x="203" y="830"/>
                      </a:lnTo>
                      <a:lnTo>
                        <a:pt x="200" y="823"/>
                      </a:lnTo>
                      <a:lnTo>
                        <a:pt x="196" y="815"/>
                      </a:lnTo>
                      <a:lnTo>
                        <a:pt x="191" y="809"/>
                      </a:lnTo>
                      <a:lnTo>
                        <a:pt x="180" y="797"/>
                      </a:lnTo>
                      <a:lnTo>
                        <a:pt x="168" y="785"/>
                      </a:lnTo>
                      <a:lnTo>
                        <a:pt x="137" y="759"/>
                      </a:lnTo>
                      <a:lnTo>
                        <a:pt x="100" y="727"/>
                      </a:lnTo>
                      <a:lnTo>
                        <a:pt x="95" y="728"/>
                      </a:lnTo>
                      <a:lnTo>
                        <a:pt x="89" y="729"/>
                      </a:lnTo>
                      <a:lnTo>
                        <a:pt x="86" y="730"/>
                      </a:lnTo>
                      <a:lnTo>
                        <a:pt x="83" y="730"/>
                      </a:lnTo>
                      <a:lnTo>
                        <a:pt x="78" y="729"/>
                      </a:lnTo>
                      <a:lnTo>
                        <a:pt x="74" y="727"/>
                      </a:lnTo>
                      <a:lnTo>
                        <a:pt x="74" y="714"/>
                      </a:lnTo>
                      <a:lnTo>
                        <a:pt x="74" y="700"/>
                      </a:lnTo>
                      <a:lnTo>
                        <a:pt x="74" y="688"/>
                      </a:lnTo>
                      <a:lnTo>
                        <a:pt x="74" y="678"/>
                      </a:lnTo>
                      <a:lnTo>
                        <a:pt x="74" y="671"/>
                      </a:lnTo>
                      <a:lnTo>
                        <a:pt x="75" y="665"/>
                      </a:lnTo>
                      <a:lnTo>
                        <a:pt x="77" y="659"/>
                      </a:lnTo>
                      <a:lnTo>
                        <a:pt x="80" y="653"/>
                      </a:lnTo>
                      <a:lnTo>
                        <a:pt x="83" y="645"/>
                      </a:lnTo>
                      <a:lnTo>
                        <a:pt x="85" y="638"/>
                      </a:lnTo>
                      <a:lnTo>
                        <a:pt x="86" y="631"/>
                      </a:lnTo>
                      <a:lnTo>
                        <a:pt x="87" y="622"/>
                      </a:lnTo>
                      <a:lnTo>
                        <a:pt x="88" y="617"/>
                      </a:lnTo>
                      <a:lnTo>
                        <a:pt x="92" y="604"/>
                      </a:lnTo>
                      <a:lnTo>
                        <a:pt x="99" y="583"/>
                      </a:lnTo>
                      <a:lnTo>
                        <a:pt x="107" y="558"/>
                      </a:lnTo>
                      <a:lnTo>
                        <a:pt x="113" y="528"/>
                      </a:lnTo>
                      <a:lnTo>
                        <a:pt x="120" y="498"/>
                      </a:lnTo>
                      <a:lnTo>
                        <a:pt x="123" y="481"/>
                      </a:lnTo>
                      <a:lnTo>
                        <a:pt x="124" y="466"/>
                      </a:lnTo>
                      <a:lnTo>
                        <a:pt x="127" y="452"/>
                      </a:lnTo>
                      <a:lnTo>
                        <a:pt x="127" y="438"/>
                      </a:lnTo>
                      <a:lnTo>
                        <a:pt x="108" y="404"/>
                      </a:lnTo>
                      <a:lnTo>
                        <a:pt x="86" y="369"/>
                      </a:lnTo>
                      <a:lnTo>
                        <a:pt x="76" y="352"/>
                      </a:lnTo>
                      <a:lnTo>
                        <a:pt x="67" y="335"/>
                      </a:lnTo>
                      <a:lnTo>
                        <a:pt x="64" y="327"/>
                      </a:lnTo>
                      <a:lnTo>
                        <a:pt x="62" y="319"/>
                      </a:lnTo>
                      <a:lnTo>
                        <a:pt x="61" y="310"/>
                      </a:lnTo>
                      <a:lnTo>
                        <a:pt x="60" y="302"/>
                      </a:lnTo>
                      <a:lnTo>
                        <a:pt x="61" y="295"/>
                      </a:lnTo>
                      <a:lnTo>
                        <a:pt x="62" y="290"/>
                      </a:lnTo>
                      <a:lnTo>
                        <a:pt x="64" y="285"/>
                      </a:lnTo>
                      <a:lnTo>
                        <a:pt x="66" y="281"/>
                      </a:lnTo>
                      <a:lnTo>
                        <a:pt x="69" y="277"/>
                      </a:lnTo>
                      <a:lnTo>
                        <a:pt x="72" y="274"/>
                      </a:lnTo>
                      <a:lnTo>
                        <a:pt x="73" y="270"/>
                      </a:lnTo>
                      <a:lnTo>
                        <a:pt x="74" y="265"/>
                      </a:lnTo>
                      <a:lnTo>
                        <a:pt x="73" y="249"/>
                      </a:lnTo>
                      <a:lnTo>
                        <a:pt x="71" y="236"/>
                      </a:lnTo>
                      <a:lnTo>
                        <a:pt x="66" y="224"/>
                      </a:lnTo>
                      <a:lnTo>
                        <a:pt x="62" y="213"/>
                      </a:lnTo>
                      <a:lnTo>
                        <a:pt x="56" y="202"/>
                      </a:lnTo>
                      <a:lnTo>
                        <a:pt x="50" y="193"/>
                      </a:lnTo>
                      <a:lnTo>
                        <a:pt x="43" y="184"/>
                      </a:lnTo>
                      <a:lnTo>
                        <a:pt x="36" y="176"/>
                      </a:lnTo>
                      <a:lnTo>
                        <a:pt x="30" y="167"/>
                      </a:lnTo>
                      <a:lnTo>
                        <a:pt x="23" y="158"/>
                      </a:lnTo>
                      <a:lnTo>
                        <a:pt x="17" y="148"/>
                      </a:lnTo>
                      <a:lnTo>
                        <a:pt x="11" y="138"/>
                      </a:lnTo>
                      <a:lnTo>
                        <a:pt x="7" y="127"/>
                      </a:lnTo>
                      <a:lnTo>
                        <a:pt x="4" y="115"/>
                      </a:lnTo>
                      <a:lnTo>
                        <a:pt x="1" y="102"/>
                      </a:lnTo>
                      <a:lnTo>
                        <a:pt x="0" y="86"/>
                      </a:lnTo>
                      <a:lnTo>
                        <a:pt x="1" y="73"/>
                      </a:lnTo>
                      <a:lnTo>
                        <a:pt x="4" y="62"/>
                      </a:lnTo>
                      <a:lnTo>
                        <a:pt x="7" y="52"/>
                      </a:lnTo>
                      <a:lnTo>
                        <a:pt x="11" y="44"/>
                      </a:lnTo>
                      <a:lnTo>
                        <a:pt x="17" y="35"/>
                      </a:lnTo>
                      <a:lnTo>
                        <a:pt x="24" y="29"/>
                      </a:lnTo>
                      <a:lnTo>
                        <a:pt x="32" y="24"/>
                      </a:lnTo>
                      <a:lnTo>
                        <a:pt x="40" y="20"/>
                      </a:lnTo>
                      <a:lnTo>
                        <a:pt x="49" y="16"/>
                      </a:lnTo>
                      <a:lnTo>
                        <a:pt x="58" y="13"/>
                      </a:lnTo>
                      <a:lnTo>
                        <a:pt x="68" y="11"/>
                      </a:lnTo>
                      <a:lnTo>
                        <a:pt x="78" y="8"/>
                      </a:lnTo>
                      <a:lnTo>
                        <a:pt x="99" y="4"/>
                      </a:lnTo>
                      <a:lnTo>
                        <a:pt x="120" y="0"/>
                      </a:lnTo>
                      <a:lnTo>
                        <a:pt x="129" y="5"/>
                      </a:lnTo>
                      <a:lnTo>
                        <a:pt x="136" y="11"/>
                      </a:lnTo>
                      <a:lnTo>
                        <a:pt x="143" y="17"/>
                      </a:lnTo>
                      <a:lnTo>
                        <a:pt x="150" y="23"/>
                      </a:lnTo>
                      <a:lnTo>
                        <a:pt x="156" y="28"/>
                      </a:lnTo>
                      <a:lnTo>
                        <a:pt x="163" y="32"/>
                      </a:lnTo>
                      <a:lnTo>
                        <a:pt x="166" y="34"/>
                      </a:lnTo>
                      <a:lnTo>
                        <a:pt x="170" y="35"/>
                      </a:lnTo>
                      <a:lnTo>
                        <a:pt x="175" y="36"/>
                      </a:lnTo>
                      <a:lnTo>
                        <a:pt x="179" y="36"/>
                      </a:lnTo>
                      <a:lnTo>
                        <a:pt x="184" y="55"/>
                      </a:lnTo>
                      <a:lnTo>
                        <a:pt x="188" y="75"/>
                      </a:lnTo>
                      <a:lnTo>
                        <a:pt x="190" y="97"/>
                      </a:lnTo>
                      <a:lnTo>
                        <a:pt x="193" y="118"/>
                      </a:lnTo>
                      <a:lnTo>
                        <a:pt x="197" y="136"/>
                      </a:lnTo>
                      <a:lnTo>
                        <a:pt x="201" y="153"/>
                      </a:lnTo>
                      <a:lnTo>
                        <a:pt x="203" y="158"/>
                      </a:lnTo>
                      <a:lnTo>
                        <a:pt x="207" y="163"/>
                      </a:lnTo>
                      <a:lnTo>
                        <a:pt x="209" y="166"/>
                      </a:lnTo>
                      <a:lnTo>
                        <a:pt x="213" y="166"/>
                      </a:lnTo>
                      <a:lnTo>
                        <a:pt x="217" y="166"/>
                      </a:lnTo>
                      <a:lnTo>
                        <a:pt x="220" y="165"/>
                      </a:lnTo>
                      <a:lnTo>
                        <a:pt x="223" y="163"/>
                      </a:lnTo>
                      <a:lnTo>
                        <a:pt x="225" y="161"/>
                      </a:lnTo>
                      <a:lnTo>
                        <a:pt x="231" y="155"/>
                      </a:lnTo>
                      <a:lnTo>
                        <a:pt x="234" y="147"/>
                      </a:lnTo>
                      <a:lnTo>
                        <a:pt x="241" y="132"/>
                      </a:lnTo>
                      <a:lnTo>
                        <a:pt x="246" y="123"/>
                      </a:lnTo>
                      <a:lnTo>
                        <a:pt x="253" y="124"/>
                      </a:lnTo>
                      <a:lnTo>
                        <a:pt x="258" y="126"/>
                      </a:lnTo>
                      <a:lnTo>
                        <a:pt x="264" y="129"/>
                      </a:lnTo>
                      <a:lnTo>
                        <a:pt x="268" y="132"/>
                      </a:lnTo>
                      <a:lnTo>
                        <a:pt x="273" y="136"/>
                      </a:lnTo>
                      <a:lnTo>
                        <a:pt x="277" y="138"/>
                      </a:lnTo>
                      <a:lnTo>
                        <a:pt x="281" y="141"/>
                      </a:lnTo>
                      <a:lnTo>
                        <a:pt x="286" y="141"/>
                      </a:lnTo>
                      <a:lnTo>
                        <a:pt x="289" y="141"/>
                      </a:lnTo>
                      <a:lnTo>
                        <a:pt x="292" y="140"/>
                      </a:lnTo>
                      <a:lnTo>
                        <a:pt x="296" y="138"/>
                      </a:lnTo>
                      <a:lnTo>
                        <a:pt x="298" y="136"/>
                      </a:lnTo>
                      <a:lnTo>
                        <a:pt x="302" y="130"/>
                      </a:lnTo>
                      <a:lnTo>
                        <a:pt x="305" y="123"/>
                      </a:lnTo>
                      <a:lnTo>
                        <a:pt x="310" y="116"/>
                      </a:lnTo>
                      <a:lnTo>
                        <a:pt x="314" y="111"/>
                      </a:lnTo>
                      <a:lnTo>
                        <a:pt x="316" y="108"/>
                      </a:lnTo>
                      <a:lnTo>
                        <a:pt x="319" y="107"/>
                      </a:lnTo>
                      <a:lnTo>
                        <a:pt x="322" y="105"/>
                      </a:lnTo>
                      <a:lnTo>
                        <a:pt x="325" y="105"/>
                      </a:lnTo>
                      <a:lnTo>
                        <a:pt x="337" y="106"/>
                      </a:lnTo>
                      <a:lnTo>
                        <a:pt x="346" y="108"/>
                      </a:lnTo>
                      <a:lnTo>
                        <a:pt x="354" y="111"/>
                      </a:lnTo>
                      <a:lnTo>
                        <a:pt x="359" y="116"/>
                      </a:lnTo>
                      <a:lnTo>
                        <a:pt x="367" y="125"/>
                      </a:lnTo>
                      <a:lnTo>
                        <a:pt x="372" y="135"/>
                      </a:lnTo>
                      <a:lnTo>
                        <a:pt x="387" y="157"/>
                      </a:lnTo>
                      <a:lnTo>
                        <a:pt x="403" y="178"/>
                      </a:lnTo>
                      <a:lnTo>
                        <a:pt x="421" y="200"/>
                      </a:lnTo>
                      <a:lnTo>
                        <a:pt x="438" y="223"/>
                      </a:lnTo>
                      <a:lnTo>
                        <a:pt x="446" y="235"/>
                      </a:lnTo>
                      <a:lnTo>
                        <a:pt x="454" y="246"/>
                      </a:lnTo>
                      <a:lnTo>
                        <a:pt x="460" y="258"/>
                      </a:lnTo>
                      <a:lnTo>
                        <a:pt x="467" y="271"/>
                      </a:lnTo>
                      <a:lnTo>
                        <a:pt x="471" y="283"/>
                      </a:lnTo>
                      <a:lnTo>
                        <a:pt x="476" y="295"/>
                      </a:lnTo>
                      <a:lnTo>
                        <a:pt x="478" y="307"/>
                      </a:lnTo>
                      <a:lnTo>
                        <a:pt x="479" y="321"/>
                      </a:lnTo>
                      <a:lnTo>
                        <a:pt x="478" y="325"/>
                      </a:lnTo>
                      <a:lnTo>
                        <a:pt x="476" y="330"/>
                      </a:lnTo>
                      <a:lnTo>
                        <a:pt x="472" y="334"/>
                      </a:lnTo>
                      <a:lnTo>
                        <a:pt x="468" y="338"/>
                      </a:lnTo>
                      <a:lnTo>
                        <a:pt x="459" y="345"/>
                      </a:lnTo>
                      <a:lnTo>
                        <a:pt x="452" y="351"/>
                      </a:lnTo>
                      <a:lnTo>
                        <a:pt x="445" y="35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73" name="Freeform 25">
                  <a:extLst>
                    <a:ext uri="{FF2B5EF4-FFF2-40B4-BE49-F238E27FC236}">
                      <a16:creationId xmlns:a16="http://schemas.microsoft.com/office/drawing/2014/main" xmlns="" id="{845B93F7-CE89-4ED3-80CD-C42E9D4AF2E0}"/>
                    </a:ext>
                  </a:extLst>
                </p:cNvPr>
                <p:cNvSpPr>
                  <a:spLocks/>
                </p:cNvSpPr>
                <p:nvPr>
                  <p:custDataLst>
                    <p:tags r:id="rId20"/>
                  </p:custDataLst>
                </p:nvPr>
              </p:nvSpPr>
              <p:spPr bwMode="auto">
                <a:xfrm>
                  <a:off x="2536825" y="5400675"/>
                  <a:ext cx="23813" cy="57150"/>
                </a:xfrm>
                <a:custGeom>
                  <a:avLst/>
                  <a:gdLst>
                    <a:gd name="T0" fmla="*/ 0 w 53"/>
                    <a:gd name="T1" fmla="*/ 2147483646 h 19"/>
                    <a:gd name="T2" fmla="*/ 2147483646 w 53"/>
                    <a:gd name="T3" fmla="*/ 2147483646 h 19"/>
                    <a:gd name="T4" fmla="*/ 2147483646 w 53"/>
                    <a:gd name="T5" fmla="*/ 2147483646 h 19"/>
                    <a:gd name="T6" fmla="*/ 2147483646 w 53"/>
                    <a:gd name="T7" fmla="*/ 2147483646 h 19"/>
                    <a:gd name="T8" fmla="*/ 2147483646 w 53"/>
                    <a:gd name="T9" fmla="*/ 2147483646 h 19"/>
                    <a:gd name="T10" fmla="*/ 2147483646 w 53"/>
                    <a:gd name="T11" fmla="*/ 2147483646 h 19"/>
                    <a:gd name="T12" fmla="*/ 2147483646 w 53"/>
                    <a:gd name="T13" fmla="*/ 2147483646 h 19"/>
                    <a:gd name="T14" fmla="*/ 2147483646 w 53"/>
                    <a:gd name="T15" fmla="*/ 2147483646 h 19"/>
                    <a:gd name="T16" fmla="*/ 2147483646 w 53"/>
                    <a:gd name="T17" fmla="*/ 2147483646 h 19"/>
                    <a:gd name="T18" fmla="*/ 2147483646 w 53"/>
                    <a:gd name="T19" fmla="*/ 2147483646 h 19"/>
                    <a:gd name="T20" fmla="*/ 2147483646 w 53"/>
                    <a:gd name="T21" fmla="*/ 2147483646 h 19"/>
                    <a:gd name="T22" fmla="*/ 2147483646 w 53"/>
                    <a:gd name="T23" fmla="*/ 2147483646 h 19"/>
                    <a:gd name="T24" fmla="*/ 2147483646 w 53"/>
                    <a:gd name="T25" fmla="*/ 0 h 19"/>
                    <a:gd name="T26" fmla="*/ 2147483646 w 53"/>
                    <a:gd name="T27" fmla="*/ 0 h 19"/>
                    <a:gd name="T28" fmla="*/ 2147483646 w 53"/>
                    <a:gd name="T29" fmla="*/ 2147483646 h 19"/>
                    <a:gd name="T30" fmla="*/ 2147483646 w 53"/>
                    <a:gd name="T31" fmla="*/ 2147483646 h 19"/>
                    <a:gd name="T32" fmla="*/ 0 w 53"/>
                    <a:gd name="T33" fmla="*/ 2147483646 h 1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53"/>
                    <a:gd name="T52" fmla="*/ 0 h 19"/>
                    <a:gd name="T53" fmla="*/ 53 w 53"/>
                    <a:gd name="T54" fmla="*/ 19 h 1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53" h="19">
                      <a:moveTo>
                        <a:pt x="0" y="8"/>
                      </a:moveTo>
                      <a:lnTo>
                        <a:pt x="7" y="13"/>
                      </a:lnTo>
                      <a:lnTo>
                        <a:pt x="14" y="17"/>
                      </a:lnTo>
                      <a:lnTo>
                        <a:pt x="22" y="19"/>
                      </a:lnTo>
                      <a:lnTo>
                        <a:pt x="29" y="19"/>
                      </a:lnTo>
                      <a:lnTo>
                        <a:pt x="35" y="18"/>
                      </a:lnTo>
                      <a:lnTo>
                        <a:pt x="42" y="15"/>
                      </a:lnTo>
                      <a:lnTo>
                        <a:pt x="47" y="12"/>
                      </a:lnTo>
                      <a:lnTo>
                        <a:pt x="53" y="8"/>
                      </a:lnTo>
                      <a:lnTo>
                        <a:pt x="47" y="5"/>
                      </a:lnTo>
                      <a:lnTo>
                        <a:pt x="42" y="2"/>
                      </a:lnTo>
                      <a:lnTo>
                        <a:pt x="35" y="1"/>
                      </a:lnTo>
                      <a:lnTo>
                        <a:pt x="29" y="0"/>
                      </a:lnTo>
                      <a:lnTo>
                        <a:pt x="22" y="0"/>
                      </a:lnTo>
                      <a:lnTo>
                        <a:pt x="14" y="1"/>
                      </a:lnTo>
                      <a:lnTo>
                        <a:pt x="7" y="3"/>
                      </a:lnTo>
                      <a:lnTo>
                        <a:pt x="0" y="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74" name="Line 26" descr="Horizontal dunkel">
                  <a:extLst>
                    <a:ext uri="{FF2B5EF4-FFF2-40B4-BE49-F238E27FC236}">
                      <a16:creationId xmlns:a16="http://schemas.microsoft.com/office/drawing/2014/main" xmlns="" id="{C9824D87-B2AC-4081-B03D-E08FAAEA8408}"/>
                    </a:ext>
                  </a:extLst>
                </p:cNvPr>
                <p:cNvSpPr>
                  <a:spLocks noChangeShapeType="1"/>
                </p:cNvSpPr>
                <p:nvPr>
                  <p:custDataLst>
                    <p:tags r:id="rId21"/>
                  </p:custDataLst>
                </p:nvPr>
              </p:nvSpPr>
              <p:spPr bwMode="auto">
                <a:xfrm>
                  <a:off x="998538" y="2322513"/>
                  <a:ext cx="3175" cy="9525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75" name="Freeform 27">
                  <a:extLst>
                    <a:ext uri="{FF2B5EF4-FFF2-40B4-BE49-F238E27FC236}">
                      <a16:creationId xmlns:a16="http://schemas.microsoft.com/office/drawing/2014/main" xmlns="" id="{DD0B29A3-F7EB-46D8-91EB-EDF78CFEDFE9}"/>
                    </a:ext>
                  </a:extLst>
                </p:cNvPr>
                <p:cNvSpPr>
                  <a:spLocks/>
                </p:cNvSpPr>
                <p:nvPr>
                  <p:custDataLst>
                    <p:tags r:id="rId22"/>
                  </p:custDataLst>
                </p:nvPr>
              </p:nvSpPr>
              <p:spPr bwMode="auto">
                <a:xfrm>
                  <a:off x="1001713" y="2319338"/>
                  <a:ext cx="3175" cy="55562"/>
                </a:xfrm>
                <a:custGeom>
                  <a:avLst/>
                  <a:gdLst>
                    <a:gd name="T0" fmla="*/ 0 w 6"/>
                    <a:gd name="T1" fmla="*/ 2147483646 h 24"/>
                    <a:gd name="T2" fmla="*/ 0 w 6"/>
                    <a:gd name="T3" fmla="*/ 2147483646 h 24"/>
                    <a:gd name="T4" fmla="*/ 2147483646 w 6"/>
                    <a:gd name="T5" fmla="*/ 2147483646 h 24"/>
                    <a:gd name="T6" fmla="*/ 2147483646 w 6"/>
                    <a:gd name="T7" fmla="*/ 2147483646 h 24"/>
                    <a:gd name="T8" fmla="*/ 2147483646 w 6"/>
                    <a:gd name="T9" fmla="*/ 0 h 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24"/>
                    <a:gd name="T17" fmla="*/ 6 w 6"/>
                    <a:gd name="T18" fmla="*/ 24 h 2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24">
                      <a:moveTo>
                        <a:pt x="0" y="24"/>
                      </a:moveTo>
                      <a:lnTo>
                        <a:pt x="0" y="19"/>
                      </a:lnTo>
                      <a:lnTo>
                        <a:pt x="1" y="14"/>
                      </a:lnTo>
                      <a:lnTo>
                        <a:pt x="3" y="8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76" name="Freeform 28">
                  <a:extLst>
                    <a:ext uri="{FF2B5EF4-FFF2-40B4-BE49-F238E27FC236}">
                      <a16:creationId xmlns:a16="http://schemas.microsoft.com/office/drawing/2014/main" xmlns="" id="{1D0A15D4-0F1C-46DC-9394-AF0764D2BCCC}"/>
                    </a:ext>
                  </a:extLst>
                </p:cNvPr>
                <p:cNvSpPr>
                  <a:spLocks/>
                </p:cNvSpPr>
                <p:nvPr>
                  <p:custDataLst>
                    <p:tags r:id="rId23"/>
                  </p:custDataLst>
                </p:nvPr>
              </p:nvSpPr>
              <p:spPr bwMode="auto">
                <a:xfrm>
                  <a:off x="977900" y="2373313"/>
                  <a:ext cx="23813" cy="57150"/>
                </a:xfrm>
                <a:custGeom>
                  <a:avLst/>
                  <a:gdLst>
                    <a:gd name="T0" fmla="*/ 0 w 47"/>
                    <a:gd name="T1" fmla="*/ 2147483646 h 67"/>
                    <a:gd name="T2" fmla="*/ 0 w 47"/>
                    <a:gd name="T3" fmla="*/ 2147483646 h 67"/>
                    <a:gd name="T4" fmla="*/ 2147483646 w 47"/>
                    <a:gd name="T5" fmla="*/ 2147483646 h 67"/>
                    <a:gd name="T6" fmla="*/ 2147483646 w 47"/>
                    <a:gd name="T7" fmla="*/ 2147483646 h 67"/>
                    <a:gd name="T8" fmla="*/ 2147483646 w 47"/>
                    <a:gd name="T9" fmla="*/ 2147483646 h 67"/>
                    <a:gd name="T10" fmla="*/ 2147483646 w 47"/>
                    <a:gd name="T11" fmla="*/ 2147483646 h 67"/>
                    <a:gd name="T12" fmla="*/ 2147483646 w 47"/>
                    <a:gd name="T13" fmla="*/ 2147483646 h 67"/>
                    <a:gd name="T14" fmla="*/ 2147483646 w 47"/>
                    <a:gd name="T15" fmla="*/ 2147483646 h 67"/>
                    <a:gd name="T16" fmla="*/ 2147483646 w 47"/>
                    <a:gd name="T17" fmla="*/ 0 h 67"/>
                    <a:gd name="T18" fmla="*/ 2147483646 w 47"/>
                    <a:gd name="T19" fmla="*/ 2147483646 h 67"/>
                    <a:gd name="T20" fmla="*/ 2147483646 w 47"/>
                    <a:gd name="T21" fmla="*/ 2147483646 h 67"/>
                    <a:gd name="T22" fmla="*/ 2147483646 w 47"/>
                    <a:gd name="T23" fmla="*/ 2147483646 h 67"/>
                    <a:gd name="T24" fmla="*/ 2147483646 w 47"/>
                    <a:gd name="T25" fmla="*/ 2147483646 h 67"/>
                    <a:gd name="T26" fmla="*/ 2147483646 w 47"/>
                    <a:gd name="T27" fmla="*/ 2147483646 h 67"/>
                    <a:gd name="T28" fmla="*/ 2147483646 w 47"/>
                    <a:gd name="T29" fmla="*/ 2147483646 h 67"/>
                    <a:gd name="T30" fmla="*/ 0 w 47"/>
                    <a:gd name="T31" fmla="*/ 2147483646 h 67"/>
                    <a:gd name="T32" fmla="*/ 0 w 47"/>
                    <a:gd name="T33" fmla="*/ 2147483646 h 67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47"/>
                    <a:gd name="T52" fmla="*/ 0 h 67"/>
                    <a:gd name="T53" fmla="*/ 47 w 47"/>
                    <a:gd name="T54" fmla="*/ 67 h 67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47" h="67">
                      <a:moveTo>
                        <a:pt x="0" y="24"/>
                      </a:moveTo>
                      <a:lnTo>
                        <a:pt x="0" y="30"/>
                      </a:lnTo>
                      <a:lnTo>
                        <a:pt x="2" y="36"/>
                      </a:lnTo>
                      <a:lnTo>
                        <a:pt x="3" y="42"/>
                      </a:lnTo>
                      <a:lnTo>
                        <a:pt x="5" y="47"/>
                      </a:lnTo>
                      <a:lnTo>
                        <a:pt x="9" y="58"/>
                      </a:lnTo>
                      <a:lnTo>
                        <a:pt x="14" y="67"/>
                      </a:lnTo>
                      <a:lnTo>
                        <a:pt x="47" y="67"/>
                      </a:lnTo>
                      <a:lnTo>
                        <a:pt x="47" y="0"/>
                      </a:lnTo>
                      <a:lnTo>
                        <a:pt x="36" y="2"/>
                      </a:lnTo>
                      <a:lnTo>
                        <a:pt x="26" y="4"/>
                      </a:lnTo>
                      <a:lnTo>
                        <a:pt x="18" y="7"/>
                      </a:lnTo>
                      <a:lnTo>
                        <a:pt x="11" y="9"/>
                      </a:lnTo>
                      <a:lnTo>
                        <a:pt x="6" y="12"/>
                      </a:lnTo>
                      <a:lnTo>
                        <a:pt x="3" y="16"/>
                      </a:lnTo>
                      <a:lnTo>
                        <a:pt x="0" y="20"/>
                      </a:lnTo>
                      <a:lnTo>
                        <a:pt x="0" y="2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77" name="Freeform 29">
                  <a:extLst>
                    <a:ext uri="{FF2B5EF4-FFF2-40B4-BE49-F238E27FC236}">
                      <a16:creationId xmlns:a16="http://schemas.microsoft.com/office/drawing/2014/main" xmlns="" id="{E1F18678-668D-468F-BD9F-13190E0FDCDC}"/>
                    </a:ext>
                  </a:extLst>
                </p:cNvPr>
                <p:cNvSpPr>
                  <a:spLocks/>
                </p:cNvSpPr>
                <p:nvPr>
                  <p:custDataLst>
                    <p:tags r:id="rId24"/>
                  </p:custDataLst>
                </p:nvPr>
              </p:nvSpPr>
              <p:spPr bwMode="auto">
                <a:xfrm>
                  <a:off x="2303463" y="2368550"/>
                  <a:ext cx="49212" cy="57150"/>
                </a:xfrm>
                <a:custGeom>
                  <a:avLst/>
                  <a:gdLst>
                    <a:gd name="T0" fmla="*/ 0 w 112"/>
                    <a:gd name="T1" fmla="*/ 2147483646 h 36"/>
                    <a:gd name="T2" fmla="*/ 2147483646 w 112"/>
                    <a:gd name="T3" fmla="*/ 2147483646 h 36"/>
                    <a:gd name="T4" fmla="*/ 2147483646 w 112"/>
                    <a:gd name="T5" fmla="*/ 2147483646 h 36"/>
                    <a:gd name="T6" fmla="*/ 2147483646 w 112"/>
                    <a:gd name="T7" fmla="*/ 2147483646 h 36"/>
                    <a:gd name="T8" fmla="*/ 2147483646 w 112"/>
                    <a:gd name="T9" fmla="*/ 2147483646 h 36"/>
                    <a:gd name="T10" fmla="*/ 2147483646 w 112"/>
                    <a:gd name="T11" fmla="*/ 2147483646 h 36"/>
                    <a:gd name="T12" fmla="*/ 2147483646 w 112"/>
                    <a:gd name="T13" fmla="*/ 2147483646 h 36"/>
                    <a:gd name="T14" fmla="*/ 2147483646 w 112"/>
                    <a:gd name="T15" fmla="*/ 2147483646 h 36"/>
                    <a:gd name="T16" fmla="*/ 2147483646 w 112"/>
                    <a:gd name="T17" fmla="*/ 2147483646 h 36"/>
                    <a:gd name="T18" fmla="*/ 2147483646 w 112"/>
                    <a:gd name="T19" fmla="*/ 2147483646 h 36"/>
                    <a:gd name="T20" fmla="*/ 2147483646 w 112"/>
                    <a:gd name="T21" fmla="*/ 2147483646 h 36"/>
                    <a:gd name="T22" fmla="*/ 2147483646 w 112"/>
                    <a:gd name="T23" fmla="*/ 0 h 36"/>
                    <a:gd name="T24" fmla="*/ 2147483646 w 112"/>
                    <a:gd name="T25" fmla="*/ 0 h 36"/>
                    <a:gd name="T26" fmla="*/ 2147483646 w 112"/>
                    <a:gd name="T27" fmla="*/ 2147483646 h 36"/>
                    <a:gd name="T28" fmla="*/ 2147483646 w 112"/>
                    <a:gd name="T29" fmla="*/ 2147483646 h 36"/>
                    <a:gd name="T30" fmla="*/ 2147483646 w 112"/>
                    <a:gd name="T31" fmla="*/ 2147483646 h 36"/>
                    <a:gd name="T32" fmla="*/ 2147483646 w 112"/>
                    <a:gd name="T33" fmla="*/ 2147483646 h 36"/>
                    <a:gd name="T34" fmla="*/ 2147483646 w 112"/>
                    <a:gd name="T35" fmla="*/ 2147483646 h 36"/>
                    <a:gd name="T36" fmla="*/ 2147483646 w 112"/>
                    <a:gd name="T37" fmla="*/ 2147483646 h 36"/>
                    <a:gd name="T38" fmla="*/ 2147483646 w 112"/>
                    <a:gd name="T39" fmla="*/ 2147483646 h 36"/>
                    <a:gd name="T40" fmla="*/ 2147483646 w 112"/>
                    <a:gd name="T41" fmla="*/ 2147483646 h 36"/>
                    <a:gd name="T42" fmla="*/ 2147483646 w 112"/>
                    <a:gd name="T43" fmla="*/ 2147483646 h 36"/>
                    <a:gd name="T44" fmla="*/ 2147483646 w 112"/>
                    <a:gd name="T45" fmla="*/ 2147483646 h 36"/>
                    <a:gd name="T46" fmla="*/ 0 w 112"/>
                    <a:gd name="T47" fmla="*/ 2147483646 h 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12"/>
                    <a:gd name="T73" fmla="*/ 0 h 36"/>
                    <a:gd name="T74" fmla="*/ 112 w 112"/>
                    <a:gd name="T75" fmla="*/ 36 h 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12" h="36">
                      <a:moveTo>
                        <a:pt x="0" y="36"/>
                      </a:moveTo>
                      <a:lnTo>
                        <a:pt x="59" y="36"/>
                      </a:lnTo>
                      <a:lnTo>
                        <a:pt x="67" y="30"/>
                      </a:lnTo>
                      <a:lnTo>
                        <a:pt x="75" y="26"/>
                      </a:lnTo>
                      <a:lnTo>
                        <a:pt x="84" y="23"/>
                      </a:lnTo>
                      <a:lnTo>
                        <a:pt x="91" y="20"/>
                      </a:lnTo>
                      <a:lnTo>
                        <a:pt x="98" y="17"/>
                      </a:lnTo>
                      <a:lnTo>
                        <a:pt x="104" y="13"/>
                      </a:lnTo>
                      <a:lnTo>
                        <a:pt x="107" y="11"/>
                      </a:lnTo>
                      <a:lnTo>
                        <a:pt x="109" y="8"/>
                      </a:lnTo>
                      <a:lnTo>
                        <a:pt x="111" y="4"/>
                      </a:lnTo>
                      <a:lnTo>
                        <a:pt x="112" y="0"/>
                      </a:lnTo>
                      <a:lnTo>
                        <a:pt x="100" y="0"/>
                      </a:lnTo>
                      <a:lnTo>
                        <a:pt x="85" y="1"/>
                      </a:lnTo>
                      <a:lnTo>
                        <a:pt x="67" y="3"/>
                      </a:lnTo>
                      <a:lnTo>
                        <a:pt x="48" y="7"/>
                      </a:lnTo>
                      <a:lnTo>
                        <a:pt x="40" y="9"/>
                      </a:lnTo>
                      <a:lnTo>
                        <a:pt x="31" y="11"/>
                      </a:lnTo>
                      <a:lnTo>
                        <a:pt x="23" y="14"/>
                      </a:lnTo>
                      <a:lnTo>
                        <a:pt x="17" y="18"/>
                      </a:lnTo>
                      <a:lnTo>
                        <a:pt x="10" y="22"/>
                      </a:lnTo>
                      <a:lnTo>
                        <a:pt x="6" y="26"/>
                      </a:lnTo>
                      <a:lnTo>
                        <a:pt x="1" y="31"/>
                      </a:lnTo>
                      <a:lnTo>
                        <a:pt x="0" y="3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78" name="Freeform 30">
                  <a:extLst>
                    <a:ext uri="{FF2B5EF4-FFF2-40B4-BE49-F238E27FC236}">
                      <a16:creationId xmlns:a16="http://schemas.microsoft.com/office/drawing/2014/main" xmlns="" id="{59316C79-E85E-4921-BD36-18E91CE700F3}"/>
                    </a:ext>
                  </a:extLst>
                </p:cNvPr>
                <p:cNvSpPr>
                  <a:spLocks/>
                </p:cNvSpPr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5041900" y="1925638"/>
                  <a:ext cx="874713" cy="452437"/>
                </a:xfrm>
                <a:custGeom>
                  <a:avLst/>
                  <a:gdLst>
                    <a:gd name="T0" fmla="*/ 2147483646 w 2006"/>
                    <a:gd name="T1" fmla="*/ 2147483646 h 863"/>
                    <a:gd name="T2" fmla="*/ 2147483646 w 2006"/>
                    <a:gd name="T3" fmla="*/ 2147483646 h 863"/>
                    <a:gd name="T4" fmla="*/ 2147483646 w 2006"/>
                    <a:gd name="T5" fmla="*/ 2147483646 h 863"/>
                    <a:gd name="T6" fmla="*/ 2147483646 w 2006"/>
                    <a:gd name="T7" fmla="*/ 2147483646 h 863"/>
                    <a:gd name="T8" fmla="*/ 2147483646 w 2006"/>
                    <a:gd name="T9" fmla="*/ 2147483646 h 863"/>
                    <a:gd name="T10" fmla="*/ 2147483646 w 2006"/>
                    <a:gd name="T11" fmla="*/ 2147483646 h 863"/>
                    <a:gd name="T12" fmla="*/ 2147483646 w 2006"/>
                    <a:gd name="T13" fmla="*/ 2147483646 h 863"/>
                    <a:gd name="T14" fmla="*/ 2147483646 w 2006"/>
                    <a:gd name="T15" fmla="*/ 2147483646 h 863"/>
                    <a:gd name="T16" fmla="*/ 2147483646 w 2006"/>
                    <a:gd name="T17" fmla="*/ 2147483646 h 863"/>
                    <a:gd name="T18" fmla="*/ 2147483646 w 2006"/>
                    <a:gd name="T19" fmla="*/ 2147483646 h 863"/>
                    <a:gd name="T20" fmla="*/ 2147483646 w 2006"/>
                    <a:gd name="T21" fmla="*/ 2147483646 h 863"/>
                    <a:gd name="T22" fmla="*/ 2147483646 w 2006"/>
                    <a:gd name="T23" fmla="*/ 2147483646 h 863"/>
                    <a:gd name="T24" fmla="*/ 2147483646 w 2006"/>
                    <a:gd name="T25" fmla="*/ 2147483646 h 863"/>
                    <a:gd name="T26" fmla="*/ 2147483646 w 2006"/>
                    <a:gd name="T27" fmla="*/ 2147483646 h 863"/>
                    <a:gd name="T28" fmla="*/ 2147483646 w 2006"/>
                    <a:gd name="T29" fmla="*/ 2147483646 h 863"/>
                    <a:gd name="T30" fmla="*/ 2147483646 w 2006"/>
                    <a:gd name="T31" fmla="*/ 2147483646 h 863"/>
                    <a:gd name="T32" fmla="*/ 2147483646 w 2006"/>
                    <a:gd name="T33" fmla="*/ 2147483646 h 863"/>
                    <a:gd name="T34" fmla="*/ 2147483646 w 2006"/>
                    <a:gd name="T35" fmla="*/ 2147483646 h 863"/>
                    <a:gd name="T36" fmla="*/ 2147483646 w 2006"/>
                    <a:gd name="T37" fmla="*/ 2147483646 h 863"/>
                    <a:gd name="T38" fmla="*/ 2147483646 w 2006"/>
                    <a:gd name="T39" fmla="*/ 2147483646 h 863"/>
                    <a:gd name="T40" fmla="*/ 2147483646 w 2006"/>
                    <a:gd name="T41" fmla="*/ 2147483646 h 863"/>
                    <a:gd name="T42" fmla="*/ 2147483646 w 2006"/>
                    <a:gd name="T43" fmla="*/ 2147483646 h 863"/>
                    <a:gd name="T44" fmla="*/ 2147483646 w 2006"/>
                    <a:gd name="T45" fmla="*/ 2147483646 h 863"/>
                    <a:gd name="T46" fmla="*/ 2147483646 w 2006"/>
                    <a:gd name="T47" fmla="*/ 2147483646 h 863"/>
                    <a:gd name="T48" fmla="*/ 2147483646 w 2006"/>
                    <a:gd name="T49" fmla="*/ 2147483646 h 863"/>
                    <a:gd name="T50" fmla="*/ 2147483646 w 2006"/>
                    <a:gd name="T51" fmla="*/ 2147483646 h 863"/>
                    <a:gd name="T52" fmla="*/ 2147483646 w 2006"/>
                    <a:gd name="T53" fmla="*/ 2147483646 h 863"/>
                    <a:gd name="T54" fmla="*/ 2147483646 w 2006"/>
                    <a:gd name="T55" fmla="*/ 2147483646 h 863"/>
                    <a:gd name="T56" fmla="*/ 2147483646 w 2006"/>
                    <a:gd name="T57" fmla="*/ 2147483646 h 863"/>
                    <a:gd name="T58" fmla="*/ 2147483646 w 2006"/>
                    <a:gd name="T59" fmla="*/ 2147483646 h 863"/>
                    <a:gd name="T60" fmla="*/ 2147483646 w 2006"/>
                    <a:gd name="T61" fmla="*/ 2147483646 h 863"/>
                    <a:gd name="T62" fmla="*/ 2147483646 w 2006"/>
                    <a:gd name="T63" fmla="*/ 2147483646 h 863"/>
                    <a:gd name="T64" fmla="*/ 2147483646 w 2006"/>
                    <a:gd name="T65" fmla="*/ 2147483646 h 863"/>
                    <a:gd name="T66" fmla="*/ 2147483646 w 2006"/>
                    <a:gd name="T67" fmla="*/ 2147483646 h 863"/>
                    <a:gd name="T68" fmla="*/ 2147483646 w 2006"/>
                    <a:gd name="T69" fmla="*/ 2147483646 h 863"/>
                    <a:gd name="T70" fmla="*/ 2147483646 w 2006"/>
                    <a:gd name="T71" fmla="*/ 2147483646 h 863"/>
                    <a:gd name="T72" fmla="*/ 2147483646 w 2006"/>
                    <a:gd name="T73" fmla="*/ 2147483646 h 863"/>
                    <a:gd name="T74" fmla="*/ 2147483646 w 2006"/>
                    <a:gd name="T75" fmla="*/ 2147483646 h 863"/>
                    <a:gd name="T76" fmla="*/ 2147483646 w 2006"/>
                    <a:gd name="T77" fmla="*/ 2147483646 h 863"/>
                    <a:gd name="T78" fmla="*/ 2147483646 w 2006"/>
                    <a:gd name="T79" fmla="*/ 2147483646 h 863"/>
                    <a:gd name="T80" fmla="*/ 2147483646 w 2006"/>
                    <a:gd name="T81" fmla="*/ 2147483646 h 863"/>
                    <a:gd name="T82" fmla="*/ 2147483646 w 2006"/>
                    <a:gd name="T83" fmla="*/ 2147483646 h 863"/>
                    <a:gd name="T84" fmla="*/ 2147483646 w 2006"/>
                    <a:gd name="T85" fmla="*/ 2147483646 h 863"/>
                    <a:gd name="T86" fmla="*/ 2147483646 w 2006"/>
                    <a:gd name="T87" fmla="*/ 2147483646 h 863"/>
                    <a:gd name="T88" fmla="*/ 2147483646 w 2006"/>
                    <a:gd name="T89" fmla="*/ 2147483646 h 863"/>
                    <a:gd name="T90" fmla="*/ 2147483646 w 2006"/>
                    <a:gd name="T91" fmla="*/ 2147483646 h 863"/>
                    <a:gd name="T92" fmla="*/ 2147483646 w 2006"/>
                    <a:gd name="T93" fmla="*/ 2147483646 h 863"/>
                    <a:gd name="T94" fmla="*/ 2147483646 w 2006"/>
                    <a:gd name="T95" fmla="*/ 2147483646 h 863"/>
                    <a:gd name="T96" fmla="*/ 2147483646 w 2006"/>
                    <a:gd name="T97" fmla="*/ 2147483646 h 863"/>
                    <a:gd name="T98" fmla="*/ 2147483646 w 2006"/>
                    <a:gd name="T99" fmla="*/ 2147483646 h 863"/>
                    <a:gd name="T100" fmla="*/ 2147483646 w 2006"/>
                    <a:gd name="T101" fmla="*/ 2147483646 h 863"/>
                    <a:gd name="T102" fmla="*/ 2147483646 w 2006"/>
                    <a:gd name="T103" fmla="*/ 2147483646 h 863"/>
                    <a:gd name="T104" fmla="*/ 2147483646 w 2006"/>
                    <a:gd name="T105" fmla="*/ 2147483646 h 863"/>
                    <a:gd name="T106" fmla="*/ 2147483646 w 2006"/>
                    <a:gd name="T107" fmla="*/ 2147483646 h 863"/>
                    <a:gd name="T108" fmla="*/ 2147483646 w 2006"/>
                    <a:gd name="T109" fmla="*/ 2147483646 h 863"/>
                    <a:gd name="T110" fmla="*/ 2147483646 w 2006"/>
                    <a:gd name="T111" fmla="*/ 2147483646 h 863"/>
                    <a:gd name="T112" fmla="*/ 2147483646 w 2006"/>
                    <a:gd name="T113" fmla="*/ 2147483646 h 863"/>
                    <a:gd name="T114" fmla="*/ 2147483646 w 2006"/>
                    <a:gd name="T115" fmla="*/ 2147483646 h 863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2006"/>
                    <a:gd name="T175" fmla="*/ 0 h 863"/>
                    <a:gd name="T176" fmla="*/ 2006 w 2006"/>
                    <a:gd name="T177" fmla="*/ 863 h 863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2006" h="863">
                      <a:moveTo>
                        <a:pt x="571" y="826"/>
                      </a:moveTo>
                      <a:lnTo>
                        <a:pt x="538" y="826"/>
                      </a:lnTo>
                      <a:lnTo>
                        <a:pt x="512" y="789"/>
                      </a:lnTo>
                      <a:lnTo>
                        <a:pt x="438" y="764"/>
                      </a:lnTo>
                      <a:lnTo>
                        <a:pt x="433" y="765"/>
                      </a:lnTo>
                      <a:lnTo>
                        <a:pt x="427" y="766"/>
                      </a:lnTo>
                      <a:lnTo>
                        <a:pt x="424" y="767"/>
                      </a:lnTo>
                      <a:lnTo>
                        <a:pt x="421" y="767"/>
                      </a:lnTo>
                      <a:lnTo>
                        <a:pt x="416" y="766"/>
                      </a:lnTo>
                      <a:lnTo>
                        <a:pt x="412" y="764"/>
                      </a:lnTo>
                      <a:lnTo>
                        <a:pt x="405" y="772"/>
                      </a:lnTo>
                      <a:lnTo>
                        <a:pt x="397" y="778"/>
                      </a:lnTo>
                      <a:lnTo>
                        <a:pt x="393" y="782"/>
                      </a:lnTo>
                      <a:lnTo>
                        <a:pt x="391" y="786"/>
                      </a:lnTo>
                      <a:lnTo>
                        <a:pt x="390" y="794"/>
                      </a:lnTo>
                      <a:lnTo>
                        <a:pt x="392" y="802"/>
                      </a:lnTo>
                      <a:lnTo>
                        <a:pt x="386" y="800"/>
                      </a:lnTo>
                      <a:lnTo>
                        <a:pt x="381" y="798"/>
                      </a:lnTo>
                      <a:lnTo>
                        <a:pt x="378" y="795"/>
                      </a:lnTo>
                      <a:lnTo>
                        <a:pt x="375" y="792"/>
                      </a:lnTo>
                      <a:lnTo>
                        <a:pt x="372" y="787"/>
                      </a:lnTo>
                      <a:lnTo>
                        <a:pt x="371" y="783"/>
                      </a:lnTo>
                      <a:lnTo>
                        <a:pt x="370" y="778"/>
                      </a:lnTo>
                      <a:lnTo>
                        <a:pt x="369" y="773"/>
                      </a:lnTo>
                      <a:lnTo>
                        <a:pt x="370" y="751"/>
                      </a:lnTo>
                      <a:lnTo>
                        <a:pt x="372" y="727"/>
                      </a:lnTo>
                      <a:lnTo>
                        <a:pt x="352" y="727"/>
                      </a:lnTo>
                      <a:lnTo>
                        <a:pt x="332" y="726"/>
                      </a:lnTo>
                      <a:lnTo>
                        <a:pt x="327" y="725"/>
                      </a:lnTo>
                      <a:lnTo>
                        <a:pt x="324" y="724"/>
                      </a:lnTo>
                      <a:lnTo>
                        <a:pt x="321" y="722"/>
                      </a:lnTo>
                      <a:lnTo>
                        <a:pt x="318" y="719"/>
                      </a:lnTo>
                      <a:lnTo>
                        <a:pt x="315" y="716"/>
                      </a:lnTo>
                      <a:lnTo>
                        <a:pt x="313" y="712"/>
                      </a:lnTo>
                      <a:lnTo>
                        <a:pt x="312" y="708"/>
                      </a:lnTo>
                      <a:lnTo>
                        <a:pt x="312" y="703"/>
                      </a:lnTo>
                      <a:lnTo>
                        <a:pt x="305" y="702"/>
                      </a:lnTo>
                      <a:lnTo>
                        <a:pt x="299" y="700"/>
                      </a:lnTo>
                      <a:lnTo>
                        <a:pt x="293" y="697"/>
                      </a:lnTo>
                      <a:lnTo>
                        <a:pt x="288" y="692"/>
                      </a:lnTo>
                      <a:lnTo>
                        <a:pt x="280" y="682"/>
                      </a:lnTo>
                      <a:lnTo>
                        <a:pt x="273" y="668"/>
                      </a:lnTo>
                      <a:lnTo>
                        <a:pt x="265" y="656"/>
                      </a:lnTo>
                      <a:lnTo>
                        <a:pt x="256" y="646"/>
                      </a:lnTo>
                      <a:lnTo>
                        <a:pt x="251" y="641"/>
                      </a:lnTo>
                      <a:lnTo>
                        <a:pt x="245" y="638"/>
                      </a:lnTo>
                      <a:lnTo>
                        <a:pt x="240" y="636"/>
                      </a:lnTo>
                      <a:lnTo>
                        <a:pt x="232" y="635"/>
                      </a:lnTo>
                      <a:lnTo>
                        <a:pt x="232" y="623"/>
                      </a:lnTo>
                      <a:lnTo>
                        <a:pt x="232" y="610"/>
                      </a:lnTo>
                      <a:lnTo>
                        <a:pt x="239" y="608"/>
                      </a:lnTo>
                      <a:lnTo>
                        <a:pt x="245" y="604"/>
                      </a:lnTo>
                      <a:lnTo>
                        <a:pt x="251" y="600"/>
                      </a:lnTo>
                      <a:lnTo>
                        <a:pt x="253" y="598"/>
                      </a:lnTo>
                      <a:lnTo>
                        <a:pt x="253" y="594"/>
                      </a:lnTo>
                      <a:lnTo>
                        <a:pt x="254" y="591"/>
                      </a:lnTo>
                      <a:lnTo>
                        <a:pt x="256" y="588"/>
                      </a:lnTo>
                      <a:lnTo>
                        <a:pt x="259" y="585"/>
                      </a:lnTo>
                      <a:lnTo>
                        <a:pt x="268" y="578"/>
                      </a:lnTo>
                      <a:lnTo>
                        <a:pt x="279" y="573"/>
                      </a:lnTo>
                      <a:lnTo>
                        <a:pt x="292" y="568"/>
                      </a:lnTo>
                      <a:lnTo>
                        <a:pt x="309" y="564"/>
                      </a:lnTo>
                      <a:lnTo>
                        <a:pt x="326" y="561"/>
                      </a:lnTo>
                      <a:lnTo>
                        <a:pt x="345" y="561"/>
                      </a:lnTo>
                      <a:lnTo>
                        <a:pt x="338" y="544"/>
                      </a:lnTo>
                      <a:lnTo>
                        <a:pt x="330" y="529"/>
                      </a:lnTo>
                      <a:lnTo>
                        <a:pt x="325" y="520"/>
                      </a:lnTo>
                      <a:lnTo>
                        <a:pt x="322" y="511"/>
                      </a:lnTo>
                      <a:lnTo>
                        <a:pt x="320" y="499"/>
                      </a:lnTo>
                      <a:lnTo>
                        <a:pt x="319" y="487"/>
                      </a:lnTo>
                      <a:lnTo>
                        <a:pt x="307" y="486"/>
                      </a:lnTo>
                      <a:lnTo>
                        <a:pt x="293" y="484"/>
                      </a:lnTo>
                      <a:lnTo>
                        <a:pt x="281" y="481"/>
                      </a:lnTo>
                      <a:lnTo>
                        <a:pt x="269" y="478"/>
                      </a:lnTo>
                      <a:lnTo>
                        <a:pt x="258" y="475"/>
                      </a:lnTo>
                      <a:lnTo>
                        <a:pt x="247" y="472"/>
                      </a:lnTo>
                      <a:lnTo>
                        <a:pt x="236" y="470"/>
                      </a:lnTo>
                      <a:lnTo>
                        <a:pt x="225" y="469"/>
                      </a:lnTo>
                      <a:lnTo>
                        <a:pt x="218" y="469"/>
                      </a:lnTo>
                      <a:lnTo>
                        <a:pt x="209" y="470"/>
                      </a:lnTo>
                      <a:lnTo>
                        <a:pt x="201" y="472"/>
                      </a:lnTo>
                      <a:lnTo>
                        <a:pt x="195" y="474"/>
                      </a:lnTo>
                      <a:lnTo>
                        <a:pt x="180" y="480"/>
                      </a:lnTo>
                      <a:lnTo>
                        <a:pt x="168" y="487"/>
                      </a:lnTo>
                      <a:lnTo>
                        <a:pt x="157" y="495"/>
                      </a:lnTo>
                      <a:lnTo>
                        <a:pt x="146" y="505"/>
                      </a:lnTo>
                      <a:lnTo>
                        <a:pt x="136" y="515"/>
                      </a:lnTo>
                      <a:lnTo>
                        <a:pt x="127" y="524"/>
                      </a:lnTo>
                      <a:lnTo>
                        <a:pt x="133" y="512"/>
                      </a:lnTo>
                      <a:lnTo>
                        <a:pt x="106" y="505"/>
                      </a:lnTo>
                      <a:lnTo>
                        <a:pt x="133" y="487"/>
                      </a:lnTo>
                      <a:lnTo>
                        <a:pt x="106" y="463"/>
                      </a:lnTo>
                      <a:lnTo>
                        <a:pt x="79" y="438"/>
                      </a:lnTo>
                      <a:lnTo>
                        <a:pt x="40" y="438"/>
                      </a:lnTo>
                      <a:lnTo>
                        <a:pt x="27" y="413"/>
                      </a:lnTo>
                      <a:lnTo>
                        <a:pt x="7" y="401"/>
                      </a:lnTo>
                      <a:lnTo>
                        <a:pt x="0" y="370"/>
                      </a:lnTo>
                      <a:lnTo>
                        <a:pt x="0" y="333"/>
                      </a:lnTo>
                      <a:lnTo>
                        <a:pt x="13" y="308"/>
                      </a:lnTo>
                      <a:lnTo>
                        <a:pt x="20" y="283"/>
                      </a:lnTo>
                      <a:lnTo>
                        <a:pt x="53" y="302"/>
                      </a:lnTo>
                      <a:lnTo>
                        <a:pt x="86" y="314"/>
                      </a:lnTo>
                      <a:lnTo>
                        <a:pt x="106" y="308"/>
                      </a:lnTo>
                      <a:lnTo>
                        <a:pt x="79" y="277"/>
                      </a:lnTo>
                      <a:lnTo>
                        <a:pt x="113" y="259"/>
                      </a:lnTo>
                      <a:lnTo>
                        <a:pt x="146" y="228"/>
                      </a:lnTo>
                      <a:lnTo>
                        <a:pt x="179" y="222"/>
                      </a:lnTo>
                      <a:lnTo>
                        <a:pt x="219" y="222"/>
                      </a:lnTo>
                      <a:lnTo>
                        <a:pt x="246" y="210"/>
                      </a:lnTo>
                      <a:lnTo>
                        <a:pt x="292" y="222"/>
                      </a:lnTo>
                      <a:lnTo>
                        <a:pt x="338" y="241"/>
                      </a:lnTo>
                      <a:lnTo>
                        <a:pt x="379" y="277"/>
                      </a:lnTo>
                      <a:lnTo>
                        <a:pt x="425" y="271"/>
                      </a:lnTo>
                      <a:lnTo>
                        <a:pt x="465" y="253"/>
                      </a:lnTo>
                      <a:lnTo>
                        <a:pt x="498" y="253"/>
                      </a:lnTo>
                      <a:lnTo>
                        <a:pt x="538" y="247"/>
                      </a:lnTo>
                      <a:lnTo>
                        <a:pt x="578" y="265"/>
                      </a:lnTo>
                      <a:lnTo>
                        <a:pt x="624" y="277"/>
                      </a:lnTo>
                      <a:lnTo>
                        <a:pt x="671" y="271"/>
                      </a:lnTo>
                      <a:lnTo>
                        <a:pt x="717" y="253"/>
                      </a:lnTo>
                      <a:lnTo>
                        <a:pt x="717" y="228"/>
                      </a:lnTo>
                      <a:lnTo>
                        <a:pt x="684" y="222"/>
                      </a:lnTo>
                      <a:lnTo>
                        <a:pt x="645" y="210"/>
                      </a:lnTo>
                      <a:lnTo>
                        <a:pt x="617" y="198"/>
                      </a:lnTo>
                      <a:lnTo>
                        <a:pt x="658" y="185"/>
                      </a:lnTo>
                      <a:lnTo>
                        <a:pt x="651" y="148"/>
                      </a:lnTo>
                      <a:lnTo>
                        <a:pt x="704" y="142"/>
                      </a:lnTo>
                      <a:lnTo>
                        <a:pt x="638" y="93"/>
                      </a:lnTo>
                      <a:lnTo>
                        <a:pt x="744" y="75"/>
                      </a:lnTo>
                      <a:lnTo>
                        <a:pt x="830" y="68"/>
                      </a:lnTo>
                      <a:lnTo>
                        <a:pt x="844" y="43"/>
                      </a:lnTo>
                      <a:lnTo>
                        <a:pt x="904" y="37"/>
                      </a:lnTo>
                      <a:lnTo>
                        <a:pt x="963" y="25"/>
                      </a:lnTo>
                      <a:lnTo>
                        <a:pt x="983" y="0"/>
                      </a:lnTo>
                      <a:lnTo>
                        <a:pt x="1050" y="13"/>
                      </a:lnTo>
                      <a:lnTo>
                        <a:pt x="1089" y="6"/>
                      </a:lnTo>
                      <a:lnTo>
                        <a:pt x="1116" y="25"/>
                      </a:lnTo>
                      <a:lnTo>
                        <a:pt x="1122" y="75"/>
                      </a:lnTo>
                      <a:lnTo>
                        <a:pt x="1163" y="75"/>
                      </a:lnTo>
                      <a:lnTo>
                        <a:pt x="1176" y="61"/>
                      </a:lnTo>
                      <a:lnTo>
                        <a:pt x="1196" y="75"/>
                      </a:lnTo>
                      <a:lnTo>
                        <a:pt x="1235" y="81"/>
                      </a:lnTo>
                      <a:lnTo>
                        <a:pt x="1255" y="81"/>
                      </a:lnTo>
                      <a:lnTo>
                        <a:pt x="1255" y="117"/>
                      </a:lnTo>
                      <a:lnTo>
                        <a:pt x="1296" y="111"/>
                      </a:lnTo>
                      <a:lnTo>
                        <a:pt x="1335" y="93"/>
                      </a:lnTo>
                      <a:lnTo>
                        <a:pt x="1375" y="61"/>
                      </a:lnTo>
                      <a:lnTo>
                        <a:pt x="1401" y="49"/>
                      </a:lnTo>
                      <a:lnTo>
                        <a:pt x="1401" y="81"/>
                      </a:lnTo>
                      <a:lnTo>
                        <a:pt x="1442" y="99"/>
                      </a:lnTo>
                      <a:lnTo>
                        <a:pt x="1488" y="117"/>
                      </a:lnTo>
                      <a:lnTo>
                        <a:pt x="1528" y="160"/>
                      </a:lnTo>
                      <a:lnTo>
                        <a:pt x="1581" y="204"/>
                      </a:lnTo>
                      <a:lnTo>
                        <a:pt x="1627" y="241"/>
                      </a:lnTo>
                      <a:lnTo>
                        <a:pt x="1647" y="271"/>
                      </a:lnTo>
                      <a:lnTo>
                        <a:pt x="1660" y="241"/>
                      </a:lnTo>
                      <a:lnTo>
                        <a:pt x="1688" y="235"/>
                      </a:lnTo>
                      <a:lnTo>
                        <a:pt x="1708" y="259"/>
                      </a:lnTo>
                      <a:lnTo>
                        <a:pt x="1747" y="271"/>
                      </a:lnTo>
                      <a:lnTo>
                        <a:pt x="1793" y="265"/>
                      </a:lnTo>
                      <a:lnTo>
                        <a:pt x="1821" y="253"/>
                      </a:lnTo>
                      <a:lnTo>
                        <a:pt x="1860" y="283"/>
                      </a:lnTo>
                      <a:lnTo>
                        <a:pt x="1906" y="308"/>
                      </a:lnTo>
                      <a:lnTo>
                        <a:pt x="1947" y="333"/>
                      </a:lnTo>
                      <a:lnTo>
                        <a:pt x="2000" y="339"/>
                      </a:lnTo>
                      <a:lnTo>
                        <a:pt x="2006" y="346"/>
                      </a:lnTo>
                      <a:lnTo>
                        <a:pt x="2005" y="358"/>
                      </a:lnTo>
                      <a:lnTo>
                        <a:pt x="2004" y="373"/>
                      </a:lnTo>
                      <a:lnTo>
                        <a:pt x="2004" y="377"/>
                      </a:lnTo>
                      <a:lnTo>
                        <a:pt x="2002" y="381"/>
                      </a:lnTo>
                      <a:lnTo>
                        <a:pt x="2000" y="385"/>
                      </a:lnTo>
                      <a:lnTo>
                        <a:pt x="1996" y="388"/>
                      </a:lnTo>
                      <a:lnTo>
                        <a:pt x="1993" y="392"/>
                      </a:lnTo>
                      <a:lnTo>
                        <a:pt x="1988" y="395"/>
                      </a:lnTo>
                      <a:lnTo>
                        <a:pt x="1981" y="399"/>
                      </a:lnTo>
                      <a:lnTo>
                        <a:pt x="1973" y="401"/>
                      </a:lnTo>
                      <a:lnTo>
                        <a:pt x="1969" y="401"/>
                      </a:lnTo>
                      <a:lnTo>
                        <a:pt x="1965" y="402"/>
                      </a:lnTo>
                      <a:lnTo>
                        <a:pt x="1962" y="403"/>
                      </a:lnTo>
                      <a:lnTo>
                        <a:pt x="1960" y="404"/>
                      </a:lnTo>
                      <a:lnTo>
                        <a:pt x="1959" y="406"/>
                      </a:lnTo>
                      <a:lnTo>
                        <a:pt x="1958" y="408"/>
                      </a:lnTo>
                      <a:lnTo>
                        <a:pt x="1958" y="410"/>
                      </a:lnTo>
                      <a:lnTo>
                        <a:pt x="1958" y="413"/>
                      </a:lnTo>
                      <a:lnTo>
                        <a:pt x="1963" y="425"/>
                      </a:lnTo>
                      <a:lnTo>
                        <a:pt x="1972" y="438"/>
                      </a:lnTo>
                      <a:lnTo>
                        <a:pt x="1977" y="445"/>
                      </a:lnTo>
                      <a:lnTo>
                        <a:pt x="1981" y="452"/>
                      </a:lnTo>
                      <a:lnTo>
                        <a:pt x="1983" y="460"/>
                      </a:lnTo>
                      <a:lnTo>
                        <a:pt x="1985" y="466"/>
                      </a:lnTo>
                      <a:lnTo>
                        <a:pt x="1985" y="469"/>
                      </a:lnTo>
                      <a:lnTo>
                        <a:pt x="1984" y="471"/>
                      </a:lnTo>
                      <a:lnTo>
                        <a:pt x="1983" y="474"/>
                      </a:lnTo>
                      <a:lnTo>
                        <a:pt x="1982" y="476"/>
                      </a:lnTo>
                      <a:lnTo>
                        <a:pt x="1979" y="478"/>
                      </a:lnTo>
                      <a:lnTo>
                        <a:pt x="1976" y="479"/>
                      </a:lnTo>
                      <a:lnTo>
                        <a:pt x="1971" y="480"/>
                      </a:lnTo>
                      <a:lnTo>
                        <a:pt x="1967" y="481"/>
                      </a:lnTo>
                      <a:lnTo>
                        <a:pt x="1954" y="481"/>
                      </a:lnTo>
                      <a:lnTo>
                        <a:pt x="1939" y="481"/>
                      </a:lnTo>
                      <a:lnTo>
                        <a:pt x="1932" y="481"/>
                      </a:lnTo>
                      <a:lnTo>
                        <a:pt x="1923" y="480"/>
                      </a:lnTo>
                      <a:lnTo>
                        <a:pt x="1913" y="478"/>
                      </a:lnTo>
                      <a:lnTo>
                        <a:pt x="1903" y="476"/>
                      </a:lnTo>
                      <a:lnTo>
                        <a:pt x="1893" y="474"/>
                      </a:lnTo>
                      <a:lnTo>
                        <a:pt x="1883" y="471"/>
                      </a:lnTo>
                      <a:lnTo>
                        <a:pt x="1875" y="467"/>
                      </a:lnTo>
                      <a:lnTo>
                        <a:pt x="1867" y="463"/>
                      </a:lnTo>
                      <a:lnTo>
                        <a:pt x="1865" y="468"/>
                      </a:lnTo>
                      <a:lnTo>
                        <a:pt x="1864" y="474"/>
                      </a:lnTo>
                      <a:lnTo>
                        <a:pt x="1865" y="482"/>
                      </a:lnTo>
                      <a:lnTo>
                        <a:pt x="1865" y="490"/>
                      </a:lnTo>
                      <a:lnTo>
                        <a:pt x="1869" y="508"/>
                      </a:lnTo>
                      <a:lnTo>
                        <a:pt x="1873" y="529"/>
                      </a:lnTo>
                      <a:lnTo>
                        <a:pt x="1878" y="548"/>
                      </a:lnTo>
                      <a:lnTo>
                        <a:pt x="1882" y="564"/>
                      </a:lnTo>
                      <a:lnTo>
                        <a:pt x="1882" y="572"/>
                      </a:lnTo>
                      <a:lnTo>
                        <a:pt x="1882" y="578"/>
                      </a:lnTo>
                      <a:lnTo>
                        <a:pt x="1882" y="583"/>
                      </a:lnTo>
                      <a:lnTo>
                        <a:pt x="1880" y="586"/>
                      </a:lnTo>
                      <a:lnTo>
                        <a:pt x="1854" y="584"/>
                      </a:lnTo>
                      <a:lnTo>
                        <a:pt x="1816" y="584"/>
                      </a:lnTo>
                      <a:lnTo>
                        <a:pt x="1806" y="585"/>
                      </a:lnTo>
                      <a:lnTo>
                        <a:pt x="1798" y="586"/>
                      </a:lnTo>
                      <a:lnTo>
                        <a:pt x="1789" y="588"/>
                      </a:lnTo>
                      <a:lnTo>
                        <a:pt x="1782" y="591"/>
                      </a:lnTo>
                      <a:lnTo>
                        <a:pt x="1776" y="594"/>
                      </a:lnTo>
                      <a:lnTo>
                        <a:pt x="1771" y="598"/>
                      </a:lnTo>
                      <a:lnTo>
                        <a:pt x="1769" y="601"/>
                      </a:lnTo>
                      <a:lnTo>
                        <a:pt x="1768" y="604"/>
                      </a:lnTo>
                      <a:lnTo>
                        <a:pt x="1767" y="607"/>
                      </a:lnTo>
                      <a:lnTo>
                        <a:pt x="1767" y="610"/>
                      </a:lnTo>
                      <a:lnTo>
                        <a:pt x="1778" y="612"/>
                      </a:lnTo>
                      <a:lnTo>
                        <a:pt x="1788" y="615"/>
                      </a:lnTo>
                      <a:lnTo>
                        <a:pt x="1795" y="619"/>
                      </a:lnTo>
                      <a:lnTo>
                        <a:pt x="1801" y="625"/>
                      </a:lnTo>
                      <a:lnTo>
                        <a:pt x="1805" y="631"/>
                      </a:lnTo>
                      <a:lnTo>
                        <a:pt x="1809" y="637"/>
                      </a:lnTo>
                      <a:lnTo>
                        <a:pt x="1812" y="644"/>
                      </a:lnTo>
                      <a:lnTo>
                        <a:pt x="1814" y="650"/>
                      </a:lnTo>
                      <a:lnTo>
                        <a:pt x="1817" y="664"/>
                      </a:lnTo>
                      <a:lnTo>
                        <a:pt x="1822" y="676"/>
                      </a:lnTo>
                      <a:lnTo>
                        <a:pt x="1824" y="682"/>
                      </a:lnTo>
                      <a:lnTo>
                        <a:pt x="1828" y="686"/>
                      </a:lnTo>
                      <a:lnTo>
                        <a:pt x="1834" y="689"/>
                      </a:lnTo>
                      <a:lnTo>
                        <a:pt x="1840" y="691"/>
                      </a:lnTo>
                      <a:lnTo>
                        <a:pt x="1838" y="695"/>
                      </a:lnTo>
                      <a:lnTo>
                        <a:pt x="1837" y="699"/>
                      </a:lnTo>
                      <a:lnTo>
                        <a:pt x="1837" y="702"/>
                      </a:lnTo>
                      <a:lnTo>
                        <a:pt x="1837" y="706"/>
                      </a:lnTo>
                      <a:lnTo>
                        <a:pt x="1839" y="713"/>
                      </a:lnTo>
                      <a:lnTo>
                        <a:pt x="1840" y="721"/>
                      </a:lnTo>
                      <a:lnTo>
                        <a:pt x="1840" y="735"/>
                      </a:lnTo>
                      <a:lnTo>
                        <a:pt x="1838" y="748"/>
                      </a:lnTo>
                      <a:lnTo>
                        <a:pt x="1837" y="754"/>
                      </a:lnTo>
                      <a:lnTo>
                        <a:pt x="1835" y="760"/>
                      </a:lnTo>
                      <a:lnTo>
                        <a:pt x="1832" y="765"/>
                      </a:lnTo>
                      <a:lnTo>
                        <a:pt x="1827" y="770"/>
                      </a:lnTo>
                      <a:lnTo>
                        <a:pt x="1814" y="764"/>
                      </a:lnTo>
                      <a:lnTo>
                        <a:pt x="1741" y="740"/>
                      </a:lnTo>
                      <a:lnTo>
                        <a:pt x="1674" y="740"/>
                      </a:lnTo>
                      <a:lnTo>
                        <a:pt x="1614" y="734"/>
                      </a:lnTo>
                      <a:lnTo>
                        <a:pt x="1534" y="727"/>
                      </a:lnTo>
                      <a:lnTo>
                        <a:pt x="1488" y="715"/>
                      </a:lnTo>
                      <a:lnTo>
                        <a:pt x="1475" y="764"/>
                      </a:lnTo>
                      <a:lnTo>
                        <a:pt x="1414" y="740"/>
                      </a:lnTo>
                      <a:lnTo>
                        <a:pt x="1368" y="734"/>
                      </a:lnTo>
                      <a:lnTo>
                        <a:pt x="1342" y="758"/>
                      </a:lnTo>
                      <a:lnTo>
                        <a:pt x="1342" y="770"/>
                      </a:lnTo>
                      <a:lnTo>
                        <a:pt x="1316" y="795"/>
                      </a:lnTo>
                      <a:lnTo>
                        <a:pt x="1282" y="808"/>
                      </a:lnTo>
                      <a:lnTo>
                        <a:pt x="1255" y="838"/>
                      </a:lnTo>
                      <a:lnTo>
                        <a:pt x="1235" y="863"/>
                      </a:lnTo>
                      <a:lnTo>
                        <a:pt x="1196" y="832"/>
                      </a:lnTo>
                      <a:lnTo>
                        <a:pt x="1142" y="838"/>
                      </a:lnTo>
                      <a:lnTo>
                        <a:pt x="1122" y="808"/>
                      </a:lnTo>
                      <a:lnTo>
                        <a:pt x="1083" y="746"/>
                      </a:lnTo>
                      <a:lnTo>
                        <a:pt x="1050" y="715"/>
                      </a:lnTo>
                      <a:lnTo>
                        <a:pt x="1003" y="685"/>
                      </a:lnTo>
                      <a:lnTo>
                        <a:pt x="963" y="697"/>
                      </a:lnTo>
                      <a:lnTo>
                        <a:pt x="917" y="691"/>
                      </a:lnTo>
                      <a:lnTo>
                        <a:pt x="857" y="697"/>
                      </a:lnTo>
                      <a:lnTo>
                        <a:pt x="730" y="616"/>
                      </a:lnTo>
                      <a:lnTo>
                        <a:pt x="682" y="595"/>
                      </a:lnTo>
                      <a:lnTo>
                        <a:pt x="684" y="586"/>
                      </a:lnTo>
                      <a:lnTo>
                        <a:pt x="638" y="548"/>
                      </a:lnTo>
                      <a:lnTo>
                        <a:pt x="610" y="580"/>
                      </a:lnTo>
                      <a:lnTo>
                        <a:pt x="525" y="604"/>
                      </a:lnTo>
                      <a:lnTo>
                        <a:pt x="565" y="826"/>
                      </a:lnTo>
                      <a:lnTo>
                        <a:pt x="584" y="832"/>
                      </a:lnTo>
                      <a:lnTo>
                        <a:pt x="571" y="82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79" name="Freeform 31">
                  <a:extLst>
                    <a:ext uri="{FF2B5EF4-FFF2-40B4-BE49-F238E27FC236}">
                      <a16:creationId xmlns:a16="http://schemas.microsoft.com/office/drawing/2014/main" xmlns="" id="{B6A8CEDE-57F6-4EC4-AD3E-F2C16987A7A3}"/>
                    </a:ext>
                  </a:extLst>
                </p:cNvPr>
                <p:cNvSpPr>
                  <a:spLocks/>
                </p:cNvSpPr>
                <p:nvPr>
                  <p:custDataLst>
                    <p:tags r:id="rId26"/>
                  </p:custDataLst>
                </p:nvPr>
              </p:nvSpPr>
              <p:spPr bwMode="auto">
                <a:xfrm>
                  <a:off x="5272088" y="2228850"/>
                  <a:ext cx="409575" cy="249238"/>
                </a:xfrm>
                <a:custGeom>
                  <a:avLst/>
                  <a:gdLst>
                    <a:gd name="T0" fmla="*/ 2147483646 w 950"/>
                    <a:gd name="T1" fmla="*/ 2147483646 h 468"/>
                    <a:gd name="T2" fmla="*/ 2147483646 w 950"/>
                    <a:gd name="T3" fmla="*/ 2147483646 h 468"/>
                    <a:gd name="T4" fmla="*/ 2147483646 w 950"/>
                    <a:gd name="T5" fmla="*/ 2147483646 h 468"/>
                    <a:gd name="T6" fmla="*/ 2147483646 w 950"/>
                    <a:gd name="T7" fmla="*/ 2147483646 h 468"/>
                    <a:gd name="T8" fmla="*/ 2147483646 w 950"/>
                    <a:gd name="T9" fmla="*/ 2147483646 h 468"/>
                    <a:gd name="T10" fmla="*/ 2147483646 w 950"/>
                    <a:gd name="T11" fmla="*/ 2147483646 h 468"/>
                    <a:gd name="T12" fmla="*/ 2147483646 w 950"/>
                    <a:gd name="T13" fmla="*/ 2147483646 h 468"/>
                    <a:gd name="T14" fmla="*/ 2147483646 w 950"/>
                    <a:gd name="T15" fmla="*/ 2147483646 h 468"/>
                    <a:gd name="T16" fmla="*/ 2147483646 w 950"/>
                    <a:gd name="T17" fmla="*/ 2147483646 h 468"/>
                    <a:gd name="T18" fmla="*/ 2147483646 w 950"/>
                    <a:gd name="T19" fmla="*/ 2147483646 h 468"/>
                    <a:gd name="T20" fmla="*/ 0 w 950"/>
                    <a:gd name="T21" fmla="*/ 2147483646 h 468"/>
                    <a:gd name="T22" fmla="*/ 2147483646 w 950"/>
                    <a:gd name="T23" fmla="*/ 2147483646 h 468"/>
                    <a:gd name="T24" fmla="*/ 2147483646 w 950"/>
                    <a:gd name="T25" fmla="*/ 2147483646 h 468"/>
                    <a:gd name="T26" fmla="*/ 2147483646 w 950"/>
                    <a:gd name="T27" fmla="*/ 2147483646 h 468"/>
                    <a:gd name="T28" fmla="*/ 2147483646 w 950"/>
                    <a:gd name="T29" fmla="*/ 2147483646 h 468"/>
                    <a:gd name="T30" fmla="*/ 2147483646 w 950"/>
                    <a:gd name="T31" fmla="*/ 2147483646 h 468"/>
                    <a:gd name="T32" fmla="*/ 2147483646 w 950"/>
                    <a:gd name="T33" fmla="*/ 2147483646 h 468"/>
                    <a:gd name="T34" fmla="*/ 2147483646 w 950"/>
                    <a:gd name="T35" fmla="*/ 2147483646 h 468"/>
                    <a:gd name="T36" fmla="*/ 2147483646 w 950"/>
                    <a:gd name="T37" fmla="*/ 2147483646 h 468"/>
                    <a:gd name="T38" fmla="*/ 2147483646 w 950"/>
                    <a:gd name="T39" fmla="*/ 2147483646 h 468"/>
                    <a:gd name="T40" fmla="*/ 2147483646 w 950"/>
                    <a:gd name="T41" fmla="*/ 2147483646 h 468"/>
                    <a:gd name="T42" fmla="*/ 2147483646 w 950"/>
                    <a:gd name="T43" fmla="*/ 2147483646 h 468"/>
                    <a:gd name="T44" fmla="*/ 2147483646 w 950"/>
                    <a:gd name="T45" fmla="*/ 2147483646 h 468"/>
                    <a:gd name="T46" fmla="*/ 2147483646 w 950"/>
                    <a:gd name="T47" fmla="*/ 2147483646 h 468"/>
                    <a:gd name="T48" fmla="*/ 2147483646 w 950"/>
                    <a:gd name="T49" fmla="*/ 2147483646 h 468"/>
                    <a:gd name="T50" fmla="*/ 2147483646 w 950"/>
                    <a:gd name="T51" fmla="*/ 2147483646 h 468"/>
                    <a:gd name="T52" fmla="*/ 2147483646 w 950"/>
                    <a:gd name="T53" fmla="*/ 2147483646 h 468"/>
                    <a:gd name="T54" fmla="*/ 2147483646 w 950"/>
                    <a:gd name="T55" fmla="*/ 2147483646 h 468"/>
                    <a:gd name="T56" fmla="*/ 2147483646 w 950"/>
                    <a:gd name="T57" fmla="*/ 2147483646 h 468"/>
                    <a:gd name="T58" fmla="*/ 2147483646 w 950"/>
                    <a:gd name="T59" fmla="*/ 2147483646 h 468"/>
                    <a:gd name="T60" fmla="*/ 2147483646 w 950"/>
                    <a:gd name="T61" fmla="*/ 2147483646 h 468"/>
                    <a:gd name="T62" fmla="*/ 2147483646 w 950"/>
                    <a:gd name="T63" fmla="*/ 2147483646 h 468"/>
                    <a:gd name="T64" fmla="*/ 2147483646 w 950"/>
                    <a:gd name="T65" fmla="*/ 2147483646 h 468"/>
                    <a:gd name="T66" fmla="*/ 2147483646 w 950"/>
                    <a:gd name="T67" fmla="*/ 2147483646 h 468"/>
                    <a:gd name="T68" fmla="*/ 2147483646 w 950"/>
                    <a:gd name="T69" fmla="*/ 2147483646 h 468"/>
                    <a:gd name="T70" fmla="*/ 2147483646 w 950"/>
                    <a:gd name="T71" fmla="*/ 2147483646 h 468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950"/>
                    <a:gd name="T109" fmla="*/ 0 h 468"/>
                    <a:gd name="T110" fmla="*/ 950 w 950"/>
                    <a:gd name="T111" fmla="*/ 468 h 468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950" h="468">
                      <a:moveTo>
                        <a:pt x="664" y="455"/>
                      </a:moveTo>
                      <a:lnTo>
                        <a:pt x="638" y="443"/>
                      </a:lnTo>
                      <a:lnTo>
                        <a:pt x="604" y="431"/>
                      </a:lnTo>
                      <a:lnTo>
                        <a:pt x="558" y="418"/>
                      </a:lnTo>
                      <a:lnTo>
                        <a:pt x="512" y="388"/>
                      </a:lnTo>
                      <a:lnTo>
                        <a:pt x="471" y="376"/>
                      </a:lnTo>
                      <a:lnTo>
                        <a:pt x="425" y="345"/>
                      </a:lnTo>
                      <a:lnTo>
                        <a:pt x="392" y="307"/>
                      </a:lnTo>
                      <a:lnTo>
                        <a:pt x="345" y="258"/>
                      </a:lnTo>
                      <a:lnTo>
                        <a:pt x="305" y="258"/>
                      </a:lnTo>
                      <a:lnTo>
                        <a:pt x="266" y="246"/>
                      </a:lnTo>
                      <a:lnTo>
                        <a:pt x="253" y="209"/>
                      </a:lnTo>
                      <a:lnTo>
                        <a:pt x="219" y="190"/>
                      </a:lnTo>
                      <a:lnTo>
                        <a:pt x="186" y="172"/>
                      </a:lnTo>
                      <a:lnTo>
                        <a:pt x="153" y="166"/>
                      </a:lnTo>
                      <a:lnTo>
                        <a:pt x="133" y="190"/>
                      </a:lnTo>
                      <a:lnTo>
                        <a:pt x="92" y="209"/>
                      </a:lnTo>
                      <a:lnTo>
                        <a:pt x="99" y="240"/>
                      </a:lnTo>
                      <a:lnTo>
                        <a:pt x="59" y="252"/>
                      </a:lnTo>
                      <a:lnTo>
                        <a:pt x="40" y="246"/>
                      </a:lnTo>
                      <a:lnTo>
                        <a:pt x="46" y="240"/>
                      </a:lnTo>
                      <a:lnTo>
                        <a:pt x="0" y="24"/>
                      </a:lnTo>
                      <a:lnTo>
                        <a:pt x="85" y="0"/>
                      </a:lnTo>
                      <a:lnTo>
                        <a:pt x="79" y="6"/>
                      </a:lnTo>
                      <a:lnTo>
                        <a:pt x="86" y="55"/>
                      </a:lnTo>
                      <a:lnTo>
                        <a:pt x="133" y="55"/>
                      </a:lnTo>
                      <a:lnTo>
                        <a:pt x="153" y="30"/>
                      </a:lnTo>
                      <a:lnTo>
                        <a:pt x="157" y="15"/>
                      </a:lnTo>
                      <a:lnTo>
                        <a:pt x="205" y="36"/>
                      </a:lnTo>
                      <a:lnTo>
                        <a:pt x="332" y="117"/>
                      </a:lnTo>
                      <a:lnTo>
                        <a:pt x="392" y="111"/>
                      </a:lnTo>
                      <a:lnTo>
                        <a:pt x="438" y="117"/>
                      </a:lnTo>
                      <a:lnTo>
                        <a:pt x="478" y="105"/>
                      </a:lnTo>
                      <a:lnTo>
                        <a:pt x="525" y="135"/>
                      </a:lnTo>
                      <a:lnTo>
                        <a:pt x="558" y="166"/>
                      </a:lnTo>
                      <a:lnTo>
                        <a:pt x="597" y="228"/>
                      </a:lnTo>
                      <a:lnTo>
                        <a:pt x="617" y="258"/>
                      </a:lnTo>
                      <a:lnTo>
                        <a:pt x="671" y="252"/>
                      </a:lnTo>
                      <a:lnTo>
                        <a:pt x="710" y="283"/>
                      </a:lnTo>
                      <a:lnTo>
                        <a:pt x="730" y="258"/>
                      </a:lnTo>
                      <a:lnTo>
                        <a:pt x="757" y="228"/>
                      </a:lnTo>
                      <a:lnTo>
                        <a:pt x="791" y="215"/>
                      </a:lnTo>
                      <a:lnTo>
                        <a:pt x="817" y="190"/>
                      </a:lnTo>
                      <a:lnTo>
                        <a:pt x="843" y="196"/>
                      </a:lnTo>
                      <a:lnTo>
                        <a:pt x="810" y="228"/>
                      </a:lnTo>
                      <a:lnTo>
                        <a:pt x="824" y="252"/>
                      </a:lnTo>
                      <a:lnTo>
                        <a:pt x="850" y="258"/>
                      </a:lnTo>
                      <a:lnTo>
                        <a:pt x="870" y="240"/>
                      </a:lnTo>
                      <a:lnTo>
                        <a:pt x="910" y="258"/>
                      </a:lnTo>
                      <a:lnTo>
                        <a:pt x="950" y="283"/>
                      </a:lnTo>
                      <a:lnTo>
                        <a:pt x="917" y="313"/>
                      </a:lnTo>
                      <a:lnTo>
                        <a:pt x="883" y="320"/>
                      </a:lnTo>
                      <a:lnTo>
                        <a:pt x="837" y="313"/>
                      </a:lnTo>
                      <a:lnTo>
                        <a:pt x="824" y="283"/>
                      </a:lnTo>
                      <a:lnTo>
                        <a:pt x="804" y="271"/>
                      </a:lnTo>
                      <a:lnTo>
                        <a:pt x="764" y="277"/>
                      </a:lnTo>
                      <a:lnTo>
                        <a:pt x="757" y="301"/>
                      </a:lnTo>
                      <a:lnTo>
                        <a:pt x="737" y="320"/>
                      </a:lnTo>
                      <a:lnTo>
                        <a:pt x="724" y="351"/>
                      </a:lnTo>
                      <a:lnTo>
                        <a:pt x="684" y="357"/>
                      </a:lnTo>
                      <a:lnTo>
                        <a:pt x="671" y="369"/>
                      </a:lnTo>
                      <a:lnTo>
                        <a:pt x="710" y="388"/>
                      </a:lnTo>
                      <a:lnTo>
                        <a:pt x="730" y="406"/>
                      </a:lnTo>
                      <a:lnTo>
                        <a:pt x="743" y="437"/>
                      </a:lnTo>
                      <a:lnTo>
                        <a:pt x="730" y="468"/>
                      </a:lnTo>
                      <a:lnTo>
                        <a:pt x="717" y="468"/>
                      </a:lnTo>
                      <a:lnTo>
                        <a:pt x="712" y="467"/>
                      </a:lnTo>
                      <a:lnTo>
                        <a:pt x="703" y="465"/>
                      </a:lnTo>
                      <a:lnTo>
                        <a:pt x="694" y="462"/>
                      </a:lnTo>
                      <a:lnTo>
                        <a:pt x="684" y="461"/>
                      </a:lnTo>
                      <a:lnTo>
                        <a:pt x="669" y="461"/>
                      </a:lnTo>
                      <a:lnTo>
                        <a:pt x="658" y="461"/>
                      </a:lnTo>
                      <a:lnTo>
                        <a:pt x="664" y="45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80" name="Freeform 32">
                  <a:extLst>
                    <a:ext uri="{FF2B5EF4-FFF2-40B4-BE49-F238E27FC236}">
                      <a16:creationId xmlns:a16="http://schemas.microsoft.com/office/drawing/2014/main" xmlns="" id="{FC44B92B-77A1-433A-894E-1EA3E3354BF8}"/>
                    </a:ext>
                  </a:extLst>
                </p:cNvPr>
                <p:cNvSpPr>
                  <a:spLocks/>
                </p:cNvSpPr>
                <p:nvPr>
                  <p:custDataLst>
                    <p:tags r:id="rId27"/>
                  </p:custDataLst>
                </p:nvPr>
              </p:nvSpPr>
              <p:spPr bwMode="auto">
                <a:xfrm>
                  <a:off x="4079875" y="3232150"/>
                  <a:ext cx="296863" cy="288925"/>
                </a:xfrm>
                <a:custGeom>
                  <a:avLst/>
                  <a:gdLst>
                    <a:gd name="T0" fmla="*/ 2147483646 w 671"/>
                    <a:gd name="T1" fmla="*/ 2147483646 h 549"/>
                    <a:gd name="T2" fmla="*/ 2147483646 w 671"/>
                    <a:gd name="T3" fmla="*/ 2147483646 h 549"/>
                    <a:gd name="T4" fmla="*/ 2147483646 w 671"/>
                    <a:gd name="T5" fmla="*/ 2147483646 h 549"/>
                    <a:gd name="T6" fmla="*/ 2147483646 w 671"/>
                    <a:gd name="T7" fmla="*/ 2147483646 h 549"/>
                    <a:gd name="T8" fmla="*/ 2147483646 w 671"/>
                    <a:gd name="T9" fmla="*/ 2147483646 h 549"/>
                    <a:gd name="T10" fmla="*/ 2147483646 w 671"/>
                    <a:gd name="T11" fmla="*/ 2147483646 h 549"/>
                    <a:gd name="T12" fmla="*/ 2147483646 w 671"/>
                    <a:gd name="T13" fmla="*/ 2147483646 h 549"/>
                    <a:gd name="T14" fmla="*/ 2147483646 w 671"/>
                    <a:gd name="T15" fmla="*/ 2147483646 h 549"/>
                    <a:gd name="T16" fmla="*/ 2147483646 w 671"/>
                    <a:gd name="T17" fmla="*/ 2147483646 h 549"/>
                    <a:gd name="T18" fmla="*/ 2147483646 w 671"/>
                    <a:gd name="T19" fmla="*/ 2147483646 h 549"/>
                    <a:gd name="T20" fmla="*/ 2147483646 w 671"/>
                    <a:gd name="T21" fmla="*/ 2147483646 h 549"/>
                    <a:gd name="T22" fmla="*/ 2147483646 w 671"/>
                    <a:gd name="T23" fmla="*/ 2147483646 h 549"/>
                    <a:gd name="T24" fmla="*/ 2147483646 w 671"/>
                    <a:gd name="T25" fmla="*/ 0 h 549"/>
                    <a:gd name="T26" fmla="*/ 2147483646 w 671"/>
                    <a:gd name="T27" fmla="*/ 2147483646 h 549"/>
                    <a:gd name="T28" fmla="*/ 2147483646 w 671"/>
                    <a:gd name="T29" fmla="*/ 2147483646 h 549"/>
                    <a:gd name="T30" fmla="*/ 2147483646 w 671"/>
                    <a:gd name="T31" fmla="*/ 2147483646 h 549"/>
                    <a:gd name="T32" fmla="*/ 2147483646 w 671"/>
                    <a:gd name="T33" fmla="*/ 2147483646 h 549"/>
                    <a:gd name="T34" fmla="*/ 2147483646 w 671"/>
                    <a:gd name="T35" fmla="*/ 2147483646 h 549"/>
                    <a:gd name="T36" fmla="*/ 2147483646 w 671"/>
                    <a:gd name="T37" fmla="*/ 2147483646 h 549"/>
                    <a:gd name="T38" fmla="*/ 2147483646 w 671"/>
                    <a:gd name="T39" fmla="*/ 2147483646 h 549"/>
                    <a:gd name="T40" fmla="*/ 2147483646 w 671"/>
                    <a:gd name="T41" fmla="*/ 2147483646 h 549"/>
                    <a:gd name="T42" fmla="*/ 2147483646 w 671"/>
                    <a:gd name="T43" fmla="*/ 2147483646 h 549"/>
                    <a:gd name="T44" fmla="*/ 2147483646 w 671"/>
                    <a:gd name="T45" fmla="*/ 2147483646 h 549"/>
                    <a:gd name="T46" fmla="*/ 2147483646 w 671"/>
                    <a:gd name="T47" fmla="*/ 2147483646 h 549"/>
                    <a:gd name="T48" fmla="*/ 2147483646 w 671"/>
                    <a:gd name="T49" fmla="*/ 2147483646 h 549"/>
                    <a:gd name="T50" fmla="*/ 2147483646 w 671"/>
                    <a:gd name="T51" fmla="*/ 2147483646 h 549"/>
                    <a:gd name="T52" fmla="*/ 2147483646 w 671"/>
                    <a:gd name="T53" fmla="*/ 2147483646 h 549"/>
                    <a:gd name="T54" fmla="*/ 2147483646 w 671"/>
                    <a:gd name="T55" fmla="*/ 2147483646 h 549"/>
                    <a:gd name="T56" fmla="*/ 2147483646 w 671"/>
                    <a:gd name="T57" fmla="*/ 2147483646 h 549"/>
                    <a:gd name="T58" fmla="*/ 2147483646 w 671"/>
                    <a:gd name="T59" fmla="*/ 2147483646 h 549"/>
                    <a:gd name="T60" fmla="*/ 2147483646 w 671"/>
                    <a:gd name="T61" fmla="*/ 2147483646 h 549"/>
                    <a:gd name="T62" fmla="*/ 2147483646 w 671"/>
                    <a:gd name="T63" fmla="*/ 2147483646 h 549"/>
                    <a:gd name="T64" fmla="*/ 2147483646 w 671"/>
                    <a:gd name="T65" fmla="*/ 2147483646 h 549"/>
                    <a:gd name="T66" fmla="*/ 2147483646 w 671"/>
                    <a:gd name="T67" fmla="*/ 2147483646 h 549"/>
                    <a:gd name="T68" fmla="*/ 2147483646 w 671"/>
                    <a:gd name="T69" fmla="*/ 2147483646 h 549"/>
                    <a:gd name="T70" fmla="*/ 2147483646 w 671"/>
                    <a:gd name="T71" fmla="*/ 2147483646 h 549"/>
                    <a:gd name="T72" fmla="*/ 2147483646 w 671"/>
                    <a:gd name="T73" fmla="*/ 2147483646 h 549"/>
                    <a:gd name="T74" fmla="*/ 2147483646 w 671"/>
                    <a:gd name="T75" fmla="*/ 2147483646 h 549"/>
                    <a:gd name="T76" fmla="*/ 2147483646 w 671"/>
                    <a:gd name="T77" fmla="*/ 2147483646 h 549"/>
                    <a:gd name="T78" fmla="*/ 2147483646 w 671"/>
                    <a:gd name="T79" fmla="*/ 2147483646 h 549"/>
                    <a:gd name="T80" fmla="*/ 2147483646 w 671"/>
                    <a:gd name="T81" fmla="*/ 2147483646 h 549"/>
                    <a:gd name="T82" fmla="*/ 2147483646 w 671"/>
                    <a:gd name="T83" fmla="*/ 2147483646 h 549"/>
                    <a:gd name="T84" fmla="*/ 2147483646 w 671"/>
                    <a:gd name="T85" fmla="*/ 2147483646 h 549"/>
                    <a:gd name="T86" fmla="*/ 2147483646 w 671"/>
                    <a:gd name="T87" fmla="*/ 2147483646 h 549"/>
                    <a:gd name="T88" fmla="*/ 2147483646 w 671"/>
                    <a:gd name="T89" fmla="*/ 2147483646 h 549"/>
                    <a:gd name="T90" fmla="*/ 2147483646 w 671"/>
                    <a:gd name="T91" fmla="*/ 2147483646 h 549"/>
                    <a:gd name="T92" fmla="*/ 2147483646 w 671"/>
                    <a:gd name="T93" fmla="*/ 2147483646 h 549"/>
                    <a:gd name="T94" fmla="*/ 2147483646 w 671"/>
                    <a:gd name="T95" fmla="*/ 2147483646 h 549"/>
                    <a:gd name="T96" fmla="*/ 2147483646 w 671"/>
                    <a:gd name="T97" fmla="*/ 2147483646 h 549"/>
                    <a:gd name="T98" fmla="*/ 2147483646 w 671"/>
                    <a:gd name="T99" fmla="*/ 2147483646 h 549"/>
                    <a:gd name="T100" fmla="*/ 2147483646 w 671"/>
                    <a:gd name="T101" fmla="*/ 2147483646 h 549"/>
                    <a:gd name="T102" fmla="*/ 2147483646 w 671"/>
                    <a:gd name="T103" fmla="*/ 2147483646 h 549"/>
                    <a:gd name="T104" fmla="*/ 2147483646 w 671"/>
                    <a:gd name="T105" fmla="*/ 2147483646 h 549"/>
                    <a:gd name="T106" fmla="*/ 2147483646 w 671"/>
                    <a:gd name="T107" fmla="*/ 2147483646 h 549"/>
                    <a:gd name="T108" fmla="*/ 2147483646 w 671"/>
                    <a:gd name="T109" fmla="*/ 2147483646 h 549"/>
                    <a:gd name="T110" fmla="*/ 2147483646 w 671"/>
                    <a:gd name="T111" fmla="*/ 2147483646 h 549"/>
                    <a:gd name="T112" fmla="*/ 2147483646 w 671"/>
                    <a:gd name="T113" fmla="*/ 2147483646 h 549"/>
                    <a:gd name="T114" fmla="*/ 2147483646 w 671"/>
                    <a:gd name="T115" fmla="*/ 2147483646 h 549"/>
                    <a:gd name="T116" fmla="*/ 2147483646 w 671"/>
                    <a:gd name="T117" fmla="*/ 2147483646 h 549"/>
                    <a:gd name="T118" fmla="*/ 2147483646 w 671"/>
                    <a:gd name="T119" fmla="*/ 2147483646 h 549"/>
                    <a:gd name="T120" fmla="*/ 2147483646 w 671"/>
                    <a:gd name="T121" fmla="*/ 2147483646 h 549"/>
                    <a:gd name="T122" fmla="*/ 0 w 671"/>
                    <a:gd name="T123" fmla="*/ 2147483646 h 54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671"/>
                    <a:gd name="T187" fmla="*/ 0 h 549"/>
                    <a:gd name="T188" fmla="*/ 671 w 671"/>
                    <a:gd name="T189" fmla="*/ 549 h 54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671" h="549">
                      <a:moveTo>
                        <a:pt x="0" y="438"/>
                      </a:moveTo>
                      <a:lnTo>
                        <a:pt x="4" y="405"/>
                      </a:lnTo>
                      <a:lnTo>
                        <a:pt x="6" y="383"/>
                      </a:lnTo>
                      <a:lnTo>
                        <a:pt x="7" y="360"/>
                      </a:lnTo>
                      <a:lnTo>
                        <a:pt x="7" y="327"/>
                      </a:lnTo>
                      <a:lnTo>
                        <a:pt x="8" y="316"/>
                      </a:lnTo>
                      <a:lnTo>
                        <a:pt x="9" y="306"/>
                      </a:lnTo>
                      <a:lnTo>
                        <a:pt x="12" y="296"/>
                      </a:lnTo>
                      <a:lnTo>
                        <a:pt x="17" y="287"/>
                      </a:lnTo>
                      <a:lnTo>
                        <a:pt x="28" y="270"/>
                      </a:lnTo>
                      <a:lnTo>
                        <a:pt x="40" y="254"/>
                      </a:lnTo>
                      <a:lnTo>
                        <a:pt x="52" y="238"/>
                      </a:lnTo>
                      <a:lnTo>
                        <a:pt x="63" y="222"/>
                      </a:lnTo>
                      <a:lnTo>
                        <a:pt x="67" y="214"/>
                      </a:lnTo>
                      <a:lnTo>
                        <a:pt x="71" y="205"/>
                      </a:lnTo>
                      <a:lnTo>
                        <a:pt x="73" y="196"/>
                      </a:lnTo>
                      <a:lnTo>
                        <a:pt x="73" y="185"/>
                      </a:lnTo>
                      <a:lnTo>
                        <a:pt x="73" y="167"/>
                      </a:lnTo>
                      <a:lnTo>
                        <a:pt x="73" y="156"/>
                      </a:lnTo>
                      <a:lnTo>
                        <a:pt x="73" y="148"/>
                      </a:lnTo>
                      <a:lnTo>
                        <a:pt x="73" y="137"/>
                      </a:lnTo>
                      <a:lnTo>
                        <a:pt x="63" y="126"/>
                      </a:lnTo>
                      <a:lnTo>
                        <a:pt x="53" y="117"/>
                      </a:lnTo>
                      <a:lnTo>
                        <a:pt x="54" y="108"/>
                      </a:lnTo>
                      <a:lnTo>
                        <a:pt x="55" y="99"/>
                      </a:lnTo>
                      <a:lnTo>
                        <a:pt x="57" y="89"/>
                      </a:lnTo>
                      <a:lnTo>
                        <a:pt x="61" y="79"/>
                      </a:lnTo>
                      <a:lnTo>
                        <a:pt x="65" y="68"/>
                      </a:lnTo>
                      <a:lnTo>
                        <a:pt x="71" y="59"/>
                      </a:lnTo>
                      <a:lnTo>
                        <a:pt x="76" y="50"/>
                      </a:lnTo>
                      <a:lnTo>
                        <a:pt x="83" y="41"/>
                      </a:lnTo>
                      <a:lnTo>
                        <a:pt x="89" y="33"/>
                      </a:lnTo>
                      <a:lnTo>
                        <a:pt x="96" y="25"/>
                      </a:lnTo>
                      <a:lnTo>
                        <a:pt x="104" y="17"/>
                      </a:lnTo>
                      <a:lnTo>
                        <a:pt x="112" y="12"/>
                      </a:lnTo>
                      <a:lnTo>
                        <a:pt x="120" y="7"/>
                      </a:lnTo>
                      <a:lnTo>
                        <a:pt x="129" y="3"/>
                      </a:lnTo>
                      <a:lnTo>
                        <a:pt x="138" y="1"/>
                      </a:lnTo>
                      <a:lnTo>
                        <a:pt x="146" y="0"/>
                      </a:lnTo>
                      <a:lnTo>
                        <a:pt x="156" y="1"/>
                      </a:lnTo>
                      <a:lnTo>
                        <a:pt x="164" y="3"/>
                      </a:lnTo>
                      <a:lnTo>
                        <a:pt x="173" y="5"/>
                      </a:lnTo>
                      <a:lnTo>
                        <a:pt x="179" y="8"/>
                      </a:lnTo>
                      <a:lnTo>
                        <a:pt x="194" y="16"/>
                      </a:lnTo>
                      <a:lnTo>
                        <a:pt x="206" y="26"/>
                      </a:lnTo>
                      <a:lnTo>
                        <a:pt x="217" y="35"/>
                      </a:lnTo>
                      <a:lnTo>
                        <a:pt x="230" y="42"/>
                      </a:lnTo>
                      <a:lnTo>
                        <a:pt x="236" y="45"/>
                      </a:lnTo>
                      <a:lnTo>
                        <a:pt x="243" y="48"/>
                      </a:lnTo>
                      <a:lnTo>
                        <a:pt x="251" y="49"/>
                      </a:lnTo>
                      <a:lnTo>
                        <a:pt x="259" y="50"/>
                      </a:lnTo>
                      <a:lnTo>
                        <a:pt x="264" y="49"/>
                      </a:lnTo>
                      <a:lnTo>
                        <a:pt x="268" y="47"/>
                      </a:lnTo>
                      <a:lnTo>
                        <a:pt x="272" y="44"/>
                      </a:lnTo>
                      <a:lnTo>
                        <a:pt x="276" y="41"/>
                      </a:lnTo>
                      <a:lnTo>
                        <a:pt x="279" y="37"/>
                      </a:lnTo>
                      <a:lnTo>
                        <a:pt x="284" y="35"/>
                      </a:lnTo>
                      <a:lnTo>
                        <a:pt x="288" y="32"/>
                      </a:lnTo>
                      <a:lnTo>
                        <a:pt x="292" y="32"/>
                      </a:lnTo>
                      <a:lnTo>
                        <a:pt x="300" y="32"/>
                      </a:lnTo>
                      <a:lnTo>
                        <a:pt x="308" y="34"/>
                      </a:lnTo>
                      <a:lnTo>
                        <a:pt x="313" y="36"/>
                      </a:lnTo>
                      <a:lnTo>
                        <a:pt x="318" y="39"/>
                      </a:lnTo>
                      <a:lnTo>
                        <a:pt x="325" y="47"/>
                      </a:lnTo>
                      <a:lnTo>
                        <a:pt x="332" y="56"/>
                      </a:lnTo>
                      <a:lnTo>
                        <a:pt x="337" y="65"/>
                      </a:lnTo>
                      <a:lnTo>
                        <a:pt x="344" y="73"/>
                      </a:lnTo>
                      <a:lnTo>
                        <a:pt x="348" y="76"/>
                      </a:lnTo>
                      <a:lnTo>
                        <a:pt x="353" y="79"/>
                      </a:lnTo>
                      <a:lnTo>
                        <a:pt x="358" y="81"/>
                      </a:lnTo>
                      <a:lnTo>
                        <a:pt x="366" y="81"/>
                      </a:lnTo>
                      <a:lnTo>
                        <a:pt x="370" y="81"/>
                      </a:lnTo>
                      <a:lnTo>
                        <a:pt x="375" y="80"/>
                      </a:lnTo>
                      <a:lnTo>
                        <a:pt x="378" y="77"/>
                      </a:lnTo>
                      <a:lnTo>
                        <a:pt x="381" y="75"/>
                      </a:lnTo>
                      <a:lnTo>
                        <a:pt x="387" y="70"/>
                      </a:lnTo>
                      <a:lnTo>
                        <a:pt x="392" y="63"/>
                      </a:lnTo>
                      <a:lnTo>
                        <a:pt x="397" y="56"/>
                      </a:lnTo>
                      <a:lnTo>
                        <a:pt x="403" y="49"/>
                      </a:lnTo>
                      <a:lnTo>
                        <a:pt x="410" y="43"/>
                      </a:lnTo>
                      <a:lnTo>
                        <a:pt x="419" y="38"/>
                      </a:lnTo>
                      <a:lnTo>
                        <a:pt x="433" y="30"/>
                      </a:lnTo>
                      <a:lnTo>
                        <a:pt x="446" y="25"/>
                      </a:lnTo>
                      <a:lnTo>
                        <a:pt x="458" y="22"/>
                      </a:lnTo>
                      <a:lnTo>
                        <a:pt x="468" y="21"/>
                      </a:lnTo>
                      <a:lnTo>
                        <a:pt x="478" y="22"/>
                      </a:lnTo>
                      <a:lnTo>
                        <a:pt x="487" y="25"/>
                      </a:lnTo>
                      <a:lnTo>
                        <a:pt x="496" y="28"/>
                      </a:lnTo>
                      <a:lnTo>
                        <a:pt x="503" y="31"/>
                      </a:lnTo>
                      <a:lnTo>
                        <a:pt x="511" y="35"/>
                      </a:lnTo>
                      <a:lnTo>
                        <a:pt x="520" y="38"/>
                      </a:lnTo>
                      <a:lnTo>
                        <a:pt x="528" y="41"/>
                      </a:lnTo>
                      <a:lnTo>
                        <a:pt x="537" y="43"/>
                      </a:lnTo>
                      <a:lnTo>
                        <a:pt x="547" y="43"/>
                      </a:lnTo>
                      <a:lnTo>
                        <a:pt x="559" y="42"/>
                      </a:lnTo>
                      <a:lnTo>
                        <a:pt x="571" y="39"/>
                      </a:lnTo>
                      <a:lnTo>
                        <a:pt x="586" y="33"/>
                      </a:lnTo>
                      <a:lnTo>
                        <a:pt x="632" y="74"/>
                      </a:lnTo>
                      <a:lnTo>
                        <a:pt x="646" y="67"/>
                      </a:lnTo>
                      <a:lnTo>
                        <a:pt x="651" y="81"/>
                      </a:lnTo>
                      <a:lnTo>
                        <a:pt x="658" y="93"/>
                      </a:lnTo>
                      <a:lnTo>
                        <a:pt x="665" y="105"/>
                      </a:lnTo>
                      <a:lnTo>
                        <a:pt x="671" y="117"/>
                      </a:lnTo>
                      <a:lnTo>
                        <a:pt x="646" y="152"/>
                      </a:lnTo>
                      <a:lnTo>
                        <a:pt x="623" y="183"/>
                      </a:lnTo>
                      <a:lnTo>
                        <a:pt x="612" y="199"/>
                      </a:lnTo>
                      <a:lnTo>
                        <a:pt x="602" y="216"/>
                      </a:lnTo>
                      <a:lnTo>
                        <a:pt x="593" y="233"/>
                      </a:lnTo>
                      <a:lnTo>
                        <a:pt x="584" y="254"/>
                      </a:lnTo>
                      <a:lnTo>
                        <a:pt x="578" y="273"/>
                      </a:lnTo>
                      <a:lnTo>
                        <a:pt x="570" y="291"/>
                      </a:lnTo>
                      <a:lnTo>
                        <a:pt x="564" y="309"/>
                      </a:lnTo>
                      <a:lnTo>
                        <a:pt x="557" y="326"/>
                      </a:lnTo>
                      <a:lnTo>
                        <a:pt x="550" y="343"/>
                      </a:lnTo>
                      <a:lnTo>
                        <a:pt x="543" y="363"/>
                      </a:lnTo>
                      <a:lnTo>
                        <a:pt x="534" y="383"/>
                      </a:lnTo>
                      <a:lnTo>
                        <a:pt x="525" y="407"/>
                      </a:lnTo>
                      <a:lnTo>
                        <a:pt x="524" y="410"/>
                      </a:lnTo>
                      <a:lnTo>
                        <a:pt x="521" y="416"/>
                      </a:lnTo>
                      <a:lnTo>
                        <a:pt x="516" y="422"/>
                      </a:lnTo>
                      <a:lnTo>
                        <a:pt x="511" y="428"/>
                      </a:lnTo>
                      <a:lnTo>
                        <a:pt x="505" y="434"/>
                      </a:lnTo>
                      <a:lnTo>
                        <a:pt x="500" y="439"/>
                      </a:lnTo>
                      <a:lnTo>
                        <a:pt x="496" y="443"/>
                      </a:lnTo>
                      <a:lnTo>
                        <a:pt x="492" y="444"/>
                      </a:lnTo>
                      <a:lnTo>
                        <a:pt x="482" y="443"/>
                      </a:lnTo>
                      <a:lnTo>
                        <a:pt x="474" y="440"/>
                      </a:lnTo>
                      <a:lnTo>
                        <a:pt x="466" y="436"/>
                      </a:lnTo>
                      <a:lnTo>
                        <a:pt x="459" y="432"/>
                      </a:lnTo>
                      <a:lnTo>
                        <a:pt x="453" y="428"/>
                      </a:lnTo>
                      <a:lnTo>
                        <a:pt x="446" y="424"/>
                      </a:lnTo>
                      <a:lnTo>
                        <a:pt x="440" y="421"/>
                      </a:lnTo>
                      <a:lnTo>
                        <a:pt x="432" y="420"/>
                      </a:lnTo>
                      <a:lnTo>
                        <a:pt x="419" y="421"/>
                      </a:lnTo>
                      <a:lnTo>
                        <a:pt x="408" y="424"/>
                      </a:lnTo>
                      <a:lnTo>
                        <a:pt x="398" y="428"/>
                      </a:lnTo>
                      <a:lnTo>
                        <a:pt x="389" y="434"/>
                      </a:lnTo>
                      <a:lnTo>
                        <a:pt x="381" y="441"/>
                      </a:lnTo>
                      <a:lnTo>
                        <a:pt x="375" y="449"/>
                      </a:lnTo>
                      <a:lnTo>
                        <a:pt x="369" y="458"/>
                      </a:lnTo>
                      <a:lnTo>
                        <a:pt x="364" y="469"/>
                      </a:lnTo>
                      <a:lnTo>
                        <a:pt x="355" y="489"/>
                      </a:lnTo>
                      <a:lnTo>
                        <a:pt x="346" y="510"/>
                      </a:lnTo>
                      <a:lnTo>
                        <a:pt x="342" y="521"/>
                      </a:lnTo>
                      <a:lnTo>
                        <a:pt x="336" y="531"/>
                      </a:lnTo>
                      <a:lnTo>
                        <a:pt x="332" y="541"/>
                      </a:lnTo>
                      <a:lnTo>
                        <a:pt x="325" y="549"/>
                      </a:lnTo>
                      <a:lnTo>
                        <a:pt x="233" y="543"/>
                      </a:lnTo>
                      <a:lnTo>
                        <a:pt x="231" y="545"/>
                      </a:lnTo>
                      <a:lnTo>
                        <a:pt x="229" y="546"/>
                      </a:lnTo>
                      <a:lnTo>
                        <a:pt x="227" y="547"/>
                      </a:lnTo>
                      <a:lnTo>
                        <a:pt x="223" y="548"/>
                      </a:lnTo>
                      <a:lnTo>
                        <a:pt x="217" y="548"/>
                      </a:lnTo>
                      <a:lnTo>
                        <a:pt x="209" y="547"/>
                      </a:lnTo>
                      <a:lnTo>
                        <a:pt x="193" y="545"/>
                      </a:lnTo>
                      <a:lnTo>
                        <a:pt x="179" y="543"/>
                      </a:lnTo>
                      <a:lnTo>
                        <a:pt x="173" y="543"/>
                      </a:lnTo>
                      <a:lnTo>
                        <a:pt x="167" y="542"/>
                      </a:lnTo>
                      <a:lnTo>
                        <a:pt x="161" y="540"/>
                      </a:lnTo>
                      <a:lnTo>
                        <a:pt x="155" y="537"/>
                      </a:lnTo>
                      <a:lnTo>
                        <a:pt x="150" y="534"/>
                      </a:lnTo>
                      <a:lnTo>
                        <a:pt x="144" y="531"/>
                      </a:lnTo>
                      <a:lnTo>
                        <a:pt x="139" y="527"/>
                      </a:lnTo>
                      <a:lnTo>
                        <a:pt x="134" y="521"/>
                      </a:lnTo>
                      <a:lnTo>
                        <a:pt x="129" y="515"/>
                      </a:lnTo>
                      <a:lnTo>
                        <a:pt x="126" y="509"/>
                      </a:lnTo>
                      <a:lnTo>
                        <a:pt x="122" y="503"/>
                      </a:lnTo>
                      <a:lnTo>
                        <a:pt x="119" y="496"/>
                      </a:lnTo>
                      <a:lnTo>
                        <a:pt x="117" y="489"/>
                      </a:lnTo>
                      <a:lnTo>
                        <a:pt x="115" y="481"/>
                      </a:lnTo>
                      <a:lnTo>
                        <a:pt x="113" y="472"/>
                      </a:lnTo>
                      <a:lnTo>
                        <a:pt x="113" y="462"/>
                      </a:lnTo>
                      <a:lnTo>
                        <a:pt x="106" y="462"/>
                      </a:lnTo>
                      <a:lnTo>
                        <a:pt x="100" y="460"/>
                      </a:lnTo>
                      <a:lnTo>
                        <a:pt x="95" y="457"/>
                      </a:lnTo>
                      <a:lnTo>
                        <a:pt x="90" y="454"/>
                      </a:lnTo>
                      <a:lnTo>
                        <a:pt x="83" y="447"/>
                      </a:lnTo>
                      <a:lnTo>
                        <a:pt x="74" y="439"/>
                      </a:lnTo>
                      <a:lnTo>
                        <a:pt x="70" y="435"/>
                      </a:lnTo>
                      <a:lnTo>
                        <a:pt x="63" y="432"/>
                      </a:lnTo>
                      <a:lnTo>
                        <a:pt x="56" y="430"/>
                      </a:lnTo>
                      <a:lnTo>
                        <a:pt x="49" y="429"/>
                      </a:lnTo>
                      <a:lnTo>
                        <a:pt x="39" y="429"/>
                      </a:lnTo>
                      <a:lnTo>
                        <a:pt x="28" y="430"/>
                      </a:lnTo>
                      <a:lnTo>
                        <a:pt x="15" y="433"/>
                      </a:lnTo>
                      <a:lnTo>
                        <a:pt x="0" y="43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81" name="Freeform 33">
                  <a:extLst>
                    <a:ext uri="{FF2B5EF4-FFF2-40B4-BE49-F238E27FC236}">
                      <a16:creationId xmlns:a16="http://schemas.microsoft.com/office/drawing/2014/main" xmlns="" id="{26DA4AC0-9A25-4734-98E1-0A35B542EC1A}"/>
                    </a:ext>
                  </a:extLst>
                </p:cNvPr>
                <p:cNvSpPr>
                  <a:spLocks/>
                </p:cNvSpPr>
                <p:nvPr>
                  <p:custDataLst>
                    <p:tags r:id="rId28"/>
                  </p:custDataLst>
                </p:nvPr>
              </p:nvSpPr>
              <p:spPr bwMode="auto">
                <a:xfrm>
                  <a:off x="4922838" y="3097213"/>
                  <a:ext cx="152400" cy="169862"/>
                </a:xfrm>
                <a:custGeom>
                  <a:avLst/>
                  <a:gdLst>
                    <a:gd name="T0" fmla="*/ 2147483646 w 358"/>
                    <a:gd name="T1" fmla="*/ 2147483646 h 327"/>
                    <a:gd name="T2" fmla="*/ 2147483646 w 358"/>
                    <a:gd name="T3" fmla="*/ 2147483646 h 327"/>
                    <a:gd name="T4" fmla="*/ 2147483646 w 358"/>
                    <a:gd name="T5" fmla="*/ 2147483646 h 327"/>
                    <a:gd name="T6" fmla="*/ 2147483646 w 358"/>
                    <a:gd name="T7" fmla="*/ 2147483646 h 327"/>
                    <a:gd name="T8" fmla="*/ 2147483646 w 358"/>
                    <a:gd name="T9" fmla="*/ 2147483646 h 327"/>
                    <a:gd name="T10" fmla="*/ 2147483646 w 358"/>
                    <a:gd name="T11" fmla="*/ 2147483646 h 327"/>
                    <a:gd name="T12" fmla="*/ 2147483646 w 358"/>
                    <a:gd name="T13" fmla="*/ 2147483646 h 327"/>
                    <a:gd name="T14" fmla="*/ 2147483646 w 358"/>
                    <a:gd name="T15" fmla="*/ 2147483646 h 327"/>
                    <a:gd name="T16" fmla="*/ 2147483646 w 358"/>
                    <a:gd name="T17" fmla="*/ 2147483646 h 327"/>
                    <a:gd name="T18" fmla="*/ 2147483646 w 358"/>
                    <a:gd name="T19" fmla="*/ 2147483646 h 327"/>
                    <a:gd name="T20" fmla="*/ 2147483646 w 358"/>
                    <a:gd name="T21" fmla="*/ 2147483646 h 327"/>
                    <a:gd name="T22" fmla="*/ 2147483646 w 358"/>
                    <a:gd name="T23" fmla="*/ 2147483646 h 327"/>
                    <a:gd name="T24" fmla="*/ 2147483646 w 358"/>
                    <a:gd name="T25" fmla="*/ 2147483646 h 327"/>
                    <a:gd name="T26" fmla="*/ 2147483646 w 358"/>
                    <a:gd name="T27" fmla="*/ 2147483646 h 327"/>
                    <a:gd name="T28" fmla="*/ 2147483646 w 358"/>
                    <a:gd name="T29" fmla="*/ 2147483646 h 327"/>
                    <a:gd name="T30" fmla="*/ 2147483646 w 358"/>
                    <a:gd name="T31" fmla="*/ 2147483646 h 327"/>
                    <a:gd name="T32" fmla="*/ 2147483646 w 358"/>
                    <a:gd name="T33" fmla="*/ 2147483646 h 327"/>
                    <a:gd name="T34" fmla="*/ 2147483646 w 358"/>
                    <a:gd name="T35" fmla="*/ 2147483646 h 327"/>
                    <a:gd name="T36" fmla="*/ 2147483646 w 358"/>
                    <a:gd name="T37" fmla="*/ 2147483646 h 327"/>
                    <a:gd name="T38" fmla="*/ 2147483646 w 358"/>
                    <a:gd name="T39" fmla="*/ 2147483646 h 327"/>
                    <a:gd name="T40" fmla="*/ 2147483646 w 358"/>
                    <a:gd name="T41" fmla="*/ 2147483646 h 327"/>
                    <a:gd name="T42" fmla="*/ 2147483646 w 358"/>
                    <a:gd name="T43" fmla="*/ 2147483646 h 327"/>
                    <a:gd name="T44" fmla="*/ 2147483646 w 358"/>
                    <a:gd name="T45" fmla="*/ 2147483646 h 327"/>
                    <a:gd name="T46" fmla="*/ 2147483646 w 358"/>
                    <a:gd name="T47" fmla="*/ 2147483646 h 327"/>
                    <a:gd name="T48" fmla="*/ 2147483646 w 358"/>
                    <a:gd name="T49" fmla="*/ 2147483646 h 327"/>
                    <a:gd name="T50" fmla="*/ 2147483646 w 358"/>
                    <a:gd name="T51" fmla="*/ 2147483646 h 327"/>
                    <a:gd name="T52" fmla="*/ 2147483646 w 358"/>
                    <a:gd name="T53" fmla="*/ 0 h 327"/>
                    <a:gd name="T54" fmla="*/ 2147483646 w 358"/>
                    <a:gd name="T55" fmla="*/ 2147483646 h 327"/>
                    <a:gd name="T56" fmla="*/ 2147483646 w 358"/>
                    <a:gd name="T57" fmla="*/ 2147483646 h 327"/>
                    <a:gd name="T58" fmla="*/ 2147483646 w 358"/>
                    <a:gd name="T59" fmla="*/ 2147483646 h 327"/>
                    <a:gd name="T60" fmla="*/ 2147483646 w 358"/>
                    <a:gd name="T61" fmla="*/ 2147483646 h 327"/>
                    <a:gd name="T62" fmla="*/ 2147483646 w 358"/>
                    <a:gd name="T63" fmla="*/ 2147483646 h 327"/>
                    <a:gd name="T64" fmla="*/ 2147483646 w 358"/>
                    <a:gd name="T65" fmla="*/ 2147483646 h 327"/>
                    <a:gd name="T66" fmla="*/ 2147483646 w 358"/>
                    <a:gd name="T67" fmla="*/ 2147483646 h 327"/>
                    <a:gd name="T68" fmla="*/ 2147483646 w 358"/>
                    <a:gd name="T69" fmla="*/ 2147483646 h 327"/>
                    <a:gd name="T70" fmla="*/ 2147483646 w 358"/>
                    <a:gd name="T71" fmla="*/ 2147483646 h 327"/>
                    <a:gd name="T72" fmla="*/ 2147483646 w 358"/>
                    <a:gd name="T73" fmla="*/ 2147483646 h 327"/>
                    <a:gd name="T74" fmla="*/ 2147483646 w 358"/>
                    <a:gd name="T75" fmla="*/ 2147483646 h 327"/>
                    <a:gd name="T76" fmla="*/ 0 w 358"/>
                    <a:gd name="T77" fmla="*/ 2147483646 h 327"/>
                    <a:gd name="T78" fmla="*/ 0 w 358"/>
                    <a:gd name="T79" fmla="*/ 2147483646 h 327"/>
                    <a:gd name="T80" fmla="*/ 2147483646 w 358"/>
                    <a:gd name="T81" fmla="*/ 2147483646 h 327"/>
                    <a:gd name="T82" fmla="*/ 2147483646 w 358"/>
                    <a:gd name="T83" fmla="*/ 2147483646 h 327"/>
                    <a:gd name="T84" fmla="*/ 2147483646 w 358"/>
                    <a:gd name="T85" fmla="*/ 2147483646 h 327"/>
                    <a:gd name="T86" fmla="*/ 2147483646 w 358"/>
                    <a:gd name="T87" fmla="*/ 2147483646 h 327"/>
                    <a:gd name="T88" fmla="*/ 2147483646 w 358"/>
                    <a:gd name="T89" fmla="*/ 2147483646 h 327"/>
                    <a:gd name="T90" fmla="*/ 2147483646 w 358"/>
                    <a:gd name="T91" fmla="*/ 2147483646 h 327"/>
                    <a:gd name="T92" fmla="*/ 2147483646 w 358"/>
                    <a:gd name="T93" fmla="*/ 2147483646 h 327"/>
                    <a:gd name="T94" fmla="*/ 2147483646 w 358"/>
                    <a:gd name="T95" fmla="*/ 2147483646 h 327"/>
                    <a:gd name="T96" fmla="*/ 2147483646 w 358"/>
                    <a:gd name="T97" fmla="*/ 2147483646 h 327"/>
                    <a:gd name="T98" fmla="*/ 2147483646 w 358"/>
                    <a:gd name="T99" fmla="*/ 2147483646 h 327"/>
                    <a:gd name="T100" fmla="*/ 2147483646 w 358"/>
                    <a:gd name="T101" fmla="*/ 2147483646 h 327"/>
                    <a:gd name="T102" fmla="*/ 2147483646 w 358"/>
                    <a:gd name="T103" fmla="*/ 2147483646 h 327"/>
                    <a:gd name="T104" fmla="*/ 2147483646 w 358"/>
                    <a:gd name="T105" fmla="*/ 2147483646 h 327"/>
                    <a:gd name="T106" fmla="*/ 2147483646 w 358"/>
                    <a:gd name="T107" fmla="*/ 2147483646 h 327"/>
                    <a:gd name="T108" fmla="*/ 2147483646 w 358"/>
                    <a:gd name="T109" fmla="*/ 2147483646 h 327"/>
                    <a:gd name="T110" fmla="*/ 2147483646 w 358"/>
                    <a:gd name="T111" fmla="*/ 2147483646 h 327"/>
                    <a:gd name="T112" fmla="*/ 2147483646 w 358"/>
                    <a:gd name="T113" fmla="*/ 2147483646 h 327"/>
                    <a:gd name="T114" fmla="*/ 2147483646 w 358"/>
                    <a:gd name="T115" fmla="*/ 2147483646 h 327"/>
                    <a:gd name="T116" fmla="*/ 2147483646 w 358"/>
                    <a:gd name="T117" fmla="*/ 2147483646 h 327"/>
                    <a:gd name="T118" fmla="*/ 2147483646 w 358"/>
                    <a:gd name="T119" fmla="*/ 2147483646 h 327"/>
                    <a:gd name="T120" fmla="*/ 2147483646 w 358"/>
                    <a:gd name="T121" fmla="*/ 2147483646 h 327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358"/>
                    <a:gd name="T184" fmla="*/ 0 h 327"/>
                    <a:gd name="T185" fmla="*/ 358 w 358"/>
                    <a:gd name="T186" fmla="*/ 327 h 327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358" h="327">
                      <a:moveTo>
                        <a:pt x="325" y="327"/>
                      </a:moveTo>
                      <a:lnTo>
                        <a:pt x="326" y="324"/>
                      </a:lnTo>
                      <a:lnTo>
                        <a:pt x="329" y="322"/>
                      </a:lnTo>
                      <a:lnTo>
                        <a:pt x="331" y="321"/>
                      </a:lnTo>
                      <a:lnTo>
                        <a:pt x="332" y="321"/>
                      </a:lnTo>
                      <a:lnTo>
                        <a:pt x="337" y="318"/>
                      </a:lnTo>
                      <a:lnTo>
                        <a:pt x="342" y="317"/>
                      </a:lnTo>
                      <a:lnTo>
                        <a:pt x="346" y="318"/>
                      </a:lnTo>
                      <a:lnTo>
                        <a:pt x="351" y="319"/>
                      </a:lnTo>
                      <a:lnTo>
                        <a:pt x="356" y="324"/>
                      </a:lnTo>
                      <a:lnTo>
                        <a:pt x="358" y="327"/>
                      </a:lnTo>
                      <a:lnTo>
                        <a:pt x="319" y="285"/>
                      </a:lnTo>
                      <a:lnTo>
                        <a:pt x="302" y="265"/>
                      </a:lnTo>
                      <a:lnTo>
                        <a:pt x="278" y="235"/>
                      </a:lnTo>
                      <a:lnTo>
                        <a:pt x="265" y="219"/>
                      </a:lnTo>
                      <a:lnTo>
                        <a:pt x="253" y="204"/>
                      </a:lnTo>
                      <a:lnTo>
                        <a:pt x="241" y="193"/>
                      </a:lnTo>
                      <a:lnTo>
                        <a:pt x="232" y="186"/>
                      </a:lnTo>
                      <a:lnTo>
                        <a:pt x="225" y="182"/>
                      </a:lnTo>
                      <a:lnTo>
                        <a:pt x="219" y="181"/>
                      </a:lnTo>
                      <a:lnTo>
                        <a:pt x="213" y="180"/>
                      </a:lnTo>
                      <a:lnTo>
                        <a:pt x="208" y="180"/>
                      </a:lnTo>
                      <a:lnTo>
                        <a:pt x="205" y="180"/>
                      </a:lnTo>
                      <a:lnTo>
                        <a:pt x="201" y="179"/>
                      </a:lnTo>
                      <a:lnTo>
                        <a:pt x="200" y="177"/>
                      </a:lnTo>
                      <a:lnTo>
                        <a:pt x="199" y="174"/>
                      </a:lnTo>
                      <a:lnTo>
                        <a:pt x="199" y="172"/>
                      </a:lnTo>
                      <a:lnTo>
                        <a:pt x="198" y="170"/>
                      </a:lnTo>
                      <a:lnTo>
                        <a:pt x="197" y="169"/>
                      </a:lnTo>
                      <a:lnTo>
                        <a:pt x="195" y="169"/>
                      </a:lnTo>
                      <a:lnTo>
                        <a:pt x="190" y="170"/>
                      </a:lnTo>
                      <a:lnTo>
                        <a:pt x="184" y="172"/>
                      </a:lnTo>
                      <a:lnTo>
                        <a:pt x="178" y="173"/>
                      </a:lnTo>
                      <a:lnTo>
                        <a:pt x="171" y="172"/>
                      </a:lnTo>
                      <a:lnTo>
                        <a:pt x="168" y="170"/>
                      </a:lnTo>
                      <a:lnTo>
                        <a:pt x="165" y="168"/>
                      </a:lnTo>
                      <a:lnTo>
                        <a:pt x="162" y="165"/>
                      </a:lnTo>
                      <a:lnTo>
                        <a:pt x="160" y="161"/>
                      </a:lnTo>
                      <a:lnTo>
                        <a:pt x="156" y="152"/>
                      </a:lnTo>
                      <a:lnTo>
                        <a:pt x="152" y="144"/>
                      </a:lnTo>
                      <a:lnTo>
                        <a:pt x="147" y="138"/>
                      </a:lnTo>
                      <a:lnTo>
                        <a:pt x="143" y="131"/>
                      </a:lnTo>
                      <a:lnTo>
                        <a:pt x="138" y="125"/>
                      </a:lnTo>
                      <a:lnTo>
                        <a:pt x="133" y="119"/>
                      </a:lnTo>
                      <a:lnTo>
                        <a:pt x="129" y="112"/>
                      </a:lnTo>
                      <a:lnTo>
                        <a:pt x="127" y="105"/>
                      </a:lnTo>
                      <a:lnTo>
                        <a:pt x="123" y="96"/>
                      </a:lnTo>
                      <a:lnTo>
                        <a:pt x="122" y="84"/>
                      </a:lnTo>
                      <a:lnTo>
                        <a:pt x="121" y="69"/>
                      </a:lnTo>
                      <a:lnTo>
                        <a:pt x="119" y="53"/>
                      </a:lnTo>
                      <a:lnTo>
                        <a:pt x="118" y="37"/>
                      </a:lnTo>
                      <a:lnTo>
                        <a:pt x="117" y="23"/>
                      </a:lnTo>
                      <a:lnTo>
                        <a:pt x="115" y="10"/>
                      </a:lnTo>
                      <a:lnTo>
                        <a:pt x="112" y="0"/>
                      </a:lnTo>
                      <a:lnTo>
                        <a:pt x="93" y="0"/>
                      </a:lnTo>
                      <a:lnTo>
                        <a:pt x="73" y="26"/>
                      </a:lnTo>
                      <a:lnTo>
                        <a:pt x="70" y="28"/>
                      </a:lnTo>
                      <a:lnTo>
                        <a:pt x="61" y="33"/>
                      </a:lnTo>
                      <a:lnTo>
                        <a:pt x="48" y="41"/>
                      </a:lnTo>
                      <a:lnTo>
                        <a:pt x="33" y="50"/>
                      </a:lnTo>
                      <a:lnTo>
                        <a:pt x="27" y="55"/>
                      </a:lnTo>
                      <a:lnTo>
                        <a:pt x="21" y="61"/>
                      </a:lnTo>
                      <a:lnTo>
                        <a:pt x="18" y="66"/>
                      </a:lnTo>
                      <a:lnTo>
                        <a:pt x="17" y="72"/>
                      </a:lnTo>
                      <a:lnTo>
                        <a:pt x="16" y="78"/>
                      </a:lnTo>
                      <a:lnTo>
                        <a:pt x="16" y="83"/>
                      </a:lnTo>
                      <a:lnTo>
                        <a:pt x="18" y="88"/>
                      </a:lnTo>
                      <a:lnTo>
                        <a:pt x="20" y="93"/>
                      </a:lnTo>
                      <a:lnTo>
                        <a:pt x="21" y="96"/>
                      </a:lnTo>
                      <a:lnTo>
                        <a:pt x="22" y="100"/>
                      </a:lnTo>
                      <a:lnTo>
                        <a:pt x="22" y="104"/>
                      </a:lnTo>
                      <a:lnTo>
                        <a:pt x="20" y="110"/>
                      </a:lnTo>
                      <a:lnTo>
                        <a:pt x="18" y="117"/>
                      </a:lnTo>
                      <a:lnTo>
                        <a:pt x="15" y="123"/>
                      </a:lnTo>
                      <a:lnTo>
                        <a:pt x="11" y="130"/>
                      </a:lnTo>
                      <a:lnTo>
                        <a:pt x="7" y="136"/>
                      </a:lnTo>
                      <a:lnTo>
                        <a:pt x="3" y="146"/>
                      </a:lnTo>
                      <a:lnTo>
                        <a:pt x="0" y="155"/>
                      </a:lnTo>
                      <a:lnTo>
                        <a:pt x="0" y="164"/>
                      </a:lnTo>
                      <a:lnTo>
                        <a:pt x="0" y="174"/>
                      </a:lnTo>
                      <a:lnTo>
                        <a:pt x="1" y="176"/>
                      </a:lnTo>
                      <a:lnTo>
                        <a:pt x="5" y="182"/>
                      </a:lnTo>
                      <a:lnTo>
                        <a:pt x="8" y="185"/>
                      </a:lnTo>
                      <a:lnTo>
                        <a:pt x="11" y="187"/>
                      </a:lnTo>
                      <a:lnTo>
                        <a:pt x="15" y="187"/>
                      </a:lnTo>
                      <a:lnTo>
                        <a:pt x="20" y="186"/>
                      </a:lnTo>
                      <a:lnTo>
                        <a:pt x="31" y="177"/>
                      </a:lnTo>
                      <a:lnTo>
                        <a:pt x="44" y="168"/>
                      </a:lnTo>
                      <a:lnTo>
                        <a:pt x="55" y="163"/>
                      </a:lnTo>
                      <a:lnTo>
                        <a:pt x="60" y="161"/>
                      </a:lnTo>
                      <a:lnTo>
                        <a:pt x="73" y="149"/>
                      </a:lnTo>
                      <a:lnTo>
                        <a:pt x="76" y="150"/>
                      </a:lnTo>
                      <a:lnTo>
                        <a:pt x="84" y="155"/>
                      </a:lnTo>
                      <a:lnTo>
                        <a:pt x="93" y="159"/>
                      </a:lnTo>
                      <a:lnTo>
                        <a:pt x="99" y="161"/>
                      </a:lnTo>
                      <a:lnTo>
                        <a:pt x="110" y="164"/>
                      </a:lnTo>
                      <a:lnTo>
                        <a:pt x="126" y="170"/>
                      </a:lnTo>
                      <a:lnTo>
                        <a:pt x="142" y="180"/>
                      </a:lnTo>
                      <a:lnTo>
                        <a:pt x="153" y="186"/>
                      </a:lnTo>
                      <a:lnTo>
                        <a:pt x="163" y="190"/>
                      </a:lnTo>
                      <a:lnTo>
                        <a:pt x="179" y="199"/>
                      </a:lnTo>
                      <a:lnTo>
                        <a:pt x="196" y="209"/>
                      </a:lnTo>
                      <a:lnTo>
                        <a:pt x="206" y="216"/>
                      </a:lnTo>
                      <a:lnTo>
                        <a:pt x="219" y="225"/>
                      </a:lnTo>
                      <a:lnTo>
                        <a:pt x="232" y="235"/>
                      </a:lnTo>
                      <a:lnTo>
                        <a:pt x="245" y="244"/>
                      </a:lnTo>
                      <a:lnTo>
                        <a:pt x="252" y="247"/>
                      </a:lnTo>
                      <a:lnTo>
                        <a:pt x="256" y="254"/>
                      </a:lnTo>
                      <a:lnTo>
                        <a:pt x="266" y="265"/>
                      </a:lnTo>
                      <a:lnTo>
                        <a:pt x="267" y="270"/>
                      </a:lnTo>
                      <a:lnTo>
                        <a:pt x="268" y="274"/>
                      </a:lnTo>
                      <a:lnTo>
                        <a:pt x="269" y="279"/>
                      </a:lnTo>
                      <a:lnTo>
                        <a:pt x="269" y="283"/>
                      </a:lnTo>
                      <a:lnTo>
                        <a:pt x="269" y="286"/>
                      </a:lnTo>
                      <a:lnTo>
                        <a:pt x="269" y="289"/>
                      </a:lnTo>
                      <a:lnTo>
                        <a:pt x="270" y="290"/>
                      </a:lnTo>
                      <a:lnTo>
                        <a:pt x="273" y="291"/>
                      </a:lnTo>
                      <a:lnTo>
                        <a:pt x="276" y="292"/>
                      </a:lnTo>
                      <a:lnTo>
                        <a:pt x="284" y="296"/>
                      </a:lnTo>
                      <a:lnTo>
                        <a:pt x="292" y="302"/>
                      </a:lnTo>
                      <a:lnTo>
                        <a:pt x="301" y="309"/>
                      </a:lnTo>
                      <a:lnTo>
                        <a:pt x="318" y="321"/>
                      </a:lnTo>
                      <a:lnTo>
                        <a:pt x="325" y="32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82" name="Freeform 34">
                  <a:extLst>
                    <a:ext uri="{FF2B5EF4-FFF2-40B4-BE49-F238E27FC236}">
                      <a16:creationId xmlns:a16="http://schemas.microsoft.com/office/drawing/2014/main" xmlns="" id="{509B0087-F33C-4911-8BAC-BF65716D6102}"/>
                    </a:ext>
                  </a:extLst>
                </p:cNvPr>
                <p:cNvSpPr>
                  <a:spLocks/>
                </p:cNvSpPr>
                <p:nvPr>
                  <p:custDataLst>
                    <p:tags r:id="rId29"/>
                  </p:custDataLst>
                </p:nvPr>
              </p:nvSpPr>
              <p:spPr bwMode="auto">
                <a:xfrm>
                  <a:off x="4384675" y="2101850"/>
                  <a:ext cx="125413" cy="57150"/>
                </a:xfrm>
                <a:custGeom>
                  <a:avLst/>
                  <a:gdLst>
                    <a:gd name="T0" fmla="*/ 2147483646 w 292"/>
                    <a:gd name="T1" fmla="*/ 0 h 99"/>
                    <a:gd name="T2" fmla="*/ 2147483646 w 292"/>
                    <a:gd name="T3" fmla="*/ 0 h 99"/>
                    <a:gd name="T4" fmla="*/ 2147483646 w 292"/>
                    <a:gd name="T5" fmla="*/ 2147483646 h 99"/>
                    <a:gd name="T6" fmla="*/ 2147483646 w 292"/>
                    <a:gd name="T7" fmla="*/ 2147483646 h 99"/>
                    <a:gd name="T8" fmla="*/ 2147483646 w 292"/>
                    <a:gd name="T9" fmla="*/ 2147483646 h 99"/>
                    <a:gd name="T10" fmla="*/ 2147483646 w 292"/>
                    <a:gd name="T11" fmla="*/ 2147483646 h 99"/>
                    <a:gd name="T12" fmla="*/ 2147483646 w 292"/>
                    <a:gd name="T13" fmla="*/ 2147483646 h 99"/>
                    <a:gd name="T14" fmla="*/ 2147483646 w 292"/>
                    <a:gd name="T15" fmla="*/ 2147483646 h 99"/>
                    <a:gd name="T16" fmla="*/ 2147483646 w 292"/>
                    <a:gd name="T17" fmla="*/ 2147483646 h 99"/>
                    <a:gd name="T18" fmla="*/ 2147483646 w 292"/>
                    <a:gd name="T19" fmla="*/ 2147483646 h 99"/>
                    <a:gd name="T20" fmla="*/ 2147483646 w 292"/>
                    <a:gd name="T21" fmla="*/ 2147483646 h 99"/>
                    <a:gd name="T22" fmla="*/ 2147483646 w 292"/>
                    <a:gd name="T23" fmla="*/ 2147483646 h 99"/>
                    <a:gd name="T24" fmla="*/ 2147483646 w 292"/>
                    <a:gd name="T25" fmla="*/ 2147483646 h 99"/>
                    <a:gd name="T26" fmla="*/ 2147483646 w 292"/>
                    <a:gd name="T27" fmla="*/ 2147483646 h 99"/>
                    <a:gd name="T28" fmla="*/ 2147483646 w 292"/>
                    <a:gd name="T29" fmla="*/ 2147483646 h 99"/>
                    <a:gd name="T30" fmla="*/ 2147483646 w 292"/>
                    <a:gd name="T31" fmla="*/ 2147483646 h 99"/>
                    <a:gd name="T32" fmla="*/ 2147483646 w 292"/>
                    <a:gd name="T33" fmla="*/ 2147483646 h 99"/>
                    <a:gd name="T34" fmla="*/ 2147483646 w 292"/>
                    <a:gd name="T35" fmla="*/ 2147483646 h 99"/>
                    <a:gd name="T36" fmla="*/ 0 w 292"/>
                    <a:gd name="T37" fmla="*/ 2147483646 h 99"/>
                    <a:gd name="T38" fmla="*/ 2147483646 w 292"/>
                    <a:gd name="T39" fmla="*/ 2147483646 h 99"/>
                    <a:gd name="T40" fmla="*/ 2147483646 w 292"/>
                    <a:gd name="T41" fmla="*/ 2147483646 h 99"/>
                    <a:gd name="T42" fmla="*/ 2147483646 w 292"/>
                    <a:gd name="T43" fmla="*/ 2147483646 h 99"/>
                    <a:gd name="T44" fmla="*/ 2147483646 w 292"/>
                    <a:gd name="T45" fmla="*/ 2147483646 h 99"/>
                    <a:gd name="T46" fmla="*/ 2147483646 w 292"/>
                    <a:gd name="T47" fmla="*/ 2147483646 h 99"/>
                    <a:gd name="T48" fmla="*/ 2147483646 w 292"/>
                    <a:gd name="T49" fmla="*/ 2147483646 h 99"/>
                    <a:gd name="T50" fmla="*/ 2147483646 w 292"/>
                    <a:gd name="T51" fmla="*/ 2147483646 h 99"/>
                    <a:gd name="T52" fmla="*/ 2147483646 w 292"/>
                    <a:gd name="T53" fmla="*/ 2147483646 h 99"/>
                    <a:gd name="T54" fmla="*/ 2147483646 w 292"/>
                    <a:gd name="T55" fmla="*/ 2147483646 h 99"/>
                    <a:gd name="T56" fmla="*/ 2147483646 w 292"/>
                    <a:gd name="T57" fmla="*/ 2147483646 h 99"/>
                    <a:gd name="T58" fmla="*/ 2147483646 w 292"/>
                    <a:gd name="T59" fmla="*/ 2147483646 h 99"/>
                    <a:gd name="T60" fmla="*/ 2147483646 w 292"/>
                    <a:gd name="T61" fmla="*/ 2147483646 h 99"/>
                    <a:gd name="T62" fmla="*/ 2147483646 w 292"/>
                    <a:gd name="T63" fmla="*/ 2147483646 h 99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92"/>
                    <a:gd name="T97" fmla="*/ 0 h 99"/>
                    <a:gd name="T98" fmla="*/ 292 w 292"/>
                    <a:gd name="T99" fmla="*/ 99 h 99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92" h="99">
                      <a:moveTo>
                        <a:pt x="113" y="0"/>
                      </a:moveTo>
                      <a:lnTo>
                        <a:pt x="126" y="0"/>
                      </a:lnTo>
                      <a:lnTo>
                        <a:pt x="138" y="0"/>
                      </a:lnTo>
                      <a:lnTo>
                        <a:pt x="153" y="0"/>
                      </a:lnTo>
                      <a:lnTo>
                        <a:pt x="172" y="0"/>
                      </a:lnTo>
                      <a:lnTo>
                        <a:pt x="198" y="1"/>
                      </a:lnTo>
                      <a:lnTo>
                        <a:pt x="224" y="3"/>
                      </a:lnTo>
                      <a:lnTo>
                        <a:pt x="250" y="6"/>
                      </a:lnTo>
                      <a:lnTo>
                        <a:pt x="279" y="7"/>
                      </a:lnTo>
                      <a:lnTo>
                        <a:pt x="292" y="7"/>
                      </a:lnTo>
                      <a:lnTo>
                        <a:pt x="292" y="14"/>
                      </a:lnTo>
                      <a:lnTo>
                        <a:pt x="290" y="20"/>
                      </a:lnTo>
                      <a:lnTo>
                        <a:pt x="288" y="27"/>
                      </a:lnTo>
                      <a:lnTo>
                        <a:pt x="285" y="33"/>
                      </a:lnTo>
                      <a:lnTo>
                        <a:pt x="281" y="45"/>
                      </a:lnTo>
                      <a:lnTo>
                        <a:pt x="279" y="55"/>
                      </a:lnTo>
                      <a:lnTo>
                        <a:pt x="153" y="62"/>
                      </a:lnTo>
                      <a:lnTo>
                        <a:pt x="135" y="70"/>
                      </a:lnTo>
                      <a:lnTo>
                        <a:pt x="111" y="83"/>
                      </a:lnTo>
                      <a:lnTo>
                        <a:pt x="99" y="89"/>
                      </a:lnTo>
                      <a:lnTo>
                        <a:pt x="86" y="94"/>
                      </a:lnTo>
                      <a:lnTo>
                        <a:pt x="79" y="96"/>
                      </a:lnTo>
                      <a:lnTo>
                        <a:pt x="72" y="97"/>
                      </a:lnTo>
                      <a:lnTo>
                        <a:pt x="66" y="98"/>
                      </a:lnTo>
                      <a:lnTo>
                        <a:pt x="60" y="99"/>
                      </a:lnTo>
                      <a:lnTo>
                        <a:pt x="55" y="98"/>
                      </a:lnTo>
                      <a:lnTo>
                        <a:pt x="51" y="97"/>
                      </a:lnTo>
                      <a:lnTo>
                        <a:pt x="45" y="94"/>
                      </a:lnTo>
                      <a:lnTo>
                        <a:pt x="41" y="92"/>
                      </a:lnTo>
                      <a:lnTo>
                        <a:pt x="33" y="86"/>
                      </a:lnTo>
                      <a:lnTo>
                        <a:pt x="26" y="80"/>
                      </a:lnTo>
                      <a:lnTo>
                        <a:pt x="20" y="77"/>
                      </a:lnTo>
                      <a:lnTo>
                        <a:pt x="11" y="72"/>
                      </a:lnTo>
                      <a:lnTo>
                        <a:pt x="7" y="69"/>
                      </a:lnTo>
                      <a:lnTo>
                        <a:pt x="3" y="64"/>
                      </a:lnTo>
                      <a:lnTo>
                        <a:pt x="1" y="57"/>
                      </a:lnTo>
                      <a:lnTo>
                        <a:pt x="0" y="49"/>
                      </a:lnTo>
                      <a:lnTo>
                        <a:pt x="0" y="42"/>
                      </a:lnTo>
                      <a:lnTo>
                        <a:pt x="0" y="28"/>
                      </a:lnTo>
                      <a:lnTo>
                        <a:pt x="1" y="25"/>
                      </a:lnTo>
                      <a:lnTo>
                        <a:pt x="2" y="22"/>
                      </a:lnTo>
                      <a:lnTo>
                        <a:pt x="3" y="20"/>
                      </a:lnTo>
                      <a:lnTo>
                        <a:pt x="5" y="18"/>
                      </a:lnTo>
                      <a:lnTo>
                        <a:pt x="9" y="18"/>
                      </a:lnTo>
                      <a:lnTo>
                        <a:pt x="11" y="19"/>
                      </a:lnTo>
                      <a:lnTo>
                        <a:pt x="15" y="21"/>
                      </a:lnTo>
                      <a:lnTo>
                        <a:pt x="20" y="25"/>
                      </a:lnTo>
                      <a:lnTo>
                        <a:pt x="25" y="28"/>
                      </a:lnTo>
                      <a:lnTo>
                        <a:pt x="30" y="30"/>
                      </a:lnTo>
                      <a:lnTo>
                        <a:pt x="35" y="32"/>
                      </a:lnTo>
                      <a:lnTo>
                        <a:pt x="40" y="33"/>
                      </a:lnTo>
                      <a:lnTo>
                        <a:pt x="45" y="34"/>
                      </a:lnTo>
                      <a:lnTo>
                        <a:pt x="49" y="34"/>
                      </a:lnTo>
                      <a:lnTo>
                        <a:pt x="54" y="33"/>
                      </a:lnTo>
                      <a:lnTo>
                        <a:pt x="58" y="32"/>
                      </a:lnTo>
                      <a:lnTo>
                        <a:pt x="67" y="29"/>
                      </a:lnTo>
                      <a:lnTo>
                        <a:pt x="75" y="25"/>
                      </a:lnTo>
                      <a:lnTo>
                        <a:pt x="81" y="19"/>
                      </a:lnTo>
                      <a:lnTo>
                        <a:pt x="87" y="13"/>
                      </a:lnTo>
                      <a:lnTo>
                        <a:pt x="88" y="11"/>
                      </a:lnTo>
                      <a:lnTo>
                        <a:pt x="91" y="8"/>
                      </a:lnTo>
                      <a:lnTo>
                        <a:pt x="94" y="6"/>
                      </a:lnTo>
                      <a:lnTo>
                        <a:pt x="100" y="3"/>
                      </a:lnTo>
                      <a:lnTo>
                        <a:pt x="109" y="1"/>
                      </a:lnTo>
                      <a:lnTo>
                        <a:pt x="11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83" name="Freeform 35">
                  <a:extLst>
                    <a:ext uri="{FF2B5EF4-FFF2-40B4-BE49-F238E27FC236}">
                      <a16:creationId xmlns:a16="http://schemas.microsoft.com/office/drawing/2014/main" xmlns="" id="{15870597-8918-4499-B116-2408438E942F}"/>
                    </a:ext>
                  </a:extLst>
                </p:cNvPr>
                <p:cNvSpPr>
                  <a:spLocks/>
                </p:cNvSpPr>
                <p:nvPr>
                  <p:custDataLst>
                    <p:tags r:id="rId30"/>
                  </p:custDataLst>
                </p:nvPr>
              </p:nvSpPr>
              <p:spPr bwMode="auto">
                <a:xfrm>
                  <a:off x="5248275" y="2822575"/>
                  <a:ext cx="19050" cy="57150"/>
                </a:xfrm>
                <a:custGeom>
                  <a:avLst/>
                  <a:gdLst>
                    <a:gd name="T0" fmla="*/ 2147483646 w 43"/>
                    <a:gd name="T1" fmla="*/ 2147483646 h 93"/>
                    <a:gd name="T2" fmla="*/ 2147483646 w 43"/>
                    <a:gd name="T3" fmla="*/ 2147483646 h 93"/>
                    <a:gd name="T4" fmla="*/ 2147483646 w 43"/>
                    <a:gd name="T5" fmla="*/ 2147483646 h 93"/>
                    <a:gd name="T6" fmla="*/ 2147483646 w 43"/>
                    <a:gd name="T7" fmla="*/ 2147483646 h 93"/>
                    <a:gd name="T8" fmla="*/ 2147483646 w 43"/>
                    <a:gd name="T9" fmla="*/ 2147483646 h 93"/>
                    <a:gd name="T10" fmla="*/ 2147483646 w 43"/>
                    <a:gd name="T11" fmla="*/ 2147483646 h 93"/>
                    <a:gd name="T12" fmla="*/ 2147483646 w 43"/>
                    <a:gd name="T13" fmla="*/ 2147483646 h 93"/>
                    <a:gd name="T14" fmla="*/ 2147483646 w 43"/>
                    <a:gd name="T15" fmla="*/ 2147483646 h 93"/>
                    <a:gd name="T16" fmla="*/ 2147483646 w 43"/>
                    <a:gd name="T17" fmla="*/ 2147483646 h 93"/>
                    <a:gd name="T18" fmla="*/ 2147483646 w 43"/>
                    <a:gd name="T19" fmla="*/ 2147483646 h 93"/>
                    <a:gd name="T20" fmla="*/ 2147483646 w 43"/>
                    <a:gd name="T21" fmla="*/ 2147483646 h 93"/>
                    <a:gd name="T22" fmla="*/ 2147483646 w 43"/>
                    <a:gd name="T23" fmla="*/ 2147483646 h 93"/>
                    <a:gd name="T24" fmla="*/ 2147483646 w 43"/>
                    <a:gd name="T25" fmla="*/ 2147483646 h 93"/>
                    <a:gd name="T26" fmla="*/ 2147483646 w 43"/>
                    <a:gd name="T27" fmla="*/ 2147483646 h 93"/>
                    <a:gd name="T28" fmla="*/ 0 w 43"/>
                    <a:gd name="T29" fmla="*/ 2147483646 h 93"/>
                    <a:gd name="T30" fmla="*/ 2147483646 w 43"/>
                    <a:gd name="T31" fmla="*/ 2147483646 h 93"/>
                    <a:gd name="T32" fmla="*/ 2147483646 w 43"/>
                    <a:gd name="T33" fmla="*/ 2147483646 h 93"/>
                    <a:gd name="T34" fmla="*/ 2147483646 w 43"/>
                    <a:gd name="T35" fmla="*/ 2147483646 h 93"/>
                    <a:gd name="T36" fmla="*/ 2147483646 w 43"/>
                    <a:gd name="T37" fmla="*/ 2147483646 h 93"/>
                    <a:gd name="T38" fmla="*/ 2147483646 w 43"/>
                    <a:gd name="T39" fmla="*/ 2147483646 h 93"/>
                    <a:gd name="T40" fmla="*/ 2147483646 w 43"/>
                    <a:gd name="T41" fmla="*/ 2147483646 h 93"/>
                    <a:gd name="T42" fmla="*/ 2147483646 w 43"/>
                    <a:gd name="T43" fmla="*/ 2147483646 h 93"/>
                    <a:gd name="T44" fmla="*/ 2147483646 w 43"/>
                    <a:gd name="T45" fmla="*/ 2147483646 h 93"/>
                    <a:gd name="T46" fmla="*/ 2147483646 w 43"/>
                    <a:gd name="T47" fmla="*/ 2147483646 h 93"/>
                    <a:gd name="T48" fmla="*/ 2147483646 w 43"/>
                    <a:gd name="T49" fmla="*/ 2147483646 h 93"/>
                    <a:gd name="T50" fmla="*/ 2147483646 w 43"/>
                    <a:gd name="T51" fmla="*/ 2147483646 h 93"/>
                    <a:gd name="T52" fmla="*/ 2147483646 w 43"/>
                    <a:gd name="T53" fmla="*/ 2147483646 h 93"/>
                    <a:gd name="T54" fmla="*/ 2147483646 w 43"/>
                    <a:gd name="T55" fmla="*/ 0 h 93"/>
                    <a:gd name="T56" fmla="*/ 2147483646 w 43"/>
                    <a:gd name="T57" fmla="*/ 0 h 93"/>
                    <a:gd name="T58" fmla="*/ 2147483646 w 43"/>
                    <a:gd name="T59" fmla="*/ 2147483646 h 93"/>
                    <a:gd name="T60" fmla="*/ 2147483646 w 43"/>
                    <a:gd name="T61" fmla="*/ 2147483646 h 93"/>
                    <a:gd name="T62" fmla="*/ 2147483646 w 43"/>
                    <a:gd name="T63" fmla="*/ 2147483646 h 93"/>
                    <a:gd name="T64" fmla="*/ 2147483646 w 43"/>
                    <a:gd name="T65" fmla="*/ 2147483646 h 93"/>
                    <a:gd name="T66" fmla="*/ 2147483646 w 43"/>
                    <a:gd name="T67" fmla="*/ 2147483646 h 93"/>
                    <a:gd name="T68" fmla="*/ 2147483646 w 43"/>
                    <a:gd name="T69" fmla="*/ 2147483646 h 93"/>
                    <a:gd name="T70" fmla="*/ 2147483646 w 43"/>
                    <a:gd name="T71" fmla="*/ 2147483646 h 93"/>
                    <a:gd name="T72" fmla="*/ 2147483646 w 43"/>
                    <a:gd name="T73" fmla="*/ 2147483646 h 93"/>
                    <a:gd name="T74" fmla="*/ 2147483646 w 43"/>
                    <a:gd name="T75" fmla="*/ 2147483646 h 93"/>
                    <a:gd name="T76" fmla="*/ 2147483646 w 43"/>
                    <a:gd name="T77" fmla="*/ 2147483646 h 93"/>
                    <a:gd name="T78" fmla="*/ 2147483646 w 43"/>
                    <a:gd name="T79" fmla="*/ 2147483646 h 93"/>
                    <a:gd name="T80" fmla="*/ 2147483646 w 43"/>
                    <a:gd name="T81" fmla="*/ 2147483646 h 93"/>
                    <a:gd name="T82" fmla="*/ 2147483646 w 43"/>
                    <a:gd name="T83" fmla="*/ 2147483646 h 93"/>
                    <a:gd name="T84" fmla="*/ 2147483646 w 43"/>
                    <a:gd name="T85" fmla="*/ 2147483646 h 93"/>
                    <a:gd name="T86" fmla="*/ 2147483646 w 43"/>
                    <a:gd name="T87" fmla="*/ 2147483646 h 93"/>
                    <a:gd name="T88" fmla="*/ 2147483646 w 43"/>
                    <a:gd name="T89" fmla="*/ 2147483646 h 93"/>
                    <a:gd name="T90" fmla="*/ 2147483646 w 43"/>
                    <a:gd name="T91" fmla="*/ 2147483646 h 93"/>
                    <a:gd name="T92" fmla="*/ 2147483646 w 43"/>
                    <a:gd name="T93" fmla="*/ 2147483646 h 93"/>
                    <a:gd name="T94" fmla="*/ 2147483646 w 43"/>
                    <a:gd name="T95" fmla="*/ 2147483646 h 93"/>
                    <a:gd name="T96" fmla="*/ 2147483646 w 43"/>
                    <a:gd name="T97" fmla="*/ 2147483646 h 93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43"/>
                    <a:gd name="T148" fmla="*/ 0 h 93"/>
                    <a:gd name="T149" fmla="*/ 43 w 43"/>
                    <a:gd name="T150" fmla="*/ 93 h 93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43" h="93">
                      <a:moveTo>
                        <a:pt x="39" y="93"/>
                      </a:moveTo>
                      <a:lnTo>
                        <a:pt x="31" y="91"/>
                      </a:lnTo>
                      <a:lnTo>
                        <a:pt x="26" y="89"/>
                      </a:lnTo>
                      <a:lnTo>
                        <a:pt x="21" y="87"/>
                      </a:lnTo>
                      <a:lnTo>
                        <a:pt x="18" y="84"/>
                      </a:lnTo>
                      <a:lnTo>
                        <a:pt x="15" y="79"/>
                      </a:lnTo>
                      <a:lnTo>
                        <a:pt x="14" y="73"/>
                      </a:lnTo>
                      <a:lnTo>
                        <a:pt x="13" y="65"/>
                      </a:lnTo>
                      <a:lnTo>
                        <a:pt x="11" y="55"/>
                      </a:lnTo>
                      <a:lnTo>
                        <a:pt x="11" y="48"/>
                      </a:lnTo>
                      <a:lnTo>
                        <a:pt x="9" y="42"/>
                      </a:lnTo>
                      <a:lnTo>
                        <a:pt x="6" y="38"/>
                      </a:lnTo>
                      <a:lnTo>
                        <a:pt x="4" y="36"/>
                      </a:lnTo>
                      <a:lnTo>
                        <a:pt x="2" y="34"/>
                      </a:lnTo>
                      <a:lnTo>
                        <a:pt x="0" y="32"/>
                      </a:lnTo>
                      <a:lnTo>
                        <a:pt x="2" y="29"/>
                      </a:lnTo>
                      <a:lnTo>
                        <a:pt x="5" y="24"/>
                      </a:lnTo>
                      <a:lnTo>
                        <a:pt x="6" y="28"/>
                      </a:lnTo>
                      <a:lnTo>
                        <a:pt x="7" y="29"/>
                      </a:lnTo>
                      <a:lnTo>
                        <a:pt x="8" y="30"/>
                      </a:lnTo>
                      <a:lnTo>
                        <a:pt x="9" y="29"/>
                      </a:lnTo>
                      <a:lnTo>
                        <a:pt x="11" y="25"/>
                      </a:lnTo>
                      <a:lnTo>
                        <a:pt x="14" y="19"/>
                      </a:lnTo>
                      <a:lnTo>
                        <a:pt x="16" y="12"/>
                      </a:lnTo>
                      <a:lnTo>
                        <a:pt x="20" y="6"/>
                      </a:lnTo>
                      <a:lnTo>
                        <a:pt x="22" y="4"/>
                      </a:lnTo>
                      <a:lnTo>
                        <a:pt x="25" y="2"/>
                      </a:lnTo>
                      <a:lnTo>
                        <a:pt x="28" y="0"/>
                      </a:lnTo>
                      <a:lnTo>
                        <a:pt x="32" y="0"/>
                      </a:lnTo>
                      <a:lnTo>
                        <a:pt x="33" y="10"/>
                      </a:lnTo>
                      <a:lnTo>
                        <a:pt x="33" y="16"/>
                      </a:lnTo>
                      <a:lnTo>
                        <a:pt x="33" y="20"/>
                      </a:lnTo>
                      <a:lnTo>
                        <a:pt x="32" y="23"/>
                      </a:lnTo>
                      <a:lnTo>
                        <a:pt x="32" y="27"/>
                      </a:lnTo>
                      <a:lnTo>
                        <a:pt x="32" y="31"/>
                      </a:lnTo>
                      <a:lnTo>
                        <a:pt x="35" y="36"/>
                      </a:lnTo>
                      <a:lnTo>
                        <a:pt x="39" y="43"/>
                      </a:lnTo>
                      <a:lnTo>
                        <a:pt x="38" y="44"/>
                      </a:lnTo>
                      <a:lnTo>
                        <a:pt x="37" y="45"/>
                      </a:lnTo>
                      <a:lnTo>
                        <a:pt x="37" y="48"/>
                      </a:lnTo>
                      <a:lnTo>
                        <a:pt x="38" y="51"/>
                      </a:lnTo>
                      <a:lnTo>
                        <a:pt x="39" y="59"/>
                      </a:lnTo>
                      <a:lnTo>
                        <a:pt x="41" y="68"/>
                      </a:lnTo>
                      <a:lnTo>
                        <a:pt x="42" y="76"/>
                      </a:lnTo>
                      <a:lnTo>
                        <a:pt x="43" y="85"/>
                      </a:lnTo>
                      <a:lnTo>
                        <a:pt x="43" y="88"/>
                      </a:lnTo>
                      <a:lnTo>
                        <a:pt x="42" y="91"/>
                      </a:lnTo>
                      <a:lnTo>
                        <a:pt x="40" y="92"/>
                      </a:lnTo>
                      <a:lnTo>
                        <a:pt x="39" y="9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84" name="Freeform 36">
                  <a:extLst>
                    <a:ext uri="{FF2B5EF4-FFF2-40B4-BE49-F238E27FC236}">
                      <a16:creationId xmlns:a16="http://schemas.microsoft.com/office/drawing/2014/main" xmlns="" id="{3E18E099-7A51-4E41-BD28-103703EC0902}"/>
                    </a:ext>
                  </a:extLst>
                </p:cNvPr>
                <p:cNvSpPr>
                  <a:spLocks/>
                </p:cNvSpPr>
                <p:nvPr>
                  <p:custDataLst>
                    <p:tags r:id="rId31"/>
                  </p:custDataLst>
                </p:nvPr>
              </p:nvSpPr>
              <p:spPr bwMode="auto">
                <a:xfrm>
                  <a:off x="5367338" y="2827338"/>
                  <a:ext cx="14287" cy="57150"/>
                </a:xfrm>
                <a:custGeom>
                  <a:avLst/>
                  <a:gdLst>
                    <a:gd name="T0" fmla="*/ 2147483646 w 40"/>
                    <a:gd name="T1" fmla="*/ 2147483646 h 56"/>
                    <a:gd name="T2" fmla="*/ 2147483646 w 40"/>
                    <a:gd name="T3" fmla="*/ 2147483646 h 56"/>
                    <a:gd name="T4" fmla="*/ 2147483646 w 40"/>
                    <a:gd name="T5" fmla="*/ 2147483646 h 56"/>
                    <a:gd name="T6" fmla="*/ 2147483646 w 40"/>
                    <a:gd name="T7" fmla="*/ 2147483646 h 56"/>
                    <a:gd name="T8" fmla="*/ 2147483646 w 40"/>
                    <a:gd name="T9" fmla="*/ 2147483646 h 56"/>
                    <a:gd name="T10" fmla="*/ 2147483646 w 40"/>
                    <a:gd name="T11" fmla="*/ 2147483646 h 56"/>
                    <a:gd name="T12" fmla="*/ 0 w 40"/>
                    <a:gd name="T13" fmla="*/ 2147483646 h 56"/>
                    <a:gd name="T14" fmla="*/ 2147483646 w 40"/>
                    <a:gd name="T15" fmla="*/ 2147483646 h 56"/>
                    <a:gd name="T16" fmla="*/ 2147483646 w 40"/>
                    <a:gd name="T17" fmla="*/ 0 h 56"/>
                    <a:gd name="T18" fmla="*/ 2147483646 w 40"/>
                    <a:gd name="T19" fmla="*/ 2147483646 h 56"/>
                    <a:gd name="T20" fmla="*/ 2147483646 w 40"/>
                    <a:gd name="T21" fmla="*/ 2147483646 h 56"/>
                    <a:gd name="T22" fmla="*/ 2147483646 w 40"/>
                    <a:gd name="T23" fmla="*/ 2147483646 h 56"/>
                    <a:gd name="T24" fmla="*/ 2147483646 w 40"/>
                    <a:gd name="T25" fmla="*/ 2147483646 h 56"/>
                    <a:gd name="T26" fmla="*/ 2147483646 w 40"/>
                    <a:gd name="T27" fmla="*/ 2147483646 h 56"/>
                    <a:gd name="T28" fmla="*/ 2147483646 w 40"/>
                    <a:gd name="T29" fmla="*/ 2147483646 h 56"/>
                    <a:gd name="T30" fmla="*/ 2147483646 w 40"/>
                    <a:gd name="T31" fmla="*/ 2147483646 h 56"/>
                    <a:gd name="T32" fmla="*/ 2147483646 w 40"/>
                    <a:gd name="T33" fmla="*/ 2147483646 h 56"/>
                    <a:gd name="T34" fmla="*/ 2147483646 w 40"/>
                    <a:gd name="T35" fmla="*/ 2147483646 h 56"/>
                    <a:gd name="T36" fmla="*/ 2147483646 w 40"/>
                    <a:gd name="T37" fmla="*/ 2147483646 h 5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40"/>
                    <a:gd name="T58" fmla="*/ 0 h 56"/>
                    <a:gd name="T59" fmla="*/ 40 w 40"/>
                    <a:gd name="T60" fmla="*/ 56 h 5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40" h="56">
                      <a:moveTo>
                        <a:pt x="40" y="56"/>
                      </a:moveTo>
                      <a:lnTo>
                        <a:pt x="37" y="46"/>
                      </a:lnTo>
                      <a:lnTo>
                        <a:pt x="33" y="38"/>
                      </a:lnTo>
                      <a:lnTo>
                        <a:pt x="28" y="32"/>
                      </a:lnTo>
                      <a:lnTo>
                        <a:pt x="23" y="28"/>
                      </a:lnTo>
                      <a:lnTo>
                        <a:pt x="11" y="21"/>
                      </a:lnTo>
                      <a:lnTo>
                        <a:pt x="0" y="12"/>
                      </a:lnTo>
                      <a:lnTo>
                        <a:pt x="13" y="4"/>
                      </a:lnTo>
                      <a:lnTo>
                        <a:pt x="20" y="0"/>
                      </a:lnTo>
                      <a:lnTo>
                        <a:pt x="28" y="12"/>
                      </a:lnTo>
                      <a:lnTo>
                        <a:pt x="35" y="22"/>
                      </a:lnTo>
                      <a:lnTo>
                        <a:pt x="37" y="25"/>
                      </a:lnTo>
                      <a:lnTo>
                        <a:pt x="39" y="29"/>
                      </a:lnTo>
                      <a:lnTo>
                        <a:pt x="39" y="33"/>
                      </a:lnTo>
                      <a:lnTo>
                        <a:pt x="40" y="37"/>
                      </a:lnTo>
                      <a:lnTo>
                        <a:pt x="40" y="44"/>
                      </a:lnTo>
                      <a:lnTo>
                        <a:pt x="40" y="46"/>
                      </a:lnTo>
                      <a:lnTo>
                        <a:pt x="40" y="49"/>
                      </a:lnTo>
                      <a:lnTo>
                        <a:pt x="40" y="5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85" name="Freeform 37">
                  <a:extLst>
                    <a:ext uri="{FF2B5EF4-FFF2-40B4-BE49-F238E27FC236}">
                      <a16:creationId xmlns:a16="http://schemas.microsoft.com/office/drawing/2014/main" xmlns="" id="{7D661F5E-FE8C-44A1-9F80-BB5E7833D138}"/>
                    </a:ext>
                  </a:extLst>
                </p:cNvPr>
                <p:cNvSpPr>
                  <a:spLocks/>
                </p:cNvSpPr>
                <p:nvPr>
                  <p:custDataLst>
                    <p:tags r:id="rId32"/>
                  </p:custDataLst>
                </p:nvPr>
              </p:nvSpPr>
              <p:spPr bwMode="auto">
                <a:xfrm>
                  <a:off x="6854825" y="3487738"/>
                  <a:ext cx="44450" cy="57150"/>
                </a:xfrm>
                <a:custGeom>
                  <a:avLst/>
                  <a:gdLst>
                    <a:gd name="T0" fmla="*/ 0 w 106"/>
                    <a:gd name="T1" fmla="*/ 2147483646 h 71"/>
                    <a:gd name="T2" fmla="*/ 2147483646 w 106"/>
                    <a:gd name="T3" fmla="*/ 2147483646 h 71"/>
                    <a:gd name="T4" fmla="*/ 2147483646 w 106"/>
                    <a:gd name="T5" fmla="*/ 2147483646 h 71"/>
                    <a:gd name="T6" fmla="*/ 2147483646 w 106"/>
                    <a:gd name="T7" fmla="*/ 2147483646 h 71"/>
                    <a:gd name="T8" fmla="*/ 2147483646 w 106"/>
                    <a:gd name="T9" fmla="*/ 2147483646 h 71"/>
                    <a:gd name="T10" fmla="*/ 2147483646 w 106"/>
                    <a:gd name="T11" fmla="*/ 2147483646 h 71"/>
                    <a:gd name="T12" fmla="*/ 2147483646 w 106"/>
                    <a:gd name="T13" fmla="*/ 2147483646 h 71"/>
                    <a:gd name="T14" fmla="*/ 2147483646 w 106"/>
                    <a:gd name="T15" fmla="*/ 2147483646 h 71"/>
                    <a:gd name="T16" fmla="*/ 2147483646 w 106"/>
                    <a:gd name="T17" fmla="*/ 0 h 71"/>
                    <a:gd name="T18" fmla="*/ 2147483646 w 106"/>
                    <a:gd name="T19" fmla="*/ 2147483646 h 71"/>
                    <a:gd name="T20" fmla="*/ 2147483646 w 106"/>
                    <a:gd name="T21" fmla="*/ 2147483646 h 71"/>
                    <a:gd name="T22" fmla="*/ 2147483646 w 106"/>
                    <a:gd name="T23" fmla="*/ 2147483646 h 71"/>
                    <a:gd name="T24" fmla="*/ 2147483646 w 106"/>
                    <a:gd name="T25" fmla="*/ 2147483646 h 71"/>
                    <a:gd name="T26" fmla="*/ 2147483646 w 106"/>
                    <a:gd name="T27" fmla="*/ 2147483646 h 71"/>
                    <a:gd name="T28" fmla="*/ 2147483646 w 106"/>
                    <a:gd name="T29" fmla="*/ 2147483646 h 71"/>
                    <a:gd name="T30" fmla="*/ 2147483646 w 106"/>
                    <a:gd name="T31" fmla="*/ 2147483646 h 71"/>
                    <a:gd name="T32" fmla="*/ 2147483646 w 106"/>
                    <a:gd name="T33" fmla="*/ 2147483646 h 71"/>
                    <a:gd name="T34" fmla="*/ 2147483646 w 106"/>
                    <a:gd name="T35" fmla="*/ 2147483646 h 71"/>
                    <a:gd name="T36" fmla="*/ 2147483646 w 106"/>
                    <a:gd name="T37" fmla="*/ 2147483646 h 71"/>
                    <a:gd name="T38" fmla="*/ 2147483646 w 106"/>
                    <a:gd name="T39" fmla="*/ 2147483646 h 71"/>
                    <a:gd name="T40" fmla="*/ 2147483646 w 106"/>
                    <a:gd name="T41" fmla="*/ 2147483646 h 71"/>
                    <a:gd name="T42" fmla="*/ 2147483646 w 106"/>
                    <a:gd name="T43" fmla="*/ 2147483646 h 71"/>
                    <a:gd name="T44" fmla="*/ 2147483646 w 106"/>
                    <a:gd name="T45" fmla="*/ 2147483646 h 71"/>
                    <a:gd name="T46" fmla="*/ 2147483646 w 106"/>
                    <a:gd name="T47" fmla="*/ 2147483646 h 71"/>
                    <a:gd name="T48" fmla="*/ 2147483646 w 106"/>
                    <a:gd name="T49" fmla="*/ 2147483646 h 71"/>
                    <a:gd name="T50" fmla="*/ 2147483646 w 106"/>
                    <a:gd name="T51" fmla="*/ 2147483646 h 71"/>
                    <a:gd name="T52" fmla="*/ 2147483646 w 106"/>
                    <a:gd name="T53" fmla="*/ 2147483646 h 71"/>
                    <a:gd name="T54" fmla="*/ 2147483646 w 106"/>
                    <a:gd name="T55" fmla="*/ 2147483646 h 71"/>
                    <a:gd name="T56" fmla="*/ 2147483646 w 106"/>
                    <a:gd name="T57" fmla="*/ 2147483646 h 71"/>
                    <a:gd name="T58" fmla="*/ 2147483646 w 106"/>
                    <a:gd name="T59" fmla="*/ 2147483646 h 71"/>
                    <a:gd name="T60" fmla="*/ 2147483646 w 106"/>
                    <a:gd name="T61" fmla="*/ 2147483646 h 71"/>
                    <a:gd name="T62" fmla="*/ 2147483646 w 106"/>
                    <a:gd name="T63" fmla="*/ 2147483646 h 71"/>
                    <a:gd name="T64" fmla="*/ 2147483646 w 106"/>
                    <a:gd name="T65" fmla="*/ 2147483646 h 71"/>
                    <a:gd name="T66" fmla="*/ 2147483646 w 106"/>
                    <a:gd name="T67" fmla="*/ 2147483646 h 71"/>
                    <a:gd name="T68" fmla="*/ 2147483646 w 106"/>
                    <a:gd name="T69" fmla="*/ 2147483646 h 71"/>
                    <a:gd name="T70" fmla="*/ 2147483646 w 106"/>
                    <a:gd name="T71" fmla="*/ 2147483646 h 71"/>
                    <a:gd name="T72" fmla="*/ 2147483646 w 106"/>
                    <a:gd name="T73" fmla="*/ 2147483646 h 71"/>
                    <a:gd name="T74" fmla="*/ 2147483646 w 106"/>
                    <a:gd name="T75" fmla="*/ 2147483646 h 71"/>
                    <a:gd name="T76" fmla="*/ 2147483646 w 106"/>
                    <a:gd name="T77" fmla="*/ 2147483646 h 71"/>
                    <a:gd name="T78" fmla="*/ 2147483646 w 106"/>
                    <a:gd name="T79" fmla="*/ 2147483646 h 71"/>
                    <a:gd name="T80" fmla="*/ 2147483646 w 106"/>
                    <a:gd name="T81" fmla="*/ 2147483646 h 71"/>
                    <a:gd name="T82" fmla="*/ 2147483646 w 106"/>
                    <a:gd name="T83" fmla="*/ 2147483646 h 71"/>
                    <a:gd name="T84" fmla="*/ 2147483646 w 106"/>
                    <a:gd name="T85" fmla="*/ 2147483646 h 71"/>
                    <a:gd name="T86" fmla="*/ 2147483646 w 106"/>
                    <a:gd name="T87" fmla="*/ 2147483646 h 71"/>
                    <a:gd name="T88" fmla="*/ 2147483646 w 106"/>
                    <a:gd name="T89" fmla="*/ 2147483646 h 71"/>
                    <a:gd name="T90" fmla="*/ 0 w 106"/>
                    <a:gd name="T91" fmla="*/ 2147483646 h 7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06"/>
                    <a:gd name="T139" fmla="*/ 0 h 71"/>
                    <a:gd name="T140" fmla="*/ 106 w 106"/>
                    <a:gd name="T141" fmla="*/ 71 h 7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06" h="71">
                      <a:moveTo>
                        <a:pt x="0" y="7"/>
                      </a:moveTo>
                      <a:lnTo>
                        <a:pt x="12" y="10"/>
                      </a:lnTo>
                      <a:lnTo>
                        <a:pt x="24" y="12"/>
                      </a:lnTo>
                      <a:lnTo>
                        <a:pt x="35" y="13"/>
                      </a:lnTo>
                      <a:lnTo>
                        <a:pt x="45" y="13"/>
                      </a:lnTo>
                      <a:lnTo>
                        <a:pt x="54" y="11"/>
                      </a:lnTo>
                      <a:lnTo>
                        <a:pt x="61" y="8"/>
                      </a:lnTo>
                      <a:lnTo>
                        <a:pt x="68" y="5"/>
                      </a:lnTo>
                      <a:lnTo>
                        <a:pt x="74" y="0"/>
                      </a:lnTo>
                      <a:lnTo>
                        <a:pt x="84" y="16"/>
                      </a:lnTo>
                      <a:lnTo>
                        <a:pt x="94" y="30"/>
                      </a:lnTo>
                      <a:lnTo>
                        <a:pt x="101" y="44"/>
                      </a:lnTo>
                      <a:lnTo>
                        <a:pt x="105" y="55"/>
                      </a:lnTo>
                      <a:lnTo>
                        <a:pt x="106" y="60"/>
                      </a:lnTo>
                      <a:lnTo>
                        <a:pt x="106" y="63"/>
                      </a:lnTo>
                      <a:lnTo>
                        <a:pt x="105" y="67"/>
                      </a:lnTo>
                      <a:lnTo>
                        <a:pt x="103" y="69"/>
                      </a:lnTo>
                      <a:lnTo>
                        <a:pt x="101" y="70"/>
                      </a:lnTo>
                      <a:lnTo>
                        <a:pt x="98" y="70"/>
                      </a:lnTo>
                      <a:lnTo>
                        <a:pt x="92" y="70"/>
                      </a:lnTo>
                      <a:lnTo>
                        <a:pt x="87" y="68"/>
                      </a:lnTo>
                      <a:lnTo>
                        <a:pt x="74" y="70"/>
                      </a:lnTo>
                      <a:lnTo>
                        <a:pt x="63" y="71"/>
                      </a:lnTo>
                      <a:lnTo>
                        <a:pt x="53" y="69"/>
                      </a:lnTo>
                      <a:lnTo>
                        <a:pt x="45" y="66"/>
                      </a:lnTo>
                      <a:lnTo>
                        <a:pt x="37" y="62"/>
                      </a:lnTo>
                      <a:lnTo>
                        <a:pt x="32" y="57"/>
                      </a:lnTo>
                      <a:lnTo>
                        <a:pt x="27" y="51"/>
                      </a:lnTo>
                      <a:lnTo>
                        <a:pt x="24" y="45"/>
                      </a:lnTo>
                      <a:lnTo>
                        <a:pt x="21" y="38"/>
                      </a:lnTo>
                      <a:lnTo>
                        <a:pt x="20" y="30"/>
                      </a:lnTo>
                      <a:lnTo>
                        <a:pt x="19" y="24"/>
                      </a:lnTo>
                      <a:lnTo>
                        <a:pt x="18" y="19"/>
                      </a:lnTo>
                      <a:lnTo>
                        <a:pt x="18" y="14"/>
                      </a:lnTo>
                      <a:lnTo>
                        <a:pt x="19" y="10"/>
                      </a:lnTo>
                      <a:lnTo>
                        <a:pt x="20" y="7"/>
                      </a:lnTo>
                      <a:lnTo>
                        <a:pt x="21" y="7"/>
                      </a:lnTo>
                      <a:lnTo>
                        <a:pt x="20" y="10"/>
                      </a:lnTo>
                      <a:lnTo>
                        <a:pt x="19" y="16"/>
                      </a:lnTo>
                      <a:lnTo>
                        <a:pt x="19" y="17"/>
                      </a:lnTo>
                      <a:lnTo>
                        <a:pt x="20" y="17"/>
                      </a:lnTo>
                      <a:lnTo>
                        <a:pt x="21" y="17"/>
                      </a:lnTo>
                      <a:lnTo>
                        <a:pt x="23" y="13"/>
                      </a:lnTo>
                      <a:lnTo>
                        <a:pt x="27" y="7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86" name="Group 38">
                  <a:extLst>
                    <a:ext uri="{FF2B5EF4-FFF2-40B4-BE49-F238E27FC236}">
                      <a16:creationId xmlns:a16="http://schemas.microsoft.com/office/drawing/2014/main" xmlns="" id="{36BB1868-D435-4920-8BC1-F926E42DE602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33"/>
                  </p:custDataLst>
                </p:nvPr>
              </p:nvGrpSpPr>
              <p:grpSpPr bwMode="auto">
                <a:xfrm>
                  <a:off x="2706688" y="5295900"/>
                  <a:ext cx="65087" cy="55563"/>
                  <a:chOff x="1654" y="3671"/>
                  <a:chExt cx="49" cy="17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597" name="Freeform 39">
                    <a:extLst>
                      <a:ext uri="{FF2B5EF4-FFF2-40B4-BE49-F238E27FC236}">
                        <a16:creationId xmlns:a16="http://schemas.microsoft.com/office/drawing/2014/main" xmlns="" id="{934C59EA-A654-4F0C-806B-38E75C26FDD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54" y="3672"/>
                    <a:ext cx="20" cy="14"/>
                  </a:xfrm>
                  <a:custGeom>
                    <a:avLst/>
                    <a:gdLst>
                      <a:gd name="T0" fmla="*/ 0 w 59"/>
                      <a:gd name="T1" fmla="*/ 0 h 43"/>
                      <a:gd name="T2" fmla="*/ 0 w 59"/>
                      <a:gd name="T3" fmla="*/ 0 h 43"/>
                      <a:gd name="T4" fmla="*/ 0 w 59"/>
                      <a:gd name="T5" fmla="*/ 0 h 43"/>
                      <a:gd name="T6" fmla="*/ 0 w 59"/>
                      <a:gd name="T7" fmla="*/ 0 h 43"/>
                      <a:gd name="T8" fmla="*/ 0 w 59"/>
                      <a:gd name="T9" fmla="*/ 0 h 43"/>
                      <a:gd name="T10" fmla="*/ 0 w 59"/>
                      <a:gd name="T11" fmla="*/ 0 h 43"/>
                      <a:gd name="T12" fmla="*/ 0 w 59"/>
                      <a:gd name="T13" fmla="*/ 0 h 43"/>
                      <a:gd name="T14" fmla="*/ 0 w 59"/>
                      <a:gd name="T15" fmla="*/ 0 h 43"/>
                      <a:gd name="T16" fmla="*/ 0 w 59"/>
                      <a:gd name="T17" fmla="*/ 0 h 43"/>
                      <a:gd name="T18" fmla="*/ 0 w 59"/>
                      <a:gd name="T19" fmla="*/ 0 h 43"/>
                      <a:gd name="T20" fmla="*/ 0 w 59"/>
                      <a:gd name="T21" fmla="*/ 0 h 43"/>
                      <a:gd name="T22" fmla="*/ 0 w 59"/>
                      <a:gd name="T23" fmla="*/ 0 h 43"/>
                      <a:gd name="T24" fmla="*/ 0 w 59"/>
                      <a:gd name="T25" fmla="*/ 0 h 43"/>
                      <a:gd name="T26" fmla="*/ 0 w 59"/>
                      <a:gd name="T27" fmla="*/ 0 h 43"/>
                      <a:gd name="T28" fmla="*/ 0 w 59"/>
                      <a:gd name="T29" fmla="*/ 0 h 43"/>
                      <a:gd name="T30" fmla="*/ 0 w 59"/>
                      <a:gd name="T31" fmla="*/ 0 h 43"/>
                      <a:gd name="T32" fmla="*/ 0 w 59"/>
                      <a:gd name="T33" fmla="*/ 0 h 43"/>
                      <a:gd name="T34" fmla="*/ 0 w 59"/>
                      <a:gd name="T35" fmla="*/ 0 h 43"/>
                      <a:gd name="T36" fmla="*/ 0 w 59"/>
                      <a:gd name="T37" fmla="*/ 0 h 43"/>
                      <a:gd name="T38" fmla="*/ 0 w 59"/>
                      <a:gd name="T39" fmla="*/ 0 h 43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w 59"/>
                      <a:gd name="T61" fmla="*/ 0 h 43"/>
                      <a:gd name="T62" fmla="*/ 59 w 59"/>
                      <a:gd name="T63" fmla="*/ 43 h 43"/>
                    </a:gdLst>
                    <a:ahLst/>
                    <a:cxnLst>
                      <a:cxn ang="T40">
                        <a:pos x="T0" y="T1"/>
                      </a:cxn>
                      <a:cxn ang="T41">
                        <a:pos x="T2" y="T3"/>
                      </a:cxn>
                      <a:cxn ang="T42">
                        <a:pos x="T4" y="T5"/>
                      </a:cxn>
                      <a:cxn ang="T43">
                        <a:pos x="T6" y="T7"/>
                      </a:cxn>
                      <a:cxn ang="T44">
                        <a:pos x="T8" y="T9"/>
                      </a:cxn>
                      <a:cxn ang="T45">
                        <a:pos x="T10" y="T11"/>
                      </a:cxn>
                      <a:cxn ang="T46">
                        <a:pos x="T12" y="T13"/>
                      </a:cxn>
                      <a:cxn ang="T47">
                        <a:pos x="T14" y="T15"/>
                      </a:cxn>
                      <a:cxn ang="T48">
                        <a:pos x="T16" y="T17"/>
                      </a:cxn>
                      <a:cxn ang="T49">
                        <a:pos x="T18" y="T19"/>
                      </a:cxn>
                      <a:cxn ang="T50">
                        <a:pos x="T20" y="T21"/>
                      </a:cxn>
                      <a:cxn ang="T51">
                        <a:pos x="T22" y="T23"/>
                      </a:cxn>
                      <a:cxn ang="T52">
                        <a:pos x="T24" y="T25"/>
                      </a:cxn>
                      <a:cxn ang="T53">
                        <a:pos x="T26" y="T27"/>
                      </a:cxn>
                      <a:cxn ang="T54">
                        <a:pos x="T28" y="T29"/>
                      </a:cxn>
                      <a:cxn ang="T55">
                        <a:pos x="T30" y="T31"/>
                      </a:cxn>
                      <a:cxn ang="T56">
                        <a:pos x="T32" y="T33"/>
                      </a:cxn>
                      <a:cxn ang="T57">
                        <a:pos x="T34" y="T35"/>
                      </a:cxn>
                      <a:cxn ang="T58">
                        <a:pos x="T36" y="T37"/>
                      </a:cxn>
                      <a:cxn ang="T59">
                        <a:pos x="T38" y="T39"/>
                      </a:cxn>
                    </a:cxnLst>
                    <a:rect l="T60" t="T61" r="T62" b="T63"/>
                    <a:pathLst>
                      <a:path w="59" h="43">
                        <a:moveTo>
                          <a:pt x="26" y="43"/>
                        </a:moveTo>
                        <a:lnTo>
                          <a:pt x="59" y="18"/>
                        </a:lnTo>
                        <a:lnTo>
                          <a:pt x="55" y="14"/>
                        </a:lnTo>
                        <a:lnTo>
                          <a:pt x="51" y="9"/>
                        </a:lnTo>
                        <a:lnTo>
                          <a:pt x="47" y="5"/>
                        </a:lnTo>
                        <a:lnTo>
                          <a:pt x="46" y="0"/>
                        </a:lnTo>
                        <a:lnTo>
                          <a:pt x="41" y="1"/>
                        </a:lnTo>
                        <a:lnTo>
                          <a:pt x="34" y="4"/>
                        </a:lnTo>
                        <a:lnTo>
                          <a:pt x="31" y="6"/>
                        </a:lnTo>
                        <a:lnTo>
                          <a:pt x="29" y="8"/>
                        </a:lnTo>
                        <a:lnTo>
                          <a:pt x="26" y="10"/>
                        </a:lnTo>
                        <a:lnTo>
                          <a:pt x="26" y="12"/>
                        </a:lnTo>
                        <a:lnTo>
                          <a:pt x="20" y="13"/>
                        </a:lnTo>
                        <a:lnTo>
                          <a:pt x="13" y="16"/>
                        </a:lnTo>
                        <a:lnTo>
                          <a:pt x="6" y="20"/>
                        </a:lnTo>
                        <a:lnTo>
                          <a:pt x="0" y="24"/>
                        </a:lnTo>
                        <a:lnTo>
                          <a:pt x="5" y="29"/>
                        </a:lnTo>
                        <a:lnTo>
                          <a:pt x="10" y="34"/>
                        </a:lnTo>
                        <a:lnTo>
                          <a:pt x="18" y="39"/>
                        </a:lnTo>
                        <a:lnTo>
                          <a:pt x="26" y="43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98" name="Freeform 40">
                    <a:extLst>
                      <a:ext uri="{FF2B5EF4-FFF2-40B4-BE49-F238E27FC236}">
                        <a16:creationId xmlns:a16="http://schemas.microsoft.com/office/drawing/2014/main" xmlns="" id="{A1C2D6D0-205E-4E4E-8DDC-DEDD27B80E2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81" y="3671"/>
                    <a:ext cx="22" cy="17"/>
                  </a:xfrm>
                  <a:custGeom>
                    <a:avLst/>
                    <a:gdLst>
                      <a:gd name="T0" fmla="*/ 0 w 67"/>
                      <a:gd name="T1" fmla="*/ 0 h 51"/>
                      <a:gd name="T2" fmla="*/ 0 w 67"/>
                      <a:gd name="T3" fmla="*/ 0 h 51"/>
                      <a:gd name="T4" fmla="*/ 0 w 67"/>
                      <a:gd name="T5" fmla="*/ 0 h 51"/>
                      <a:gd name="T6" fmla="*/ 0 w 67"/>
                      <a:gd name="T7" fmla="*/ 0 h 51"/>
                      <a:gd name="T8" fmla="*/ 0 w 67"/>
                      <a:gd name="T9" fmla="*/ 0 h 51"/>
                      <a:gd name="T10" fmla="*/ 0 w 67"/>
                      <a:gd name="T11" fmla="*/ 0 h 51"/>
                      <a:gd name="T12" fmla="*/ 0 w 67"/>
                      <a:gd name="T13" fmla="*/ 0 h 51"/>
                      <a:gd name="T14" fmla="*/ 0 w 67"/>
                      <a:gd name="T15" fmla="*/ 0 h 51"/>
                      <a:gd name="T16" fmla="*/ 0 w 67"/>
                      <a:gd name="T17" fmla="*/ 0 h 51"/>
                      <a:gd name="T18" fmla="*/ 0 w 67"/>
                      <a:gd name="T19" fmla="*/ 0 h 51"/>
                      <a:gd name="T20" fmla="*/ 0 w 67"/>
                      <a:gd name="T21" fmla="*/ 0 h 51"/>
                      <a:gd name="T22" fmla="*/ 0 w 67"/>
                      <a:gd name="T23" fmla="*/ 0 h 51"/>
                      <a:gd name="T24" fmla="*/ 0 w 67"/>
                      <a:gd name="T25" fmla="*/ 0 h 51"/>
                      <a:gd name="T26" fmla="*/ 0 w 67"/>
                      <a:gd name="T27" fmla="*/ 0 h 51"/>
                      <a:gd name="T28" fmla="*/ 0 w 67"/>
                      <a:gd name="T29" fmla="*/ 0 h 51"/>
                      <a:gd name="T30" fmla="*/ 0 w 67"/>
                      <a:gd name="T31" fmla="*/ 0 h 51"/>
                      <a:gd name="T32" fmla="*/ 0 w 67"/>
                      <a:gd name="T33" fmla="*/ 0 h 51"/>
                      <a:gd name="T34" fmla="*/ 0 w 67"/>
                      <a:gd name="T35" fmla="*/ 0 h 51"/>
                      <a:gd name="T36" fmla="*/ 0 w 67"/>
                      <a:gd name="T37" fmla="*/ 0 h 51"/>
                      <a:gd name="T38" fmla="*/ 0 w 67"/>
                      <a:gd name="T39" fmla="*/ 0 h 51"/>
                      <a:gd name="T40" fmla="*/ 0 w 67"/>
                      <a:gd name="T41" fmla="*/ 0 h 51"/>
                      <a:gd name="T42" fmla="*/ 0 w 67"/>
                      <a:gd name="T43" fmla="*/ 0 h 51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67"/>
                      <a:gd name="T67" fmla="*/ 0 h 51"/>
                      <a:gd name="T68" fmla="*/ 67 w 67"/>
                      <a:gd name="T69" fmla="*/ 51 h 51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67" h="51">
                        <a:moveTo>
                          <a:pt x="0" y="2"/>
                        </a:moveTo>
                        <a:lnTo>
                          <a:pt x="24" y="1"/>
                        </a:lnTo>
                        <a:lnTo>
                          <a:pt x="39" y="0"/>
                        </a:lnTo>
                        <a:lnTo>
                          <a:pt x="45" y="1"/>
                        </a:lnTo>
                        <a:lnTo>
                          <a:pt x="51" y="2"/>
                        </a:lnTo>
                        <a:lnTo>
                          <a:pt x="58" y="4"/>
                        </a:lnTo>
                        <a:lnTo>
                          <a:pt x="67" y="8"/>
                        </a:lnTo>
                        <a:lnTo>
                          <a:pt x="55" y="13"/>
                        </a:lnTo>
                        <a:lnTo>
                          <a:pt x="46" y="19"/>
                        </a:lnTo>
                        <a:lnTo>
                          <a:pt x="42" y="22"/>
                        </a:lnTo>
                        <a:lnTo>
                          <a:pt x="36" y="24"/>
                        </a:lnTo>
                        <a:lnTo>
                          <a:pt x="29" y="26"/>
                        </a:lnTo>
                        <a:lnTo>
                          <a:pt x="20" y="26"/>
                        </a:lnTo>
                        <a:lnTo>
                          <a:pt x="24" y="26"/>
                        </a:lnTo>
                        <a:lnTo>
                          <a:pt x="34" y="26"/>
                        </a:lnTo>
                        <a:lnTo>
                          <a:pt x="29" y="34"/>
                        </a:lnTo>
                        <a:lnTo>
                          <a:pt x="25" y="40"/>
                        </a:lnTo>
                        <a:lnTo>
                          <a:pt x="22" y="44"/>
                        </a:lnTo>
                        <a:lnTo>
                          <a:pt x="20" y="46"/>
                        </a:lnTo>
                        <a:lnTo>
                          <a:pt x="12" y="48"/>
                        </a:lnTo>
                        <a:lnTo>
                          <a:pt x="0" y="51"/>
                        </a:lnTo>
                        <a:lnTo>
                          <a:pt x="0" y="2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87" name="Freeform 41">
                  <a:extLst>
                    <a:ext uri="{FF2B5EF4-FFF2-40B4-BE49-F238E27FC236}">
                      <a16:creationId xmlns:a16="http://schemas.microsoft.com/office/drawing/2014/main" xmlns="" id="{93F1A2B0-B289-412E-9956-6F3EAB9F6D94}"/>
                    </a:ext>
                  </a:extLst>
                </p:cNvPr>
                <p:cNvSpPr>
                  <a:spLocks/>
                </p:cNvSpPr>
                <p:nvPr>
                  <p:custDataLst>
                    <p:tags r:id="rId34"/>
                  </p:custDataLst>
                </p:nvPr>
              </p:nvSpPr>
              <p:spPr bwMode="auto">
                <a:xfrm>
                  <a:off x="2354263" y="3090863"/>
                  <a:ext cx="31750" cy="58737"/>
                </a:xfrm>
                <a:custGeom>
                  <a:avLst/>
                  <a:gdLst>
                    <a:gd name="T0" fmla="*/ 0 w 80"/>
                    <a:gd name="T1" fmla="*/ 2147483646 h 34"/>
                    <a:gd name="T2" fmla="*/ 2147483646 w 80"/>
                    <a:gd name="T3" fmla="*/ 2147483646 h 34"/>
                    <a:gd name="T4" fmla="*/ 2147483646 w 80"/>
                    <a:gd name="T5" fmla="*/ 2147483646 h 34"/>
                    <a:gd name="T6" fmla="*/ 2147483646 w 80"/>
                    <a:gd name="T7" fmla="*/ 2147483646 h 34"/>
                    <a:gd name="T8" fmla="*/ 2147483646 w 80"/>
                    <a:gd name="T9" fmla="*/ 2147483646 h 34"/>
                    <a:gd name="T10" fmla="*/ 2147483646 w 80"/>
                    <a:gd name="T11" fmla="*/ 2147483646 h 34"/>
                    <a:gd name="T12" fmla="*/ 2147483646 w 80"/>
                    <a:gd name="T13" fmla="*/ 2147483646 h 34"/>
                    <a:gd name="T14" fmla="*/ 2147483646 w 80"/>
                    <a:gd name="T15" fmla="*/ 2147483646 h 34"/>
                    <a:gd name="T16" fmla="*/ 2147483646 w 80"/>
                    <a:gd name="T17" fmla="*/ 2147483646 h 34"/>
                    <a:gd name="T18" fmla="*/ 2147483646 w 80"/>
                    <a:gd name="T19" fmla="*/ 2147483646 h 34"/>
                    <a:gd name="T20" fmla="*/ 2147483646 w 80"/>
                    <a:gd name="T21" fmla="*/ 2147483646 h 34"/>
                    <a:gd name="T22" fmla="*/ 2147483646 w 80"/>
                    <a:gd name="T23" fmla="*/ 2147483646 h 34"/>
                    <a:gd name="T24" fmla="*/ 2147483646 w 80"/>
                    <a:gd name="T25" fmla="*/ 2147483646 h 34"/>
                    <a:gd name="T26" fmla="*/ 2147483646 w 80"/>
                    <a:gd name="T27" fmla="*/ 2147483646 h 34"/>
                    <a:gd name="T28" fmla="*/ 2147483646 w 80"/>
                    <a:gd name="T29" fmla="*/ 2147483646 h 34"/>
                    <a:gd name="T30" fmla="*/ 2147483646 w 80"/>
                    <a:gd name="T31" fmla="*/ 2147483646 h 34"/>
                    <a:gd name="T32" fmla="*/ 2147483646 w 80"/>
                    <a:gd name="T33" fmla="*/ 2147483646 h 34"/>
                    <a:gd name="T34" fmla="*/ 2147483646 w 80"/>
                    <a:gd name="T35" fmla="*/ 2147483646 h 34"/>
                    <a:gd name="T36" fmla="*/ 2147483646 w 80"/>
                    <a:gd name="T37" fmla="*/ 2147483646 h 34"/>
                    <a:gd name="T38" fmla="*/ 2147483646 w 80"/>
                    <a:gd name="T39" fmla="*/ 0 h 34"/>
                    <a:gd name="T40" fmla="*/ 2147483646 w 80"/>
                    <a:gd name="T41" fmla="*/ 0 h 34"/>
                    <a:gd name="T42" fmla="*/ 2147483646 w 80"/>
                    <a:gd name="T43" fmla="*/ 2147483646 h 34"/>
                    <a:gd name="T44" fmla="*/ 2147483646 w 80"/>
                    <a:gd name="T45" fmla="*/ 2147483646 h 34"/>
                    <a:gd name="T46" fmla="*/ 2147483646 w 80"/>
                    <a:gd name="T47" fmla="*/ 2147483646 h 34"/>
                    <a:gd name="T48" fmla="*/ 2147483646 w 80"/>
                    <a:gd name="T49" fmla="*/ 2147483646 h 34"/>
                    <a:gd name="T50" fmla="*/ 2147483646 w 80"/>
                    <a:gd name="T51" fmla="*/ 2147483646 h 34"/>
                    <a:gd name="T52" fmla="*/ 2147483646 w 80"/>
                    <a:gd name="T53" fmla="*/ 2147483646 h 34"/>
                    <a:gd name="T54" fmla="*/ 2147483646 w 80"/>
                    <a:gd name="T55" fmla="*/ 2147483646 h 34"/>
                    <a:gd name="T56" fmla="*/ 2147483646 w 80"/>
                    <a:gd name="T57" fmla="*/ 2147483646 h 34"/>
                    <a:gd name="T58" fmla="*/ 2147483646 w 80"/>
                    <a:gd name="T59" fmla="*/ 2147483646 h 34"/>
                    <a:gd name="T60" fmla="*/ 0 w 80"/>
                    <a:gd name="T61" fmla="*/ 2147483646 h 34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80"/>
                    <a:gd name="T94" fmla="*/ 0 h 34"/>
                    <a:gd name="T95" fmla="*/ 80 w 80"/>
                    <a:gd name="T96" fmla="*/ 34 h 34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80" h="34">
                      <a:moveTo>
                        <a:pt x="0" y="15"/>
                      </a:moveTo>
                      <a:lnTo>
                        <a:pt x="1" y="19"/>
                      </a:lnTo>
                      <a:lnTo>
                        <a:pt x="2" y="21"/>
                      </a:lnTo>
                      <a:lnTo>
                        <a:pt x="4" y="24"/>
                      </a:lnTo>
                      <a:lnTo>
                        <a:pt x="7" y="26"/>
                      </a:lnTo>
                      <a:lnTo>
                        <a:pt x="13" y="29"/>
                      </a:lnTo>
                      <a:lnTo>
                        <a:pt x="22" y="31"/>
                      </a:lnTo>
                      <a:lnTo>
                        <a:pt x="40" y="33"/>
                      </a:lnTo>
                      <a:lnTo>
                        <a:pt x="54" y="34"/>
                      </a:lnTo>
                      <a:lnTo>
                        <a:pt x="58" y="33"/>
                      </a:lnTo>
                      <a:lnTo>
                        <a:pt x="62" y="32"/>
                      </a:lnTo>
                      <a:lnTo>
                        <a:pt x="65" y="29"/>
                      </a:lnTo>
                      <a:lnTo>
                        <a:pt x="67" y="27"/>
                      </a:lnTo>
                      <a:lnTo>
                        <a:pt x="73" y="21"/>
                      </a:lnTo>
                      <a:lnTo>
                        <a:pt x="80" y="15"/>
                      </a:lnTo>
                      <a:lnTo>
                        <a:pt x="75" y="10"/>
                      </a:lnTo>
                      <a:lnTo>
                        <a:pt x="70" y="7"/>
                      </a:lnTo>
                      <a:lnTo>
                        <a:pt x="65" y="4"/>
                      </a:lnTo>
                      <a:lnTo>
                        <a:pt x="60" y="2"/>
                      </a:lnTo>
                      <a:lnTo>
                        <a:pt x="55" y="0"/>
                      </a:lnTo>
                      <a:lnTo>
                        <a:pt x="51" y="0"/>
                      </a:lnTo>
                      <a:lnTo>
                        <a:pt x="45" y="1"/>
                      </a:lnTo>
                      <a:lnTo>
                        <a:pt x="41" y="2"/>
                      </a:lnTo>
                      <a:lnTo>
                        <a:pt x="34" y="2"/>
                      </a:lnTo>
                      <a:lnTo>
                        <a:pt x="21" y="2"/>
                      </a:lnTo>
                      <a:lnTo>
                        <a:pt x="13" y="3"/>
                      </a:lnTo>
                      <a:lnTo>
                        <a:pt x="7" y="5"/>
                      </a:lnTo>
                      <a:lnTo>
                        <a:pt x="4" y="7"/>
                      </a:lnTo>
                      <a:lnTo>
                        <a:pt x="2" y="9"/>
                      </a:lnTo>
                      <a:lnTo>
                        <a:pt x="1" y="11"/>
                      </a:lnTo>
                      <a:lnTo>
                        <a:pt x="0" y="1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88" name="Freeform 42">
                  <a:extLst>
                    <a:ext uri="{FF2B5EF4-FFF2-40B4-BE49-F238E27FC236}">
                      <a16:creationId xmlns:a16="http://schemas.microsoft.com/office/drawing/2014/main" xmlns="" id="{37CF4D94-1A80-4489-9CE0-3EBB722B647E}"/>
                    </a:ext>
                  </a:extLst>
                </p:cNvPr>
                <p:cNvSpPr>
                  <a:spLocks/>
                </p:cNvSpPr>
                <p:nvPr>
                  <p:custDataLst>
                    <p:tags r:id="rId35"/>
                  </p:custDataLst>
                </p:nvPr>
              </p:nvSpPr>
              <p:spPr bwMode="auto">
                <a:xfrm>
                  <a:off x="2409825" y="3097213"/>
                  <a:ext cx="1588" cy="58737"/>
                </a:xfrm>
                <a:custGeom>
                  <a:avLst/>
                  <a:gdLst>
                    <a:gd name="T0" fmla="*/ 0 w 7"/>
                    <a:gd name="T1" fmla="*/ 0 h 13"/>
                    <a:gd name="T2" fmla="*/ 2147483646 w 7"/>
                    <a:gd name="T3" fmla="*/ 2147483646 h 13"/>
                    <a:gd name="T4" fmla="*/ 2147483646 w 7"/>
                    <a:gd name="T5" fmla="*/ 2147483646 h 13"/>
                    <a:gd name="T6" fmla="*/ 0 60000 65536"/>
                    <a:gd name="T7" fmla="*/ 0 60000 65536"/>
                    <a:gd name="T8" fmla="*/ 0 60000 65536"/>
                    <a:gd name="T9" fmla="*/ 0 w 7"/>
                    <a:gd name="T10" fmla="*/ 0 h 13"/>
                    <a:gd name="T11" fmla="*/ 7 w 7"/>
                    <a:gd name="T12" fmla="*/ 13 h 13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7" h="13">
                      <a:moveTo>
                        <a:pt x="0" y="0"/>
                      </a:moveTo>
                      <a:lnTo>
                        <a:pt x="7" y="13"/>
                      </a:lnTo>
                      <a:lnTo>
                        <a:pt x="7" y="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89" name="Freeform 43">
                  <a:extLst>
                    <a:ext uri="{FF2B5EF4-FFF2-40B4-BE49-F238E27FC236}">
                      <a16:creationId xmlns:a16="http://schemas.microsoft.com/office/drawing/2014/main" xmlns="" id="{D63BDF2E-CC75-4C02-B815-B3B389EA9A89}"/>
                    </a:ext>
                  </a:extLst>
                </p:cNvPr>
                <p:cNvSpPr>
                  <a:spLocks/>
                </p:cNvSpPr>
                <p:nvPr>
                  <p:custDataLst>
                    <p:tags r:id="rId36"/>
                  </p:custDataLst>
                </p:nvPr>
              </p:nvSpPr>
              <p:spPr bwMode="auto">
                <a:xfrm>
                  <a:off x="2422525" y="3098800"/>
                  <a:ext cx="6350" cy="58738"/>
                </a:xfrm>
                <a:custGeom>
                  <a:avLst/>
                  <a:gdLst>
                    <a:gd name="T0" fmla="*/ 0 w 20"/>
                    <a:gd name="T1" fmla="*/ 0 h 6"/>
                    <a:gd name="T2" fmla="*/ 2147483646 w 20"/>
                    <a:gd name="T3" fmla="*/ 2147483646 h 6"/>
                    <a:gd name="T4" fmla="*/ 2147483646 w 20"/>
                    <a:gd name="T5" fmla="*/ 2147483646 h 6"/>
                    <a:gd name="T6" fmla="*/ 0 w 20"/>
                    <a:gd name="T7" fmla="*/ 0 h 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0"/>
                    <a:gd name="T13" fmla="*/ 0 h 6"/>
                    <a:gd name="T14" fmla="*/ 20 w 20"/>
                    <a:gd name="T15" fmla="*/ 6 h 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0" h="6">
                      <a:moveTo>
                        <a:pt x="0" y="0"/>
                      </a:moveTo>
                      <a:lnTo>
                        <a:pt x="7" y="3"/>
                      </a:lnTo>
                      <a:lnTo>
                        <a:pt x="20" y="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90" name="Freeform 44">
                  <a:extLst>
                    <a:ext uri="{FF2B5EF4-FFF2-40B4-BE49-F238E27FC236}">
                      <a16:creationId xmlns:a16="http://schemas.microsoft.com/office/drawing/2014/main" xmlns="" id="{2BCED3BC-0BE7-4EA1-9C05-98EE51106B74}"/>
                    </a:ext>
                  </a:extLst>
                </p:cNvPr>
                <p:cNvSpPr>
                  <a:spLocks/>
                </p:cNvSpPr>
                <p:nvPr>
                  <p:custDataLst>
                    <p:tags r:id="rId37"/>
                  </p:custDataLst>
                </p:nvPr>
              </p:nvSpPr>
              <p:spPr bwMode="auto">
                <a:xfrm>
                  <a:off x="2436813" y="3089275"/>
                  <a:ext cx="7937" cy="57150"/>
                </a:xfrm>
                <a:custGeom>
                  <a:avLst/>
                  <a:gdLst>
                    <a:gd name="T0" fmla="*/ 0 w 14"/>
                    <a:gd name="T1" fmla="*/ 2147483646 h 12"/>
                    <a:gd name="T2" fmla="*/ 2147483646 w 14"/>
                    <a:gd name="T3" fmla="*/ 0 h 12"/>
                    <a:gd name="T4" fmla="*/ 0 w 14"/>
                    <a:gd name="T5" fmla="*/ 2147483646 h 12"/>
                    <a:gd name="T6" fmla="*/ 0 60000 65536"/>
                    <a:gd name="T7" fmla="*/ 0 60000 65536"/>
                    <a:gd name="T8" fmla="*/ 0 60000 65536"/>
                    <a:gd name="T9" fmla="*/ 0 w 14"/>
                    <a:gd name="T10" fmla="*/ 0 h 12"/>
                    <a:gd name="T11" fmla="*/ 14 w 14"/>
                    <a:gd name="T12" fmla="*/ 12 h 1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4" h="12">
                      <a:moveTo>
                        <a:pt x="0" y="12"/>
                      </a:moveTo>
                      <a:lnTo>
                        <a:pt x="14" y="0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91" name="Freeform 45">
                  <a:extLst>
                    <a:ext uri="{FF2B5EF4-FFF2-40B4-BE49-F238E27FC236}">
                      <a16:creationId xmlns:a16="http://schemas.microsoft.com/office/drawing/2014/main" xmlns="" id="{9FB69E3D-910C-40BB-878D-A921BF89FF6B}"/>
                    </a:ext>
                  </a:extLst>
                </p:cNvPr>
                <p:cNvSpPr>
                  <a:spLocks/>
                </p:cNvSpPr>
                <p:nvPr>
                  <p:custDataLst>
                    <p:tags r:id="rId38"/>
                  </p:custDataLst>
                </p:nvPr>
              </p:nvSpPr>
              <p:spPr bwMode="auto">
                <a:xfrm>
                  <a:off x="2416175" y="3081338"/>
                  <a:ext cx="11113" cy="58737"/>
                </a:xfrm>
                <a:custGeom>
                  <a:avLst/>
                  <a:gdLst>
                    <a:gd name="T0" fmla="*/ 0 w 27"/>
                    <a:gd name="T1" fmla="*/ 0 h 7"/>
                    <a:gd name="T2" fmla="*/ 0 w 27"/>
                    <a:gd name="T3" fmla="*/ 2147483646 h 7"/>
                    <a:gd name="T4" fmla="*/ 2147483646 w 27"/>
                    <a:gd name="T5" fmla="*/ 2147483646 h 7"/>
                    <a:gd name="T6" fmla="*/ 2147483646 w 27"/>
                    <a:gd name="T7" fmla="*/ 2147483646 h 7"/>
                    <a:gd name="T8" fmla="*/ 2147483646 w 27"/>
                    <a:gd name="T9" fmla="*/ 2147483646 h 7"/>
                    <a:gd name="T10" fmla="*/ 2147483646 w 27"/>
                    <a:gd name="T11" fmla="*/ 2147483646 h 7"/>
                    <a:gd name="T12" fmla="*/ 2147483646 w 27"/>
                    <a:gd name="T13" fmla="*/ 2147483646 h 7"/>
                    <a:gd name="T14" fmla="*/ 2147483646 w 27"/>
                    <a:gd name="T15" fmla="*/ 2147483646 h 7"/>
                    <a:gd name="T16" fmla="*/ 2147483646 w 27"/>
                    <a:gd name="T17" fmla="*/ 0 h 7"/>
                    <a:gd name="T18" fmla="*/ 0 w 27"/>
                    <a:gd name="T19" fmla="*/ 0 h 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7"/>
                    <a:gd name="T31" fmla="*/ 0 h 7"/>
                    <a:gd name="T32" fmla="*/ 27 w 27"/>
                    <a:gd name="T33" fmla="*/ 7 h 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7" h="7">
                      <a:moveTo>
                        <a:pt x="0" y="0"/>
                      </a:move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7" y="7"/>
                      </a:lnTo>
                      <a:lnTo>
                        <a:pt x="10" y="7"/>
                      </a:lnTo>
                      <a:lnTo>
                        <a:pt x="15" y="6"/>
                      </a:lnTo>
                      <a:lnTo>
                        <a:pt x="19" y="4"/>
                      </a:lnTo>
                      <a:lnTo>
                        <a:pt x="23" y="2"/>
                      </a:lnTo>
                      <a:lnTo>
                        <a:pt x="2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92" name="Freeform 46">
                  <a:extLst>
                    <a:ext uri="{FF2B5EF4-FFF2-40B4-BE49-F238E27FC236}">
                      <a16:creationId xmlns:a16="http://schemas.microsoft.com/office/drawing/2014/main" xmlns="" id="{5A588AB4-98E6-4981-8B7D-4421A565CB19}"/>
                    </a:ext>
                  </a:extLst>
                </p:cNvPr>
                <p:cNvSpPr>
                  <a:spLocks/>
                </p:cNvSpPr>
                <p:nvPr>
                  <p:custDataLst>
                    <p:tags r:id="rId39"/>
                  </p:custDataLst>
                </p:nvPr>
              </p:nvSpPr>
              <p:spPr bwMode="auto">
                <a:xfrm>
                  <a:off x="2465388" y="3109913"/>
                  <a:ext cx="14287" cy="60325"/>
                </a:xfrm>
                <a:custGeom>
                  <a:avLst/>
                  <a:gdLst>
                    <a:gd name="T0" fmla="*/ 0 w 27"/>
                    <a:gd name="T1" fmla="*/ 0 h 6"/>
                    <a:gd name="T2" fmla="*/ 2147483646 w 27"/>
                    <a:gd name="T3" fmla="*/ 2147483646 h 6"/>
                    <a:gd name="T4" fmla="*/ 2147483646 w 27"/>
                    <a:gd name="T5" fmla="*/ 2147483646 h 6"/>
                    <a:gd name="T6" fmla="*/ 0 60000 65536"/>
                    <a:gd name="T7" fmla="*/ 0 60000 65536"/>
                    <a:gd name="T8" fmla="*/ 0 60000 65536"/>
                    <a:gd name="T9" fmla="*/ 0 w 27"/>
                    <a:gd name="T10" fmla="*/ 0 h 6"/>
                    <a:gd name="T11" fmla="*/ 27 w 27"/>
                    <a:gd name="T12" fmla="*/ 6 h 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7" h="6">
                      <a:moveTo>
                        <a:pt x="0" y="0"/>
                      </a:moveTo>
                      <a:lnTo>
                        <a:pt x="11" y="3"/>
                      </a:lnTo>
                      <a:lnTo>
                        <a:pt x="27" y="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93" name="Line 47">
                  <a:extLst>
                    <a:ext uri="{FF2B5EF4-FFF2-40B4-BE49-F238E27FC236}">
                      <a16:creationId xmlns:a16="http://schemas.microsoft.com/office/drawing/2014/main" xmlns="" id="{9A0AC66E-5B5B-40DB-82C7-6BC4F70202AD}"/>
                    </a:ext>
                  </a:extLst>
                </p:cNvPr>
                <p:cNvSpPr>
                  <a:spLocks noChangeShapeType="1"/>
                </p:cNvSpPr>
                <p:nvPr>
                  <p:custDataLst>
                    <p:tags r:id="rId40"/>
                  </p:custDataLst>
                </p:nvPr>
              </p:nvSpPr>
              <p:spPr bwMode="auto">
                <a:xfrm flipH="1" flipV="1">
                  <a:off x="2473325" y="3106738"/>
                  <a:ext cx="6350" cy="9525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94" name="Line 48">
                  <a:extLst>
                    <a:ext uri="{FF2B5EF4-FFF2-40B4-BE49-F238E27FC236}">
                      <a16:creationId xmlns:a16="http://schemas.microsoft.com/office/drawing/2014/main" xmlns="" id="{C7AC00C8-4986-4430-996D-0C3F40C565D3}"/>
                    </a:ext>
                  </a:extLst>
                </p:cNvPr>
                <p:cNvSpPr>
                  <a:spLocks noChangeShapeType="1"/>
                </p:cNvSpPr>
                <p:nvPr>
                  <p:custDataLst>
                    <p:tags r:id="rId41"/>
                  </p:custDataLst>
                </p:nvPr>
              </p:nvSpPr>
              <p:spPr bwMode="auto">
                <a:xfrm flipH="1">
                  <a:off x="2473325" y="3132138"/>
                  <a:ext cx="6350" cy="11112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95" name="Freeform 49">
                  <a:extLst>
                    <a:ext uri="{FF2B5EF4-FFF2-40B4-BE49-F238E27FC236}">
                      <a16:creationId xmlns:a16="http://schemas.microsoft.com/office/drawing/2014/main" xmlns="" id="{1FB45177-D680-4EEA-BFB0-D34B542EDC84}"/>
                    </a:ext>
                  </a:extLst>
                </p:cNvPr>
                <p:cNvSpPr>
                  <a:spLocks/>
                </p:cNvSpPr>
                <p:nvPr>
                  <p:custDataLst>
                    <p:tags r:id="rId42"/>
                  </p:custDataLst>
                </p:nvPr>
              </p:nvSpPr>
              <p:spPr bwMode="auto">
                <a:xfrm>
                  <a:off x="2473325" y="3127375"/>
                  <a:ext cx="11113" cy="58738"/>
                </a:xfrm>
                <a:custGeom>
                  <a:avLst/>
                  <a:gdLst>
                    <a:gd name="T0" fmla="*/ 0 w 20"/>
                    <a:gd name="T1" fmla="*/ 2147483646 h 24"/>
                    <a:gd name="T2" fmla="*/ 2147483646 w 20"/>
                    <a:gd name="T3" fmla="*/ 2147483646 h 24"/>
                    <a:gd name="T4" fmla="*/ 2147483646 w 20"/>
                    <a:gd name="T5" fmla="*/ 2147483646 h 24"/>
                    <a:gd name="T6" fmla="*/ 2147483646 w 20"/>
                    <a:gd name="T7" fmla="*/ 2147483646 h 24"/>
                    <a:gd name="T8" fmla="*/ 2147483646 w 20"/>
                    <a:gd name="T9" fmla="*/ 2147483646 h 24"/>
                    <a:gd name="T10" fmla="*/ 2147483646 w 20"/>
                    <a:gd name="T11" fmla="*/ 2147483646 h 24"/>
                    <a:gd name="T12" fmla="*/ 2147483646 w 20"/>
                    <a:gd name="T13" fmla="*/ 2147483646 h 24"/>
                    <a:gd name="T14" fmla="*/ 2147483646 w 20"/>
                    <a:gd name="T15" fmla="*/ 2147483646 h 24"/>
                    <a:gd name="T16" fmla="*/ 2147483646 w 20"/>
                    <a:gd name="T17" fmla="*/ 0 h 2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0"/>
                    <a:gd name="T28" fmla="*/ 0 h 24"/>
                    <a:gd name="T29" fmla="*/ 20 w 20"/>
                    <a:gd name="T30" fmla="*/ 24 h 2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0" h="24">
                      <a:moveTo>
                        <a:pt x="0" y="24"/>
                      </a:moveTo>
                      <a:lnTo>
                        <a:pt x="2" y="24"/>
                      </a:lnTo>
                      <a:lnTo>
                        <a:pt x="6" y="22"/>
                      </a:lnTo>
                      <a:lnTo>
                        <a:pt x="9" y="20"/>
                      </a:lnTo>
                      <a:lnTo>
                        <a:pt x="12" y="16"/>
                      </a:lnTo>
                      <a:lnTo>
                        <a:pt x="15" y="13"/>
                      </a:lnTo>
                      <a:lnTo>
                        <a:pt x="18" y="9"/>
                      </a:lnTo>
                      <a:lnTo>
                        <a:pt x="19" y="4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96" name="Freeform 50">
                  <a:extLst>
                    <a:ext uri="{FF2B5EF4-FFF2-40B4-BE49-F238E27FC236}">
                      <a16:creationId xmlns:a16="http://schemas.microsoft.com/office/drawing/2014/main" xmlns="" id="{A308C6FC-5D77-4C4D-BFB1-CC118244FA3E}"/>
                    </a:ext>
                  </a:extLst>
                </p:cNvPr>
                <p:cNvSpPr>
                  <a:spLocks/>
                </p:cNvSpPr>
                <p:nvPr>
                  <p:custDataLst>
                    <p:tags r:id="rId43"/>
                  </p:custDataLst>
                </p:nvPr>
              </p:nvSpPr>
              <p:spPr bwMode="auto">
                <a:xfrm>
                  <a:off x="2479675" y="3155950"/>
                  <a:ext cx="17463" cy="55563"/>
                </a:xfrm>
                <a:custGeom>
                  <a:avLst/>
                  <a:gdLst>
                    <a:gd name="T0" fmla="*/ 2147483646 w 33"/>
                    <a:gd name="T1" fmla="*/ 2147483646 h 25"/>
                    <a:gd name="T2" fmla="*/ 0 w 33"/>
                    <a:gd name="T3" fmla="*/ 2147483646 h 25"/>
                    <a:gd name="T4" fmla="*/ 2147483646 w 33"/>
                    <a:gd name="T5" fmla="*/ 2147483646 h 25"/>
                    <a:gd name="T6" fmla="*/ 2147483646 w 33"/>
                    <a:gd name="T7" fmla="*/ 2147483646 h 25"/>
                    <a:gd name="T8" fmla="*/ 2147483646 w 33"/>
                    <a:gd name="T9" fmla="*/ 2147483646 h 25"/>
                    <a:gd name="T10" fmla="*/ 2147483646 w 33"/>
                    <a:gd name="T11" fmla="*/ 2147483646 h 25"/>
                    <a:gd name="T12" fmla="*/ 2147483646 w 33"/>
                    <a:gd name="T13" fmla="*/ 0 h 25"/>
                    <a:gd name="T14" fmla="*/ 2147483646 w 33"/>
                    <a:gd name="T15" fmla="*/ 0 h 25"/>
                    <a:gd name="T16" fmla="*/ 2147483646 w 33"/>
                    <a:gd name="T17" fmla="*/ 2147483646 h 2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3"/>
                    <a:gd name="T28" fmla="*/ 0 h 25"/>
                    <a:gd name="T29" fmla="*/ 33 w 33"/>
                    <a:gd name="T30" fmla="*/ 25 h 2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3" h="25">
                      <a:moveTo>
                        <a:pt x="13" y="7"/>
                      </a:moveTo>
                      <a:lnTo>
                        <a:pt x="0" y="19"/>
                      </a:lnTo>
                      <a:lnTo>
                        <a:pt x="10" y="20"/>
                      </a:lnTo>
                      <a:lnTo>
                        <a:pt x="19" y="22"/>
                      </a:lnTo>
                      <a:lnTo>
                        <a:pt x="27" y="25"/>
                      </a:lnTo>
                      <a:lnTo>
                        <a:pt x="33" y="25"/>
                      </a:lnTo>
                      <a:lnTo>
                        <a:pt x="33" y="0"/>
                      </a:lnTo>
                      <a:lnTo>
                        <a:pt x="27" y="0"/>
                      </a:lnTo>
                      <a:lnTo>
                        <a:pt x="13" y="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97" name="Freeform 51">
                  <a:extLst>
                    <a:ext uri="{FF2B5EF4-FFF2-40B4-BE49-F238E27FC236}">
                      <a16:creationId xmlns:a16="http://schemas.microsoft.com/office/drawing/2014/main" xmlns="" id="{40C27944-450A-4AD8-808F-65233547DA4F}"/>
                    </a:ext>
                  </a:extLst>
                </p:cNvPr>
                <p:cNvSpPr>
                  <a:spLocks/>
                </p:cNvSpPr>
                <p:nvPr>
                  <p:custDataLst>
                    <p:tags r:id="rId44"/>
                  </p:custDataLst>
                </p:nvPr>
              </p:nvSpPr>
              <p:spPr bwMode="auto">
                <a:xfrm>
                  <a:off x="2486025" y="3203575"/>
                  <a:ext cx="15875" cy="57150"/>
                </a:xfrm>
                <a:custGeom>
                  <a:avLst/>
                  <a:gdLst>
                    <a:gd name="T0" fmla="*/ 0 w 40"/>
                    <a:gd name="T1" fmla="*/ 0 h 18"/>
                    <a:gd name="T2" fmla="*/ 2147483646 w 40"/>
                    <a:gd name="T3" fmla="*/ 2147483646 h 18"/>
                    <a:gd name="T4" fmla="*/ 2147483646 w 40"/>
                    <a:gd name="T5" fmla="*/ 2147483646 h 18"/>
                    <a:gd name="T6" fmla="*/ 2147483646 w 40"/>
                    <a:gd name="T7" fmla="*/ 2147483646 h 18"/>
                    <a:gd name="T8" fmla="*/ 2147483646 w 40"/>
                    <a:gd name="T9" fmla="*/ 2147483646 h 18"/>
                    <a:gd name="T10" fmla="*/ 2147483646 w 40"/>
                    <a:gd name="T11" fmla="*/ 2147483646 h 18"/>
                    <a:gd name="T12" fmla="*/ 2147483646 w 40"/>
                    <a:gd name="T13" fmla="*/ 2147483646 h 18"/>
                    <a:gd name="T14" fmla="*/ 2147483646 w 40"/>
                    <a:gd name="T15" fmla="*/ 0 h 18"/>
                    <a:gd name="T16" fmla="*/ 2147483646 w 40"/>
                    <a:gd name="T17" fmla="*/ 0 h 18"/>
                    <a:gd name="T18" fmla="*/ 2147483646 w 40"/>
                    <a:gd name="T19" fmla="*/ 0 h 18"/>
                    <a:gd name="T20" fmla="*/ 2147483646 w 40"/>
                    <a:gd name="T21" fmla="*/ 0 h 18"/>
                    <a:gd name="T22" fmla="*/ 0 w 40"/>
                    <a:gd name="T23" fmla="*/ 0 h 1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0"/>
                    <a:gd name="T37" fmla="*/ 0 h 18"/>
                    <a:gd name="T38" fmla="*/ 40 w 40"/>
                    <a:gd name="T39" fmla="*/ 18 h 1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0" h="18">
                      <a:moveTo>
                        <a:pt x="0" y="0"/>
                      </a:moveTo>
                      <a:lnTo>
                        <a:pt x="3" y="6"/>
                      </a:lnTo>
                      <a:lnTo>
                        <a:pt x="6" y="11"/>
                      </a:lnTo>
                      <a:lnTo>
                        <a:pt x="10" y="14"/>
                      </a:lnTo>
                      <a:lnTo>
                        <a:pt x="15" y="16"/>
                      </a:lnTo>
                      <a:lnTo>
                        <a:pt x="27" y="18"/>
                      </a:lnTo>
                      <a:lnTo>
                        <a:pt x="40" y="18"/>
                      </a:lnTo>
                      <a:lnTo>
                        <a:pt x="40" y="0"/>
                      </a:lnTo>
                      <a:lnTo>
                        <a:pt x="30" y="0"/>
                      </a:lnTo>
                      <a:lnTo>
                        <a:pt x="20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98" name="Freeform 52">
                  <a:extLst>
                    <a:ext uri="{FF2B5EF4-FFF2-40B4-BE49-F238E27FC236}">
                      <a16:creationId xmlns:a16="http://schemas.microsoft.com/office/drawing/2014/main" xmlns="" id="{6DB8E2B8-56CA-4DD3-9893-CD96AE262932}"/>
                    </a:ext>
                  </a:extLst>
                </p:cNvPr>
                <p:cNvSpPr>
                  <a:spLocks/>
                </p:cNvSpPr>
                <p:nvPr>
                  <p:custDataLst>
                    <p:tags r:id="rId45"/>
                  </p:custDataLst>
                </p:nvPr>
              </p:nvSpPr>
              <p:spPr bwMode="auto">
                <a:xfrm>
                  <a:off x="2495550" y="3228975"/>
                  <a:ext cx="3175" cy="57150"/>
                </a:xfrm>
                <a:custGeom>
                  <a:avLst/>
                  <a:gdLst>
                    <a:gd name="T0" fmla="*/ 2147483646 w 11"/>
                    <a:gd name="T1" fmla="*/ 2147483646 h 32"/>
                    <a:gd name="T2" fmla="*/ 2147483646 w 11"/>
                    <a:gd name="T3" fmla="*/ 2147483646 h 32"/>
                    <a:gd name="T4" fmla="*/ 2147483646 w 11"/>
                    <a:gd name="T5" fmla="*/ 2147483646 h 32"/>
                    <a:gd name="T6" fmla="*/ 2147483646 w 11"/>
                    <a:gd name="T7" fmla="*/ 2147483646 h 32"/>
                    <a:gd name="T8" fmla="*/ 2147483646 w 11"/>
                    <a:gd name="T9" fmla="*/ 2147483646 h 32"/>
                    <a:gd name="T10" fmla="*/ 2147483646 w 11"/>
                    <a:gd name="T11" fmla="*/ 2147483646 h 32"/>
                    <a:gd name="T12" fmla="*/ 2147483646 w 11"/>
                    <a:gd name="T13" fmla="*/ 0 h 32"/>
                    <a:gd name="T14" fmla="*/ 2147483646 w 11"/>
                    <a:gd name="T15" fmla="*/ 2147483646 h 32"/>
                    <a:gd name="T16" fmla="*/ 2147483646 w 11"/>
                    <a:gd name="T17" fmla="*/ 2147483646 h 32"/>
                    <a:gd name="T18" fmla="*/ 2147483646 w 11"/>
                    <a:gd name="T19" fmla="*/ 2147483646 h 32"/>
                    <a:gd name="T20" fmla="*/ 0 w 11"/>
                    <a:gd name="T21" fmla="*/ 2147483646 h 32"/>
                    <a:gd name="T22" fmla="*/ 0 w 11"/>
                    <a:gd name="T23" fmla="*/ 2147483646 h 32"/>
                    <a:gd name="T24" fmla="*/ 2147483646 w 11"/>
                    <a:gd name="T25" fmla="*/ 2147483646 h 32"/>
                    <a:gd name="T26" fmla="*/ 2147483646 w 11"/>
                    <a:gd name="T27" fmla="*/ 2147483646 h 32"/>
                    <a:gd name="T28" fmla="*/ 2147483646 w 11"/>
                    <a:gd name="T29" fmla="*/ 2147483646 h 32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1"/>
                    <a:gd name="T46" fmla="*/ 0 h 32"/>
                    <a:gd name="T47" fmla="*/ 11 w 11"/>
                    <a:gd name="T48" fmla="*/ 32 h 32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1" h="32">
                      <a:moveTo>
                        <a:pt x="4" y="32"/>
                      </a:moveTo>
                      <a:lnTo>
                        <a:pt x="6" y="28"/>
                      </a:lnTo>
                      <a:lnTo>
                        <a:pt x="8" y="25"/>
                      </a:lnTo>
                      <a:lnTo>
                        <a:pt x="9" y="22"/>
                      </a:lnTo>
                      <a:lnTo>
                        <a:pt x="10" y="18"/>
                      </a:lnTo>
                      <a:lnTo>
                        <a:pt x="11" y="9"/>
                      </a:lnTo>
                      <a:lnTo>
                        <a:pt x="11" y="0"/>
                      </a:lnTo>
                      <a:lnTo>
                        <a:pt x="6" y="3"/>
                      </a:lnTo>
                      <a:lnTo>
                        <a:pt x="3" y="7"/>
                      </a:lnTo>
                      <a:lnTo>
                        <a:pt x="1" y="11"/>
                      </a:lnTo>
                      <a:lnTo>
                        <a:pt x="0" y="16"/>
                      </a:lnTo>
                      <a:lnTo>
                        <a:pt x="0" y="20"/>
                      </a:lnTo>
                      <a:lnTo>
                        <a:pt x="1" y="24"/>
                      </a:lnTo>
                      <a:lnTo>
                        <a:pt x="2" y="28"/>
                      </a:lnTo>
                      <a:lnTo>
                        <a:pt x="4" y="3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99" name="Freeform 53">
                  <a:extLst>
                    <a:ext uri="{FF2B5EF4-FFF2-40B4-BE49-F238E27FC236}">
                      <a16:creationId xmlns:a16="http://schemas.microsoft.com/office/drawing/2014/main" xmlns="" id="{EB9A7AC4-7EFB-4546-A014-8D15339AD12F}"/>
                    </a:ext>
                  </a:extLst>
                </p:cNvPr>
                <p:cNvSpPr>
                  <a:spLocks/>
                </p:cNvSpPr>
                <p:nvPr>
                  <p:custDataLst>
                    <p:tags r:id="rId46"/>
                  </p:custDataLst>
                </p:nvPr>
              </p:nvSpPr>
              <p:spPr bwMode="auto">
                <a:xfrm>
                  <a:off x="2517775" y="3259138"/>
                  <a:ext cx="1588" cy="55562"/>
                </a:xfrm>
                <a:custGeom>
                  <a:avLst/>
                  <a:gdLst>
                    <a:gd name="T0" fmla="*/ 0 w 14"/>
                    <a:gd name="T1" fmla="*/ 0 h 24"/>
                    <a:gd name="T2" fmla="*/ 0 w 14"/>
                    <a:gd name="T3" fmla="*/ 2147483646 h 24"/>
                    <a:gd name="T4" fmla="*/ 2147483646 w 14"/>
                    <a:gd name="T5" fmla="*/ 2147483646 h 24"/>
                    <a:gd name="T6" fmla="*/ 0 w 14"/>
                    <a:gd name="T7" fmla="*/ 0 h 2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"/>
                    <a:gd name="T13" fmla="*/ 0 h 24"/>
                    <a:gd name="T14" fmla="*/ 14 w 14"/>
                    <a:gd name="T15" fmla="*/ 24 h 2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" h="24">
                      <a:moveTo>
                        <a:pt x="0" y="0"/>
                      </a:moveTo>
                      <a:lnTo>
                        <a:pt x="0" y="24"/>
                      </a:lnTo>
                      <a:lnTo>
                        <a:pt x="14" y="1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0" name="Freeform 54">
                  <a:extLst>
                    <a:ext uri="{FF2B5EF4-FFF2-40B4-BE49-F238E27FC236}">
                      <a16:creationId xmlns:a16="http://schemas.microsoft.com/office/drawing/2014/main" xmlns="" id="{9B4E6DD0-D8CF-4DCE-9AA9-8AC5ED8A56EA}"/>
                    </a:ext>
                  </a:extLst>
                </p:cNvPr>
                <p:cNvSpPr>
                  <a:spLocks/>
                </p:cNvSpPr>
                <p:nvPr>
                  <p:custDataLst>
                    <p:tags r:id="rId47"/>
                  </p:custDataLst>
                </p:nvPr>
              </p:nvSpPr>
              <p:spPr bwMode="auto">
                <a:xfrm>
                  <a:off x="2479675" y="3271838"/>
                  <a:ext cx="15875" cy="58737"/>
                </a:xfrm>
                <a:custGeom>
                  <a:avLst/>
                  <a:gdLst>
                    <a:gd name="T0" fmla="*/ 0 w 27"/>
                    <a:gd name="T1" fmla="*/ 2147483646 h 18"/>
                    <a:gd name="T2" fmla="*/ 2147483646 w 27"/>
                    <a:gd name="T3" fmla="*/ 2147483646 h 18"/>
                    <a:gd name="T4" fmla="*/ 2147483646 w 27"/>
                    <a:gd name="T5" fmla="*/ 2147483646 h 18"/>
                    <a:gd name="T6" fmla="*/ 2147483646 w 27"/>
                    <a:gd name="T7" fmla="*/ 2147483646 h 18"/>
                    <a:gd name="T8" fmla="*/ 2147483646 w 27"/>
                    <a:gd name="T9" fmla="*/ 0 h 18"/>
                    <a:gd name="T10" fmla="*/ 2147483646 w 27"/>
                    <a:gd name="T11" fmla="*/ 0 h 18"/>
                    <a:gd name="T12" fmla="*/ 2147483646 w 27"/>
                    <a:gd name="T13" fmla="*/ 2147483646 h 18"/>
                    <a:gd name="T14" fmla="*/ 2147483646 w 27"/>
                    <a:gd name="T15" fmla="*/ 2147483646 h 18"/>
                    <a:gd name="T16" fmla="*/ 2147483646 w 27"/>
                    <a:gd name="T17" fmla="*/ 2147483646 h 18"/>
                    <a:gd name="T18" fmla="*/ 2147483646 w 27"/>
                    <a:gd name="T19" fmla="*/ 2147483646 h 18"/>
                    <a:gd name="T20" fmla="*/ 0 w 27"/>
                    <a:gd name="T21" fmla="*/ 2147483646 h 1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7"/>
                    <a:gd name="T34" fmla="*/ 0 h 18"/>
                    <a:gd name="T35" fmla="*/ 27 w 27"/>
                    <a:gd name="T36" fmla="*/ 18 h 1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7" h="18">
                      <a:moveTo>
                        <a:pt x="0" y="12"/>
                      </a:moveTo>
                      <a:lnTo>
                        <a:pt x="7" y="15"/>
                      </a:lnTo>
                      <a:lnTo>
                        <a:pt x="13" y="18"/>
                      </a:lnTo>
                      <a:lnTo>
                        <a:pt x="22" y="7"/>
                      </a:lnTo>
                      <a:lnTo>
                        <a:pt x="27" y="0"/>
                      </a:lnTo>
                      <a:lnTo>
                        <a:pt x="22" y="0"/>
                      </a:lnTo>
                      <a:lnTo>
                        <a:pt x="18" y="1"/>
                      </a:lnTo>
                      <a:lnTo>
                        <a:pt x="13" y="2"/>
                      </a:lnTo>
                      <a:lnTo>
                        <a:pt x="10" y="4"/>
                      </a:lnTo>
                      <a:lnTo>
                        <a:pt x="5" y="8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1" name="Freeform 55">
                  <a:extLst>
                    <a:ext uri="{FF2B5EF4-FFF2-40B4-BE49-F238E27FC236}">
                      <a16:creationId xmlns:a16="http://schemas.microsoft.com/office/drawing/2014/main" xmlns="" id="{C7B16E7A-1ED1-41ED-BE4B-4BF4404DF2A1}"/>
                    </a:ext>
                  </a:extLst>
                </p:cNvPr>
                <p:cNvSpPr>
                  <a:spLocks/>
                </p:cNvSpPr>
                <p:nvPr>
                  <p:custDataLst>
                    <p:tags r:id="rId48"/>
                  </p:custDataLst>
                </p:nvPr>
              </p:nvSpPr>
              <p:spPr bwMode="auto">
                <a:xfrm>
                  <a:off x="2465388" y="3336925"/>
                  <a:ext cx="23812" cy="57150"/>
                </a:xfrm>
                <a:custGeom>
                  <a:avLst/>
                  <a:gdLst>
                    <a:gd name="T0" fmla="*/ 0 w 47"/>
                    <a:gd name="T1" fmla="*/ 2147483646 h 49"/>
                    <a:gd name="T2" fmla="*/ 2147483646 w 47"/>
                    <a:gd name="T3" fmla="*/ 2147483646 h 49"/>
                    <a:gd name="T4" fmla="*/ 2147483646 w 47"/>
                    <a:gd name="T5" fmla="*/ 2147483646 h 49"/>
                    <a:gd name="T6" fmla="*/ 2147483646 w 47"/>
                    <a:gd name="T7" fmla="*/ 2147483646 h 49"/>
                    <a:gd name="T8" fmla="*/ 2147483646 w 47"/>
                    <a:gd name="T9" fmla="*/ 2147483646 h 49"/>
                    <a:gd name="T10" fmla="*/ 2147483646 w 47"/>
                    <a:gd name="T11" fmla="*/ 2147483646 h 49"/>
                    <a:gd name="T12" fmla="*/ 2147483646 w 47"/>
                    <a:gd name="T13" fmla="*/ 2147483646 h 49"/>
                    <a:gd name="T14" fmla="*/ 2147483646 w 47"/>
                    <a:gd name="T15" fmla="*/ 2147483646 h 49"/>
                    <a:gd name="T16" fmla="*/ 2147483646 w 47"/>
                    <a:gd name="T17" fmla="*/ 2147483646 h 49"/>
                    <a:gd name="T18" fmla="*/ 2147483646 w 47"/>
                    <a:gd name="T19" fmla="*/ 2147483646 h 49"/>
                    <a:gd name="T20" fmla="*/ 2147483646 w 47"/>
                    <a:gd name="T21" fmla="*/ 2147483646 h 49"/>
                    <a:gd name="T22" fmla="*/ 2147483646 w 47"/>
                    <a:gd name="T23" fmla="*/ 2147483646 h 49"/>
                    <a:gd name="T24" fmla="*/ 2147483646 w 47"/>
                    <a:gd name="T25" fmla="*/ 2147483646 h 49"/>
                    <a:gd name="T26" fmla="*/ 2147483646 w 47"/>
                    <a:gd name="T27" fmla="*/ 2147483646 h 49"/>
                    <a:gd name="T28" fmla="*/ 2147483646 w 47"/>
                    <a:gd name="T29" fmla="*/ 2147483646 h 49"/>
                    <a:gd name="T30" fmla="*/ 2147483646 w 47"/>
                    <a:gd name="T31" fmla="*/ 2147483646 h 49"/>
                    <a:gd name="T32" fmla="*/ 2147483646 w 47"/>
                    <a:gd name="T33" fmla="*/ 0 h 49"/>
                    <a:gd name="T34" fmla="*/ 2147483646 w 47"/>
                    <a:gd name="T35" fmla="*/ 0 h 49"/>
                    <a:gd name="T36" fmla="*/ 2147483646 w 47"/>
                    <a:gd name="T37" fmla="*/ 2147483646 h 49"/>
                    <a:gd name="T38" fmla="*/ 2147483646 w 47"/>
                    <a:gd name="T39" fmla="*/ 2147483646 h 49"/>
                    <a:gd name="T40" fmla="*/ 2147483646 w 47"/>
                    <a:gd name="T41" fmla="*/ 2147483646 h 49"/>
                    <a:gd name="T42" fmla="*/ 2147483646 w 47"/>
                    <a:gd name="T43" fmla="*/ 2147483646 h 49"/>
                    <a:gd name="T44" fmla="*/ 2147483646 w 47"/>
                    <a:gd name="T45" fmla="*/ 2147483646 h 49"/>
                    <a:gd name="T46" fmla="*/ 0 w 47"/>
                    <a:gd name="T47" fmla="*/ 2147483646 h 4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47"/>
                    <a:gd name="T73" fmla="*/ 0 h 49"/>
                    <a:gd name="T74" fmla="*/ 47 w 47"/>
                    <a:gd name="T75" fmla="*/ 49 h 49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47" h="49">
                      <a:moveTo>
                        <a:pt x="0" y="36"/>
                      </a:moveTo>
                      <a:lnTo>
                        <a:pt x="1" y="39"/>
                      </a:lnTo>
                      <a:lnTo>
                        <a:pt x="2" y="41"/>
                      </a:lnTo>
                      <a:lnTo>
                        <a:pt x="4" y="43"/>
                      </a:lnTo>
                      <a:lnTo>
                        <a:pt x="6" y="45"/>
                      </a:lnTo>
                      <a:lnTo>
                        <a:pt x="12" y="48"/>
                      </a:lnTo>
                      <a:lnTo>
                        <a:pt x="14" y="49"/>
                      </a:lnTo>
                      <a:lnTo>
                        <a:pt x="18" y="49"/>
                      </a:lnTo>
                      <a:lnTo>
                        <a:pt x="24" y="46"/>
                      </a:lnTo>
                      <a:lnTo>
                        <a:pt x="29" y="42"/>
                      </a:lnTo>
                      <a:lnTo>
                        <a:pt x="35" y="39"/>
                      </a:lnTo>
                      <a:lnTo>
                        <a:pt x="39" y="35"/>
                      </a:lnTo>
                      <a:lnTo>
                        <a:pt x="44" y="31"/>
                      </a:lnTo>
                      <a:lnTo>
                        <a:pt x="46" y="27"/>
                      </a:lnTo>
                      <a:lnTo>
                        <a:pt x="47" y="24"/>
                      </a:lnTo>
                      <a:lnTo>
                        <a:pt x="47" y="12"/>
                      </a:lnTo>
                      <a:lnTo>
                        <a:pt x="47" y="0"/>
                      </a:lnTo>
                      <a:lnTo>
                        <a:pt x="27" y="0"/>
                      </a:lnTo>
                      <a:lnTo>
                        <a:pt x="17" y="8"/>
                      </a:lnTo>
                      <a:lnTo>
                        <a:pt x="9" y="16"/>
                      </a:lnTo>
                      <a:lnTo>
                        <a:pt x="5" y="20"/>
                      </a:lnTo>
                      <a:lnTo>
                        <a:pt x="2" y="25"/>
                      </a:lnTo>
                      <a:lnTo>
                        <a:pt x="1" y="30"/>
                      </a:lnTo>
                      <a:lnTo>
                        <a:pt x="0" y="3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2" name="Freeform 56">
                  <a:extLst>
                    <a:ext uri="{FF2B5EF4-FFF2-40B4-BE49-F238E27FC236}">
                      <a16:creationId xmlns:a16="http://schemas.microsoft.com/office/drawing/2014/main" xmlns="" id="{DC2455CC-FD98-4236-99CF-AFB10177144C}"/>
                    </a:ext>
                  </a:extLst>
                </p:cNvPr>
                <p:cNvSpPr>
                  <a:spLocks/>
                </p:cNvSpPr>
                <p:nvPr>
                  <p:custDataLst>
                    <p:tags r:id="rId49"/>
                  </p:custDataLst>
                </p:nvPr>
              </p:nvSpPr>
              <p:spPr bwMode="auto">
                <a:xfrm>
                  <a:off x="2484438" y="3313113"/>
                  <a:ext cx="12700" cy="57150"/>
                </a:xfrm>
                <a:custGeom>
                  <a:avLst/>
                  <a:gdLst>
                    <a:gd name="T0" fmla="*/ 0 w 26"/>
                    <a:gd name="T1" fmla="*/ 0 h 9"/>
                    <a:gd name="T2" fmla="*/ 0 w 26"/>
                    <a:gd name="T3" fmla="*/ 2147483646 h 9"/>
                    <a:gd name="T4" fmla="*/ 2147483646 w 26"/>
                    <a:gd name="T5" fmla="*/ 2147483646 h 9"/>
                    <a:gd name="T6" fmla="*/ 2147483646 w 26"/>
                    <a:gd name="T7" fmla="*/ 2147483646 h 9"/>
                    <a:gd name="T8" fmla="*/ 2147483646 w 26"/>
                    <a:gd name="T9" fmla="*/ 2147483646 h 9"/>
                    <a:gd name="T10" fmla="*/ 2147483646 w 26"/>
                    <a:gd name="T11" fmla="*/ 2147483646 h 9"/>
                    <a:gd name="T12" fmla="*/ 2147483646 w 26"/>
                    <a:gd name="T13" fmla="*/ 2147483646 h 9"/>
                    <a:gd name="T14" fmla="*/ 2147483646 w 26"/>
                    <a:gd name="T15" fmla="*/ 2147483646 h 9"/>
                    <a:gd name="T16" fmla="*/ 2147483646 w 26"/>
                    <a:gd name="T17" fmla="*/ 0 h 9"/>
                    <a:gd name="T18" fmla="*/ 0 w 26"/>
                    <a:gd name="T19" fmla="*/ 0 h 9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9"/>
                    <a:gd name="T32" fmla="*/ 26 w 26"/>
                    <a:gd name="T33" fmla="*/ 9 h 9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9">
                      <a:moveTo>
                        <a:pt x="0" y="0"/>
                      </a:moveTo>
                      <a:lnTo>
                        <a:pt x="0" y="4"/>
                      </a:lnTo>
                      <a:lnTo>
                        <a:pt x="3" y="7"/>
                      </a:lnTo>
                      <a:lnTo>
                        <a:pt x="6" y="8"/>
                      </a:lnTo>
                      <a:lnTo>
                        <a:pt x="11" y="9"/>
                      </a:lnTo>
                      <a:lnTo>
                        <a:pt x="15" y="8"/>
                      </a:lnTo>
                      <a:lnTo>
                        <a:pt x="20" y="7"/>
                      </a:lnTo>
                      <a:lnTo>
                        <a:pt x="23" y="4"/>
                      </a:lnTo>
                      <a:lnTo>
                        <a:pt x="2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3" name="Freeform 57">
                  <a:extLst>
                    <a:ext uri="{FF2B5EF4-FFF2-40B4-BE49-F238E27FC236}">
                      <a16:creationId xmlns:a16="http://schemas.microsoft.com/office/drawing/2014/main" xmlns="" id="{68BD138A-69E3-4AA6-83E1-5C70602F2199}"/>
                    </a:ext>
                  </a:extLst>
                </p:cNvPr>
                <p:cNvSpPr>
                  <a:spLocks/>
                </p:cNvSpPr>
                <p:nvPr>
                  <p:custDataLst>
                    <p:tags r:id="rId50"/>
                  </p:custDataLst>
                </p:nvPr>
              </p:nvSpPr>
              <p:spPr bwMode="auto">
                <a:xfrm>
                  <a:off x="1966913" y="2984500"/>
                  <a:ext cx="15875" cy="57150"/>
                </a:xfrm>
                <a:custGeom>
                  <a:avLst/>
                  <a:gdLst>
                    <a:gd name="T0" fmla="*/ 0 w 39"/>
                    <a:gd name="T1" fmla="*/ 0 h 18"/>
                    <a:gd name="T2" fmla="*/ 0 w 39"/>
                    <a:gd name="T3" fmla="*/ 2147483646 h 18"/>
                    <a:gd name="T4" fmla="*/ 2147483646 w 39"/>
                    <a:gd name="T5" fmla="*/ 2147483646 h 18"/>
                    <a:gd name="T6" fmla="*/ 2147483646 w 39"/>
                    <a:gd name="T7" fmla="*/ 2147483646 h 18"/>
                    <a:gd name="T8" fmla="*/ 2147483646 w 39"/>
                    <a:gd name="T9" fmla="*/ 2147483646 h 18"/>
                    <a:gd name="T10" fmla="*/ 2147483646 w 39"/>
                    <a:gd name="T11" fmla="*/ 2147483646 h 18"/>
                    <a:gd name="T12" fmla="*/ 2147483646 w 39"/>
                    <a:gd name="T13" fmla="*/ 2147483646 h 18"/>
                    <a:gd name="T14" fmla="*/ 2147483646 w 39"/>
                    <a:gd name="T15" fmla="*/ 2147483646 h 18"/>
                    <a:gd name="T16" fmla="*/ 2147483646 w 39"/>
                    <a:gd name="T17" fmla="*/ 2147483646 h 18"/>
                    <a:gd name="T18" fmla="*/ 2147483646 w 39"/>
                    <a:gd name="T19" fmla="*/ 2147483646 h 18"/>
                    <a:gd name="T20" fmla="*/ 2147483646 w 39"/>
                    <a:gd name="T21" fmla="*/ 2147483646 h 18"/>
                    <a:gd name="T22" fmla="*/ 2147483646 w 39"/>
                    <a:gd name="T23" fmla="*/ 2147483646 h 18"/>
                    <a:gd name="T24" fmla="*/ 2147483646 w 39"/>
                    <a:gd name="T25" fmla="*/ 0 h 18"/>
                    <a:gd name="T26" fmla="*/ 0 w 39"/>
                    <a:gd name="T27" fmla="*/ 0 h 1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9"/>
                    <a:gd name="T43" fmla="*/ 0 h 18"/>
                    <a:gd name="T44" fmla="*/ 39 w 39"/>
                    <a:gd name="T45" fmla="*/ 18 h 1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9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6" y="18"/>
                      </a:lnTo>
                      <a:lnTo>
                        <a:pt x="13" y="18"/>
                      </a:lnTo>
                      <a:lnTo>
                        <a:pt x="23" y="17"/>
                      </a:lnTo>
                      <a:lnTo>
                        <a:pt x="30" y="14"/>
                      </a:lnTo>
                      <a:lnTo>
                        <a:pt x="34" y="12"/>
                      </a:lnTo>
                      <a:lnTo>
                        <a:pt x="37" y="10"/>
                      </a:lnTo>
                      <a:lnTo>
                        <a:pt x="38" y="8"/>
                      </a:lnTo>
                      <a:lnTo>
                        <a:pt x="39" y="6"/>
                      </a:lnTo>
                      <a:lnTo>
                        <a:pt x="29" y="5"/>
                      </a:lnTo>
                      <a:lnTo>
                        <a:pt x="19" y="3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104" name="Group 58">
                  <a:extLst>
                    <a:ext uri="{FF2B5EF4-FFF2-40B4-BE49-F238E27FC236}">
                      <a16:creationId xmlns:a16="http://schemas.microsoft.com/office/drawing/2014/main" xmlns="" id="{68297D68-8C07-4FE4-A14D-C33FF19089C7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51"/>
                  </p:custDataLst>
                </p:nvPr>
              </p:nvGrpSpPr>
              <p:grpSpPr bwMode="auto">
                <a:xfrm>
                  <a:off x="2092325" y="2817813"/>
                  <a:ext cx="131763" cy="195262"/>
                  <a:chOff x="1199" y="2121"/>
                  <a:chExt cx="97" cy="123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587" name="Freeform 59">
                    <a:extLst>
                      <a:ext uri="{FF2B5EF4-FFF2-40B4-BE49-F238E27FC236}">
                        <a16:creationId xmlns:a16="http://schemas.microsoft.com/office/drawing/2014/main" xmlns="" id="{E7E62FCE-2E2B-41AA-A2E8-B3F78ACEC5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74" y="2236"/>
                    <a:ext cx="16" cy="8"/>
                  </a:xfrm>
                  <a:custGeom>
                    <a:avLst/>
                    <a:gdLst>
                      <a:gd name="T0" fmla="*/ 0 w 52"/>
                      <a:gd name="T1" fmla="*/ 0 h 25"/>
                      <a:gd name="T2" fmla="*/ 0 w 52"/>
                      <a:gd name="T3" fmla="*/ 0 h 25"/>
                      <a:gd name="T4" fmla="*/ 0 w 52"/>
                      <a:gd name="T5" fmla="*/ 0 h 25"/>
                      <a:gd name="T6" fmla="*/ 0 w 52"/>
                      <a:gd name="T7" fmla="*/ 0 h 25"/>
                      <a:gd name="T8" fmla="*/ 0 w 52"/>
                      <a:gd name="T9" fmla="*/ 0 h 25"/>
                      <a:gd name="T10" fmla="*/ 0 w 52"/>
                      <a:gd name="T11" fmla="*/ 0 h 25"/>
                      <a:gd name="T12" fmla="*/ 0 w 52"/>
                      <a:gd name="T13" fmla="*/ 0 h 25"/>
                      <a:gd name="T14" fmla="*/ 0 w 52"/>
                      <a:gd name="T15" fmla="*/ 0 h 25"/>
                      <a:gd name="T16" fmla="*/ 0 w 52"/>
                      <a:gd name="T17" fmla="*/ 0 h 25"/>
                      <a:gd name="T18" fmla="*/ 0 w 52"/>
                      <a:gd name="T19" fmla="*/ 0 h 25"/>
                      <a:gd name="T20" fmla="*/ 0 w 52"/>
                      <a:gd name="T21" fmla="*/ 0 h 25"/>
                      <a:gd name="T22" fmla="*/ 0 w 52"/>
                      <a:gd name="T23" fmla="*/ 0 h 25"/>
                      <a:gd name="T24" fmla="*/ 0 w 52"/>
                      <a:gd name="T25" fmla="*/ 0 h 25"/>
                      <a:gd name="T26" fmla="*/ 0 w 52"/>
                      <a:gd name="T27" fmla="*/ 0 h 25"/>
                      <a:gd name="T28" fmla="*/ 0 w 52"/>
                      <a:gd name="T29" fmla="*/ 0 h 25"/>
                      <a:gd name="T30" fmla="*/ 0 w 52"/>
                      <a:gd name="T31" fmla="*/ 0 h 25"/>
                      <a:gd name="T32" fmla="*/ 0 w 52"/>
                      <a:gd name="T33" fmla="*/ 0 h 25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52"/>
                      <a:gd name="T52" fmla="*/ 0 h 25"/>
                      <a:gd name="T53" fmla="*/ 52 w 52"/>
                      <a:gd name="T54" fmla="*/ 25 h 25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52" h="25">
                        <a:moveTo>
                          <a:pt x="0" y="25"/>
                        </a:moveTo>
                        <a:lnTo>
                          <a:pt x="7" y="25"/>
                        </a:lnTo>
                        <a:lnTo>
                          <a:pt x="15" y="24"/>
                        </a:lnTo>
                        <a:lnTo>
                          <a:pt x="23" y="22"/>
                        </a:lnTo>
                        <a:lnTo>
                          <a:pt x="30" y="19"/>
                        </a:lnTo>
                        <a:lnTo>
                          <a:pt x="38" y="15"/>
                        </a:lnTo>
                        <a:lnTo>
                          <a:pt x="43" y="11"/>
                        </a:lnTo>
                        <a:lnTo>
                          <a:pt x="49" y="6"/>
                        </a:lnTo>
                        <a:lnTo>
                          <a:pt x="52" y="0"/>
                        </a:lnTo>
                        <a:lnTo>
                          <a:pt x="40" y="0"/>
                        </a:lnTo>
                        <a:lnTo>
                          <a:pt x="31" y="0"/>
                        </a:lnTo>
                        <a:lnTo>
                          <a:pt x="23" y="1"/>
                        </a:lnTo>
                        <a:lnTo>
                          <a:pt x="16" y="3"/>
                        </a:lnTo>
                        <a:lnTo>
                          <a:pt x="11" y="6"/>
                        </a:lnTo>
                        <a:lnTo>
                          <a:pt x="5" y="10"/>
                        </a:lnTo>
                        <a:lnTo>
                          <a:pt x="2" y="16"/>
                        </a:lnTo>
                        <a:lnTo>
                          <a:pt x="0" y="25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88" name="Freeform 60">
                    <a:extLst>
                      <a:ext uri="{FF2B5EF4-FFF2-40B4-BE49-F238E27FC236}">
                        <a16:creationId xmlns:a16="http://schemas.microsoft.com/office/drawing/2014/main" xmlns="" id="{ADF297C7-8C5F-4E52-AC3F-CF97AC6769E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99" y="2131"/>
                    <a:ext cx="11" cy="4"/>
                  </a:xfrm>
                  <a:custGeom>
                    <a:avLst/>
                    <a:gdLst>
                      <a:gd name="T0" fmla="*/ 0 w 33"/>
                      <a:gd name="T1" fmla="*/ 0 h 13"/>
                      <a:gd name="T2" fmla="*/ 0 w 33"/>
                      <a:gd name="T3" fmla="*/ 0 h 13"/>
                      <a:gd name="T4" fmla="*/ 0 w 33"/>
                      <a:gd name="T5" fmla="*/ 0 h 13"/>
                      <a:gd name="T6" fmla="*/ 0 w 33"/>
                      <a:gd name="T7" fmla="*/ 0 h 13"/>
                      <a:gd name="T8" fmla="*/ 0 w 33"/>
                      <a:gd name="T9" fmla="*/ 0 h 13"/>
                      <a:gd name="T10" fmla="*/ 0 w 33"/>
                      <a:gd name="T11" fmla="*/ 0 h 13"/>
                      <a:gd name="T12" fmla="*/ 0 w 33"/>
                      <a:gd name="T13" fmla="*/ 0 h 13"/>
                      <a:gd name="T14" fmla="*/ 0 w 33"/>
                      <a:gd name="T15" fmla="*/ 0 h 13"/>
                      <a:gd name="T16" fmla="*/ 0 w 33"/>
                      <a:gd name="T17" fmla="*/ 0 h 13"/>
                      <a:gd name="T18" fmla="*/ 0 w 33"/>
                      <a:gd name="T19" fmla="*/ 0 h 13"/>
                      <a:gd name="T20" fmla="*/ 0 w 33"/>
                      <a:gd name="T21" fmla="*/ 0 h 13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33"/>
                      <a:gd name="T34" fmla="*/ 0 h 13"/>
                      <a:gd name="T35" fmla="*/ 33 w 33"/>
                      <a:gd name="T36" fmla="*/ 13 h 13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33" h="13">
                        <a:moveTo>
                          <a:pt x="0" y="0"/>
                        </a:moveTo>
                        <a:lnTo>
                          <a:pt x="0" y="6"/>
                        </a:lnTo>
                        <a:lnTo>
                          <a:pt x="0" y="13"/>
                        </a:lnTo>
                        <a:lnTo>
                          <a:pt x="9" y="13"/>
                        </a:lnTo>
                        <a:lnTo>
                          <a:pt x="16" y="13"/>
                        </a:lnTo>
                        <a:lnTo>
                          <a:pt x="24" y="11"/>
                        </a:lnTo>
                        <a:lnTo>
                          <a:pt x="33" y="6"/>
                        </a:lnTo>
                        <a:lnTo>
                          <a:pt x="24" y="3"/>
                        </a:lnTo>
                        <a:lnTo>
                          <a:pt x="16" y="1"/>
                        </a:lnTo>
                        <a:lnTo>
                          <a:pt x="9" y="0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89" name="Freeform 61">
                    <a:extLst>
                      <a:ext uri="{FF2B5EF4-FFF2-40B4-BE49-F238E27FC236}">
                        <a16:creationId xmlns:a16="http://schemas.microsoft.com/office/drawing/2014/main" xmlns="" id="{F7F7865E-F71F-41DB-BE8E-AE0B7A7AED5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10" y="2121"/>
                    <a:ext cx="20" cy="28"/>
                  </a:xfrm>
                  <a:custGeom>
                    <a:avLst/>
                    <a:gdLst>
                      <a:gd name="T0" fmla="*/ 0 w 67"/>
                      <a:gd name="T1" fmla="*/ 0 h 86"/>
                      <a:gd name="T2" fmla="*/ 0 w 67"/>
                      <a:gd name="T3" fmla="*/ 0 h 86"/>
                      <a:gd name="T4" fmla="*/ 0 w 67"/>
                      <a:gd name="T5" fmla="*/ 0 h 86"/>
                      <a:gd name="T6" fmla="*/ 0 w 67"/>
                      <a:gd name="T7" fmla="*/ 0 h 86"/>
                      <a:gd name="T8" fmla="*/ 0 w 67"/>
                      <a:gd name="T9" fmla="*/ 0 h 86"/>
                      <a:gd name="T10" fmla="*/ 0 w 67"/>
                      <a:gd name="T11" fmla="*/ 0 h 86"/>
                      <a:gd name="T12" fmla="*/ 0 w 67"/>
                      <a:gd name="T13" fmla="*/ 0 h 86"/>
                      <a:gd name="T14" fmla="*/ 0 w 67"/>
                      <a:gd name="T15" fmla="*/ 0 h 86"/>
                      <a:gd name="T16" fmla="*/ 0 w 67"/>
                      <a:gd name="T17" fmla="*/ 0 h 86"/>
                      <a:gd name="T18" fmla="*/ 0 w 67"/>
                      <a:gd name="T19" fmla="*/ 0 h 86"/>
                      <a:gd name="T20" fmla="*/ 0 w 67"/>
                      <a:gd name="T21" fmla="*/ 0 h 86"/>
                      <a:gd name="T22" fmla="*/ 0 w 67"/>
                      <a:gd name="T23" fmla="*/ 0 h 86"/>
                      <a:gd name="T24" fmla="*/ 0 w 67"/>
                      <a:gd name="T25" fmla="*/ 0 h 86"/>
                      <a:gd name="T26" fmla="*/ 0 w 67"/>
                      <a:gd name="T27" fmla="*/ 0 h 86"/>
                      <a:gd name="T28" fmla="*/ 0 w 67"/>
                      <a:gd name="T29" fmla="*/ 0 h 86"/>
                      <a:gd name="T30" fmla="*/ 0 w 67"/>
                      <a:gd name="T31" fmla="*/ 0 h 86"/>
                      <a:gd name="T32" fmla="*/ 0 w 67"/>
                      <a:gd name="T33" fmla="*/ 0 h 86"/>
                      <a:gd name="T34" fmla="*/ 0 w 67"/>
                      <a:gd name="T35" fmla="*/ 0 h 86"/>
                      <a:gd name="T36" fmla="*/ 0 w 67"/>
                      <a:gd name="T37" fmla="*/ 0 h 86"/>
                      <a:gd name="T38" fmla="*/ 0 w 67"/>
                      <a:gd name="T39" fmla="*/ 0 h 86"/>
                      <a:gd name="T40" fmla="*/ 0 w 67"/>
                      <a:gd name="T41" fmla="*/ 0 h 86"/>
                      <a:gd name="T42" fmla="*/ 0 w 67"/>
                      <a:gd name="T43" fmla="*/ 0 h 86"/>
                      <a:gd name="T44" fmla="*/ 0 w 67"/>
                      <a:gd name="T45" fmla="*/ 0 h 86"/>
                      <a:gd name="T46" fmla="*/ 0 w 67"/>
                      <a:gd name="T47" fmla="*/ 0 h 86"/>
                      <a:gd name="T48" fmla="*/ 0 w 67"/>
                      <a:gd name="T49" fmla="*/ 0 h 86"/>
                      <a:gd name="T50" fmla="*/ 0 w 67"/>
                      <a:gd name="T51" fmla="*/ 0 h 86"/>
                      <a:gd name="T52" fmla="*/ 0 w 67"/>
                      <a:gd name="T53" fmla="*/ 0 h 86"/>
                      <a:gd name="T54" fmla="*/ 0 w 67"/>
                      <a:gd name="T55" fmla="*/ 0 h 86"/>
                      <a:gd name="T56" fmla="*/ 0 w 67"/>
                      <a:gd name="T57" fmla="*/ 0 h 8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w 67"/>
                      <a:gd name="T88" fmla="*/ 0 h 86"/>
                      <a:gd name="T89" fmla="*/ 67 w 67"/>
                      <a:gd name="T90" fmla="*/ 86 h 86"/>
                    </a:gdLst>
                    <a:ahLst/>
                    <a:cxnLst>
                      <a:cxn ang="T58">
                        <a:pos x="T0" y="T1"/>
                      </a:cxn>
                      <a:cxn ang="T59">
                        <a:pos x="T2" y="T3"/>
                      </a:cxn>
                      <a:cxn ang="T60">
                        <a:pos x="T4" y="T5"/>
                      </a:cxn>
                      <a:cxn ang="T61">
                        <a:pos x="T6" y="T7"/>
                      </a:cxn>
                      <a:cxn ang="T62">
                        <a:pos x="T8" y="T9"/>
                      </a:cxn>
                      <a:cxn ang="T63">
                        <a:pos x="T10" y="T11"/>
                      </a:cxn>
                      <a:cxn ang="T64">
                        <a:pos x="T12" y="T13"/>
                      </a:cxn>
                      <a:cxn ang="T65">
                        <a:pos x="T14" y="T15"/>
                      </a:cxn>
                      <a:cxn ang="T66">
                        <a:pos x="T16" y="T17"/>
                      </a:cxn>
                      <a:cxn ang="T67">
                        <a:pos x="T18" y="T19"/>
                      </a:cxn>
                      <a:cxn ang="T68">
                        <a:pos x="T20" y="T21"/>
                      </a:cxn>
                      <a:cxn ang="T69">
                        <a:pos x="T22" y="T23"/>
                      </a:cxn>
                      <a:cxn ang="T70">
                        <a:pos x="T24" y="T25"/>
                      </a:cxn>
                      <a:cxn ang="T71">
                        <a:pos x="T26" y="T27"/>
                      </a:cxn>
                      <a:cxn ang="T72">
                        <a:pos x="T28" y="T29"/>
                      </a:cxn>
                      <a:cxn ang="T73">
                        <a:pos x="T30" y="T31"/>
                      </a:cxn>
                      <a:cxn ang="T74">
                        <a:pos x="T32" y="T33"/>
                      </a:cxn>
                      <a:cxn ang="T75">
                        <a:pos x="T34" y="T35"/>
                      </a:cxn>
                      <a:cxn ang="T76">
                        <a:pos x="T36" y="T37"/>
                      </a:cxn>
                      <a:cxn ang="T77">
                        <a:pos x="T38" y="T39"/>
                      </a:cxn>
                      <a:cxn ang="T78">
                        <a:pos x="T40" y="T41"/>
                      </a:cxn>
                      <a:cxn ang="T79">
                        <a:pos x="T42" y="T43"/>
                      </a:cxn>
                      <a:cxn ang="T80">
                        <a:pos x="T44" y="T45"/>
                      </a:cxn>
                      <a:cxn ang="T81">
                        <a:pos x="T46" y="T47"/>
                      </a:cxn>
                      <a:cxn ang="T82">
                        <a:pos x="T48" y="T49"/>
                      </a:cxn>
                      <a:cxn ang="T83">
                        <a:pos x="T50" y="T51"/>
                      </a:cxn>
                      <a:cxn ang="T84">
                        <a:pos x="T52" y="T53"/>
                      </a:cxn>
                      <a:cxn ang="T85">
                        <a:pos x="T54" y="T55"/>
                      </a:cxn>
                      <a:cxn ang="T86">
                        <a:pos x="T56" y="T57"/>
                      </a:cxn>
                    </a:cxnLst>
                    <a:rect l="T87" t="T88" r="T89" b="T90"/>
                    <a:pathLst>
                      <a:path w="67" h="86">
                        <a:moveTo>
                          <a:pt x="26" y="18"/>
                        </a:moveTo>
                        <a:lnTo>
                          <a:pt x="0" y="0"/>
                        </a:lnTo>
                        <a:lnTo>
                          <a:pt x="26" y="0"/>
                        </a:lnTo>
                        <a:lnTo>
                          <a:pt x="29" y="4"/>
                        </a:lnTo>
                        <a:lnTo>
                          <a:pt x="33" y="8"/>
                        </a:lnTo>
                        <a:lnTo>
                          <a:pt x="36" y="11"/>
                        </a:lnTo>
                        <a:lnTo>
                          <a:pt x="39" y="14"/>
                        </a:lnTo>
                        <a:lnTo>
                          <a:pt x="47" y="17"/>
                        </a:lnTo>
                        <a:lnTo>
                          <a:pt x="54" y="18"/>
                        </a:lnTo>
                        <a:lnTo>
                          <a:pt x="58" y="30"/>
                        </a:lnTo>
                        <a:lnTo>
                          <a:pt x="62" y="40"/>
                        </a:lnTo>
                        <a:lnTo>
                          <a:pt x="63" y="45"/>
                        </a:lnTo>
                        <a:lnTo>
                          <a:pt x="66" y="50"/>
                        </a:lnTo>
                        <a:lnTo>
                          <a:pt x="66" y="55"/>
                        </a:lnTo>
                        <a:lnTo>
                          <a:pt x="67" y="61"/>
                        </a:lnTo>
                        <a:lnTo>
                          <a:pt x="63" y="74"/>
                        </a:lnTo>
                        <a:lnTo>
                          <a:pt x="60" y="86"/>
                        </a:lnTo>
                        <a:lnTo>
                          <a:pt x="55" y="69"/>
                        </a:lnTo>
                        <a:lnTo>
                          <a:pt x="51" y="54"/>
                        </a:lnTo>
                        <a:lnTo>
                          <a:pt x="50" y="47"/>
                        </a:lnTo>
                        <a:lnTo>
                          <a:pt x="50" y="41"/>
                        </a:lnTo>
                        <a:lnTo>
                          <a:pt x="51" y="35"/>
                        </a:lnTo>
                        <a:lnTo>
                          <a:pt x="54" y="30"/>
                        </a:lnTo>
                        <a:lnTo>
                          <a:pt x="44" y="30"/>
                        </a:lnTo>
                        <a:lnTo>
                          <a:pt x="35" y="29"/>
                        </a:lnTo>
                        <a:lnTo>
                          <a:pt x="32" y="27"/>
                        </a:lnTo>
                        <a:lnTo>
                          <a:pt x="28" y="25"/>
                        </a:lnTo>
                        <a:lnTo>
                          <a:pt x="27" y="22"/>
                        </a:lnTo>
                        <a:lnTo>
                          <a:pt x="26" y="18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90" name="Freeform 62">
                    <a:extLst>
                      <a:ext uri="{FF2B5EF4-FFF2-40B4-BE49-F238E27FC236}">
                        <a16:creationId xmlns:a16="http://schemas.microsoft.com/office/drawing/2014/main" xmlns="" id="{90521F80-36C8-4AAE-808F-83CB68E926A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01" y="2159"/>
                    <a:ext cx="16" cy="28"/>
                  </a:xfrm>
                  <a:custGeom>
                    <a:avLst/>
                    <a:gdLst>
                      <a:gd name="T0" fmla="*/ 0 w 49"/>
                      <a:gd name="T1" fmla="*/ 0 h 86"/>
                      <a:gd name="T2" fmla="*/ 0 w 49"/>
                      <a:gd name="T3" fmla="*/ 0 h 86"/>
                      <a:gd name="T4" fmla="*/ 0 w 49"/>
                      <a:gd name="T5" fmla="*/ 0 h 86"/>
                      <a:gd name="T6" fmla="*/ 0 w 49"/>
                      <a:gd name="T7" fmla="*/ 0 h 86"/>
                      <a:gd name="T8" fmla="*/ 0 w 49"/>
                      <a:gd name="T9" fmla="*/ 0 h 86"/>
                      <a:gd name="T10" fmla="*/ 0 w 49"/>
                      <a:gd name="T11" fmla="*/ 0 h 86"/>
                      <a:gd name="T12" fmla="*/ 0 w 49"/>
                      <a:gd name="T13" fmla="*/ 0 h 86"/>
                      <a:gd name="T14" fmla="*/ 0 w 49"/>
                      <a:gd name="T15" fmla="*/ 0 h 86"/>
                      <a:gd name="T16" fmla="*/ 0 w 49"/>
                      <a:gd name="T17" fmla="*/ 0 h 86"/>
                      <a:gd name="T18" fmla="*/ 0 w 49"/>
                      <a:gd name="T19" fmla="*/ 0 h 86"/>
                      <a:gd name="T20" fmla="*/ 0 w 49"/>
                      <a:gd name="T21" fmla="*/ 0 h 86"/>
                      <a:gd name="T22" fmla="*/ 0 w 49"/>
                      <a:gd name="T23" fmla="*/ 0 h 86"/>
                      <a:gd name="T24" fmla="*/ 0 w 49"/>
                      <a:gd name="T25" fmla="*/ 0 h 86"/>
                      <a:gd name="T26" fmla="*/ 0 w 49"/>
                      <a:gd name="T27" fmla="*/ 0 h 86"/>
                      <a:gd name="T28" fmla="*/ 0 w 49"/>
                      <a:gd name="T29" fmla="*/ 0 h 86"/>
                      <a:gd name="T30" fmla="*/ 0 w 49"/>
                      <a:gd name="T31" fmla="*/ 0 h 86"/>
                      <a:gd name="T32" fmla="*/ 0 w 49"/>
                      <a:gd name="T33" fmla="*/ 0 h 86"/>
                      <a:gd name="T34" fmla="*/ 0 w 49"/>
                      <a:gd name="T35" fmla="*/ 0 h 86"/>
                      <a:gd name="T36" fmla="*/ 0 w 49"/>
                      <a:gd name="T37" fmla="*/ 0 h 86"/>
                      <a:gd name="T38" fmla="*/ 0 w 49"/>
                      <a:gd name="T39" fmla="*/ 0 h 86"/>
                      <a:gd name="T40" fmla="*/ 0 w 49"/>
                      <a:gd name="T41" fmla="*/ 0 h 86"/>
                      <a:gd name="T42" fmla="*/ 0 w 49"/>
                      <a:gd name="T43" fmla="*/ 0 h 86"/>
                      <a:gd name="T44" fmla="*/ 0 w 49"/>
                      <a:gd name="T45" fmla="*/ 0 h 86"/>
                      <a:gd name="T46" fmla="*/ 0 w 49"/>
                      <a:gd name="T47" fmla="*/ 0 h 86"/>
                      <a:gd name="T48" fmla="*/ 0 w 49"/>
                      <a:gd name="T49" fmla="*/ 0 h 86"/>
                      <a:gd name="T50" fmla="*/ 0 w 49"/>
                      <a:gd name="T51" fmla="*/ 0 h 86"/>
                      <a:gd name="T52" fmla="*/ 0 w 49"/>
                      <a:gd name="T53" fmla="*/ 0 h 8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w 49"/>
                      <a:gd name="T82" fmla="*/ 0 h 86"/>
                      <a:gd name="T83" fmla="*/ 49 w 49"/>
                      <a:gd name="T84" fmla="*/ 86 h 86"/>
                    </a:gdLst>
                    <a:ahLst/>
                    <a:cxnLst>
                      <a:cxn ang="T54">
                        <a:pos x="T0" y="T1"/>
                      </a:cxn>
                      <a:cxn ang="T55">
                        <a:pos x="T2" y="T3"/>
                      </a:cxn>
                      <a:cxn ang="T56">
                        <a:pos x="T4" y="T5"/>
                      </a:cxn>
                      <a:cxn ang="T57">
                        <a:pos x="T6" y="T7"/>
                      </a:cxn>
                      <a:cxn ang="T58">
                        <a:pos x="T8" y="T9"/>
                      </a:cxn>
                      <a:cxn ang="T59">
                        <a:pos x="T10" y="T11"/>
                      </a:cxn>
                      <a:cxn ang="T60">
                        <a:pos x="T12" y="T13"/>
                      </a:cxn>
                      <a:cxn ang="T61">
                        <a:pos x="T14" y="T15"/>
                      </a:cxn>
                      <a:cxn ang="T62">
                        <a:pos x="T16" y="T17"/>
                      </a:cxn>
                      <a:cxn ang="T63">
                        <a:pos x="T18" y="T19"/>
                      </a:cxn>
                      <a:cxn ang="T64">
                        <a:pos x="T20" y="T21"/>
                      </a:cxn>
                      <a:cxn ang="T65">
                        <a:pos x="T22" y="T23"/>
                      </a:cxn>
                      <a:cxn ang="T66">
                        <a:pos x="T24" y="T25"/>
                      </a:cxn>
                      <a:cxn ang="T67">
                        <a:pos x="T26" y="T27"/>
                      </a:cxn>
                      <a:cxn ang="T68">
                        <a:pos x="T28" y="T29"/>
                      </a:cxn>
                      <a:cxn ang="T69">
                        <a:pos x="T30" y="T31"/>
                      </a:cxn>
                      <a:cxn ang="T70">
                        <a:pos x="T32" y="T33"/>
                      </a:cxn>
                      <a:cxn ang="T71">
                        <a:pos x="T34" y="T35"/>
                      </a:cxn>
                      <a:cxn ang="T72">
                        <a:pos x="T36" y="T37"/>
                      </a:cxn>
                      <a:cxn ang="T73">
                        <a:pos x="T38" y="T39"/>
                      </a:cxn>
                      <a:cxn ang="T74">
                        <a:pos x="T40" y="T41"/>
                      </a:cxn>
                      <a:cxn ang="T75">
                        <a:pos x="T42" y="T43"/>
                      </a:cxn>
                      <a:cxn ang="T76">
                        <a:pos x="T44" y="T45"/>
                      </a:cxn>
                      <a:cxn ang="T77">
                        <a:pos x="T46" y="T47"/>
                      </a:cxn>
                      <a:cxn ang="T78">
                        <a:pos x="T48" y="T49"/>
                      </a:cxn>
                      <a:cxn ang="T79">
                        <a:pos x="T50" y="T51"/>
                      </a:cxn>
                      <a:cxn ang="T80">
                        <a:pos x="T52" y="T53"/>
                      </a:cxn>
                    </a:cxnLst>
                    <a:rect l="T81" t="T82" r="T83" b="T84"/>
                    <a:pathLst>
                      <a:path w="49" h="86">
                        <a:moveTo>
                          <a:pt x="27" y="12"/>
                        </a:moveTo>
                        <a:lnTo>
                          <a:pt x="20" y="6"/>
                        </a:lnTo>
                        <a:lnTo>
                          <a:pt x="14" y="0"/>
                        </a:lnTo>
                        <a:lnTo>
                          <a:pt x="9" y="5"/>
                        </a:lnTo>
                        <a:lnTo>
                          <a:pt x="5" y="13"/>
                        </a:lnTo>
                        <a:lnTo>
                          <a:pt x="1" y="21"/>
                        </a:lnTo>
                        <a:lnTo>
                          <a:pt x="0" y="30"/>
                        </a:lnTo>
                        <a:lnTo>
                          <a:pt x="0" y="36"/>
                        </a:lnTo>
                        <a:lnTo>
                          <a:pt x="3" y="43"/>
                        </a:lnTo>
                        <a:lnTo>
                          <a:pt x="5" y="50"/>
                        </a:lnTo>
                        <a:lnTo>
                          <a:pt x="8" y="58"/>
                        </a:lnTo>
                        <a:lnTo>
                          <a:pt x="12" y="66"/>
                        </a:lnTo>
                        <a:lnTo>
                          <a:pt x="17" y="74"/>
                        </a:lnTo>
                        <a:lnTo>
                          <a:pt x="22" y="80"/>
                        </a:lnTo>
                        <a:lnTo>
                          <a:pt x="27" y="86"/>
                        </a:lnTo>
                        <a:lnTo>
                          <a:pt x="31" y="79"/>
                        </a:lnTo>
                        <a:lnTo>
                          <a:pt x="37" y="69"/>
                        </a:lnTo>
                        <a:lnTo>
                          <a:pt x="42" y="57"/>
                        </a:lnTo>
                        <a:lnTo>
                          <a:pt x="46" y="45"/>
                        </a:lnTo>
                        <a:lnTo>
                          <a:pt x="49" y="39"/>
                        </a:lnTo>
                        <a:lnTo>
                          <a:pt x="49" y="33"/>
                        </a:lnTo>
                        <a:lnTo>
                          <a:pt x="49" y="26"/>
                        </a:lnTo>
                        <a:lnTo>
                          <a:pt x="48" y="22"/>
                        </a:lnTo>
                        <a:lnTo>
                          <a:pt x="44" y="18"/>
                        </a:lnTo>
                        <a:lnTo>
                          <a:pt x="40" y="15"/>
                        </a:lnTo>
                        <a:lnTo>
                          <a:pt x="34" y="13"/>
                        </a:lnTo>
                        <a:lnTo>
                          <a:pt x="27" y="12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91" name="Freeform 63">
                    <a:extLst>
                      <a:ext uri="{FF2B5EF4-FFF2-40B4-BE49-F238E27FC236}">
                        <a16:creationId xmlns:a16="http://schemas.microsoft.com/office/drawing/2014/main" xmlns="" id="{506CC927-D6BC-4BDF-994E-BBEB98A6ECC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26" y="2161"/>
                    <a:ext cx="2" cy="4"/>
                  </a:xfrm>
                  <a:custGeom>
                    <a:avLst/>
                    <a:gdLst>
                      <a:gd name="T0" fmla="*/ 0 w 6"/>
                      <a:gd name="T1" fmla="*/ 0 h 12"/>
                      <a:gd name="T2" fmla="*/ 0 w 6"/>
                      <a:gd name="T3" fmla="*/ 0 h 12"/>
                      <a:gd name="T4" fmla="*/ 0 w 6"/>
                      <a:gd name="T5" fmla="*/ 0 h 12"/>
                      <a:gd name="T6" fmla="*/ 0 w 6"/>
                      <a:gd name="T7" fmla="*/ 0 h 12"/>
                      <a:gd name="T8" fmla="*/ 0 w 6"/>
                      <a:gd name="T9" fmla="*/ 0 h 12"/>
                      <a:gd name="T10" fmla="*/ 0 w 6"/>
                      <a:gd name="T11" fmla="*/ 0 h 12"/>
                      <a:gd name="T12" fmla="*/ 0 w 6"/>
                      <a:gd name="T13" fmla="*/ 0 h 12"/>
                      <a:gd name="T14" fmla="*/ 0 w 6"/>
                      <a:gd name="T15" fmla="*/ 0 h 1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6"/>
                      <a:gd name="T25" fmla="*/ 0 h 12"/>
                      <a:gd name="T26" fmla="*/ 6 w 6"/>
                      <a:gd name="T27" fmla="*/ 12 h 1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6" h="12">
                        <a:moveTo>
                          <a:pt x="0" y="12"/>
                        </a:moveTo>
                        <a:lnTo>
                          <a:pt x="6" y="0"/>
                        </a:lnTo>
                        <a:lnTo>
                          <a:pt x="4" y="0"/>
                        </a:lnTo>
                        <a:lnTo>
                          <a:pt x="2" y="2"/>
                        </a:lnTo>
                        <a:lnTo>
                          <a:pt x="1" y="4"/>
                        </a:lnTo>
                        <a:lnTo>
                          <a:pt x="0" y="6"/>
                        </a:lnTo>
                        <a:lnTo>
                          <a:pt x="0" y="10"/>
                        </a:lnTo>
                        <a:lnTo>
                          <a:pt x="0" y="12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92" name="Freeform 64">
                    <a:extLst>
                      <a:ext uri="{FF2B5EF4-FFF2-40B4-BE49-F238E27FC236}">
                        <a16:creationId xmlns:a16="http://schemas.microsoft.com/office/drawing/2014/main" xmlns="" id="{67050697-C70E-4F02-9F35-D538575AAE6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30" y="2154"/>
                    <a:ext cx="13" cy="15"/>
                  </a:xfrm>
                  <a:custGeom>
                    <a:avLst/>
                    <a:gdLst>
                      <a:gd name="T0" fmla="*/ 0 w 39"/>
                      <a:gd name="T1" fmla="*/ 0 h 48"/>
                      <a:gd name="T2" fmla="*/ 0 w 39"/>
                      <a:gd name="T3" fmla="*/ 0 h 48"/>
                      <a:gd name="T4" fmla="*/ 0 w 39"/>
                      <a:gd name="T5" fmla="*/ 0 h 48"/>
                      <a:gd name="T6" fmla="*/ 0 w 39"/>
                      <a:gd name="T7" fmla="*/ 0 h 48"/>
                      <a:gd name="T8" fmla="*/ 0 w 39"/>
                      <a:gd name="T9" fmla="*/ 0 h 48"/>
                      <a:gd name="T10" fmla="*/ 0 w 39"/>
                      <a:gd name="T11" fmla="*/ 0 h 48"/>
                      <a:gd name="T12" fmla="*/ 0 w 39"/>
                      <a:gd name="T13" fmla="*/ 0 h 48"/>
                      <a:gd name="T14" fmla="*/ 0 w 39"/>
                      <a:gd name="T15" fmla="*/ 0 h 48"/>
                      <a:gd name="T16" fmla="*/ 0 w 39"/>
                      <a:gd name="T17" fmla="*/ 0 h 48"/>
                      <a:gd name="T18" fmla="*/ 0 w 39"/>
                      <a:gd name="T19" fmla="*/ 0 h 48"/>
                      <a:gd name="T20" fmla="*/ 0 w 39"/>
                      <a:gd name="T21" fmla="*/ 0 h 48"/>
                      <a:gd name="T22" fmla="*/ 0 w 39"/>
                      <a:gd name="T23" fmla="*/ 0 h 48"/>
                      <a:gd name="T24" fmla="*/ 0 w 39"/>
                      <a:gd name="T25" fmla="*/ 0 h 48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39"/>
                      <a:gd name="T40" fmla="*/ 0 h 48"/>
                      <a:gd name="T41" fmla="*/ 39 w 39"/>
                      <a:gd name="T42" fmla="*/ 48 h 48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39" h="48">
                        <a:moveTo>
                          <a:pt x="0" y="0"/>
                        </a:moveTo>
                        <a:lnTo>
                          <a:pt x="11" y="9"/>
                        </a:lnTo>
                        <a:lnTo>
                          <a:pt x="22" y="17"/>
                        </a:lnTo>
                        <a:lnTo>
                          <a:pt x="32" y="24"/>
                        </a:lnTo>
                        <a:lnTo>
                          <a:pt x="39" y="30"/>
                        </a:lnTo>
                        <a:lnTo>
                          <a:pt x="36" y="39"/>
                        </a:lnTo>
                        <a:lnTo>
                          <a:pt x="33" y="48"/>
                        </a:lnTo>
                        <a:lnTo>
                          <a:pt x="18" y="36"/>
                        </a:lnTo>
                        <a:lnTo>
                          <a:pt x="8" y="26"/>
                        </a:lnTo>
                        <a:lnTo>
                          <a:pt x="4" y="21"/>
                        </a:lnTo>
                        <a:lnTo>
                          <a:pt x="2" y="15"/>
                        </a:lnTo>
                        <a:lnTo>
                          <a:pt x="0" y="8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93" name="Freeform 65">
                    <a:extLst>
                      <a:ext uri="{FF2B5EF4-FFF2-40B4-BE49-F238E27FC236}">
                        <a16:creationId xmlns:a16="http://schemas.microsoft.com/office/drawing/2014/main" xmlns="" id="{FBDCAC0D-EA0C-4B1C-8F16-E16DFE2B304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47" y="2167"/>
                    <a:ext cx="6" cy="14"/>
                  </a:xfrm>
                  <a:custGeom>
                    <a:avLst/>
                    <a:gdLst>
                      <a:gd name="T0" fmla="*/ 0 w 16"/>
                      <a:gd name="T1" fmla="*/ 0 h 43"/>
                      <a:gd name="T2" fmla="*/ 0 w 16"/>
                      <a:gd name="T3" fmla="*/ 0 h 43"/>
                      <a:gd name="T4" fmla="*/ 0 w 16"/>
                      <a:gd name="T5" fmla="*/ 0 h 43"/>
                      <a:gd name="T6" fmla="*/ 0 w 16"/>
                      <a:gd name="T7" fmla="*/ 0 h 43"/>
                      <a:gd name="T8" fmla="*/ 0 w 16"/>
                      <a:gd name="T9" fmla="*/ 0 h 43"/>
                      <a:gd name="T10" fmla="*/ 0 w 16"/>
                      <a:gd name="T11" fmla="*/ 0 h 43"/>
                      <a:gd name="T12" fmla="*/ 0 w 16"/>
                      <a:gd name="T13" fmla="*/ 0 h 43"/>
                      <a:gd name="T14" fmla="*/ 0 w 16"/>
                      <a:gd name="T15" fmla="*/ 0 h 43"/>
                      <a:gd name="T16" fmla="*/ 0 w 16"/>
                      <a:gd name="T17" fmla="*/ 0 h 43"/>
                      <a:gd name="T18" fmla="*/ 0 w 16"/>
                      <a:gd name="T19" fmla="*/ 0 h 43"/>
                      <a:gd name="T20" fmla="*/ 0 w 16"/>
                      <a:gd name="T21" fmla="*/ 0 h 43"/>
                      <a:gd name="T22" fmla="*/ 0 w 16"/>
                      <a:gd name="T23" fmla="*/ 0 h 43"/>
                      <a:gd name="T24" fmla="*/ 0 w 16"/>
                      <a:gd name="T25" fmla="*/ 0 h 43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16"/>
                      <a:gd name="T40" fmla="*/ 0 h 43"/>
                      <a:gd name="T41" fmla="*/ 16 w 16"/>
                      <a:gd name="T42" fmla="*/ 43 h 43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16" h="43">
                        <a:moveTo>
                          <a:pt x="7" y="0"/>
                        </a:moveTo>
                        <a:lnTo>
                          <a:pt x="11" y="9"/>
                        </a:lnTo>
                        <a:lnTo>
                          <a:pt x="15" y="16"/>
                        </a:lnTo>
                        <a:lnTo>
                          <a:pt x="16" y="22"/>
                        </a:lnTo>
                        <a:lnTo>
                          <a:pt x="16" y="27"/>
                        </a:lnTo>
                        <a:lnTo>
                          <a:pt x="15" y="31"/>
                        </a:lnTo>
                        <a:lnTo>
                          <a:pt x="11" y="35"/>
                        </a:lnTo>
                        <a:lnTo>
                          <a:pt x="7" y="39"/>
                        </a:lnTo>
                        <a:lnTo>
                          <a:pt x="0" y="43"/>
                        </a:lnTo>
                        <a:lnTo>
                          <a:pt x="2" y="28"/>
                        </a:lnTo>
                        <a:lnTo>
                          <a:pt x="4" y="18"/>
                        </a:lnTo>
                        <a:lnTo>
                          <a:pt x="6" y="9"/>
                        </a:lnTo>
                        <a:lnTo>
                          <a:pt x="7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94" name="Freeform 66">
                    <a:extLst>
                      <a:ext uri="{FF2B5EF4-FFF2-40B4-BE49-F238E27FC236}">
                        <a16:creationId xmlns:a16="http://schemas.microsoft.com/office/drawing/2014/main" xmlns="" id="{DD8127F5-FEC3-464D-97A0-F811C3674FC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48" y="2190"/>
                    <a:ext cx="8" cy="12"/>
                  </a:xfrm>
                  <a:custGeom>
                    <a:avLst/>
                    <a:gdLst>
                      <a:gd name="T0" fmla="*/ 0 w 24"/>
                      <a:gd name="T1" fmla="*/ 0 h 37"/>
                      <a:gd name="T2" fmla="*/ 0 w 24"/>
                      <a:gd name="T3" fmla="*/ 0 h 37"/>
                      <a:gd name="T4" fmla="*/ 0 w 24"/>
                      <a:gd name="T5" fmla="*/ 0 h 37"/>
                      <a:gd name="T6" fmla="*/ 0 w 24"/>
                      <a:gd name="T7" fmla="*/ 0 h 37"/>
                      <a:gd name="T8" fmla="*/ 0 w 24"/>
                      <a:gd name="T9" fmla="*/ 0 h 37"/>
                      <a:gd name="T10" fmla="*/ 0 w 24"/>
                      <a:gd name="T11" fmla="*/ 0 h 37"/>
                      <a:gd name="T12" fmla="*/ 0 w 24"/>
                      <a:gd name="T13" fmla="*/ 0 h 37"/>
                      <a:gd name="T14" fmla="*/ 0 w 24"/>
                      <a:gd name="T15" fmla="*/ 0 h 37"/>
                      <a:gd name="T16" fmla="*/ 0 w 24"/>
                      <a:gd name="T17" fmla="*/ 0 h 37"/>
                      <a:gd name="T18" fmla="*/ 0 w 24"/>
                      <a:gd name="T19" fmla="*/ 0 h 37"/>
                      <a:gd name="T20" fmla="*/ 0 w 24"/>
                      <a:gd name="T21" fmla="*/ 0 h 37"/>
                      <a:gd name="T22" fmla="*/ 0 w 24"/>
                      <a:gd name="T23" fmla="*/ 0 h 37"/>
                      <a:gd name="T24" fmla="*/ 0 w 24"/>
                      <a:gd name="T25" fmla="*/ 0 h 37"/>
                      <a:gd name="T26" fmla="*/ 0 w 24"/>
                      <a:gd name="T27" fmla="*/ 0 h 37"/>
                      <a:gd name="T28" fmla="*/ 0 w 24"/>
                      <a:gd name="T29" fmla="*/ 0 h 37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24"/>
                      <a:gd name="T46" fmla="*/ 0 h 37"/>
                      <a:gd name="T47" fmla="*/ 24 w 24"/>
                      <a:gd name="T48" fmla="*/ 37 h 37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24" h="37">
                        <a:moveTo>
                          <a:pt x="24" y="36"/>
                        </a:moveTo>
                        <a:lnTo>
                          <a:pt x="19" y="27"/>
                        </a:lnTo>
                        <a:lnTo>
                          <a:pt x="15" y="18"/>
                        </a:lnTo>
                        <a:lnTo>
                          <a:pt x="12" y="9"/>
                        </a:lnTo>
                        <a:lnTo>
                          <a:pt x="11" y="0"/>
                        </a:lnTo>
                        <a:lnTo>
                          <a:pt x="6" y="10"/>
                        </a:lnTo>
                        <a:lnTo>
                          <a:pt x="3" y="19"/>
                        </a:lnTo>
                        <a:lnTo>
                          <a:pt x="1" y="26"/>
                        </a:lnTo>
                        <a:lnTo>
                          <a:pt x="0" y="31"/>
                        </a:lnTo>
                        <a:lnTo>
                          <a:pt x="1" y="33"/>
                        </a:lnTo>
                        <a:lnTo>
                          <a:pt x="2" y="35"/>
                        </a:lnTo>
                        <a:lnTo>
                          <a:pt x="4" y="36"/>
                        </a:lnTo>
                        <a:lnTo>
                          <a:pt x="6" y="37"/>
                        </a:lnTo>
                        <a:lnTo>
                          <a:pt x="14" y="37"/>
                        </a:lnTo>
                        <a:lnTo>
                          <a:pt x="24" y="36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95" name="Freeform 67">
                    <a:extLst>
                      <a:ext uri="{FF2B5EF4-FFF2-40B4-BE49-F238E27FC236}">
                        <a16:creationId xmlns:a16="http://schemas.microsoft.com/office/drawing/2014/main" xmlns="" id="{990EB052-3501-4530-8E40-A05B7993415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65" y="2204"/>
                    <a:ext cx="11" cy="17"/>
                  </a:xfrm>
                  <a:custGeom>
                    <a:avLst/>
                    <a:gdLst>
                      <a:gd name="T0" fmla="*/ 0 w 34"/>
                      <a:gd name="T1" fmla="*/ 0 h 55"/>
                      <a:gd name="T2" fmla="*/ 0 w 34"/>
                      <a:gd name="T3" fmla="*/ 0 h 55"/>
                      <a:gd name="T4" fmla="*/ 0 w 34"/>
                      <a:gd name="T5" fmla="*/ 0 h 55"/>
                      <a:gd name="T6" fmla="*/ 0 w 34"/>
                      <a:gd name="T7" fmla="*/ 0 h 55"/>
                      <a:gd name="T8" fmla="*/ 0 w 34"/>
                      <a:gd name="T9" fmla="*/ 0 h 55"/>
                      <a:gd name="T10" fmla="*/ 0 w 34"/>
                      <a:gd name="T11" fmla="*/ 0 h 55"/>
                      <a:gd name="T12" fmla="*/ 0 w 34"/>
                      <a:gd name="T13" fmla="*/ 0 h 55"/>
                      <a:gd name="T14" fmla="*/ 0 w 34"/>
                      <a:gd name="T15" fmla="*/ 0 h 55"/>
                      <a:gd name="T16" fmla="*/ 0 w 34"/>
                      <a:gd name="T17" fmla="*/ 0 h 55"/>
                      <a:gd name="T18" fmla="*/ 0 w 34"/>
                      <a:gd name="T19" fmla="*/ 0 h 55"/>
                      <a:gd name="T20" fmla="*/ 0 w 34"/>
                      <a:gd name="T21" fmla="*/ 0 h 55"/>
                      <a:gd name="T22" fmla="*/ 0 w 34"/>
                      <a:gd name="T23" fmla="*/ 0 h 55"/>
                      <a:gd name="T24" fmla="*/ 0 w 34"/>
                      <a:gd name="T25" fmla="*/ 0 h 55"/>
                      <a:gd name="T26" fmla="*/ 0 w 34"/>
                      <a:gd name="T27" fmla="*/ 0 h 55"/>
                      <a:gd name="T28" fmla="*/ 0 w 34"/>
                      <a:gd name="T29" fmla="*/ 0 h 55"/>
                      <a:gd name="T30" fmla="*/ 0 w 34"/>
                      <a:gd name="T31" fmla="*/ 0 h 55"/>
                      <a:gd name="T32" fmla="*/ 0 w 34"/>
                      <a:gd name="T33" fmla="*/ 0 h 55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34"/>
                      <a:gd name="T52" fmla="*/ 0 h 55"/>
                      <a:gd name="T53" fmla="*/ 34 w 34"/>
                      <a:gd name="T54" fmla="*/ 55 h 55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34" h="55">
                        <a:moveTo>
                          <a:pt x="34" y="0"/>
                        </a:moveTo>
                        <a:lnTo>
                          <a:pt x="34" y="13"/>
                        </a:lnTo>
                        <a:lnTo>
                          <a:pt x="34" y="25"/>
                        </a:lnTo>
                        <a:lnTo>
                          <a:pt x="33" y="32"/>
                        </a:lnTo>
                        <a:lnTo>
                          <a:pt x="31" y="38"/>
                        </a:lnTo>
                        <a:lnTo>
                          <a:pt x="29" y="43"/>
                        </a:lnTo>
                        <a:lnTo>
                          <a:pt x="24" y="47"/>
                        </a:lnTo>
                        <a:lnTo>
                          <a:pt x="20" y="51"/>
                        </a:lnTo>
                        <a:lnTo>
                          <a:pt x="14" y="53"/>
                        </a:lnTo>
                        <a:lnTo>
                          <a:pt x="8" y="55"/>
                        </a:lnTo>
                        <a:lnTo>
                          <a:pt x="0" y="55"/>
                        </a:lnTo>
                        <a:lnTo>
                          <a:pt x="9" y="36"/>
                        </a:lnTo>
                        <a:lnTo>
                          <a:pt x="14" y="21"/>
                        </a:lnTo>
                        <a:lnTo>
                          <a:pt x="18" y="16"/>
                        </a:lnTo>
                        <a:lnTo>
                          <a:pt x="22" y="10"/>
                        </a:lnTo>
                        <a:lnTo>
                          <a:pt x="28" y="5"/>
                        </a:lnTo>
                        <a:lnTo>
                          <a:pt x="34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96" name="Freeform 68">
                    <a:extLst>
                      <a:ext uri="{FF2B5EF4-FFF2-40B4-BE49-F238E27FC236}">
                        <a16:creationId xmlns:a16="http://schemas.microsoft.com/office/drawing/2014/main" xmlns="" id="{59406EF4-2193-43E3-BD0D-27C9FC37570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85" y="2215"/>
                    <a:ext cx="11" cy="4"/>
                  </a:xfrm>
                  <a:custGeom>
                    <a:avLst/>
                    <a:gdLst>
                      <a:gd name="T0" fmla="*/ 0 w 33"/>
                      <a:gd name="T1" fmla="*/ 0 h 12"/>
                      <a:gd name="T2" fmla="*/ 0 w 33"/>
                      <a:gd name="T3" fmla="*/ 0 h 12"/>
                      <a:gd name="T4" fmla="*/ 0 w 33"/>
                      <a:gd name="T5" fmla="*/ 0 h 12"/>
                      <a:gd name="T6" fmla="*/ 0 w 33"/>
                      <a:gd name="T7" fmla="*/ 0 h 12"/>
                      <a:gd name="T8" fmla="*/ 0 w 33"/>
                      <a:gd name="T9" fmla="*/ 0 h 12"/>
                      <a:gd name="T10" fmla="*/ 0 w 33"/>
                      <a:gd name="T11" fmla="*/ 0 h 12"/>
                      <a:gd name="T12" fmla="*/ 0 w 33"/>
                      <a:gd name="T13" fmla="*/ 0 h 12"/>
                      <a:gd name="T14" fmla="*/ 0 w 33"/>
                      <a:gd name="T15" fmla="*/ 0 h 12"/>
                      <a:gd name="T16" fmla="*/ 0 w 33"/>
                      <a:gd name="T17" fmla="*/ 0 h 12"/>
                      <a:gd name="T18" fmla="*/ 0 w 33"/>
                      <a:gd name="T19" fmla="*/ 0 h 12"/>
                      <a:gd name="T20" fmla="*/ 0 w 33"/>
                      <a:gd name="T21" fmla="*/ 0 h 12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33"/>
                      <a:gd name="T34" fmla="*/ 0 h 12"/>
                      <a:gd name="T35" fmla="*/ 33 w 33"/>
                      <a:gd name="T36" fmla="*/ 12 h 12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33" h="12">
                        <a:moveTo>
                          <a:pt x="0" y="0"/>
                        </a:moveTo>
                        <a:lnTo>
                          <a:pt x="2" y="4"/>
                        </a:lnTo>
                        <a:lnTo>
                          <a:pt x="6" y="7"/>
                        </a:lnTo>
                        <a:lnTo>
                          <a:pt x="10" y="9"/>
                        </a:lnTo>
                        <a:lnTo>
                          <a:pt x="14" y="11"/>
                        </a:lnTo>
                        <a:lnTo>
                          <a:pt x="23" y="12"/>
                        </a:lnTo>
                        <a:lnTo>
                          <a:pt x="33" y="12"/>
                        </a:lnTo>
                        <a:lnTo>
                          <a:pt x="28" y="8"/>
                        </a:lnTo>
                        <a:lnTo>
                          <a:pt x="19" y="4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105" name="Freeform 69">
                  <a:extLst>
                    <a:ext uri="{FF2B5EF4-FFF2-40B4-BE49-F238E27FC236}">
                      <a16:creationId xmlns:a16="http://schemas.microsoft.com/office/drawing/2014/main" xmlns="" id="{720744F7-78F9-4DEF-9873-A099C25C590A}"/>
                    </a:ext>
                  </a:extLst>
                </p:cNvPr>
                <p:cNvSpPr>
                  <a:spLocks/>
                </p:cNvSpPr>
                <p:nvPr>
                  <p:custDataLst>
                    <p:tags r:id="rId52"/>
                  </p:custDataLst>
                </p:nvPr>
              </p:nvSpPr>
              <p:spPr bwMode="auto">
                <a:xfrm>
                  <a:off x="7905750" y="4244975"/>
                  <a:ext cx="12700" cy="57150"/>
                </a:xfrm>
                <a:custGeom>
                  <a:avLst/>
                  <a:gdLst>
                    <a:gd name="T0" fmla="*/ 0 w 33"/>
                    <a:gd name="T1" fmla="*/ 2147483646 h 62"/>
                    <a:gd name="T2" fmla="*/ 0 w 33"/>
                    <a:gd name="T3" fmla="*/ 2147483646 h 62"/>
                    <a:gd name="T4" fmla="*/ 0 w 33"/>
                    <a:gd name="T5" fmla="*/ 2147483646 h 62"/>
                    <a:gd name="T6" fmla="*/ 0 w 33"/>
                    <a:gd name="T7" fmla="*/ 2147483646 h 62"/>
                    <a:gd name="T8" fmla="*/ 0 w 33"/>
                    <a:gd name="T9" fmla="*/ 2147483646 h 62"/>
                    <a:gd name="T10" fmla="*/ 0 w 33"/>
                    <a:gd name="T11" fmla="*/ 2147483646 h 62"/>
                    <a:gd name="T12" fmla="*/ 2147483646 w 33"/>
                    <a:gd name="T13" fmla="*/ 2147483646 h 62"/>
                    <a:gd name="T14" fmla="*/ 2147483646 w 33"/>
                    <a:gd name="T15" fmla="*/ 2147483646 h 62"/>
                    <a:gd name="T16" fmla="*/ 2147483646 w 33"/>
                    <a:gd name="T17" fmla="*/ 2147483646 h 62"/>
                    <a:gd name="T18" fmla="*/ 2147483646 w 33"/>
                    <a:gd name="T19" fmla="*/ 2147483646 h 62"/>
                    <a:gd name="T20" fmla="*/ 2147483646 w 33"/>
                    <a:gd name="T21" fmla="*/ 0 h 62"/>
                    <a:gd name="T22" fmla="*/ 2147483646 w 33"/>
                    <a:gd name="T23" fmla="*/ 2147483646 h 62"/>
                    <a:gd name="T24" fmla="*/ 2147483646 w 33"/>
                    <a:gd name="T25" fmla="*/ 2147483646 h 6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3"/>
                    <a:gd name="T40" fmla="*/ 0 h 62"/>
                    <a:gd name="T41" fmla="*/ 33 w 33"/>
                    <a:gd name="T42" fmla="*/ 62 h 6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3" h="62">
                      <a:moveTo>
                        <a:pt x="0" y="62"/>
                      </a:moveTo>
                      <a:lnTo>
                        <a:pt x="0" y="53"/>
                      </a:lnTo>
                      <a:lnTo>
                        <a:pt x="0" y="45"/>
                      </a:lnTo>
                      <a:lnTo>
                        <a:pt x="0" y="37"/>
                      </a:lnTo>
                      <a:lnTo>
                        <a:pt x="0" y="31"/>
                      </a:lnTo>
                      <a:lnTo>
                        <a:pt x="0" y="26"/>
                      </a:lnTo>
                      <a:lnTo>
                        <a:pt x="2" y="22"/>
                      </a:lnTo>
                      <a:lnTo>
                        <a:pt x="4" y="17"/>
                      </a:lnTo>
                      <a:lnTo>
                        <a:pt x="8" y="13"/>
                      </a:lnTo>
                      <a:lnTo>
                        <a:pt x="14" y="6"/>
                      </a:lnTo>
                      <a:lnTo>
                        <a:pt x="20" y="0"/>
                      </a:lnTo>
                      <a:lnTo>
                        <a:pt x="26" y="6"/>
                      </a:lnTo>
                      <a:lnTo>
                        <a:pt x="33" y="1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6" name="Freeform 70">
                  <a:extLst>
                    <a:ext uri="{FF2B5EF4-FFF2-40B4-BE49-F238E27FC236}">
                      <a16:creationId xmlns:a16="http://schemas.microsoft.com/office/drawing/2014/main" xmlns="" id="{251DBB3D-C0EF-4175-8475-68F6C77FB351}"/>
                    </a:ext>
                  </a:extLst>
                </p:cNvPr>
                <p:cNvSpPr>
                  <a:spLocks/>
                </p:cNvSpPr>
                <p:nvPr>
                  <p:custDataLst>
                    <p:tags r:id="rId53"/>
                  </p:custDataLst>
                </p:nvPr>
              </p:nvSpPr>
              <p:spPr bwMode="auto">
                <a:xfrm>
                  <a:off x="7915275" y="4335463"/>
                  <a:ext cx="9525" cy="58737"/>
                </a:xfrm>
                <a:custGeom>
                  <a:avLst/>
                  <a:gdLst>
                    <a:gd name="T0" fmla="*/ 0 w 26"/>
                    <a:gd name="T1" fmla="*/ 2147483646 h 18"/>
                    <a:gd name="T2" fmla="*/ 0 w 26"/>
                    <a:gd name="T3" fmla="*/ 0 h 18"/>
                    <a:gd name="T4" fmla="*/ 2147483646 w 26"/>
                    <a:gd name="T5" fmla="*/ 0 h 18"/>
                    <a:gd name="T6" fmla="*/ 2147483646 w 26"/>
                    <a:gd name="T7" fmla="*/ 2147483646 h 18"/>
                    <a:gd name="T8" fmla="*/ 2147483646 w 26"/>
                    <a:gd name="T9" fmla="*/ 2147483646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18"/>
                    <a:gd name="T17" fmla="*/ 26 w 26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18">
                      <a:moveTo>
                        <a:pt x="0" y="18"/>
                      </a:moveTo>
                      <a:lnTo>
                        <a:pt x="0" y="0"/>
                      </a:lnTo>
                      <a:lnTo>
                        <a:pt x="26" y="0"/>
                      </a:lnTo>
                      <a:lnTo>
                        <a:pt x="6" y="12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7" name="Freeform 71">
                  <a:extLst>
                    <a:ext uri="{FF2B5EF4-FFF2-40B4-BE49-F238E27FC236}">
                      <a16:creationId xmlns:a16="http://schemas.microsoft.com/office/drawing/2014/main" xmlns="" id="{8FB4ACBA-0CCE-4A9D-B8D5-19A08C74D641}"/>
                    </a:ext>
                  </a:extLst>
                </p:cNvPr>
                <p:cNvSpPr>
                  <a:spLocks/>
                </p:cNvSpPr>
                <p:nvPr>
                  <p:custDataLst>
                    <p:tags r:id="rId54"/>
                  </p:custDataLst>
                </p:nvPr>
              </p:nvSpPr>
              <p:spPr bwMode="auto">
                <a:xfrm>
                  <a:off x="8029575" y="4244975"/>
                  <a:ext cx="77788" cy="130175"/>
                </a:xfrm>
                <a:custGeom>
                  <a:avLst/>
                  <a:gdLst>
                    <a:gd name="T0" fmla="*/ 2147483646 w 180"/>
                    <a:gd name="T1" fmla="*/ 2147483646 h 240"/>
                    <a:gd name="T2" fmla="*/ 2147483646 w 180"/>
                    <a:gd name="T3" fmla="*/ 2147483646 h 240"/>
                    <a:gd name="T4" fmla="*/ 2147483646 w 180"/>
                    <a:gd name="T5" fmla="*/ 2147483646 h 240"/>
                    <a:gd name="T6" fmla="*/ 2147483646 w 180"/>
                    <a:gd name="T7" fmla="*/ 2147483646 h 240"/>
                    <a:gd name="T8" fmla="*/ 2147483646 w 180"/>
                    <a:gd name="T9" fmla="*/ 2147483646 h 240"/>
                    <a:gd name="T10" fmla="*/ 2147483646 w 180"/>
                    <a:gd name="T11" fmla="*/ 2147483646 h 240"/>
                    <a:gd name="T12" fmla="*/ 2147483646 w 180"/>
                    <a:gd name="T13" fmla="*/ 2147483646 h 240"/>
                    <a:gd name="T14" fmla="*/ 2147483646 w 180"/>
                    <a:gd name="T15" fmla="*/ 2147483646 h 240"/>
                    <a:gd name="T16" fmla="*/ 2147483646 w 180"/>
                    <a:gd name="T17" fmla="*/ 2147483646 h 240"/>
                    <a:gd name="T18" fmla="*/ 2147483646 w 180"/>
                    <a:gd name="T19" fmla="*/ 2147483646 h 240"/>
                    <a:gd name="T20" fmla="*/ 2147483646 w 180"/>
                    <a:gd name="T21" fmla="*/ 2147483646 h 240"/>
                    <a:gd name="T22" fmla="*/ 2147483646 w 180"/>
                    <a:gd name="T23" fmla="*/ 2147483646 h 240"/>
                    <a:gd name="T24" fmla="*/ 2147483646 w 180"/>
                    <a:gd name="T25" fmla="*/ 2147483646 h 240"/>
                    <a:gd name="T26" fmla="*/ 2147483646 w 180"/>
                    <a:gd name="T27" fmla="*/ 2147483646 h 240"/>
                    <a:gd name="T28" fmla="*/ 2147483646 w 180"/>
                    <a:gd name="T29" fmla="*/ 2147483646 h 240"/>
                    <a:gd name="T30" fmla="*/ 2147483646 w 180"/>
                    <a:gd name="T31" fmla="*/ 2147483646 h 240"/>
                    <a:gd name="T32" fmla="*/ 2147483646 w 180"/>
                    <a:gd name="T33" fmla="*/ 2147483646 h 240"/>
                    <a:gd name="T34" fmla="*/ 2147483646 w 180"/>
                    <a:gd name="T35" fmla="*/ 2147483646 h 240"/>
                    <a:gd name="T36" fmla="*/ 2147483646 w 180"/>
                    <a:gd name="T37" fmla="*/ 2147483646 h 240"/>
                    <a:gd name="T38" fmla="*/ 2147483646 w 180"/>
                    <a:gd name="T39" fmla="*/ 2147483646 h 240"/>
                    <a:gd name="T40" fmla="*/ 2147483646 w 180"/>
                    <a:gd name="T41" fmla="*/ 2147483646 h 240"/>
                    <a:gd name="T42" fmla="*/ 2147483646 w 180"/>
                    <a:gd name="T43" fmla="*/ 2147483646 h 240"/>
                    <a:gd name="T44" fmla="*/ 2147483646 w 180"/>
                    <a:gd name="T45" fmla="*/ 2147483646 h 240"/>
                    <a:gd name="T46" fmla="*/ 2147483646 w 180"/>
                    <a:gd name="T47" fmla="*/ 2147483646 h 240"/>
                    <a:gd name="T48" fmla="*/ 2147483646 w 180"/>
                    <a:gd name="T49" fmla="*/ 2147483646 h 240"/>
                    <a:gd name="T50" fmla="*/ 2147483646 w 180"/>
                    <a:gd name="T51" fmla="*/ 2147483646 h 240"/>
                    <a:gd name="T52" fmla="*/ 2147483646 w 180"/>
                    <a:gd name="T53" fmla="*/ 2147483646 h 240"/>
                    <a:gd name="T54" fmla="*/ 2147483646 w 180"/>
                    <a:gd name="T55" fmla="*/ 2147483646 h 240"/>
                    <a:gd name="T56" fmla="*/ 0 w 180"/>
                    <a:gd name="T57" fmla="*/ 2147483646 h 240"/>
                    <a:gd name="T58" fmla="*/ 0 w 180"/>
                    <a:gd name="T59" fmla="*/ 2147483646 h 240"/>
                    <a:gd name="T60" fmla="*/ 0 w 180"/>
                    <a:gd name="T61" fmla="*/ 2147483646 h 240"/>
                    <a:gd name="T62" fmla="*/ 0 w 180"/>
                    <a:gd name="T63" fmla="*/ 2147483646 h 240"/>
                    <a:gd name="T64" fmla="*/ 0 w 180"/>
                    <a:gd name="T65" fmla="*/ 0 h 240"/>
                    <a:gd name="T66" fmla="*/ 2147483646 w 180"/>
                    <a:gd name="T67" fmla="*/ 2147483646 h 240"/>
                    <a:gd name="T68" fmla="*/ 2147483646 w 180"/>
                    <a:gd name="T69" fmla="*/ 2147483646 h 240"/>
                    <a:gd name="T70" fmla="*/ 2147483646 w 180"/>
                    <a:gd name="T71" fmla="*/ 2147483646 h 240"/>
                    <a:gd name="T72" fmla="*/ 2147483646 w 180"/>
                    <a:gd name="T73" fmla="*/ 2147483646 h 240"/>
                    <a:gd name="T74" fmla="*/ 2147483646 w 180"/>
                    <a:gd name="T75" fmla="*/ 2147483646 h 240"/>
                    <a:gd name="T76" fmla="*/ 2147483646 w 180"/>
                    <a:gd name="T77" fmla="*/ 2147483646 h 240"/>
                    <a:gd name="T78" fmla="*/ 2147483646 w 180"/>
                    <a:gd name="T79" fmla="*/ 2147483646 h 240"/>
                    <a:gd name="T80" fmla="*/ 2147483646 w 180"/>
                    <a:gd name="T81" fmla="*/ 2147483646 h 240"/>
                    <a:gd name="T82" fmla="*/ 2147483646 w 180"/>
                    <a:gd name="T83" fmla="*/ 2147483646 h 240"/>
                    <a:gd name="T84" fmla="*/ 2147483646 w 180"/>
                    <a:gd name="T85" fmla="*/ 2147483646 h 240"/>
                    <a:gd name="T86" fmla="*/ 2147483646 w 180"/>
                    <a:gd name="T87" fmla="*/ 2147483646 h 240"/>
                    <a:gd name="T88" fmla="*/ 2147483646 w 180"/>
                    <a:gd name="T89" fmla="*/ 2147483646 h 240"/>
                    <a:gd name="T90" fmla="*/ 2147483646 w 180"/>
                    <a:gd name="T91" fmla="*/ 2147483646 h 240"/>
                    <a:gd name="T92" fmla="*/ 2147483646 w 180"/>
                    <a:gd name="T93" fmla="*/ 2147483646 h 240"/>
                    <a:gd name="T94" fmla="*/ 2147483646 w 180"/>
                    <a:gd name="T95" fmla="*/ 2147483646 h 240"/>
                    <a:gd name="T96" fmla="*/ 2147483646 w 180"/>
                    <a:gd name="T97" fmla="*/ 2147483646 h 240"/>
                    <a:gd name="T98" fmla="*/ 2147483646 w 180"/>
                    <a:gd name="T99" fmla="*/ 2147483646 h 240"/>
                    <a:gd name="T100" fmla="*/ 2147483646 w 180"/>
                    <a:gd name="T101" fmla="*/ 2147483646 h 240"/>
                    <a:gd name="T102" fmla="*/ 2147483646 w 180"/>
                    <a:gd name="T103" fmla="*/ 2147483646 h 240"/>
                    <a:gd name="T104" fmla="*/ 2147483646 w 180"/>
                    <a:gd name="T105" fmla="*/ 2147483646 h 24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80"/>
                    <a:gd name="T160" fmla="*/ 0 h 240"/>
                    <a:gd name="T161" fmla="*/ 180 w 180"/>
                    <a:gd name="T162" fmla="*/ 240 h 24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80" h="240">
                      <a:moveTo>
                        <a:pt x="180" y="222"/>
                      </a:moveTo>
                      <a:lnTo>
                        <a:pt x="175" y="223"/>
                      </a:lnTo>
                      <a:lnTo>
                        <a:pt x="171" y="223"/>
                      </a:lnTo>
                      <a:lnTo>
                        <a:pt x="167" y="225"/>
                      </a:lnTo>
                      <a:lnTo>
                        <a:pt x="164" y="227"/>
                      </a:lnTo>
                      <a:lnTo>
                        <a:pt x="158" y="232"/>
                      </a:lnTo>
                      <a:lnTo>
                        <a:pt x="153" y="240"/>
                      </a:lnTo>
                      <a:lnTo>
                        <a:pt x="140" y="232"/>
                      </a:lnTo>
                      <a:lnTo>
                        <a:pt x="131" y="223"/>
                      </a:lnTo>
                      <a:lnTo>
                        <a:pt x="123" y="214"/>
                      </a:lnTo>
                      <a:lnTo>
                        <a:pt x="118" y="206"/>
                      </a:lnTo>
                      <a:lnTo>
                        <a:pt x="112" y="195"/>
                      </a:lnTo>
                      <a:lnTo>
                        <a:pt x="106" y="185"/>
                      </a:lnTo>
                      <a:lnTo>
                        <a:pt x="98" y="174"/>
                      </a:lnTo>
                      <a:lnTo>
                        <a:pt x="87" y="161"/>
                      </a:lnTo>
                      <a:lnTo>
                        <a:pt x="82" y="153"/>
                      </a:lnTo>
                      <a:lnTo>
                        <a:pt x="75" y="146"/>
                      </a:lnTo>
                      <a:lnTo>
                        <a:pt x="70" y="139"/>
                      </a:lnTo>
                      <a:lnTo>
                        <a:pt x="62" y="133"/>
                      </a:lnTo>
                      <a:lnTo>
                        <a:pt x="48" y="121"/>
                      </a:lnTo>
                      <a:lnTo>
                        <a:pt x="33" y="110"/>
                      </a:lnTo>
                      <a:lnTo>
                        <a:pt x="27" y="104"/>
                      </a:lnTo>
                      <a:lnTo>
                        <a:pt x="21" y="98"/>
                      </a:lnTo>
                      <a:lnTo>
                        <a:pt x="15" y="92"/>
                      </a:lnTo>
                      <a:lnTo>
                        <a:pt x="10" y="84"/>
                      </a:lnTo>
                      <a:lnTo>
                        <a:pt x="6" y="77"/>
                      </a:lnTo>
                      <a:lnTo>
                        <a:pt x="4" y="68"/>
                      </a:lnTo>
                      <a:lnTo>
                        <a:pt x="1" y="60"/>
                      </a:lnTo>
                      <a:lnTo>
                        <a:pt x="0" y="50"/>
                      </a:lnTo>
                      <a:lnTo>
                        <a:pt x="0" y="35"/>
                      </a:lnTo>
                      <a:lnTo>
                        <a:pt x="0" y="25"/>
                      </a:lnTo>
                      <a:lnTo>
                        <a:pt x="0" y="15"/>
                      </a:lnTo>
                      <a:lnTo>
                        <a:pt x="0" y="0"/>
                      </a:lnTo>
                      <a:lnTo>
                        <a:pt x="10" y="8"/>
                      </a:lnTo>
                      <a:lnTo>
                        <a:pt x="19" y="17"/>
                      </a:lnTo>
                      <a:lnTo>
                        <a:pt x="27" y="27"/>
                      </a:lnTo>
                      <a:lnTo>
                        <a:pt x="34" y="38"/>
                      </a:lnTo>
                      <a:lnTo>
                        <a:pt x="41" y="48"/>
                      </a:lnTo>
                      <a:lnTo>
                        <a:pt x="46" y="58"/>
                      </a:lnTo>
                      <a:lnTo>
                        <a:pt x="51" y="66"/>
                      </a:lnTo>
                      <a:lnTo>
                        <a:pt x="54" y="74"/>
                      </a:lnTo>
                      <a:lnTo>
                        <a:pt x="60" y="86"/>
                      </a:lnTo>
                      <a:lnTo>
                        <a:pt x="66" y="98"/>
                      </a:lnTo>
                      <a:lnTo>
                        <a:pt x="74" y="107"/>
                      </a:lnTo>
                      <a:lnTo>
                        <a:pt x="82" y="116"/>
                      </a:lnTo>
                      <a:lnTo>
                        <a:pt x="100" y="133"/>
                      </a:lnTo>
                      <a:lnTo>
                        <a:pt x="119" y="149"/>
                      </a:lnTo>
                      <a:lnTo>
                        <a:pt x="139" y="164"/>
                      </a:lnTo>
                      <a:lnTo>
                        <a:pt x="155" y="180"/>
                      </a:lnTo>
                      <a:lnTo>
                        <a:pt x="163" y="189"/>
                      </a:lnTo>
                      <a:lnTo>
                        <a:pt x="169" y="199"/>
                      </a:lnTo>
                      <a:lnTo>
                        <a:pt x="175" y="210"/>
                      </a:lnTo>
                      <a:lnTo>
                        <a:pt x="180" y="22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08" name="Freeform 72">
                  <a:extLst>
                    <a:ext uri="{FF2B5EF4-FFF2-40B4-BE49-F238E27FC236}">
                      <a16:creationId xmlns:a16="http://schemas.microsoft.com/office/drawing/2014/main" xmlns="" id="{EB784F71-A268-4964-A3BB-768E4EFB42E2}"/>
                    </a:ext>
                  </a:extLst>
                </p:cNvPr>
                <p:cNvSpPr>
                  <a:spLocks/>
                </p:cNvSpPr>
                <p:nvPr>
                  <p:custDataLst>
                    <p:tags r:id="rId55"/>
                  </p:custDataLst>
                </p:nvPr>
              </p:nvSpPr>
              <p:spPr bwMode="auto">
                <a:xfrm>
                  <a:off x="8029575" y="4217988"/>
                  <a:ext cx="14288" cy="57150"/>
                </a:xfrm>
                <a:custGeom>
                  <a:avLst/>
                  <a:gdLst>
                    <a:gd name="T0" fmla="*/ 0 w 27"/>
                    <a:gd name="T1" fmla="*/ 0 h 30"/>
                    <a:gd name="T2" fmla="*/ 2147483646 w 27"/>
                    <a:gd name="T3" fmla="*/ 2147483646 h 30"/>
                    <a:gd name="T4" fmla="*/ 2147483646 w 27"/>
                    <a:gd name="T5" fmla="*/ 2147483646 h 30"/>
                    <a:gd name="T6" fmla="*/ 2147483646 w 27"/>
                    <a:gd name="T7" fmla="*/ 2147483646 h 30"/>
                    <a:gd name="T8" fmla="*/ 2147483646 w 27"/>
                    <a:gd name="T9" fmla="*/ 2147483646 h 30"/>
                    <a:gd name="T10" fmla="*/ 2147483646 w 27"/>
                    <a:gd name="T11" fmla="*/ 2147483646 h 30"/>
                    <a:gd name="T12" fmla="*/ 0 w 27"/>
                    <a:gd name="T13" fmla="*/ 2147483646 h 30"/>
                    <a:gd name="T14" fmla="*/ 2147483646 w 27"/>
                    <a:gd name="T15" fmla="*/ 2147483646 h 30"/>
                    <a:gd name="T16" fmla="*/ 2147483646 w 27"/>
                    <a:gd name="T17" fmla="*/ 2147483646 h 30"/>
                    <a:gd name="T18" fmla="*/ 2147483646 w 27"/>
                    <a:gd name="T19" fmla="*/ 2147483646 h 30"/>
                    <a:gd name="T20" fmla="*/ 2147483646 w 27"/>
                    <a:gd name="T21" fmla="*/ 2147483646 h 30"/>
                    <a:gd name="T22" fmla="*/ 2147483646 w 27"/>
                    <a:gd name="T23" fmla="*/ 2147483646 h 30"/>
                    <a:gd name="T24" fmla="*/ 2147483646 w 27"/>
                    <a:gd name="T25" fmla="*/ 2147483646 h 30"/>
                    <a:gd name="T26" fmla="*/ 2147483646 w 27"/>
                    <a:gd name="T27" fmla="*/ 2147483646 h 30"/>
                    <a:gd name="T28" fmla="*/ 0 w 27"/>
                    <a:gd name="T29" fmla="*/ 0 h 3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7"/>
                    <a:gd name="T46" fmla="*/ 0 h 30"/>
                    <a:gd name="T47" fmla="*/ 27 w 27"/>
                    <a:gd name="T48" fmla="*/ 30 h 3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7" h="30">
                      <a:moveTo>
                        <a:pt x="0" y="0"/>
                      </a:moveTo>
                      <a:lnTo>
                        <a:pt x="1" y="5"/>
                      </a:lnTo>
                      <a:lnTo>
                        <a:pt x="3" y="11"/>
                      </a:lnTo>
                      <a:lnTo>
                        <a:pt x="4" y="14"/>
                      </a:lnTo>
                      <a:lnTo>
                        <a:pt x="4" y="19"/>
                      </a:lnTo>
                      <a:lnTo>
                        <a:pt x="3" y="24"/>
                      </a:lnTo>
                      <a:lnTo>
                        <a:pt x="0" y="30"/>
                      </a:lnTo>
                      <a:lnTo>
                        <a:pt x="17" y="27"/>
                      </a:lnTo>
                      <a:lnTo>
                        <a:pt x="27" y="24"/>
                      </a:lnTo>
                      <a:lnTo>
                        <a:pt x="23" y="20"/>
                      </a:lnTo>
                      <a:lnTo>
                        <a:pt x="17" y="12"/>
                      </a:lnTo>
                      <a:lnTo>
                        <a:pt x="11" y="8"/>
                      </a:lnTo>
                      <a:lnTo>
                        <a:pt x="7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109" name="Group 73">
                  <a:extLst>
                    <a:ext uri="{FF2B5EF4-FFF2-40B4-BE49-F238E27FC236}">
                      <a16:creationId xmlns:a16="http://schemas.microsoft.com/office/drawing/2014/main" xmlns="" id="{AAD566FD-993E-4455-AB38-75AFA6BDE204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56"/>
                  </p:custDataLst>
                </p:nvPr>
              </p:nvGrpSpPr>
              <p:grpSpPr bwMode="auto">
                <a:xfrm>
                  <a:off x="7720013" y="4738688"/>
                  <a:ext cx="458787" cy="404812"/>
                  <a:chOff x="5372" y="3323"/>
                  <a:chExt cx="341" cy="253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584" name="Freeform 74">
                    <a:extLst>
                      <a:ext uri="{FF2B5EF4-FFF2-40B4-BE49-F238E27FC236}">
                        <a16:creationId xmlns:a16="http://schemas.microsoft.com/office/drawing/2014/main" xmlns="" id="{28BADD63-BED5-4D72-865C-1E4EE512506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72" y="3565"/>
                    <a:ext cx="16" cy="11"/>
                  </a:xfrm>
                  <a:custGeom>
                    <a:avLst/>
                    <a:gdLst>
                      <a:gd name="T0" fmla="*/ 0 w 53"/>
                      <a:gd name="T1" fmla="*/ 0 h 33"/>
                      <a:gd name="T2" fmla="*/ 0 w 53"/>
                      <a:gd name="T3" fmla="*/ 0 h 33"/>
                      <a:gd name="T4" fmla="*/ 0 w 53"/>
                      <a:gd name="T5" fmla="*/ 0 h 33"/>
                      <a:gd name="T6" fmla="*/ 0 w 53"/>
                      <a:gd name="T7" fmla="*/ 0 h 33"/>
                      <a:gd name="T8" fmla="*/ 0 w 53"/>
                      <a:gd name="T9" fmla="*/ 0 h 33"/>
                      <a:gd name="T10" fmla="*/ 0 w 53"/>
                      <a:gd name="T11" fmla="*/ 0 h 33"/>
                      <a:gd name="T12" fmla="*/ 0 w 53"/>
                      <a:gd name="T13" fmla="*/ 0 h 33"/>
                      <a:gd name="T14" fmla="*/ 0 w 53"/>
                      <a:gd name="T15" fmla="*/ 0 h 33"/>
                      <a:gd name="T16" fmla="*/ 0 w 53"/>
                      <a:gd name="T17" fmla="*/ 0 h 33"/>
                      <a:gd name="T18" fmla="*/ 0 w 53"/>
                      <a:gd name="T19" fmla="*/ 0 h 33"/>
                      <a:gd name="T20" fmla="*/ 0 w 53"/>
                      <a:gd name="T21" fmla="*/ 0 h 33"/>
                      <a:gd name="T22" fmla="*/ 0 w 53"/>
                      <a:gd name="T23" fmla="*/ 0 h 33"/>
                      <a:gd name="T24" fmla="*/ 0 w 53"/>
                      <a:gd name="T25" fmla="*/ 0 h 33"/>
                      <a:gd name="T26" fmla="*/ 0 w 53"/>
                      <a:gd name="T27" fmla="*/ 0 h 33"/>
                      <a:gd name="T28" fmla="*/ 0 w 53"/>
                      <a:gd name="T29" fmla="*/ 0 h 33"/>
                      <a:gd name="T30" fmla="*/ 0 w 53"/>
                      <a:gd name="T31" fmla="*/ 0 h 33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53"/>
                      <a:gd name="T49" fmla="*/ 0 h 33"/>
                      <a:gd name="T50" fmla="*/ 53 w 53"/>
                      <a:gd name="T51" fmla="*/ 33 h 33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53" h="33">
                        <a:moveTo>
                          <a:pt x="0" y="31"/>
                        </a:moveTo>
                        <a:lnTo>
                          <a:pt x="4" y="26"/>
                        </a:lnTo>
                        <a:lnTo>
                          <a:pt x="8" y="21"/>
                        </a:lnTo>
                        <a:lnTo>
                          <a:pt x="15" y="16"/>
                        </a:lnTo>
                        <a:lnTo>
                          <a:pt x="21" y="11"/>
                        </a:lnTo>
                        <a:lnTo>
                          <a:pt x="29" y="7"/>
                        </a:lnTo>
                        <a:lnTo>
                          <a:pt x="38" y="3"/>
                        </a:lnTo>
                        <a:lnTo>
                          <a:pt x="45" y="1"/>
                        </a:lnTo>
                        <a:lnTo>
                          <a:pt x="53" y="0"/>
                        </a:lnTo>
                        <a:lnTo>
                          <a:pt x="53" y="18"/>
                        </a:lnTo>
                        <a:lnTo>
                          <a:pt x="38" y="24"/>
                        </a:lnTo>
                        <a:lnTo>
                          <a:pt x="27" y="30"/>
                        </a:lnTo>
                        <a:lnTo>
                          <a:pt x="21" y="32"/>
                        </a:lnTo>
                        <a:lnTo>
                          <a:pt x="16" y="33"/>
                        </a:lnTo>
                        <a:lnTo>
                          <a:pt x="9" y="33"/>
                        </a:lnTo>
                        <a:lnTo>
                          <a:pt x="0" y="31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85" name="Freeform 75">
                    <a:extLst>
                      <a:ext uri="{FF2B5EF4-FFF2-40B4-BE49-F238E27FC236}">
                        <a16:creationId xmlns:a16="http://schemas.microsoft.com/office/drawing/2014/main" xmlns="" id="{82A68479-DE59-4297-B215-A9E5069EA2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79" y="3446"/>
                    <a:ext cx="202" cy="117"/>
                  </a:xfrm>
                  <a:custGeom>
                    <a:avLst/>
                    <a:gdLst>
                      <a:gd name="T0" fmla="*/ 0 w 631"/>
                      <a:gd name="T1" fmla="*/ 1 h 358"/>
                      <a:gd name="T2" fmla="*/ 0 w 631"/>
                      <a:gd name="T3" fmla="*/ 1 h 358"/>
                      <a:gd name="T4" fmla="*/ 0 w 631"/>
                      <a:gd name="T5" fmla="*/ 1 h 358"/>
                      <a:gd name="T6" fmla="*/ 0 w 631"/>
                      <a:gd name="T7" fmla="*/ 1 h 358"/>
                      <a:gd name="T8" fmla="*/ 0 w 631"/>
                      <a:gd name="T9" fmla="*/ 1 h 358"/>
                      <a:gd name="T10" fmla="*/ 0 w 631"/>
                      <a:gd name="T11" fmla="*/ 1 h 358"/>
                      <a:gd name="T12" fmla="*/ 0 w 631"/>
                      <a:gd name="T13" fmla="*/ 1 h 358"/>
                      <a:gd name="T14" fmla="*/ 1 w 631"/>
                      <a:gd name="T15" fmla="*/ 1 h 358"/>
                      <a:gd name="T16" fmla="*/ 1 w 631"/>
                      <a:gd name="T17" fmla="*/ 1 h 358"/>
                      <a:gd name="T18" fmla="*/ 1 w 631"/>
                      <a:gd name="T19" fmla="*/ 1 h 358"/>
                      <a:gd name="T20" fmla="*/ 1 w 631"/>
                      <a:gd name="T21" fmla="*/ 1 h 358"/>
                      <a:gd name="T22" fmla="*/ 1 w 631"/>
                      <a:gd name="T23" fmla="*/ 1 h 358"/>
                      <a:gd name="T24" fmla="*/ 1 w 631"/>
                      <a:gd name="T25" fmla="*/ 1 h 358"/>
                      <a:gd name="T26" fmla="*/ 1 w 631"/>
                      <a:gd name="T27" fmla="*/ 1 h 358"/>
                      <a:gd name="T28" fmla="*/ 1 w 631"/>
                      <a:gd name="T29" fmla="*/ 1 h 358"/>
                      <a:gd name="T30" fmla="*/ 1 w 631"/>
                      <a:gd name="T31" fmla="*/ 0 h 358"/>
                      <a:gd name="T32" fmla="*/ 2 w 631"/>
                      <a:gd name="T33" fmla="*/ 0 h 358"/>
                      <a:gd name="T34" fmla="*/ 2 w 631"/>
                      <a:gd name="T35" fmla="*/ 0 h 358"/>
                      <a:gd name="T36" fmla="*/ 2 w 631"/>
                      <a:gd name="T37" fmla="*/ 0 h 358"/>
                      <a:gd name="T38" fmla="*/ 2 w 631"/>
                      <a:gd name="T39" fmla="*/ 0 h 358"/>
                      <a:gd name="T40" fmla="*/ 2 w 631"/>
                      <a:gd name="T41" fmla="*/ 0 h 358"/>
                      <a:gd name="T42" fmla="*/ 2 w 631"/>
                      <a:gd name="T43" fmla="*/ 0 h 358"/>
                      <a:gd name="T44" fmla="*/ 2 w 631"/>
                      <a:gd name="T45" fmla="*/ 0 h 358"/>
                      <a:gd name="T46" fmla="*/ 2 w 631"/>
                      <a:gd name="T47" fmla="*/ 0 h 358"/>
                      <a:gd name="T48" fmla="*/ 2 w 631"/>
                      <a:gd name="T49" fmla="*/ 0 h 358"/>
                      <a:gd name="T50" fmla="*/ 2 w 631"/>
                      <a:gd name="T51" fmla="*/ 0 h 358"/>
                      <a:gd name="T52" fmla="*/ 2 w 631"/>
                      <a:gd name="T53" fmla="*/ 0 h 358"/>
                      <a:gd name="T54" fmla="*/ 2 w 631"/>
                      <a:gd name="T55" fmla="*/ 1 h 358"/>
                      <a:gd name="T56" fmla="*/ 2 w 631"/>
                      <a:gd name="T57" fmla="*/ 1 h 358"/>
                      <a:gd name="T58" fmla="*/ 1 w 631"/>
                      <a:gd name="T59" fmla="*/ 1 h 358"/>
                      <a:gd name="T60" fmla="*/ 1 w 631"/>
                      <a:gd name="T61" fmla="*/ 1 h 358"/>
                      <a:gd name="T62" fmla="*/ 1 w 631"/>
                      <a:gd name="T63" fmla="*/ 1 h 358"/>
                      <a:gd name="T64" fmla="*/ 1 w 631"/>
                      <a:gd name="T65" fmla="*/ 1 h 358"/>
                      <a:gd name="T66" fmla="*/ 1 w 631"/>
                      <a:gd name="T67" fmla="*/ 1 h 358"/>
                      <a:gd name="T68" fmla="*/ 1 w 631"/>
                      <a:gd name="T69" fmla="*/ 1 h 358"/>
                      <a:gd name="T70" fmla="*/ 1 w 631"/>
                      <a:gd name="T71" fmla="*/ 1 h 358"/>
                      <a:gd name="T72" fmla="*/ 1 w 631"/>
                      <a:gd name="T73" fmla="*/ 1 h 358"/>
                      <a:gd name="T74" fmla="*/ 1 w 631"/>
                      <a:gd name="T75" fmla="*/ 1 h 358"/>
                      <a:gd name="T76" fmla="*/ 1 w 631"/>
                      <a:gd name="T77" fmla="*/ 1 h 358"/>
                      <a:gd name="T78" fmla="*/ 1 w 631"/>
                      <a:gd name="T79" fmla="*/ 1 h 358"/>
                      <a:gd name="T80" fmla="*/ 0 w 631"/>
                      <a:gd name="T81" fmla="*/ 1 h 358"/>
                      <a:gd name="T82" fmla="*/ 0 w 631"/>
                      <a:gd name="T83" fmla="*/ 1 h 358"/>
                      <a:gd name="T84" fmla="*/ 0 w 631"/>
                      <a:gd name="T85" fmla="*/ 1 h 358"/>
                      <a:gd name="T86" fmla="*/ 0 w 631"/>
                      <a:gd name="T87" fmla="*/ 1 h 358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w 631"/>
                      <a:gd name="T133" fmla="*/ 0 h 358"/>
                      <a:gd name="T134" fmla="*/ 631 w 631"/>
                      <a:gd name="T135" fmla="*/ 358 h 358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T132" t="T133" r="T134" b="T135"/>
                    <a:pathLst>
                      <a:path w="631" h="358">
                        <a:moveTo>
                          <a:pt x="0" y="327"/>
                        </a:moveTo>
                        <a:lnTo>
                          <a:pt x="7" y="297"/>
                        </a:lnTo>
                        <a:lnTo>
                          <a:pt x="24" y="296"/>
                        </a:lnTo>
                        <a:lnTo>
                          <a:pt x="39" y="293"/>
                        </a:lnTo>
                        <a:lnTo>
                          <a:pt x="44" y="292"/>
                        </a:lnTo>
                        <a:lnTo>
                          <a:pt x="50" y="290"/>
                        </a:lnTo>
                        <a:lnTo>
                          <a:pt x="54" y="287"/>
                        </a:lnTo>
                        <a:lnTo>
                          <a:pt x="58" y="285"/>
                        </a:lnTo>
                        <a:lnTo>
                          <a:pt x="65" y="277"/>
                        </a:lnTo>
                        <a:lnTo>
                          <a:pt x="70" y="270"/>
                        </a:lnTo>
                        <a:lnTo>
                          <a:pt x="75" y="262"/>
                        </a:lnTo>
                        <a:lnTo>
                          <a:pt x="79" y="253"/>
                        </a:lnTo>
                        <a:lnTo>
                          <a:pt x="87" y="255"/>
                        </a:lnTo>
                        <a:lnTo>
                          <a:pt x="93" y="256"/>
                        </a:lnTo>
                        <a:lnTo>
                          <a:pt x="100" y="256"/>
                        </a:lnTo>
                        <a:lnTo>
                          <a:pt x="106" y="256"/>
                        </a:lnTo>
                        <a:lnTo>
                          <a:pt x="116" y="254"/>
                        </a:lnTo>
                        <a:lnTo>
                          <a:pt x="126" y="253"/>
                        </a:lnTo>
                        <a:lnTo>
                          <a:pt x="131" y="252"/>
                        </a:lnTo>
                        <a:lnTo>
                          <a:pt x="136" y="250"/>
                        </a:lnTo>
                        <a:lnTo>
                          <a:pt x="141" y="247"/>
                        </a:lnTo>
                        <a:lnTo>
                          <a:pt x="145" y="244"/>
                        </a:lnTo>
                        <a:lnTo>
                          <a:pt x="153" y="237"/>
                        </a:lnTo>
                        <a:lnTo>
                          <a:pt x="162" y="229"/>
                        </a:lnTo>
                        <a:lnTo>
                          <a:pt x="168" y="220"/>
                        </a:lnTo>
                        <a:lnTo>
                          <a:pt x="175" y="213"/>
                        </a:lnTo>
                        <a:lnTo>
                          <a:pt x="180" y="208"/>
                        </a:lnTo>
                        <a:lnTo>
                          <a:pt x="186" y="204"/>
                        </a:lnTo>
                        <a:lnTo>
                          <a:pt x="199" y="198"/>
                        </a:lnTo>
                        <a:lnTo>
                          <a:pt x="211" y="192"/>
                        </a:lnTo>
                        <a:lnTo>
                          <a:pt x="223" y="187"/>
                        </a:lnTo>
                        <a:lnTo>
                          <a:pt x="235" y="182"/>
                        </a:lnTo>
                        <a:lnTo>
                          <a:pt x="260" y="175"/>
                        </a:lnTo>
                        <a:lnTo>
                          <a:pt x="283" y="167"/>
                        </a:lnTo>
                        <a:lnTo>
                          <a:pt x="308" y="160"/>
                        </a:lnTo>
                        <a:lnTo>
                          <a:pt x="329" y="152"/>
                        </a:lnTo>
                        <a:lnTo>
                          <a:pt x="340" y="147"/>
                        </a:lnTo>
                        <a:lnTo>
                          <a:pt x="351" y="142"/>
                        </a:lnTo>
                        <a:lnTo>
                          <a:pt x="361" y="137"/>
                        </a:lnTo>
                        <a:lnTo>
                          <a:pt x="372" y="130"/>
                        </a:lnTo>
                        <a:lnTo>
                          <a:pt x="382" y="130"/>
                        </a:lnTo>
                        <a:lnTo>
                          <a:pt x="392" y="130"/>
                        </a:lnTo>
                        <a:lnTo>
                          <a:pt x="396" y="130"/>
                        </a:lnTo>
                        <a:lnTo>
                          <a:pt x="401" y="129"/>
                        </a:lnTo>
                        <a:lnTo>
                          <a:pt x="406" y="127"/>
                        </a:lnTo>
                        <a:lnTo>
                          <a:pt x="413" y="124"/>
                        </a:lnTo>
                        <a:lnTo>
                          <a:pt x="426" y="117"/>
                        </a:lnTo>
                        <a:lnTo>
                          <a:pt x="440" y="107"/>
                        </a:lnTo>
                        <a:lnTo>
                          <a:pt x="454" y="97"/>
                        </a:lnTo>
                        <a:lnTo>
                          <a:pt x="465" y="86"/>
                        </a:lnTo>
                        <a:lnTo>
                          <a:pt x="469" y="80"/>
                        </a:lnTo>
                        <a:lnTo>
                          <a:pt x="473" y="74"/>
                        </a:lnTo>
                        <a:lnTo>
                          <a:pt x="477" y="69"/>
                        </a:lnTo>
                        <a:lnTo>
                          <a:pt x="478" y="63"/>
                        </a:lnTo>
                        <a:lnTo>
                          <a:pt x="488" y="62"/>
                        </a:lnTo>
                        <a:lnTo>
                          <a:pt x="496" y="61"/>
                        </a:lnTo>
                        <a:lnTo>
                          <a:pt x="504" y="58"/>
                        </a:lnTo>
                        <a:lnTo>
                          <a:pt x="512" y="54"/>
                        </a:lnTo>
                        <a:lnTo>
                          <a:pt x="525" y="46"/>
                        </a:lnTo>
                        <a:lnTo>
                          <a:pt x="537" y="36"/>
                        </a:lnTo>
                        <a:lnTo>
                          <a:pt x="549" y="26"/>
                        </a:lnTo>
                        <a:lnTo>
                          <a:pt x="561" y="16"/>
                        </a:lnTo>
                        <a:lnTo>
                          <a:pt x="568" y="11"/>
                        </a:lnTo>
                        <a:lnTo>
                          <a:pt x="575" y="7"/>
                        </a:lnTo>
                        <a:lnTo>
                          <a:pt x="583" y="4"/>
                        </a:lnTo>
                        <a:lnTo>
                          <a:pt x="591" y="0"/>
                        </a:lnTo>
                        <a:lnTo>
                          <a:pt x="594" y="10"/>
                        </a:lnTo>
                        <a:lnTo>
                          <a:pt x="597" y="16"/>
                        </a:lnTo>
                        <a:lnTo>
                          <a:pt x="602" y="22"/>
                        </a:lnTo>
                        <a:lnTo>
                          <a:pt x="606" y="25"/>
                        </a:lnTo>
                        <a:lnTo>
                          <a:pt x="612" y="28"/>
                        </a:lnTo>
                        <a:lnTo>
                          <a:pt x="617" y="30"/>
                        </a:lnTo>
                        <a:lnTo>
                          <a:pt x="624" y="31"/>
                        </a:lnTo>
                        <a:lnTo>
                          <a:pt x="631" y="31"/>
                        </a:lnTo>
                        <a:lnTo>
                          <a:pt x="625" y="46"/>
                        </a:lnTo>
                        <a:lnTo>
                          <a:pt x="618" y="61"/>
                        </a:lnTo>
                        <a:lnTo>
                          <a:pt x="611" y="75"/>
                        </a:lnTo>
                        <a:lnTo>
                          <a:pt x="601" y="88"/>
                        </a:lnTo>
                        <a:lnTo>
                          <a:pt x="591" y="101"/>
                        </a:lnTo>
                        <a:lnTo>
                          <a:pt x="580" y="114"/>
                        </a:lnTo>
                        <a:lnTo>
                          <a:pt x="568" y="125"/>
                        </a:lnTo>
                        <a:lnTo>
                          <a:pt x="556" y="136"/>
                        </a:lnTo>
                        <a:lnTo>
                          <a:pt x="543" y="145"/>
                        </a:lnTo>
                        <a:lnTo>
                          <a:pt x="529" y="154"/>
                        </a:lnTo>
                        <a:lnTo>
                          <a:pt x="515" y="161"/>
                        </a:lnTo>
                        <a:lnTo>
                          <a:pt x="501" y="167"/>
                        </a:lnTo>
                        <a:lnTo>
                          <a:pt x="487" y="173"/>
                        </a:lnTo>
                        <a:lnTo>
                          <a:pt x="473" y="177"/>
                        </a:lnTo>
                        <a:lnTo>
                          <a:pt x="459" y="179"/>
                        </a:lnTo>
                        <a:lnTo>
                          <a:pt x="445" y="180"/>
                        </a:lnTo>
                        <a:lnTo>
                          <a:pt x="443" y="189"/>
                        </a:lnTo>
                        <a:lnTo>
                          <a:pt x="439" y="195"/>
                        </a:lnTo>
                        <a:lnTo>
                          <a:pt x="438" y="197"/>
                        </a:lnTo>
                        <a:lnTo>
                          <a:pt x="436" y="199"/>
                        </a:lnTo>
                        <a:lnTo>
                          <a:pt x="435" y="200"/>
                        </a:lnTo>
                        <a:lnTo>
                          <a:pt x="433" y="200"/>
                        </a:lnTo>
                        <a:lnTo>
                          <a:pt x="422" y="199"/>
                        </a:lnTo>
                        <a:lnTo>
                          <a:pt x="405" y="198"/>
                        </a:lnTo>
                        <a:lnTo>
                          <a:pt x="395" y="199"/>
                        </a:lnTo>
                        <a:lnTo>
                          <a:pt x="385" y="202"/>
                        </a:lnTo>
                        <a:lnTo>
                          <a:pt x="376" y="206"/>
                        </a:lnTo>
                        <a:lnTo>
                          <a:pt x="367" y="210"/>
                        </a:lnTo>
                        <a:lnTo>
                          <a:pt x="358" y="213"/>
                        </a:lnTo>
                        <a:lnTo>
                          <a:pt x="351" y="213"/>
                        </a:lnTo>
                        <a:lnTo>
                          <a:pt x="347" y="212"/>
                        </a:lnTo>
                        <a:lnTo>
                          <a:pt x="344" y="211"/>
                        </a:lnTo>
                        <a:lnTo>
                          <a:pt x="342" y="208"/>
                        </a:lnTo>
                        <a:lnTo>
                          <a:pt x="338" y="204"/>
                        </a:lnTo>
                        <a:lnTo>
                          <a:pt x="333" y="216"/>
                        </a:lnTo>
                        <a:lnTo>
                          <a:pt x="324" y="229"/>
                        </a:lnTo>
                        <a:lnTo>
                          <a:pt x="313" y="241"/>
                        </a:lnTo>
                        <a:lnTo>
                          <a:pt x="301" y="254"/>
                        </a:lnTo>
                        <a:lnTo>
                          <a:pt x="288" y="267"/>
                        </a:lnTo>
                        <a:lnTo>
                          <a:pt x="272" y="280"/>
                        </a:lnTo>
                        <a:lnTo>
                          <a:pt x="256" y="293"/>
                        </a:lnTo>
                        <a:lnTo>
                          <a:pt x="238" y="304"/>
                        </a:lnTo>
                        <a:lnTo>
                          <a:pt x="220" y="315"/>
                        </a:lnTo>
                        <a:lnTo>
                          <a:pt x="202" y="325"/>
                        </a:lnTo>
                        <a:lnTo>
                          <a:pt x="182" y="334"/>
                        </a:lnTo>
                        <a:lnTo>
                          <a:pt x="164" y="343"/>
                        </a:lnTo>
                        <a:lnTo>
                          <a:pt x="145" y="349"/>
                        </a:lnTo>
                        <a:lnTo>
                          <a:pt x="127" y="354"/>
                        </a:lnTo>
                        <a:lnTo>
                          <a:pt x="110" y="357"/>
                        </a:lnTo>
                        <a:lnTo>
                          <a:pt x="93" y="358"/>
                        </a:lnTo>
                        <a:lnTo>
                          <a:pt x="80" y="358"/>
                        </a:lnTo>
                        <a:lnTo>
                          <a:pt x="71" y="356"/>
                        </a:lnTo>
                        <a:lnTo>
                          <a:pt x="65" y="354"/>
                        </a:lnTo>
                        <a:lnTo>
                          <a:pt x="60" y="351"/>
                        </a:lnTo>
                        <a:lnTo>
                          <a:pt x="56" y="348"/>
                        </a:lnTo>
                        <a:lnTo>
                          <a:pt x="51" y="345"/>
                        </a:lnTo>
                        <a:lnTo>
                          <a:pt x="44" y="343"/>
                        </a:lnTo>
                        <a:lnTo>
                          <a:pt x="33" y="340"/>
                        </a:lnTo>
                        <a:lnTo>
                          <a:pt x="0" y="327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86" name="Freeform 76">
                    <a:extLst>
                      <a:ext uri="{FF2B5EF4-FFF2-40B4-BE49-F238E27FC236}">
                        <a16:creationId xmlns:a16="http://schemas.microsoft.com/office/drawing/2014/main" xmlns="" id="{5E7A9ACC-32A3-431E-B213-D92628C0D4F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97" y="3323"/>
                    <a:ext cx="116" cy="141"/>
                  </a:xfrm>
                  <a:custGeom>
                    <a:avLst/>
                    <a:gdLst>
                      <a:gd name="T0" fmla="*/ 0 w 359"/>
                      <a:gd name="T1" fmla="*/ 1 h 431"/>
                      <a:gd name="T2" fmla="*/ 0 w 359"/>
                      <a:gd name="T3" fmla="*/ 1 h 431"/>
                      <a:gd name="T4" fmla="*/ 1 w 359"/>
                      <a:gd name="T5" fmla="*/ 1 h 431"/>
                      <a:gd name="T6" fmla="*/ 1 w 359"/>
                      <a:gd name="T7" fmla="*/ 1 h 431"/>
                      <a:gd name="T8" fmla="*/ 1 w 359"/>
                      <a:gd name="T9" fmla="*/ 1 h 431"/>
                      <a:gd name="T10" fmla="*/ 1 w 359"/>
                      <a:gd name="T11" fmla="*/ 1 h 431"/>
                      <a:gd name="T12" fmla="*/ 1 w 359"/>
                      <a:gd name="T13" fmla="*/ 0 h 431"/>
                      <a:gd name="T14" fmla="*/ 1 w 359"/>
                      <a:gd name="T15" fmla="*/ 0 h 431"/>
                      <a:gd name="T16" fmla="*/ 1 w 359"/>
                      <a:gd name="T17" fmla="*/ 0 h 431"/>
                      <a:gd name="T18" fmla="*/ 1 w 359"/>
                      <a:gd name="T19" fmla="*/ 0 h 431"/>
                      <a:gd name="T20" fmla="*/ 1 w 359"/>
                      <a:gd name="T21" fmla="*/ 0 h 431"/>
                      <a:gd name="T22" fmla="*/ 1 w 359"/>
                      <a:gd name="T23" fmla="*/ 0 h 431"/>
                      <a:gd name="T24" fmla="*/ 1 w 359"/>
                      <a:gd name="T25" fmla="*/ 0 h 431"/>
                      <a:gd name="T26" fmla="*/ 1 w 359"/>
                      <a:gd name="T27" fmla="*/ 0 h 431"/>
                      <a:gd name="T28" fmla="*/ 1 w 359"/>
                      <a:gd name="T29" fmla="*/ 0 h 431"/>
                      <a:gd name="T30" fmla="*/ 1 w 359"/>
                      <a:gd name="T31" fmla="*/ 0 h 431"/>
                      <a:gd name="T32" fmla="*/ 1 w 359"/>
                      <a:gd name="T33" fmla="*/ 0 h 431"/>
                      <a:gd name="T34" fmla="*/ 1 w 359"/>
                      <a:gd name="T35" fmla="*/ 1 h 431"/>
                      <a:gd name="T36" fmla="*/ 1 w 359"/>
                      <a:gd name="T37" fmla="*/ 1 h 431"/>
                      <a:gd name="T38" fmla="*/ 1 w 359"/>
                      <a:gd name="T39" fmla="*/ 1 h 431"/>
                      <a:gd name="T40" fmla="*/ 1 w 359"/>
                      <a:gd name="T41" fmla="*/ 1 h 431"/>
                      <a:gd name="T42" fmla="*/ 1 w 359"/>
                      <a:gd name="T43" fmla="*/ 1 h 431"/>
                      <a:gd name="T44" fmla="*/ 1 w 359"/>
                      <a:gd name="T45" fmla="*/ 1 h 431"/>
                      <a:gd name="T46" fmla="*/ 1 w 359"/>
                      <a:gd name="T47" fmla="*/ 1 h 431"/>
                      <a:gd name="T48" fmla="*/ 1 w 359"/>
                      <a:gd name="T49" fmla="*/ 1 h 431"/>
                      <a:gd name="T50" fmla="*/ 1 w 359"/>
                      <a:gd name="T51" fmla="*/ 1 h 431"/>
                      <a:gd name="T52" fmla="*/ 1 w 359"/>
                      <a:gd name="T53" fmla="*/ 1 h 431"/>
                      <a:gd name="T54" fmla="*/ 1 w 359"/>
                      <a:gd name="T55" fmla="*/ 1 h 431"/>
                      <a:gd name="T56" fmla="*/ 1 w 359"/>
                      <a:gd name="T57" fmla="*/ 1 h 431"/>
                      <a:gd name="T58" fmla="*/ 1 w 359"/>
                      <a:gd name="T59" fmla="*/ 1 h 431"/>
                      <a:gd name="T60" fmla="*/ 1 w 359"/>
                      <a:gd name="T61" fmla="*/ 1 h 431"/>
                      <a:gd name="T62" fmla="*/ 1 w 359"/>
                      <a:gd name="T63" fmla="*/ 1 h 431"/>
                      <a:gd name="T64" fmla="*/ 1 w 359"/>
                      <a:gd name="T65" fmla="*/ 1 h 431"/>
                      <a:gd name="T66" fmla="*/ 1 w 359"/>
                      <a:gd name="T67" fmla="*/ 1 h 431"/>
                      <a:gd name="T68" fmla="*/ 1 w 359"/>
                      <a:gd name="T69" fmla="*/ 1 h 431"/>
                      <a:gd name="T70" fmla="*/ 1 w 359"/>
                      <a:gd name="T71" fmla="*/ 1 h 431"/>
                      <a:gd name="T72" fmla="*/ 1 w 359"/>
                      <a:gd name="T73" fmla="*/ 1 h 431"/>
                      <a:gd name="T74" fmla="*/ 1 w 359"/>
                      <a:gd name="T75" fmla="*/ 1 h 431"/>
                      <a:gd name="T76" fmla="*/ 0 w 359"/>
                      <a:gd name="T77" fmla="*/ 2 h 431"/>
                      <a:gd name="T78" fmla="*/ 0 w 359"/>
                      <a:gd name="T79" fmla="*/ 2 h 431"/>
                      <a:gd name="T80" fmla="*/ 0 w 359"/>
                      <a:gd name="T81" fmla="*/ 2 h 431"/>
                      <a:gd name="T82" fmla="*/ 0 w 359"/>
                      <a:gd name="T83" fmla="*/ 2 h 431"/>
                      <a:gd name="T84" fmla="*/ 0 w 359"/>
                      <a:gd name="T85" fmla="*/ 2 h 431"/>
                      <a:gd name="T86" fmla="*/ 0 w 359"/>
                      <a:gd name="T87" fmla="*/ 2 h 431"/>
                      <a:gd name="T88" fmla="*/ 0 w 359"/>
                      <a:gd name="T89" fmla="*/ 2 h 431"/>
                      <a:gd name="T90" fmla="*/ 0 w 359"/>
                      <a:gd name="T91" fmla="*/ 1 h 431"/>
                      <a:gd name="T92" fmla="*/ 0 w 359"/>
                      <a:gd name="T93" fmla="*/ 1 h 431"/>
                      <a:gd name="T94" fmla="*/ 0 w 359"/>
                      <a:gd name="T95" fmla="*/ 1 h 431"/>
                      <a:gd name="T96" fmla="*/ 0 w 359"/>
                      <a:gd name="T97" fmla="*/ 1 h 431"/>
                      <a:gd name="T98" fmla="*/ 0 w 359"/>
                      <a:gd name="T99" fmla="*/ 1 h 431"/>
                      <a:gd name="T100" fmla="*/ 0 w 359"/>
                      <a:gd name="T101" fmla="*/ 1 h 431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359"/>
                      <a:gd name="T154" fmla="*/ 0 h 431"/>
                      <a:gd name="T155" fmla="*/ 359 w 359"/>
                      <a:gd name="T156" fmla="*/ 431 h 431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359" h="431">
                        <a:moveTo>
                          <a:pt x="39" y="296"/>
                        </a:moveTo>
                        <a:lnTo>
                          <a:pt x="50" y="292"/>
                        </a:lnTo>
                        <a:lnTo>
                          <a:pt x="60" y="288"/>
                        </a:lnTo>
                        <a:lnTo>
                          <a:pt x="70" y="284"/>
                        </a:lnTo>
                        <a:lnTo>
                          <a:pt x="79" y="279"/>
                        </a:lnTo>
                        <a:lnTo>
                          <a:pt x="95" y="269"/>
                        </a:lnTo>
                        <a:lnTo>
                          <a:pt x="110" y="257"/>
                        </a:lnTo>
                        <a:lnTo>
                          <a:pt x="138" y="233"/>
                        </a:lnTo>
                        <a:lnTo>
                          <a:pt x="165" y="209"/>
                        </a:lnTo>
                        <a:lnTo>
                          <a:pt x="166" y="198"/>
                        </a:lnTo>
                        <a:lnTo>
                          <a:pt x="170" y="175"/>
                        </a:lnTo>
                        <a:lnTo>
                          <a:pt x="172" y="168"/>
                        </a:lnTo>
                        <a:lnTo>
                          <a:pt x="174" y="162"/>
                        </a:lnTo>
                        <a:lnTo>
                          <a:pt x="176" y="156"/>
                        </a:lnTo>
                        <a:lnTo>
                          <a:pt x="180" y="149"/>
                        </a:lnTo>
                        <a:lnTo>
                          <a:pt x="183" y="144"/>
                        </a:lnTo>
                        <a:lnTo>
                          <a:pt x="188" y="140"/>
                        </a:lnTo>
                        <a:lnTo>
                          <a:pt x="193" y="137"/>
                        </a:lnTo>
                        <a:lnTo>
                          <a:pt x="199" y="135"/>
                        </a:lnTo>
                        <a:lnTo>
                          <a:pt x="194" y="131"/>
                        </a:lnTo>
                        <a:lnTo>
                          <a:pt x="190" y="126"/>
                        </a:lnTo>
                        <a:lnTo>
                          <a:pt x="186" y="119"/>
                        </a:lnTo>
                        <a:lnTo>
                          <a:pt x="184" y="112"/>
                        </a:lnTo>
                        <a:lnTo>
                          <a:pt x="179" y="94"/>
                        </a:lnTo>
                        <a:lnTo>
                          <a:pt x="175" y="75"/>
                        </a:lnTo>
                        <a:lnTo>
                          <a:pt x="174" y="54"/>
                        </a:lnTo>
                        <a:lnTo>
                          <a:pt x="173" y="34"/>
                        </a:lnTo>
                        <a:lnTo>
                          <a:pt x="172" y="16"/>
                        </a:lnTo>
                        <a:lnTo>
                          <a:pt x="172" y="0"/>
                        </a:lnTo>
                        <a:lnTo>
                          <a:pt x="182" y="0"/>
                        </a:lnTo>
                        <a:lnTo>
                          <a:pt x="192" y="0"/>
                        </a:lnTo>
                        <a:lnTo>
                          <a:pt x="193" y="6"/>
                        </a:lnTo>
                        <a:lnTo>
                          <a:pt x="194" y="11"/>
                        </a:lnTo>
                        <a:lnTo>
                          <a:pt x="196" y="16"/>
                        </a:lnTo>
                        <a:lnTo>
                          <a:pt x="199" y="20"/>
                        </a:lnTo>
                        <a:lnTo>
                          <a:pt x="207" y="29"/>
                        </a:lnTo>
                        <a:lnTo>
                          <a:pt x="216" y="37"/>
                        </a:lnTo>
                        <a:lnTo>
                          <a:pt x="224" y="47"/>
                        </a:lnTo>
                        <a:lnTo>
                          <a:pt x="231" y="56"/>
                        </a:lnTo>
                        <a:lnTo>
                          <a:pt x="235" y="62"/>
                        </a:lnTo>
                        <a:lnTo>
                          <a:pt x="237" y="67"/>
                        </a:lnTo>
                        <a:lnTo>
                          <a:pt x="238" y="73"/>
                        </a:lnTo>
                        <a:lnTo>
                          <a:pt x="239" y="80"/>
                        </a:lnTo>
                        <a:lnTo>
                          <a:pt x="238" y="84"/>
                        </a:lnTo>
                        <a:lnTo>
                          <a:pt x="237" y="88"/>
                        </a:lnTo>
                        <a:lnTo>
                          <a:pt x="235" y="92"/>
                        </a:lnTo>
                        <a:lnTo>
                          <a:pt x="232" y="95"/>
                        </a:lnTo>
                        <a:lnTo>
                          <a:pt x="226" y="102"/>
                        </a:lnTo>
                        <a:lnTo>
                          <a:pt x="219" y="108"/>
                        </a:lnTo>
                        <a:lnTo>
                          <a:pt x="211" y="114"/>
                        </a:lnTo>
                        <a:lnTo>
                          <a:pt x="205" y="120"/>
                        </a:lnTo>
                        <a:lnTo>
                          <a:pt x="203" y="123"/>
                        </a:lnTo>
                        <a:lnTo>
                          <a:pt x="200" y="127"/>
                        </a:lnTo>
                        <a:lnTo>
                          <a:pt x="199" y="131"/>
                        </a:lnTo>
                        <a:lnTo>
                          <a:pt x="199" y="135"/>
                        </a:lnTo>
                        <a:lnTo>
                          <a:pt x="199" y="143"/>
                        </a:lnTo>
                        <a:lnTo>
                          <a:pt x="199" y="149"/>
                        </a:lnTo>
                        <a:lnTo>
                          <a:pt x="200" y="155"/>
                        </a:lnTo>
                        <a:lnTo>
                          <a:pt x="203" y="157"/>
                        </a:lnTo>
                        <a:lnTo>
                          <a:pt x="205" y="159"/>
                        </a:lnTo>
                        <a:lnTo>
                          <a:pt x="210" y="160"/>
                        </a:lnTo>
                        <a:lnTo>
                          <a:pt x="217" y="160"/>
                        </a:lnTo>
                        <a:lnTo>
                          <a:pt x="226" y="160"/>
                        </a:lnTo>
                        <a:lnTo>
                          <a:pt x="229" y="160"/>
                        </a:lnTo>
                        <a:lnTo>
                          <a:pt x="232" y="158"/>
                        </a:lnTo>
                        <a:lnTo>
                          <a:pt x="233" y="153"/>
                        </a:lnTo>
                        <a:lnTo>
                          <a:pt x="233" y="150"/>
                        </a:lnTo>
                        <a:lnTo>
                          <a:pt x="233" y="142"/>
                        </a:lnTo>
                        <a:lnTo>
                          <a:pt x="232" y="135"/>
                        </a:lnTo>
                        <a:lnTo>
                          <a:pt x="244" y="163"/>
                        </a:lnTo>
                        <a:lnTo>
                          <a:pt x="255" y="188"/>
                        </a:lnTo>
                        <a:lnTo>
                          <a:pt x="259" y="193"/>
                        </a:lnTo>
                        <a:lnTo>
                          <a:pt x="262" y="198"/>
                        </a:lnTo>
                        <a:lnTo>
                          <a:pt x="266" y="203"/>
                        </a:lnTo>
                        <a:lnTo>
                          <a:pt x="271" y="208"/>
                        </a:lnTo>
                        <a:lnTo>
                          <a:pt x="276" y="213"/>
                        </a:lnTo>
                        <a:lnTo>
                          <a:pt x="283" y="216"/>
                        </a:lnTo>
                        <a:lnTo>
                          <a:pt x="291" y="219"/>
                        </a:lnTo>
                        <a:lnTo>
                          <a:pt x="298" y="222"/>
                        </a:lnTo>
                        <a:lnTo>
                          <a:pt x="299" y="220"/>
                        </a:lnTo>
                        <a:lnTo>
                          <a:pt x="300" y="217"/>
                        </a:lnTo>
                        <a:lnTo>
                          <a:pt x="303" y="215"/>
                        </a:lnTo>
                        <a:lnTo>
                          <a:pt x="305" y="212"/>
                        </a:lnTo>
                        <a:lnTo>
                          <a:pt x="312" y="206"/>
                        </a:lnTo>
                        <a:lnTo>
                          <a:pt x="321" y="201"/>
                        </a:lnTo>
                        <a:lnTo>
                          <a:pt x="331" y="197"/>
                        </a:lnTo>
                        <a:lnTo>
                          <a:pt x="341" y="194"/>
                        </a:lnTo>
                        <a:lnTo>
                          <a:pt x="350" y="192"/>
                        </a:lnTo>
                        <a:lnTo>
                          <a:pt x="359" y="191"/>
                        </a:lnTo>
                        <a:lnTo>
                          <a:pt x="355" y="206"/>
                        </a:lnTo>
                        <a:lnTo>
                          <a:pt x="352" y="219"/>
                        </a:lnTo>
                        <a:lnTo>
                          <a:pt x="348" y="231"/>
                        </a:lnTo>
                        <a:lnTo>
                          <a:pt x="342" y="240"/>
                        </a:lnTo>
                        <a:lnTo>
                          <a:pt x="336" y="248"/>
                        </a:lnTo>
                        <a:lnTo>
                          <a:pt x="329" y="255"/>
                        </a:lnTo>
                        <a:lnTo>
                          <a:pt x="321" y="261"/>
                        </a:lnTo>
                        <a:lnTo>
                          <a:pt x="314" y="267"/>
                        </a:lnTo>
                        <a:lnTo>
                          <a:pt x="305" y="271"/>
                        </a:lnTo>
                        <a:lnTo>
                          <a:pt x="295" y="275"/>
                        </a:lnTo>
                        <a:lnTo>
                          <a:pt x="284" y="278"/>
                        </a:lnTo>
                        <a:lnTo>
                          <a:pt x="272" y="281"/>
                        </a:lnTo>
                        <a:lnTo>
                          <a:pt x="247" y="288"/>
                        </a:lnTo>
                        <a:lnTo>
                          <a:pt x="219" y="296"/>
                        </a:lnTo>
                        <a:lnTo>
                          <a:pt x="213" y="297"/>
                        </a:lnTo>
                        <a:lnTo>
                          <a:pt x="208" y="299"/>
                        </a:lnTo>
                        <a:lnTo>
                          <a:pt x="204" y="301"/>
                        </a:lnTo>
                        <a:lnTo>
                          <a:pt x="199" y="303"/>
                        </a:lnTo>
                        <a:lnTo>
                          <a:pt x="193" y="308"/>
                        </a:lnTo>
                        <a:lnTo>
                          <a:pt x="188" y="314"/>
                        </a:lnTo>
                        <a:lnTo>
                          <a:pt x="183" y="328"/>
                        </a:lnTo>
                        <a:lnTo>
                          <a:pt x="179" y="339"/>
                        </a:lnTo>
                        <a:lnTo>
                          <a:pt x="175" y="344"/>
                        </a:lnTo>
                        <a:lnTo>
                          <a:pt x="170" y="350"/>
                        </a:lnTo>
                        <a:lnTo>
                          <a:pt x="163" y="356"/>
                        </a:lnTo>
                        <a:lnTo>
                          <a:pt x="154" y="363"/>
                        </a:lnTo>
                        <a:lnTo>
                          <a:pt x="134" y="379"/>
                        </a:lnTo>
                        <a:lnTo>
                          <a:pt x="109" y="394"/>
                        </a:lnTo>
                        <a:lnTo>
                          <a:pt x="84" y="408"/>
                        </a:lnTo>
                        <a:lnTo>
                          <a:pt x="59" y="420"/>
                        </a:lnTo>
                        <a:lnTo>
                          <a:pt x="48" y="424"/>
                        </a:lnTo>
                        <a:lnTo>
                          <a:pt x="37" y="428"/>
                        </a:lnTo>
                        <a:lnTo>
                          <a:pt x="28" y="430"/>
                        </a:lnTo>
                        <a:lnTo>
                          <a:pt x="19" y="431"/>
                        </a:lnTo>
                        <a:lnTo>
                          <a:pt x="15" y="430"/>
                        </a:lnTo>
                        <a:lnTo>
                          <a:pt x="11" y="429"/>
                        </a:lnTo>
                        <a:lnTo>
                          <a:pt x="7" y="426"/>
                        </a:lnTo>
                        <a:lnTo>
                          <a:pt x="5" y="423"/>
                        </a:lnTo>
                        <a:lnTo>
                          <a:pt x="3" y="420"/>
                        </a:lnTo>
                        <a:lnTo>
                          <a:pt x="1" y="415"/>
                        </a:lnTo>
                        <a:lnTo>
                          <a:pt x="0" y="411"/>
                        </a:lnTo>
                        <a:lnTo>
                          <a:pt x="0" y="406"/>
                        </a:lnTo>
                        <a:lnTo>
                          <a:pt x="1" y="402"/>
                        </a:lnTo>
                        <a:lnTo>
                          <a:pt x="2" y="398"/>
                        </a:lnTo>
                        <a:lnTo>
                          <a:pt x="5" y="395"/>
                        </a:lnTo>
                        <a:lnTo>
                          <a:pt x="9" y="391"/>
                        </a:lnTo>
                        <a:lnTo>
                          <a:pt x="19" y="386"/>
                        </a:lnTo>
                        <a:lnTo>
                          <a:pt x="31" y="382"/>
                        </a:lnTo>
                        <a:lnTo>
                          <a:pt x="56" y="374"/>
                        </a:lnTo>
                        <a:lnTo>
                          <a:pt x="73" y="369"/>
                        </a:lnTo>
                        <a:lnTo>
                          <a:pt x="73" y="360"/>
                        </a:lnTo>
                        <a:lnTo>
                          <a:pt x="73" y="351"/>
                        </a:lnTo>
                        <a:lnTo>
                          <a:pt x="72" y="345"/>
                        </a:lnTo>
                        <a:lnTo>
                          <a:pt x="72" y="339"/>
                        </a:lnTo>
                        <a:lnTo>
                          <a:pt x="71" y="335"/>
                        </a:lnTo>
                        <a:lnTo>
                          <a:pt x="69" y="331"/>
                        </a:lnTo>
                        <a:lnTo>
                          <a:pt x="67" y="328"/>
                        </a:lnTo>
                        <a:lnTo>
                          <a:pt x="64" y="326"/>
                        </a:lnTo>
                        <a:lnTo>
                          <a:pt x="62" y="324"/>
                        </a:lnTo>
                        <a:lnTo>
                          <a:pt x="59" y="322"/>
                        </a:lnTo>
                        <a:lnTo>
                          <a:pt x="51" y="320"/>
                        </a:lnTo>
                        <a:lnTo>
                          <a:pt x="41" y="319"/>
                        </a:lnTo>
                        <a:lnTo>
                          <a:pt x="31" y="320"/>
                        </a:lnTo>
                        <a:lnTo>
                          <a:pt x="19" y="320"/>
                        </a:lnTo>
                        <a:lnTo>
                          <a:pt x="39" y="296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110" name="Freeform 77">
                  <a:extLst>
                    <a:ext uri="{FF2B5EF4-FFF2-40B4-BE49-F238E27FC236}">
                      <a16:creationId xmlns:a16="http://schemas.microsoft.com/office/drawing/2014/main" xmlns="" id="{8B15EE13-BF5C-49E7-A270-0489127DA18E}"/>
                    </a:ext>
                  </a:extLst>
                </p:cNvPr>
                <p:cNvSpPr>
                  <a:spLocks/>
                </p:cNvSpPr>
                <p:nvPr>
                  <p:custDataLst>
                    <p:tags r:id="rId57"/>
                  </p:custDataLst>
                </p:nvPr>
              </p:nvSpPr>
              <p:spPr bwMode="auto">
                <a:xfrm>
                  <a:off x="7362825" y="3395663"/>
                  <a:ext cx="9525" cy="57150"/>
                </a:xfrm>
                <a:custGeom>
                  <a:avLst/>
                  <a:gdLst>
                    <a:gd name="T0" fmla="*/ 0 w 21"/>
                    <a:gd name="T1" fmla="*/ 2147483646 h 62"/>
                    <a:gd name="T2" fmla="*/ 2147483646 w 21"/>
                    <a:gd name="T3" fmla="*/ 2147483646 h 62"/>
                    <a:gd name="T4" fmla="*/ 2147483646 w 21"/>
                    <a:gd name="T5" fmla="*/ 2147483646 h 62"/>
                    <a:gd name="T6" fmla="*/ 2147483646 w 21"/>
                    <a:gd name="T7" fmla="*/ 2147483646 h 62"/>
                    <a:gd name="T8" fmla="*/ 2147483646 w 21"/>
                    <a:gd name="T9" fmla="*/ 2147483646 h 62"/>
                    <a:gd name="T10" fmla="*/ 2147483646 w 21"/>
                    <a:gd name="T11" fmla="*/ 2147483646 h 62"/>
                    <a:gd name="T12" fmla="*/ 2147483646 w 21"/>
                    <a:gd name="T13" fmla="*/ 0 h 62"/>
                    <a:gd name="T14" fmla="*/ 2147483646 w 21"/>
                    <a:gd name="T15" fmla="*/ 2147483646 h 62"/>
                    <a:gd name="T16" fmla="*/ 2147483646 w 21"/>
                    <a:gd name="T17" fmla="*/ 2147483646 h 62"/>
                    <a:gd name="T18" fmla="*/ 2147483646 w 21"/>
                    <a:gd name="T19" fmla="*/ 2147483646 h 62"/>
                    <a:gd name="T20" fmla="*/ 2147483646 w 21"/>
                    <a:gd name="T21" fmla="*/ 2147483646 h 62"/>
                    <a:gd name="T22" fmla="*/ 2147483646 w 21"/>
                    <a:gd name="T23" fmla="*/ 2147483646 h 62"/>
                    <a:gd name="T24" fmla="*/ 0 w 21"/>
                    <a:gd name="T25" fmla="*/ 2147483646 h 62"/>
                    <a:gd name="T26" fmla="*/ 0 w 21"/>
                    <a:gd name="T27" fmla="*/ 2147483646 h 6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1"/>
                    <a:gd name="T43" fmla="*/ 0 h 62"/>
                    <a:gd name="T44" fmla="*/ 21 w 21"/>
                    <a:gd name="T45" fmla="*/ 62 h 6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1" h="62">
                      <a:moveTo>
                        <a:pt x="0" y="43"/>
                      </a:moveTo>
                      <a:lnTo>
                        <a:pt x="1" y="29"/>
                      </a:lnTo>
                      <a:lnTo>
                        <a:pt x="3" y="17"/>
                      </a:lnTo>
                      <a:lnTo>
                        <a:pt x="4" y="11"/>
                      </a:lnTo>
                      <a:lnTo>
                        <a:pt x="6" y="7"/>
                      </a:lnTo>
                      <a:lnTo>
                        <a:pt x="9" y="3"/>
                      </a:lnTo>
                      <a:lnTo>
                        <a:pt x="15" y="0"/>
                      </a:lnTo>
                      <a:lnTo>
                        <a:pt x="15" y="15"/>
                      </a:lnTo>
                      <a:lnTo>
                        <a:pt x="18" y="31"/>
                      </a:lnTo>
                      <a:lnTo>
                        <a:pt x="20" y="44"/>
                      </a:lnTo>
                      <a:lnTo>
                        <a:pt x="21" y="49"/>
                      </a:lnTo>
                      <a:lnTo>
                        <a:pt x="10" y="55"/>
                      </a:lnTo>
                      <a:lnTo>
                        <a:pt x="0" y="62"/>
                      </a:lnTo>
                      <a:lnTo>
                        <a:pt x="0" y="4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1" name="Freeform 78">
                  <a:extLst>
                    <a:ext uri="{FF2B5EF4-FFF2-40B4-BE49-F238E27FC236}">
                      <a16:creationId xmlns:a16="http://schemas.microsoft.com/office/drawing/2014/main" xmlns="" id="{81296ECB-4FAE-400F-A4E5-A58BE994AC56}"/>
                    </a:ext>
                  </a:extLst>
                </p:cNvPr>
                <p:cNvSpPr>
                  <a:spLocks/>
                </p:cNvSpPr>
                <p:nvPr>
                  <p:custDataLst>
                    <p:tags r:id="rId58"/>
                  </p:custDataLst>
                </p:nvPr>
              </p:nvSpPr>
              <p:spPr bwMode="auto">
                <a:xfrm>
                  <a:off x="8089900" y="4297363"/>
                  <a:ext cx="14288" cy="57150"/>
                </a:xfrm>
                <a:custGeom>
                  <a:avLst/>
                  <a:gdLst>
                    <a:gd name="T0" fmla="*/ 0 w 33"/>
                    <a:gd name="T1" fmla="*/ 0 h 24"/>
                    <a:gd name="T2" fmla="*/ 2147483646 w 33"/>
                    <a:gd name="T3" fmla="*/ 2147483646 h 24"/>
                    <a:gd name="T4" fmla="*/ 2147483646 w 33"/>
                    <a:gd name="T5" fmla="*/ 2147483646 h 24"/>
                    <a:gd name="T6" fmla="*/ 2147483646 w 33"/>
                    <a:gd name="T7" fmla="*/ 2147483646 h 24"/>
                    <a:gd name="T8" fmla="*/ 2147483646 w 33"/>
                    <a:gd name="T9" fmla="*/ 2147483646 h 24"/>
                    <a:gd name="T10" fmla="*/ 2147483646 w 33"/>
                    <a:gd name="T11" fmla="*/ 2147483646 h 24"/>
                    <a:gd name="T12" fmla="*/ 2147483646 w 33"/>
                    <a:gd name="T13" fmla="*/ 2147483646 h 24"/>
                    <a:gd name="T14" fmla="*/ 2147483646 w 33"/>
                    <a:gd name="T15" fmla="*/ 0 h 24"/>
                    <a:gd name="T16" fmla="*/ 2147483646 w 33"/>
                    <a:gd name="T17" fmla="*/ 0 h 24"/>
                    <a:gd name="T18" fmla="*/ 2147483646 w 33"/>
                    <a:gd name="T19" fmla="*/ 0 h 24"/>
                    <a:gd name="T20" fmla="*/ 2147483646 w 33"/>
                    <a:gd name="T21" fmla="*/ 0 h 24"/>
                    <a:gd name="T22" fmla="*/ 0 w 33"/>
                    <a:gd name="T23" fmla="*/ 0 h 2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33"/>
                    <a:gd name="T37" fmla="*/ 0 h 24"/>
                    <a:gd name="T38" fmla="*/ 33 w 33"/>
                    <a:gd name="T39" fmla="*/ 24 h 2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33" h="24">
                      <a:moveTo>
                        <a:pt x="0" y="0"/>
                      </a:moveTo>
                      <a:lnTo>
                        <a:pt x="5" y="5"/>
                      </a:lnTo>
                      <a:lnTo>
                        <a:pt x="10" y="10"/>
                      </a:lnTo>
                      <a:lnTo>
                        <a:pt x="11" y="13"/>
                      </a:lnTo>
                      <a:lnTo>
                        <a:pt x="12" y="16"/>
                      </a:lnTo>
                      <a:lnTo>
                        <a:pt x="13" y="20"/>
                      </a:lnTo>
                      <a:lnTo>
                        <a:pt x="13" y="24"/>
                      </a:lnTo>
                      <a:lnTo>
                        <a:pt x="33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2" name="Freeform 79">
                  <a:extLst>
                    <a:ext uri="{FF2B5EF4-FFF2-40B4-BE49-F238E27FC236}">
                      <a16:creationId xmlns:a16="http://schemas.microsoft.com/office/drawing/2014/main" xmlns="" id="{9689EE1B-858B-4172-AC5B-DD4302679CBB}"/>
                    </a:ext>
                  </a:extLst>
                </p:cNvPr>
                <p:cNvSpPr>
                  <a:spLocks/>
                </p:cNvSpPr>
                <p:nvPr>
                  <p:custDataLst>
                    <p:tags r:id="rId59"/>
                  </p:custDataLst>
                </p:nvPr>
              </p:nvSpPr>
              <p:spPr bwMode="auto">
                <a:xfrm>
                  <a:off x="8112125" y="4306888"/>
                  <a:ext cx="17463" cy="58737"/>
                </a:xfrm>
                <a:custGeom>
                  <a:avLst/>
                  <a:gdLst>
                    <a:gd name="T0" fmla="*/ 2147483646 w 33"/>
                    <a:gd name="T1" fmla="*/ 2147483646 h 25"/>
                    <a:gd name="T2" fmla="*/ 2147483646 w 33"/>
                    <a:gd name="T3" fmla="*/ 2147483646 h 25"/>
                    <a:gd name="T4" fmla="*/ 2147483646 w 33"/>
                    <a:gd name="T5" fmla="*/ 2147483646 h 25"/>
                    <a:gd name="T6" fmla="*/ 2147483646 w 33"/>
                    <a:gd name="T7" fmla="*/ 0 h 25"/>
                    <a:gd name="T8" fmla="*/ 2147483646 w 33"/>
                    <a:gd name="T9" fmla="*/ 0 h 25"/>
                    <a:gd name="T10" fmla="*/ 2147483646 w 33"/>
                    <a:gd name="T11" fmla="*/ 0 h 25"/>
                    <a:gd name="T12" fmla="*/ 2147483646 w 33"/>
                    <a:gd name="T13" fmla="*/ 0 h 25"/>
                    <a:gd name="T14" fmla="*/ 0 w 33"/>
                    <a:gd name="T15" fmla="*/ 0 h 25"/>
                    <a:gd name="T16" fmla="*/ 2147483646 w 33"/>
                    <a:gd name="T17" fmla="*/ 2147483646 h 2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3"/>
                    <a:gd name="T28" fmla="*/ 0 h 25"/>
                    <a:gd name="T29" fmla="*/ 33 w 33"/>
                    <a:gd name="T30" fmla="*/ 25 h 2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3" h="25">
                      <a:moveTo>
                        <a:pt x="26" y="25"/>
                      </a:moveTo>
                      <a:lnTo>
                        <a:pt x="29" y="22"/>
                      </a:lnTo>
                      <a:lnTo>
                        <a:pt x="33" y="18"/>
                      </a:lnTo>
                      <a:lnTo>
                        <a:pt x="33" y="0"/>
                      </a:lnTo>
                      <a:lnTo>
                        <a:pt x="25" y="0"/>
                      </a:lnTo>
                      <a:lnTo>
                        <a:pt x="16" y="0"/>
                      </a:ln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26" y="2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3" name="Freeform 80">
                  <a:extLst>
                    <a:ext uri="{FF2B5EF4-FFF2-40B4-BE49-F238E27FC236}">
                      <a16:creationId xmlns:a16="http://schemas.microsoft.com/office/drawing/2014/main" xmlns="" id="{F493CEA6-D352-4519-95B2-CF88864F89CA}"/>
                    </a:ext>
                  </a:extLst>
                </p:cNvPr>
                <p:cNvSpPr>
                  <a:spLocks/>
                </p:cNvSpPr>
                <p:nvPr>
                  <p:custDataLst>
                    <p:tags r:id="rId60"/>
                  </p:custDataLst>
                </p:nvPr>
              </p:nvSpPr>
              <p:spPr bwMode="auto">
                <a:xfrm>
                  <a:off x="7426325" y="3384550"/>
                  <a:ext cx="1588" cy="55563"/>
                </a:xfrm>
                <a:custGeom>
                  <a:avLst/>
                  <a:gdLst>
                    <a:gd name="T0" fmla="*/ 0 w 7"/>
                    <a:gd name="T1" fmla="*/ 0 h 55563"/>
                    <a:gd name="T2" fmla="*/ 2147483646 w 7"/>
                    <a:gd name="T3" fmla="*/ 0 h 55563"/>
                    <a:gd name="T4" fmla="*/ 0 w 7"/>
                    <a:gd name="T5" fmla="*/ 0 h 55563"/>
                    <a:gd name="T6" fmla="*/ 0 60000 65536"/>
                    <a:gd name="T7" fmla="*/ 0 60000 65536"/>
                    <a:gd name="T8" fmla="*/ 0 60000 65536"/>
                    <a:gd name="T9" fmla="*/ 0 w 7"/>
                    <a:gd name="T10" fmla="*/ 0 h 55563"/>
                    <a:gd name="T11" fmla="*/ 7 w 7"/>
                    <a:gd name="T12" fmla="*/ 55563 h 55563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7" h="55563">
                      <a:moveTo>
                        <a:pt x="0" y="0"/>
                      </a:move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4" name="Freeform 81">
                  <a:extLst>
                    <a:ext uri="{FF2B5EF4-FFF2-40B4-BE49-F238E27FC236}">
                      <a16:creationId xmlns:a16="http://schemas.microsoft.com/office/drawing/2014/main" xmlns="" id="{47B477DF-39DD-402B-BF65-4E900016D028}"/>
                    </a:ext>
                  </a:extLst>
                </p:cNvPr>
                <p:cNvSpPr>
                  <a:spLocks/>
                </p:cNvSpPr>
                <p:nvPr>
                  <p:custDataLst>
                    <p:tags r:id="rId61"/>
                  </p:custDataLst>
                </p:nvPr>
              </p:nvSpPr>
              <p:spPr bwMode="auto">
                <a:xfrm>
                  <a:off x="7485063" y="3328988"/>
                  <a:ext cx="6350" cy="57150"/>
                </a:xfrm>
                <a:custGeom>
                  <a:avLst/>
                  <a:gdLst>
                    <a:gd name="T0" fmla="*/ 2147483646 w 16"/>
                    <a:gd name="T1" fmla="*/ 0 h 25"/>
                    <a:gd name="T2" fmla="*/ 2147483646 w 16"/>
                    <a:gd name="T3" fmla="*/ 2147483646 h 25"/>
                    <a:gd name="T4" fmla="*/ 2147483646 w 16"/>
                    <a:gd name="T5" fmla="*/ 2147483646 h 25"/>
                    <a:gd name="T6" fmla="*/ 2147483646 w 16"/>
                    <a:gd name="T7" fmla="*/ 2147483646 h 25"/>
                    <a:gd name="T8" fmla="*/ 2147483646 w 16"/>
                    <a:gd name="T9" fmla="*/ 2147483646 h 25"/>
                    <a:gd name="T10" fmla="*/ 2147483646 w 16"/>
                    <a:gd name="T11" fmla="*/ 2147483646 h 25"/>
                    <a:gd name="T12" fmla="*/ 2147483646 w 16"/>
                    <a:gd name="T13" fmla="*/ 2147483646 h 25"/>
                    <a:gd name="T14" fmla="*/ 2147483646 w 16"/>
                    <a:gd name="T15" fmla="*/ 2147483646 h 25"/>
                    <a:gd name="T16" fmla="*/ 0 w 16"/>
                    <a:gd name="T17" fmla="*/ 2147483646 h 25"/>
                    <a:gd name="T18" fmla="*/ 2147483646 w 16"/>
                    <a:gd name="T19" fmla="*/ 2147483646 h 25"/>
                    <a:gd name="T20" fmla="*/ 2147483646 w 16"/>
                    <a:gd name="T21" fmla="*/ 2147483646 h 25"/>
                    <a:gd name="T22" fmla="*/ 2147483646 w 16"/>
                    <a:gd name="T23" fmla="*/ 2147483646 h 25"/>
                    <a:gd name="T24" fmla="*/ 2147483646 w 16"/>
                    <a:gd name="T25" fmla="*/ 2147483646 h 25"/>
                    <a:gd name="T26" fmla="*/ 2147483646 w 16"/>
                    <a:gd name="T27" fmla="*/ 2147483646 h 25"/>
                    <a:gd name="T28" fmla="*/ 2147483646 w 16"/>
                    <a:gd name="T29" fmla="*/ 0 h 2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6"/>
                    <a:gd name="T46" fmla="*/ 0 h 25"/>
                    <a:gd name="T47" fmla="*/ 16 w 16"/>
                    <a:gd name="T48" fmla="*/ 25 h 2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6" h="25">
                      <a:moveTo>
                        <a:pt x="16" y="0"/>
                      </a:moveTo>
                      <a:lnTo>
                        <a:pt x="16" y="6"/>
                      </a:lnTo>
                      <a:lnTo>
                        <a:pt x="14" y="13"/>
                      </a:lnTo>
                      <a:lnTo>
                        <a:pt x="13" y="16"/>
                      </a:lnTo>
                      <a:lnTo>
                        <a:pt x="11" y="20"/>
                      </a:lnTo>
                      <a:lnTo>
                        <a:pt x="7" y="23"/>
                      </a:lnTo>
                      <a:lnTo>
                        <a:pt x="3" y="25"/>
                      </a:lnTo>
                      <a:lnTo>
                        <a:pt x="1" y="24"/>
                      </a:lnTo>
                      <a:lnTo>
                        <a:pt x="0" y="21"/>
                      </a:lnTo>
                      <a:lnTo>
                        <a:pt x="1" y="18"/>
                      </a:lnTo>
                      <a:lnTo>
                        <a:pt x="2" y="13"/>
                      </a:lnTo>
                      <a:lnTo>
                        <a:pt x="4" y="9"/>
                      </a:lnTo>
                      <a:lnTo>
                        <a:pt x="7" y="4"/>
                      </a:lnTo>
                      <a:lnTo>
                        <a:pt x="11" y="1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5" name="Freeform 82">
                  <a:extLst>
                    <a:ext uri="{FF2B5EF4-FFF2-40B4-BE49-F238E27FC236}">
                      <a16:creationId xmlns:a16="http://schemas.microsoft.com/office/drawing/2014/main" xmlns="" id="{B675F6BB-AD10-4F7A-BA16-452D8FCD86DB}"/>
                    </a:ext>
                  </a:extLst>
                </p:cNvPr>
                <p:cNvSpPr>
                  <a:spLocks/>
                </p:cNvSpPr>
                <p:nvPr>
                  <p:custDataLst>
                    <p:tags r:id="rId62"/>
                  </p:custDataLst>
                </p:nvPr>
              </p:nvSpPr>
              <p:spPr bwMode="auto">
                <a:xfrm>
                  <a:off x="7597775" y="3217863"/>
                  <a:ext cx="4763" cy="57150"/>
                </a:xfrm>
                <a:custGeom>
                  <a:avLst/>
                  <a:gdLst>
                    <a:gd name="T0" fmla="*/ 0 w 14"/>
                    <a:gd name="T1" fmla="*/ 0 h 18"/>
                    <a:gd name="T2" fmla="*/ 2147483646 w 14"/>
                    <a:gd name="T3" fmla="*/ 2147483646 h 18"/>
                    <a:gd name="T4" fmla="*/ 2147483646 w 14"/>
                    <a:gd name="T5" fmla="*/ 2147483646 h 18"/>
                    <a:gd name="T6" fmla="*/ 2147483646 w 14"/>
                    <a:gd name="T7" fmla="*/ 2147483646 h 18"/>
                    <a:gd name="T8" fmla="*/ 2147483646 w 14"/>
                    <a:gd name="T9" fmla="*/ 2147483646 h 18"/>
                    <a:gd name="T10" fmla="*/ 2147483646 w 14"/>
                    <a:gd name="T11" fmla="*/ 2147483646 h 18"/>
                    <a:gd name="T12" fmla="*/ 2147483646 w 14"/>
                    <a:gd name="T13" fmla="*/ 2147483646 h 18"/>
                    <a:gd name="T14" fmla="*/ 0 w 14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4"/>
                    <a:gd name="T25" fmla="*/ 0 h 18"/>
                    <a:gd name="T26" fmla="*/ 14 w 14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4" h="18">
                      <a:moveTo>
                        <a:pt x="0" y="0"/>
                      </a:move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7" y="4"/>
                      </a:lnTo>
                      <a:lnTo>
                        <a:pt x="9" y="7"/>
                      </a:lnTo>
                      <a:lnTo>
                        <a:pt x="13" y="13"/>
                      </a:lnTo>
                      <a:lnTo>
                        <a:pt x="14" y="18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6" name="Freeform 83">
                  <a:extLst>
                    <a:ext uri="{FF2B5EF4-FFF2-40B4-BE49-F238E27FC236}">
                      <a16:creationId xmlns:a16="http://schemas.microsoft.com/office/drawing/2014/main" xmlns="" id="{0153E660-486F-4C53-A21B-94EB24D36D19}"/>
                    </a:ext>
                  </a:extLst>
                </p:cNvPr>
                <p:cNvSpPr>
                  <a:spLocks/>
                </p:cNvSpPr>
                <p:nvPr>
                  <p:custDataLst>
                    <p:tags r:id="rId63"/>
                  </p:custDataLst>
                </p:nvPr>
              </p:nvSpPr>
              <p:spPr bwMode="auto">
                <a:xfrm>
                  <a:off x="7750175" y="3916363"/>
                  <a:ext cx="26988" cy="58737"/>
                </a:xfrm>
                <a:custGeom>
                  <a:avLst/>
                  <a:gdLst>
                    <a:gd name="T0" fmla="*/ 0 w 67"/>
                    <a:gd name="T1" fmla="*/ 0 h 74"/>
                    <a:gd name="T2" fmla="*/ 2147483646 w 67"/>
                    <a:gd name="T3" fmla="*/ 2147483646 h 74"/>
                    <a:gd name="T4" fmla="*/ 2147483646 w 67"/>
                    <a:gd name="T5" fmla="*/ 2147483646 h 74"/>
                    <a:gd name="T6" fmla="*/ 2147483646 w 67"/>
                    <a:gd name="T7" fmla="*/ 2147483646 h 74"/>
                    <a:gd name="T8" fmla="*/ 2147483646 w 67"/>
                    <a:gd name="T9" fmla="*/ 2147483646 h 74"/>
                    <a:gd name="T10" fmla="*/ 2147483646 w 67"/>
                    <a:gd name="T11" fmla="*/ 2147483646 h 74"/>
                    <a:gd name="T12" fmla="*/ 2147483646 w 67"/>
                    <a:gd name="T13" fmla="*/ 2147483646 h 74"/>
                    <a:gd name="T14" fmla="*/ 2147483646 w 67"/>
                    <a:gd name="T15" fmla="*/ 2147483646 h 74"/>
                    <a:gd name="T16" fmla="*/ 2147483646 w 67"/>
                    <a:gd name="T17" fmla="*/ 2147483646 h 74"/>
                    <a:gd name="T18" fmla="*/ 2147483646 w 67"/>
                    <a:gd name="T19" fmla="*/ 2147483646 h 74"/>
                    <a:gd name="T20" fmla="*/ 2147483646 w 67"/>
                    <a:gd name="T21" fmla="*/ 2147483646 h 74"/>
                    <a:gd name="T22" fmla="*/ 2147483646 w 67"/>
                    <a:gd name="T23" fmla="*/ 2147483646 h 74"/>
                    <a:gd name="T24" fmla="*/ 2147483646 w 67"/>
                    <a:gd name="T25" fmla="*/ 2147483646 h 74"/>
                    <a:gd name="T26" fmla="*/ 2147483646 w 67"/>
                    <a:gd name="T27" fmla="*/ 2147483646 h 74"/>
                    <a:gd name="T28" fmla="*/ 2147483646 w 67"/>
                    <a:gd name="T29" fmla="*/ 2147483646 h 74"/>
                    <a:gd name="T30" fmla="*/ 2147483646 w 67"/>
                    <a:gd name="T31" fmla="*/ 2147483646 h 74"/>
                    <a:gd name="T32" fmla="*/ 2147483646 w 67"/>
                    <a:gd name="T33" fmla="*/ 2147483646 h 74"/>
                    <a:gd name="T34" fmla="*/ 2147483646 w 67"/>
                    <a:gd name="T35" fmla="*/ 2147483646 h 74"/>
                    <a:gd name="T36" fmla="*/ 2147483646 w 67"/>
                    <a:gd name="T37" fmla="*/ 0 h 74"/>
                    <a:gd name="T38" fmla="*/ 2147483646 w 67"/>
                    <a:gd name="T39" fmla="*/ 0 h 74"/>
                    <a:gd name="T40" fmla="*/ 2147483646 w 67"/>
                    <a:gd name="T41" fmla="*/ 0 h 74"/>
                    <a:gd name="T42" fmla="*/ 2147483646 w 67"/>
                    <a:gd name="T43" fmla="*/ 0 h 74"/>
                    <a:gd name="T44" fmla="*/ 0 w 67"/>
                    <a:gd name="T45" fmla="*/ 0 h 7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67"/>
                    <a:gd name="T70" fmla="*/ 0 h 74"/>
                    <a:gd name="T71" fmla="*/ 67 w 67"/>
                    <a:gd name="T72" fmla="*/ 74 h 7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67" h="74">
                      <a:moveTo>
                        <a:pt x="0" y="0"/>
                      </a:moveTo>
                      <a:lnTo>
                        <a:pt x="1" y="17"/>
                      </a:lnTo>
                      <a:lnTo>
                        <a:pt x="3" y="30"/>
                      </a:lnTo>
                      <a:lnTo>
                        <a:pt x="7" y="41"/>
                      </a:lnTo>
                      <a:lnTo>
                        <a:pt x="12" y="50"/>
                      </a:lnTo>
                      <a:lnTo>
                        <a:pt x="17" y="58"/>
                      </a:lnTo>
                      <a:lnTo>
                        <a:pt x="23" y="64"/>
                      </a:lnTo>
                      <a:lnTo>
                        <a:pt x="28" y="69"/>
                      </a:lnTo>
                      <a:lnTo>
                        <a:pt x="33" y="74"/>
                      </a:lnTo>
                      <a:lnTo>
                        <a:pt x="44" y="65"/>
                      </a:lnTo>
                      <a:lnTo>
                        <a:pt x="55" y="55"/>
                      </a:lnTo>
                      <a:lnTo>
                        <a:pt x="59" y="49"/>
                      </a:lnTo>
                      <a:lnTo>
                        <a:pt x="63" y="43"/>
                      </a:lnTo>
                      <a:lnTo>
                        <a:pt x="66" y="37"/>
                      </a:lnTo>
                      <a:lnTo>
                        <a:pt x="67" y="30"/>
                      </a:lnTo>
                      <a:lnTo>
                        <a:pt x="67" y="25"/>
                      </a:lnTo>
                      <a:lnTo>
                        <a:pt x="67" y="18"/>
                      </a:lnTo>
                      <a:lnTo>
                        <a:pt x="67" y="9"/>
                      </a:lnTo>
                      <a:lnTo>
                        <a:pt x="67" y="0"/>
                      </a:lnTo>
                      <a:lnTo>
                        <a:pt x="48" y="0"/>
                      </a:lnTo>
                      <a:lnTo>
                        <a:pt x="33" y="0"/>
                      </a:lnTo>
                      <a:lnTo>
                        <a:pt x="1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7" name="Freeform 84">
                  <a:extLst>
                    <a:ext uri="{FF2B5EF4-FFF2-40B4-BE49-F238E27FC236}">
                      <a16:creationId xmlns:a16="http://schemas.microsoft.com/office/drawing/2014/main" xmlns="" id="{7FF5628E-992E-44A2-9D93-DB2AE916A384}"/>
                    </a:ext>
                  </a:extLst>
                </p:cNvPr>
                <p:cNvSpPr>
                  <a:spLocks/>
                </p:cNvSpPr>
                <p:nvPr>
                  <p:custDataLst>
                    <p:tags r:id="rId64"/>
                  </p:custDataLst>
                </p:nvPr>
              </p:nvSpPr>
              <p:spPr bwMode="auto">
                <a:xfrm>
                  <a:off x="7813675" y="3930650"/>
                  <a:ext cx="12700" cy="57150"/>
                </a:xfrm>
                <a:custGeom>
                  <a:avLst/>
                  <a:gdLst>
                    <a:gd name="T0" fmla="*/ 0 w 34"/>
                    <a:gd name="T1" fmla="*/ 0 h 38"/>
                    <a:gd name="T2" fmla="*/ 2147483646 w 34"/>
                    <a:gd name="T3" fmla="*/ 2147483646 h 38"/>
                    <a:gd name="T4" fmla="*/ 2147483646 w 34"/>
                    <a:gd name="T5" fmla="*/ 2147483646 h 38"/>
                    <a:gd name="T6" fmla="*/ 2147483646 w 34"/>
                    <a:gd name="T7" fmla="*/ 2147483646 h 38"/>
                    <a:gd name="T8" fmla="*/ 2147483646 w 34"/>
                    <a:gd name="T9" fmla="*/ 2147483646 h 38"/>
                    <a:gd name="T10" fmla="*/ 2147483646 w 34"/>
                    <a:gd name="T11" fmla="*/ 2147483646 h 38"/>
                    <a:gd name="T12" fmla="*/ 2147483646 w 34"/>
                    <a:gd name="T13" fmla="*/ 2147483646 h 38"/>
                    <a:gd name="T14" fmla="*/ 2147483646 w 34"/>
                    <a:gd name="T15" fmla="*/ 2147483646 h 38"/>
                    <a:gd name="T16" fmla="*/ 2147483646 w 34"/>
                    <a:gd name="T17" fmla="*/ 2147483646 h 38"/>
                    <a:gd name="T18" fmla="*/ 2147483646 w 34"/>
                    <a:gd name="T19" fmla="*/ 2147483646 h 38"/>
                    <a:gd name="T20" fmla="*/ 2147483646 w 34"/>
                    <a:gd name="T21" fmla="*/ 2147483646 h 38"/>
                    <a:gd name="T22" fmla="*/ 2147483646 w 34"/>
                    <a:gd name="T23" fmla="*/ 2147483646 h 38"/>
                    <a:gd name="T24" fmla="*/ 2147483646 w 34"/>
                    <a:gd name="T25" fmla="*/ 2147483646 h 38"/>
                    <a:gd name="T26" fmla="*/ 2147483646 w 34"/>
                    <a:gd name="T27" fmla="*/ 2147483646 h 38"/>
                    <a:gd name="T28" fmla="*/ 2147483646 w 34"/>
                    <a:gd name="T29" fmla="*/ 2147483646 h 38"/>
                    <a:gd name="T30" fmla="*/ 2147483646 w 34"/>
                    <a:gd name="T31" fmla="*/ 2147483646 h 38"/>
                    <a:gd name="T32" fmla="*/ 2147483646 w 34"/>
                    <a:gd name="T33" fmla="*/ 2147483646 h 38"/>
                    <a:gd name="T34" fmla="*/ 2147483646 w 34"/>
                    <a:gd name="T35" fmla="*/ 2147483646 h 38"/>
                    <a:gd name="T36" fmla="*/ 2147483646 w 34"/>
                    <a:gd name="T37" fmla="*/ 2147483646 h 38"/>
                    <a:gd name="T38" fmla="*/ 2147483646 w 34"/>
                    <a:gd name="T39" fmla="*/ 2147483646 h 38"/>
                    <a:gd name="T40" fmla="*/ 2147483646 w 34"/>
                    <a:gd name="T41" fmla="*/ 0 h 38"/>
                    <a:gd name="T42" fmla="*/ 2147483646 w 34"/>
                    <a:gd name="T43" fmla="*/ 0 h 38"/>
                    <a:gd name="T44" fmla="*/ 0 w 34"/>
                    <a:gd name="T45" fmla="*/ 0 h 38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4"/>
                    <a:gd name="T70" fmla="*/ 0 h 38"/>
                    <a:gd name="T71" fmla="*/ 34 w 34"/>
                    <a:gd name="T72" fmla="*/ 38 h 38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4" h="38">
                      <a:moveTo>
                        <a:pt x="0" y="0"/>
                      </a:moveTo>
                      <a:lnTo>
                        <a:pt x="2" y="3"/>
                      </a:lnTo>
                      <a:lnTo>
                        <a:pt x="4" y="7"/>
                      </a:lnTo>
                      <a:lnTo>
                        <a:pt x="5" y="11"/>
                      </a:lnTo>
                      <a:lnTo>
                        <a:pt x="6" y="16"/>
                      </a:lnTo>
                      <a:lnTo>
                        <a:pt x="10" y="28"/>
                      </a:lnTo>
                      <a:lnTo>
                        <a:pt x="13" y="38"/>
                      </a:lnTo>
                      <a:lnTo>
                        <a:pt x="16" y="37"/>
                      </a:lnTo>
                      <a:lnTo>
                        <a:pt x="20" y="36"/>
                      </a:lnTo>
                      <a:lnTo>
                        <a:pt x="23" y="34"/>
                      </a:lnTo>
                      <a:lnTo>
                        <a:pt x="26" y="31"/>
                      </a:lnTo>
                      <a:lnTo>
                        <a:pt x="28" y="28"/>
                      </a:lnTo>
                      <a:lnTo>
                        <a:pt x="32" y="24"/>
                      </a:lnTo>
                      <a:lnTo>
                        <a:pt x="33" y="21"/>
                      </a:lnTo>
                      <a:lnTo>
                        <a:pt x="34" y="19"/>
                      </a:lnTo>
                      <a:lnTo>
                        <a:pt x="31" y="18"/>
                      </a:lnTo>
                      <a:lnTo>
                        <a:pt x="28" y="17"/>
                      </a:lnTo>
                      <a:lnTo>
                        <a:pt x="26" y="14"/>
                      </a:lnTo>
                      <a:lnTo>
                        <a:pt x="24" y="12"/>
                      </a:lnTo>
                      <a:lnTo>
                        <a:pt x="19" y="6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8" name="Freeform 85">
                  <a:extLst>
                    <a:ext uri="{FF2B5EF4-FFF2-40B4-BE49-F238E27FC236}">
                      <a16:creationId xmlns:a16="http://schemas.microsoft.com/office/drawing/2014/main" xmlns="" id="{4D70FCC7-C167-4370-8DE4-B8261CBC4A2C}"/>
                    </a:ext>
                  </a:extLst>
                </p:cNvPr>
                <p:cNvSpPr>
                  <a:spLocks/>
                </p:cNvSpPr>
                <p:nvPr>
                  <p:custDataLst>
                    <p:tags r:id="rId65"/>
                  </p:custDataLst>
                </p:nvPr>
              </p:nvSpPr>
              <p:spPr bwMode="auto">
                <a:xfrm>
                  <a:off x="7670800" y="3706813"/>
                  <a:ext cx="25400" cy="55562"/>
                </a:xfrm>
                <a:custGeom>
                  <a:avLst/>
                  <a:gdLst>
                    <a:gd name="T0" fmla="*/ 2147483646 w 53"/>
                    <a:gd name="T1" fmla="*/ 2147483646 h 23"/>
                    <a:gd name="T2" fmla="*/ 2147483646 w 53"/>
                    <a:gd name="T3" fmla="*/ 2147483646 h 23"/>
                    <a:gd name="T4" fmla="*/ 2147483646 w 53"/>
                    <a:gd name="T5" fmla="*/ 2147483646 h 23"/>
                    <a:gd name="T6" fmla="*/ 2147483646 w 53"/>
                    <a:gd name="T7" fmla="*/ 2147483646 h 23"/>
                    <a:gd name="T8" fmla="*/ 2147483646 w 53"/>
                    <a:gd name="T9" fmla="*/ 0 h 23"/>
                    <a:gd name="T10" fmla="*/ 2147483646 w 53"/>
                    <a:gd name="T11" fmla="*/ 0 h 23"/>
                    <a:gd name="T12" fmla="*/ 2147483646 w 53"/>
                    <a:gd name="T13" fmla="*/ 2147483646 h 23"/>
                    <a:gd name="T14" fmla="*/ 2147483646 w 53"/>
                    <a:gd name="T15" fmla="*/ 2147483646 h 23"/>
                    <a:gd name="T16" fmla="*/ 2147483646 w 53"/>
                    <a:gd name="T17" fmla="*/ 2147483646 h 23"/>
                    <a:gd name="T18" fmla="*/ 0 w 53"/>
                    <a:gd name="T19" fmla="*/ 2147483646 h 23"/>
                    <a:gd name="T20" fmla="*/ 2147483646 w 53"/>
                    <a:gd name="T21" fmla="*/ 2147483646 h 2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3"/>
                    <a:gd name="T34" fmla="*/ 0 h 23"/>
                    <a:gd name="T35" fmla="*/ 53 w 53"/>
                    <a:gd name="T36" fmla="*/ 23 h 2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3" h="23">
                      <a:moveTo>
                        <a:pt x="53" y="23"/>
                      </a:moveTo>
                      <a:lnTo>
                        <a:pt x="53" y="4"/>
                      </a:lnTo>
                      <a:lnTo>
                        <a:pt x="49" y="2"/>
                      </a:lnTo>
                      <a:lnTo>
                        <a:pt x="45" y="1"/>
                      </a:lnTo>
                      <a:lnTo>
                        <a:pt x="42" y="0"/>
                      </a:lnTo>
                      <a:lnTo>
                        <a:pt x="38" y="0"/>
                      </a:lnTo>
                      <a:lnTo>
                        <a:pt x="31" y="1"/>
                      </a:lnTo>
                      <a:lnTo>
                        <a:pt x="24" y="4"/>
                      </a:lnTo>
                      <a:lnTo>
                        <a:pt x="11" y="13"/>
                      </a:lnTo>
                      <a:lnTo>
                        <a:pt x="0" y="23"/>
                      </a:lnTo>
                      <a:lnTo>
                        <a:pt x="53" y="2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9" name="Freeform 86">
                  <a:extLst>
                    <a:ext uri="{FF2B5EF4-FFF2-40B4-BE49-F238E27FC236}">
                      <a16:creationId xmlns:a16="http://schemas.microsoft.com/office/drawing/2014/main" xmlns="" id="{4283EE36-249E-43F5-BBA3-4FC52C0854F5}"/>
                    </a:ext>
                  </a:extLst>
                </p:cNvPr>
                <p:cNvSpPr>
                  <a:spLocks/>
                </p:cNvSpPr>
                <p:nvPr>
                  <p:custDataLst>
                    <p:tags r:id="rId66"/>
                  </p:custDataLst>
                </p:nvPr>
              </p:nvSpPr>
              <p:spPr bwMode="auto">
                <a:xfrm>
                  <a:off x="7613650" y="3681413"/>
                  <a:ext cx="11113" cy="57150"/>
                </a:xfrm>
                <a:custGeom>
                  <a:avLst/>
                  <a:gdLst>
                    <a:gd name="T0" fmla="*/ 0 w 26"/>
                    <a:gd name="T1" fmla="*/ 0 h 12"/>
                    <a:gd name="T2" fmla="*/ 2147483646 w 26"/>
                    <a:gd name="T3" fmla="*/ 2147483646 h 12"/>
                    <a:gd name="T4" fmla="*/ 2147483646 w 26"/>
                    <a:gd name="T5" fmla="*/ 2147483646 h 12"/>
                    <a:gd name="T6" fmla="*/ 2147483646 w 26"/>
                    <a:gd name="T7" fmla="*/ 2147483646 h 12"/>
                    <a:gd name="T8" fmla="*/ 2147483646 w 26"/>
                    <a:gd name="T9" fmla="*/ 2147483646 h 12"/>
                    <a:gd name="T10" fmla="*/ 2147483646 w 26"/>
                    <a:gd name="T11" fmla="*/ 2147483646 h 12"/>
                    <a:gd name="T12" fmla="*/ 2147483646 w 26"/>
                    <a:gd name="T13" fmla="*/ 2147483646 h 12"/>
                    <a:gd name="T14" fmla="*/ 2147483646 w 26"/>
                    <a:gd name="T15" fmla="*/ 2147483646 h 12"/>
                    <a:gd name="T16" fmla="*/ 2147483646 w 26"/>
                    <a:gd name="T17" fmla="*/ 2147483646 h 12"/>
                    <a:gd name="T18" fmla="*/ 2147483646 w 26"/>
                    <a:gd name="T19" fmla="*/ 2147483646 h 12"/>
                    <a:gd name="T20" fmla="*/ 0 w 26"/>
                    <a:gd name="T21" fmla="*/ 0 h 1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6"/>
                    <a:gd name="T34" fmla="*/ 0 h 12"/>
                    <a:gd name="T35" fmla="*/ 26 w 26"/>
                    <a:gd name="T36" fmla="*/ 12 h 1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6" h="12">
                      <a:moveTo>
                        <a:pt x="0" y="0"/>
                      </a:moveTo>
                      <a:lnTo>
                        <a:pt x="4" y="4"/>
                      </a:lnTo>
                      <a:lnTo>
                        <a:pt x="11" y="8"/>
                      </a:lnTo>
                      <a:lnTo>
                        <a:pt x="14" y="9"/>
                      </a:lnTo>
                      <a:lnTo>
                        <a:pt x="18" y="11"/>
                      </a:lnTo>
                      <a:lnTo>
                        <a:pt x="22" y="11"/>
                      </a:lnTo>
                      <a:lnTo>
                        <a:pt x="26" y="12"/>
                      </a:lnTo>
                      <a:lnTo>
                        <a:pt x="21" y="7"/>
                      </a:lnTo>
                      <a:lnTo>
                        <a:pt x="13" y="3"/>
                      </a:lnTo>
                      <a:lnTo>
                        <a:pt x="5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20" name="Freeform 87">
                  <a:extLst>
                    <a:ext uri="{FF2B5EF4-FFF2-40B4-BE49-F238E27FC236}">
                      <a16:creationId xmlns:a16="http://schemas.microsoft.com/office/drawing/2014/main" xmlns="" id="{D8163A8A-21B6-4AA9-A46C-929E488B9050}"/>
                    </a:ext>
                  </a:extLst>
                </p:cNvPr>
                <p:cNvSpPr>
                  <a:spLocks/>
                </p:cNvSpPr>
                <p:nvPr>
                  <p:custDataLst>
                    <p:tags r:id="rId67"/>
                  </p:custDataLst>
                </p:nvPr>
              </p:nvSpPr>
              <p:spPr bwMode="auto">
                <a:xfrm>
                  <a:off x="7813675" y="4013200"/>
                  <a:ext cx="31750" cy="57150"/>
                </a:xfrm>
                <a:custGeom>
                  <a:avLst/>
                  <a:gdLst>
                    <a:gd name="T0" fmla="*/ 0 w 73"/>
                    <a:gd name="T1" fmla="*/ 0 h 57150"/>
                    <a:gd name="T2" fmla="*/ 2147483646 w 73"/>
                    <a:gd name="T3" fmla="*/ 0 h 57150"/>
                    <a:gd name="T4" fmla="*/ 2147483646 w 73"/>
                    <a:gd name="T5" fmla="*/ 0 h 57150"/>
                    <a:gd name="T6" fmla="*/ 2147483646 w 73"/>
                    <a:gd name="T7" fmla="*/ 0 h 57150"/>
                    <a:gd name="T8" fmla="*/ 2147483646 w 73"/>
                    <a:gd name="T9" fmla="*/ 0 h 571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3"/>
                    <a:gd name="T16" fmla="*/ 0 h 57150"/>
                    <a:gd name="T17" fmla="*/ 73 w 73"/>
                    <a:gd name="T18" fmla="*/ 57150 h 5715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3" h="57150">
                      <a:moveTo>
                        <a:pt x="0" y="0"/>
                      </a:moveTo>
                      <a:lnTo>
                        <a:pt x="20" y="0"/>
                      </a:lnTo>
                      <a:lnTo>
                        <a:pt x="37" y="0"/>
                      </a:lnTo>
                      <a:lnTo>
                        <a:pt x="55" y="0"/>
                      </a:lnTo>
                      <a:lnTo>
                        <a:pt x="7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21" name="Freeform 88">
                  <a:extLst>
                    <a:ext uri="{FF2B5EF4-FFF2-40B4-BE49-F238E27FC236}">
                      <a16:creationId xmlns:a16="http://schemas.microsoft.com/office/drawing/2014/main" xmlns="" id="{054BDE3F-05AC-4C92-A164-3B80D0370EDF}"/>
                    </a:ext>
                  </a:extLst>
                </p:cNvPr>
                <p:cNvSpPr>
                  <a:spLocks/>
                </p:cNvSpPr>
                <p:nvPr>
                  <p:custDataLst>
                    <p:tags r:id="rId68"/>
                  </p:custDataLst>
                </p:nvPr>
              </p:nvSpPr>
              <p:spPr bwMode="auto">
                <a:xfrm>
                  <a:off x="7769225" y="4002088"/>
                  <a:ext cx="22225" cy="57150"/>
                </a:xfrm>
                <a:custGeom>
                  <a:avLst/>
                  <a:gdLst>
                    <a:gd name="T0" fmla="*/ 0 w 53"/>
                    <a:gd name="T1" fmla="*/ 0 h 3"/>
                    <a:gd name="T2" fmla="*/ 2147483646 w 53"/>
                    <a:gd name="T3" fmla="*/ 0 h 3"/>
                    <a:gd name="T4" fmla="*/ 2147483646 w 53"/>
                    <a:gd name="T5" fmla="*/ 2147483646 h 3"/>
                    <a:gd name="T6" fmla="*/ 2147483646 w 53"/>
                    <a:gd name="T7" fmla="*/ 2147483646 h 3"/>
                    <a:gd name="T8" fmla="*/ 2147483646 w 53"/>
                    <a:gd name="T9" fmla="*/ 2147483646 h 3"/>
                    <a:gd name="T10" fmla="*/ 2147483646 w 53"/>
                    <a:gd name="T11" fmla="*/ 2147483646 h 3"/>
                    <a:gd name="T12" fmla="*/ 2147483646 w 53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3"/>
                    <a:gd name="T23" fmla="*/ 53 w 53"/>
                    <a:gd name="T24" fmla="*/ 3 h 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3">
                      <a:moveTo>
                        <a:pt x="0" y="0"/>
                      </a:moveTo>
                      <a:lnTo>
                        <a:pt x="14" y="0"/>
                      </a:lnTo>
                      <a:lnTo>
                        <a:pt x="27" y="3"/>
                      </a:lnTo>
                      <a:lnTo>
                        <a:pt x="32" y="3"/>
                      </a:lnTo>
                      <a:lnTo>
                        <a:pt x="39" y="3"/>
                      </a:lnTo>
                      <a:lnTo>
                        <a:pt x="45" y="1"/>
                      </a:lnTo>
                      <a:lnTo>
                        <a:pt x="5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22" name="Line 89">
                  <a:extLst>
                    <a:ext uri="{FF2B5EF4-FFF2-40B4-BE49-F238E27FC236}">
                      <a16:creationId xmlns:a16="http://schemas.microsoft.com/office/drawing/2014/main" xmlns="" id="{1E531D91-5901-4649-969E-63FF51E4EC5F}"/>
                    </a:ext>
                  </a:extLst>
                </p:cNvPr>
                <p:cNvSpPr>
                  <a:spLocks noChangeShapeType="1"/>
                </p:cNvSpPr>
                <p:nvPr>
                  <p:custDataLst>
                    <p:tags r:id="rId69"/>
                  </p:custDataLst>
                </p:nvPr>
              </p:nvSpPr>
              <p:spPr bwMode="auto">
                <a:xfrm>
                  <a:off x="7802563" y="3987800"/>
                  <a:ext cx="20637" cy="6350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23" name="Freeform 90">
                  <a:extLst>
                    <a:ext uri="{FF2B5EF4-FFF2-40B4-BE49-F238E27FC236}">
                      <a16:creationId xmlns:a16="http://schemas.microsoft.com/office/drawing/2014/main" xmlns="" id="{ECF7C2A7-A49A-437D-9135-B6E9969839B1}"/>
                    </a:ext>
                  </a:extLst>
                </p:cNvPr>
                <p:cNvSpPr>
                  <a:spLocks/>
                </p:cNvSpPr>
                <p:nvPr>
                  <p:custDataLst>
                    <p:tags r:id="rId70"/>
                  </p:custDataLst>
                </p:nvPr>
              </p:nvSpPr>
              <p:spPr bwMode="auto">
                <a:xfrm>
                  <a:off x="7823200" y="3994150"/>
                  <a:ext cx="1588" cy="57150"/>
                </a:xfrm>
                <a:custGeom>
                  <a:avLst/>
                  <a:gdLst>
                    <a:gd name="T0" fmla="*/ 0 w 1588"/>
                    <a:gd name="T1" fmla="*/ 0 h 13"/>
                    <a:gd name="T2" fmla="*/ 0 w 1588"/>
                    <a:gd name="T3" fmla="*/ 2147483646 h 13"/>
                    <a:gd name="T4" fmla="*/ 0 w 1588"/>
                    <a:gd name="T5" fmla="*/ 2147483646 h 13"/>
                    <a:gd name="T6" fmla="*/ 0 60000 65536"/>
                    <a:gd name="T7" fmla="*/ 0 60000 65536"/>
                    <a:gd name="T8" fmla="*/ 0 60000 65536"/>
                    <a:gd name="T9" fmla="*/ 0 w 1588"/>
                    <a:gd name="T10" fmla="*/ 0 h 13"/>
                    <a:gd name="T11" fmla="*/ 1588 w 1588"/>
                    <a:gd name="T12" fmla="*/ 13 h 13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588" h="13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24" name="Freeform 91">
                  <a:extLst>
                    <a:ext uri="{FF2B5EF4-FFF2-40B4-BE49-F238E27FC236}">
                      <a16:creationId xmlns:a16="http://schemas.microsoft.com/office/drawing/2014/main" xmlns="" id="{36FAF73E-AF1F-4684-985B-267C5CD2D8AC}"/>
                    </a:ext>
                  </a:extLst>
                </p:cNvPr>
                <p:cNvSpPr>
                  <a:spLocks/>
                </p:cNvSpPr>
                <p:nvPr>
                  <p:custDataLst>
                    <p:tags r:id="rId71"/>
                  </p:custDataLst>
                </p:nvPr>
              </p:nvSpPr>
              <p:spPr bwMode="auto">
                <a:xfrm>
                  <a:off x="7777163" y="3987800"/>
                  <a:ext cx="14287" cy="58738"/>
                </a:xfrm>
                <a:custGeom>
                  <a:avLst/>
                  <a:gdLst>
                    <a:gd name="T0" fmla="*/ 0 w 26"/>
                    <a:gd name="T1" fmla="*/ 0 h 58738"/>
                    <a:gd name="T2" fmla="*/ 2147483646 w 26"/>
                    <a:gd name="T3" fmla="*/ 0 h 58738"/>
                    <a:gd name="T4" fmla="*/ 2147483646 w 26"/>
                    <a:gd name="T5" fmla="*/ 0 h 58738"/>
                    <a:gd name="T6" fmla="*/ 0 60000 65536"/>
                    <a:gd name="T7" fmla="*/ 0 60000 65536"/>
                    <a:gd name="T8" fmla="*/ 0 60000 65536"/>
                    <a:gd name="T9" fmla="*/ 0 w 26"/>
                    <a:gd name="T10" fmla="*/ 0 h 58738"/>
                    <a:gd name="T11" fmla="*/ 26 w 26"/>
                    <a:gd name="T12" fmla="*/ 58738 h 5873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6" h="58738">
                      <a:moveTo>
                        <a:pt x="0" y="0"/>
                      </a:moveTo>
                      <a:lnTo>
                        <a:pt x="15" y="0"/>
                      </a:lnTo>
                      <a:lnTo>
                        <a:pt x="26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25" name="Freeform 92">
                  <a:extLst>
                    <a:ext uri="{FF2B5EF4-FFF2-40B4-BE49-F238E27FC236}">
                      <a16:creationId xmlns:a16="http://schemas.microsoft.com/office/drawing/2014/main" xmlns="" id="{36C8FBE4-FF1C-4CEC-8651-1F4807B9DC7A}"/>
                    </a:ext>
                  </a:extLst>
                </p:cNvPr>
                <p:cNvSpPr>
                  <a:spLocks/>
                </p:cNvSpPr>
                <p:nvPr>
                  <p:custDataLst>
                    <p:tags r:id="rId72"/>
                  </p:custDataLst>
                </p:nvPr>
              </p:nvSpPr>
              <p:spPr bwMode="auto">
                <a:xfrm>
                  <a:off x="7770813" y="3968750"/>
                  <a:ext cx="6350" cy="60325"/>
                </a:xfrm>
                <a:custGeom>
                  <a:avLst/>
                  <a:gdLst>
                    <a:gd name="T0" fmla="*/ 2147483646 w 20"/>
                    <a:gd name="T1" fmla="*/ 0 h 25"/>
                    <a:gd name="T2" fmla="*/ 0 w 20"/>
                    <a:gd name="T3" fmla="*/ 2147483646 h 25"/>
                    <a:gd name="T4" fmla="*/ 2147483646 w 20"/>
                    <a:gd name="T5" fmla="*/ 2147483646 h 25"/>
                    <a:gd name="T6" fmla="*/ 2147483646 w 20"/>
                    <a:gd name="T7" fmla="*/ 2147483646 h 25"/>
                    <a:gd name="T8" fmla="*/ 2147483646 w 20"/>
                    <a:gd name="T9" fmla="*/ 2147483646 h 25"/>
                    <a:gd name="T10" fmla="*/ 2147483646 w 20"/>
                    <a:gd name="T11" fmla="*/ 2147483646 h 25"/>
                    <a:gd name="T12" fmla="*/ 2147483646 w 20"/>
                    <a:gd name="T13" fmla="*/ 0 h 2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"/>
                    <a:gd name="T22" fmla="*/ 0 h 25"/>
                    <a:gd name="T23" fmla="*/ 20 w 20"/>
                    <a:gd name="T24" fmla="*/ 25 h 2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" h="25">
                      <a:moveTo>
                        <a:pt x="20" y="0"/>
                      </a:moveTo>
                      <a:lnTo>
                        <a:pt x="0" y="13"/>
                      </a:lnTo>
                      <a:lnTo>
                        <a:pt x="4" y="18"/>
                      </a:lnTo>
                      <a:lnTo>
                        <a:pt x="10" y="21"/>
                      </a:lnTo>
                      <a:lnTo>
                        <a:pt x="14" y="24"/>
                      </a:lnTo>
                      <a:lnTo>
                        <a:pt x="20" y="25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26" name="Freeform 93">
                  <a:extLst>
                    <a:ext uri="{FF2B5EF4-FFF2-40B4-BE49-F238E27FC236}">
                      <a16:creationId xmlns:a16="http://schemas.microsoft.com/office/drawing/2014/main" xmlns="" id="{01836479-A3D9-409B-A377-D7B92FDA534C}"/>
                    </a:ext>
                  </a:extLst>
                </p:cNvPr>
                <p:cNvSpPr>
                  <a:spLocks/>
                </p:cNvSpPr>
                <p:nvPr>
                  <p:custDataLst>
                    <p:tags r:id="rId73"/>
                  </p:custDataLst>
                </p:nvPr>
              </p:nvSpPr>
              <p:spPr bwMode="auto">
                <a:xfrm>
                  <a:off x="7851775" y="3695700"/>
                  <a:ext cx="1588" cy="57150"/>
                </a:xfrm>
                <a:custGeom>
                  <a:avLst/>
                  <a:gdLst>
                    <a:gd name="T0" fmla="*/ 0 w 6"/>
                    <a:gd name="T1" fmla="*/ 2147483646 h 24"/>
                    <a:gd name="T2" fmla="*/ 0 w 6"/>
                    <a:gd name="T3" fmla="*/ 0 h 24"/>
                    <a:gd name="T4" fmla="*/ 2147483646 w 6"/>
                    <a:gd name="T5" fmla="*/ 2147483646 h 24"/>
                    <a:gd name="T6" fmla="*/ 0 w 6"/>
                    <a:gd name="T7" fmla="*/ 2147483646 h 2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"/>
                    <a:gd name="T13" fmla="*/ 0 h 24"/>
                    <a:gd name="T14" fmla="*/ 6 w 6"/>
                    <a:gd name="T15" fmla="*/ 24 h 2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" h="24">
                      <a:moveTo>
                        <a:pt x="0" y="24"/>
                      </a:moveTo>
                      <a:lnTo>
                        <a:pt x="0" y="0"/>
                      </a:lnTo>
                      <a:lnTo>
                        <a:pt x="6" y="12"/>
                      </a:lnTo>
                      <a:lnTo>
                        <a:pt x="0" y="2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127" name="Group 94">
                  <a:extLst>
                    <a:ext uri="{FF2B5EF4-FFF2-40B4-BE49-F238E27FC236}">
                      <a16:creationId xmlns:a16="http://schemas.microsoft.com/office/drawing/2014/main" xmlns="" id="{4EFA80A2-EDC4-493E-B1D2-8EC2C46EDA85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74"/>
                  </p:custDataLst>
                </p:nvPr>
              </p:nvGrpSpPr>
              <p:grpSpPr bwMode="auto">
                <a:xfrm>
                  <a:off x="7726363" y="3367088"/>
                  <a:ext cx="163512" cy="114300"/>
                  <a:chOff x="5379" y="2466"/>
                  <a:chExt cx="122" cy="71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575" name="Freeform 95">
                    <a:extLst>
                      <a:ext uri="{FF2B5EF4-FFF2-40B4-BE49-F238E27FC236}">
                        <a16:creationId xmlns:a16="http://schemas.microsoft.com/office/drawing/2014/main" xmlns="" id="{C6DE8B93-B236-467C-B14F-E2A0DFF3CDD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28" y="2492"/>
                    <a:ext cx="6" cy="9"/>
                  </a:xfrm>
                  <a:custGeom>
                    <a:avLst/>
                    <a:gdLst>
                      <a:gd name="T0" fmla="*/ 0 w 19"/>
                      <a:gd name="T1" fmla="*/ 0 h 25"/>
                      <a:gd name="T2" fmla="*/ 0 w 19"/>
                      <a:gd name="T3" fmla="*/ 0 h 25"/>
                      <a:gd name="T4" fmla="*/ 0 w 19"/>
                      <a:gd name="T5" fmla="*/ 0 h 25"/>
                      <a:gd name="T6" fmla="*/ 0 w 19"/>
                      <a:gd name="T7" fmla="*/ 0 h 25"/>
                      <a:gd name="T8" fmla="*/ 0 w 19"/>
                      <a:gd name="T9" fmla="*/ 0 h 25"/>
                      <a:gd name="T10" fmla="*/ 0 w 19"/>
                      <a:gd name="T11" fmla="*/ 0 h 25"/>
                      <a:gd name="T12" fmla="*/ 0 w 19"/>
                      <a:gd name="T13" fmla="*/ 0 h 25"/>
                      <a:gd name="T14" fmla="*/ 0 w 19"/>
                      <a:gd name="T15" fmla="*/ 0 h 25"/>
                      <a:gd name="T16" fmla="*/ 0 w 19"/>
                      <a:gd name="T17" fmla="*/ 0 h 25"/>
                      <a:gd name="T18" fmla="*/ 0 w 19"/>
                      <a:gd name="T19" fmla="*/ 0 h 25"/>
                      <a:gd name="T20" fmla="*/ 0 w 19"/>
                      <a:gd name="T21" fmla="*/ 0 h 25"/>
                      <a:gd name="T22" fmla="*/ 0 w 19"/>
                      <a:gd name="T23" fmla="*/ 0 h 25"/>
                      <a:gd name="T24" fmla="*/ 0 w 19"/>
                      <a:gd name="T25" fmla="*/ 0 h 25"/>
                      <a:gd name="T26" fmla="*/ 0 w 19"/>
                      <a:gd name="T27" fmla="*/ 0 h 25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9"/>
                      <a:gd name="T43" fmla="*/ 0 h 25"/>
                      <a:gd name="T44" fmla="*/ 19 w 19"/>
                      <a:gd name="T45" fmla="*/ 25 h 25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9" h="25">
                        <a:moveTo>
                          <a:pt x="19" y="25"/>
                        </a:moveTo>
                        <a:lnTo>
                          <a:pt x="18" y="20"/>
                        </a:lnTo>
                        <a:lnTo>
                          <a:pt x="17" y="12"/>
                        </a:lnTo>
                        <a:lnTo>
                          <a:pt x="16" y="9"/>
                        </a:lnTo>
                        <a:lnTo>
                          <a:pt x="17" y="6"/>
                        </a:lnTo>
                        <a:lnTo>
                          <a:pt x="17" y="3"/>
                        </a:lnTo>
                        <a:lnTo>
                          <a:pt x="19" y="0"/>
                        </a:lnTo>
                        <a:lnTo>
                          <a:pt x="0" y="0"/>
                        </a:lnTo>
                        <a:lnTo>
                          <a:pt x="1" y="7"/>
                        </a:lnTo>
                        <a:lnTo>
                          <a:pt x="5" y="15"/>
                        </a:lnTo>
                        <a:lnTo>
                          <a:pt x="7" y="19"/>
                        </a:lnTo>
                        <a:lnTo>
                          <a:pt x="11" y="23"/>
                        </a:lnTo>
                        <a:lnTo>
                          <a:pt x="15" y="25"/>
                        </a:lnTo>
                        <a:lnTo>
                          <a:pt x="19" y="25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76" name="Freeform 96">
                    <a:extLst>
                      <a:ext uri="{FF2B5EF4-FFF2-40B4-BE49-F238E27FC236}">
                        <a16:creationId xmlns:a16="http://schemas.microsoft.com/office/drawing/2014/main" xmlns="" id="{CF5E20E8-6A15-4C75-B6AE-4803414333F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79" y="2505"/>
                    <a:ext cx="7" cy="6"/>
                  </a:xfrm>
                  <a:custGeom>
                    <a:avLst/>
                    <a:gdLst>
                      <a:gd name="T0" fmla="*/ 0 w 26"/>
                      <a:gd name="T1" fmla="*/ 0 h 18"/>
                      <a:gd name="T2" fmla="*/ 0 w 26"/>
                      <a:gd name="T3" fmla="*/ 0 h 18"/>
                      <a:gd name="T4" fmla="*/ 0 w 26"/>
                      <a:gd name="T5" fmla="*/ 0 h 18"/>
                      <a:gd name="T6" fmla="*/ 0 w 26"/>
                      <a:gd name="T7" fmla="*/ 0 h 18"/>
                      <a:gd name="T8" fmla="*/ 0 w 26"/>
                      <a:gd name="T9" fmla="*/ 0 h 18"/>
                      <a:gd name="T10" fmla="*/ 0 w 26"/>
                      <a:gd name="T11" fmla="*/ 0 h 18"/>
                      <a:gd name="T12" fmla="*/ 0 w 26"/>
                      <a:gd name="T13" fmla="*/ 0 h 18"/>
                      <a:gd name="T14" fmla="*/ 0 w 26"/>
                      <a:gd name="T15" fmla="*/ 0 h 18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26"/>
                      <a:gd name="T25" fmla="*/ 0 h 18"/>
                      <a:gd name="T26" fmla="*/ 26 w 26"/>
                      <a:gd name="T27" fmla="*/ 18 h 18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26" h="18">
                        <a:moveTo>
                          <a:pt x="26" y="18"/>
                        </a:moveTo>
                        <a:lnTo>
                          <a:pt x="7" y="18"/>
                        </a:lnTo>
                        <a:lnTo>
                          <a:pt x="3" y="9"/>
                        </a:lnTo>
                        <a:lnTo>
                          <a:pt x="0" y="0"/>
                        </a:lnTo>
                        <a:lnTo>
                          <a:pt x="6" y="2"/>
                        </a:lnTo>
                        <a:lnTo>
                          <a:pt x="13" y="6"/>
                        </a:lnTo>
                        <a:lnTo>
                          <a:pt x="20" y="12"/>
                        </a:lnTo>
                        <a:lnTo>
                          <a:pt x="26" y="18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77" name="Freeform 97">
                    <a:extLst>
                      <a:ext uri="{FF2B5EF4-FFF2-40B4-BE49-F238E27FC236}">
                        <a16:creationId xmlns:a16="http://schemas.microsoft.com/office/drawing/2014/main" xmlns="" id="{69F70D89-0530-4AB9-ADCC-ED028799F6C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92" y="2466"/>
                    <a:ext cx="5" cy="6"/>
                  </a:xfrm>
                  <a:custGeom>
                    <a:avLst/>
                    <a:gdLst>
                      <a:gd name="T0" fmla="*/ 0 w 13"/>
                      <a:gd name="T1" fmla="*/ 0 h 18"/>
                      <a:gd name="T2" fmla="*/ 0 w 13"/>
                      <a:gd name="T3" fmla="*/ 0 h 18"/>
                      <a:gd name="T4" fmla="*/ 0 w 13"/>
                      <a:gd name="T5" fmla="*/ 0 h 18"/>
                      <a:gd name="T6" fmla="*/ 0 60000 65536"/>
                      <a:gd name="T7" fmla="*/ 0 60000 65536"/>
                      <a:gd name="T8" fmla="*/ 0 60000 65536"/>
                      <a:gd name="T9" fmla="*/ 0 w 13"/>
                      <a:gd name="T10" fmla="*/ 0 h 18"/>
                      <a:gd name="T11" fmla="*/ 13 w 13"/>
                      <a:gd name="T12" fmla="*/ 18 h 18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3" h="18">
                        <a:moveTo>
                          <a:pt x="0" y="18"/>
                        </a:moveTo>
                        <a:lnTo>
                          <a:pt x="13" y="0"/>
                        </a:lnTo>
                        <a:lnTo>
                          <a:pt x="0" y="18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78" name="Freeform 98">
                    <a:extLst>
                      <a:ext uri="{FF2B5EF4-FFF2-40B4-BE49-F238E27FC236}">
                        <a16:creationId xmlns:a16="http://schemas.microsoft.com/office/drawing/2014/main" xmlns="" id="{626F418E-19FD-46B2-A1F6-8B74D35D5B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26" y="2468"/>
                    <a:ext cx="8" cy="8"/>
                  </a:xfrm>
                  <a:custGeom>
                    <a:avLst/>
                    <a:gdLst>
                      <a:gd name="T0" fmla="*/ 0 w 26"/>
                      <a:gd name="T1" fmla="*/ 0 h 24"/>
                      <a:gd name="T2" fmla="*/ 0 w 26"/>
                      <a:gd name="T3" fmla="*/ 0 h 24"/>
                      <a:gd name="T4" fmla="*/ 0 w 26"/>
                      <a:gd name="T5" fmla="*/ 0 h 24"/>
                      <a:gd name="T6" fmla="*/ 0 w 26"/>
                      <a:gd name="T7" fmla="*/ 0 h 24"/>
                      <a:gd name="T8" fmla="*/ 0 w 26"/>
                      <a:gd name="T9" fmla="*/ 0 h 24"/>
                      <a:gd name="T10" fmla="*/ 0 w 26"/>
                      <a:gd name="T11" fmla="*/ 0 h 24"/>
                      <a:gd name="T12" fmla="*/ 0 w 26"/>
                      <a:gd name="T13" fmla="*/ 0 h 24"/>
                      <a:gd name="T14" fmla="*/ 0 w 26"/>
                      <a:gd name="T15" fmla="*/ 0 h 24"/>
                      <a:gd name="T16" fmla="*/ 0 w 26"/>
                      <a:gd name="T17" fmla="*/ 0 h 24"/>
                      <a:gd name="T18" fmla="*/ 0 w 26"/>
                      <a:gd name="T19" fmla="*/ 0 h 24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26"/>
                      <a:gd name="T31" fmla="*/ 0 h 24"/>
                      <a:gd name="T32" fmla="*/ 26 w 26"/>
                      <a:gd name="T33" fmla="*/ 24 h 24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26" h="24">
                        <a:moveTo>
                          <a:pt x="0" y="24"/>
                        </a:moveTo>
                        <a:lnTo>
                          <a:pt x="3" y="23"/>
                        </a:lnTo>
                        <a:lnTo>
                          <a:pt x="7" y="22"/>
                        </a:lnTo>
                        <a:lnTo>
                          <a:pt x="11" y="19"/>
                        </a:lnTo>
                        <a:lnTo>
                          <a:pt x="16" y="16"/>
                        </a:lnTo>
                        <a:lnTo>
                          <a:pt x="20" y="13"/>
                        </a:lnTo>
                        <a:lnTo>
                          <a:pt x="23" y="9"/>
                        </a:lnTo>
                        <a:lnTo>
                          <a:pt x="25" y="4"/>
                        </a:lnTo>
                        <a:lnTo>
                          <a:pt x="26" y="0"/>
                        </a:lnTo>
                        <a:lnTo>
                          <a:pt x="0" y="24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79" name="Freeform 99">
                    <a:extLst>
                      <a:ext uri="{FF2B5EF4-FFF2-40B4-BE49-F238E27FC236}">
                        <a16:creationId xmlns:a16="http://schemas.microsoft.com/office/drawing/2014/main" xmlns="" id="{4815F9DA-2EFD-4CA6-BE7F-9D390AF45A5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90" y="2490"/>
                    <a:ext cx="11" cy="2"/>
                  </a:xfrm>
                  <a:custGeom>
                    <a:avLst/>
                    <a:gdLst>
                      <a:gd name="T0" fmla="*/ 0 w 34"/>
                      <a:gd name="T1" fmla="*/ 0 h 6"/>
                      <a:gd name="T2" fmla="*/ 0 w 34"/>
                      <a:gd name="T3" fmla="*/ 0 h 6"/>
                      <a:gd name="T4" fmla="*/ 0 w 34"/>
                      <a:gd name="T5" fmla="*/ 0 h 6"/>
                      <a:gd name="T6" fmla="*/ 0 w 34"/>
                      <a:gd name="T7" fmla="*/ 0 h 6"/>
                      <a:gd name="T8" fmla="*/ 0 w 34"/>
                      <a:gd name="T9" fmla="*/ 0 h 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4"/>
                      <a:gd name="T16" fmla="*/ 0 h 6"/>
                      <a:gd name="T17" fmla="*/ 34 w 34"/>
                      <a:gd name="T18" fmla="*/ 6 h 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4" h="6">
                        <a:moveTo>
                          <a:pt x="0" y="6"/>
                        </a:moveTo>
                        <a:lnTo>
                          <a:pt x="10" y="6"/>
                        </a:lnTo>
                        <a:lnTo>
                          <a:pt x="17" y="5"/>
                        </a:lnTo>
                        <a:lnTo>
                          <a:pt x="25" y="4"/>
                        </a:lnTo>
                        <a:lnTo>
                          <a:pt x="34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80" name="Line 100">
                    <a:extLst>
                      <a:ext uri="{FF2B5EF4-FFF2-40B4-BE49-F238E27FC236}">
                        <a16:creationId xmlns:a16="http://schemas.microsoft.com/office/drawing/2014/main" xmlns="" id="{2E0B5824-43E8-44CD-81A4-95F19320A41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5495" y="2490"/>
                    <a:ext cx="6" cy="1"/>
                  </a:xfrm>
                  <a:prstGeom prst="line">
                    <a:avLst/>
                  </a:prstGeom>
                  <a:grpFill/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81" name="Freeform 101">
                    <a:extLst>
                      <a:ext uri="{FF2B5EF4-FFF2-40B4-BE49-F238E27FC236}">
                        <a16:creationId xmlns:a16="http://schemas.microsoft.com/office/drawing/2014/main" xmlns="" id="{8EBC449B-CFDB-4030-A195-6FAB1230E93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64" y="2530"/>
                    <a:ext cx="1" cy="7"/>
                  </a:xfrm>
                  <a:custGeom>
                    <a:avLst/>
                    <a:gdLst>
                      <a:gd name="T0" fmla="*/ 0 w 1"/>
                      <a:gd name="T1" fmla="*/ 0 h 19"/>
                      <a:gd name="T2" fmla="*/ 0 w 1"/>
                      <a:gd name="T3" fmla="*/ 0 h 19"/>
                      <a:gd name="T4" fmla="*/ 0 w 1"/>
                      <a:gd name="T5" fmla="*/ 0 h 19"/>
                      <a:gd name="T6" fmla="*/ 0 60000 65536"/>
                      <a:gd name="T7" fmla="*/ 0 60000 65536"/>
                      <a:gd name="T8" fmla="*/ 0 60000 65536"/>
                      <a:gd name="T9" fmla="*/ 0 w 1"/>
                      <a:gd name="T10" fmla="*/ 0 h 19"/>
                      <a:gd name="T11" fmla="*/ 1 w 1"/>
                      <a:gd name="T12" fmla="*/ 19 h 1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" h="19">
                        <a:moveTo>
                          <a:pt x="0" y="19"/>
                        </a:moveTo>
                        <a:lnTo>
                          <a:pt x="0" y="9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82" name="Line 102">
                    <a:extLst>
                      <a:ext uri="{FF2B5EF4-FFF2-40B4-BE49-F238E27FC236}">
                        <a16:creationId xmlns:a16="http://schemas.microsoft.com/office/drawing/2014/main" xmlns="" id="{6D2C7CFD-78CA-40C3-9E5E-4E1F5B0D7DB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464" y="2530"/>
                    <a:ext cx="6" cy="1"/>
                  </a:xfrm>
                  <a:prstGeom prst="line">
                    <a:avLst/>
                  </a:prstGeom>
                  <a:grpFill/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83" name="Freeform 103">
                    <a:extLst>
                      <a:ext uri="{FF2B5EF4-FFF2-40B4-BE49-F238E27FC236}">
                        <a16:creationId xmlns:a16="http://schemas.microsoft.com/office/drawing/2014/main" xmlns="" id="{399FCC83-C179-4FB3-A196-C34035558C1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66" y="2530"/>
                    <a:ext cx="4" cy="2"/>
                  </a:xfrm>
                  <a:custGeom>
                    <a:avLst/>
                    <a:gdLst>
                      <a:gd name="T0" fmla="*/ 0 w 14"/>
                      <a:gd name="T1" fmla="*/ 0 h 6"/>
                      <a:gd name="T2" fmla="*/ 0 w 14"/>
                      <a:gd name="T3" fmla="*/ 0 h 6"/>
                      <a:gd name="T4" fmla="*/ 0 w 14"/>
                      <a:gd name="T5" fmla="*/ 0 h 6"/>
                      <a:gd name="T6" fmla="*/ 0 60000 65536"/>
                      <a:gd name="T7" fmla="*/ 0 60000 65536"/>
                      <a:gd name="T8" fmla="*/ 0 60000 65536"/>
                      <a:gd name="T9" fmla="*/ 0 w 14"/>
                      <a:gd name="T10" fmla="*/ 0 h 6"/>
                      <a:gd name="T11" fmla="*/ 14 w 14"/>
                      <a:gd name="T12" fmla="*/ 6 h 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4" h="6">
                        <a:moveTo>
                          <a:pt x="14" y="0"/>
                        </a:moveTo>
                        <a:lnTo>
                          <a:pt x="7" y="3"/>
                        </a:lnTo>
                        <a:lnTo>
                          <a:pt x="0" y="6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128" name="Freeform 104">
                  <a:extLst>
                    <a:ext uri="{FF2B5EF4-FFF2-40B4-BE49-F238E27FC236}">
                      <a16:creationId xmlns:a16="http://schemas.microsoft.com/office/drawing/2014/main" xmlns="" id="{7ADCAB53-72CE-46A6-8098-3B479F4BC1FD}"/>
                    </a:ext>
                  </a:extLst>
                </p:cNvPr>
                <p:cNvSpPr>
                  <a:spLocks/>
                </p:cNvSpPr>
                <p:nvPr>
                  <p:custDataLst>
                    <p:tags r:id="rId75"/>
                  </p:custDataLst>
                </p:nvPr>
              </p:nvSpPr>
              <p:spPr bwMode="auto">
                <a:xfrm>
                  <a:off x="6310313" y="3228975"/>
                  <a:ext cx="6350" cy="57150"/>
                </a:xfrm>
                <a:custGeom>
                  <a:avLst/>
                  <a:gdLst>
                    <a:gd name="T0" fmla="*/ 2147483646 w 26"/>
                    <a:gd name="T1" fmla="*/ 2147483646 h 111"/>
                    <a:gd name="T2" fmla="*/ 2147483646 w 26"/>
                    <a:gd name="T3" fmla="*/ 2147483646 h 111"/>
                    <a:gd name="T4" fmla="*/ 2147483646 w 26"/>
                    <a:gd name="T5" fmla="*/ 2147483646 h 111"/>
                    <a:gd name="T6" fmla="*/ 2147483646 w 26"/>
                    <a:gd name="T7" fmla="*/ 2147483646 h 111"/>
                    <a:gd name="T8" fmla="*/ 2147483646 w 26"/>
                    <a:gd name="T9" fmla="*/ 2147483646 h 111"/>
                    <a:gd name="T10" fmla="*/ 0 w 26"/>
                    <a:gd name="T11" fmla="*/ 2147483646 h 111"/>
                    <a:gd name="T12" fmla="*/ 0 w 26"/>
                    <a:gd name="T13" fmla="*/ 2147483646 h 111"/>
                    <a:gd name="T14" fmla="*/ 0 w 26"/>
                    <a:gd name="T15" fmla="*/ 2147483646 h 111"/>
                    <a:gd name="T16" fmla="*/ 2147483646 w 26"/>
                    <a:gd name="T17" fmla="*/ 2147483646 h 111"/>
                    <a:gd name="T18" fmla="*/ 2147483646 w 26"/>
                    <a:gd name="T19" fmla="*/ 2147483646 h 111"/>
                    <a:gd name="T20" fmla="*/ 2147483646 w 26"/>
                    <a:gd name="T21" fmla="*/ 2147483646 h 111"/>
                    <a:gd name="T22" fmla="*/ 2147483646 w 26"/>
                    <a:gd name="T23" fmla="*/ 2147483646 h 111"/>
                    <a:gd name="T24" fmla="*/ 2147483646 w 26"/>
                    <a:gd name="T25" fmla="*/ 2147483646 h 111"/>
                    <a:gd name="T26" fmla="*/ 2147483646 w 26"/>
                    <a:gd name="T27" fmla="*/ 2147483646 h 111"/>
                    <a:gd name="T28" fmla="*/ 2147483646 w 26"/>
                    <a:gd name="T29" fmla="*/ 0 h 111"/>
                    <a:gd name="T30" fmla="*/ 2147483646 w 26"/>
                    <a:gd name="T31" fmla="*/ 2147483646 h 111"/>
                    <a:gd name="T32" fmla="*/ 2147483646 w 26"/>
                    <a:gd name="T33" fmla="*/ 2147483646 h 111"/>
                    <a:gd name="T34" fmla="*/ 2147483646 w 26"/>
                    <a:gd name="T35" fmla="*/ 2147483646 h 111"/>
                    <a:gd name="T36" fmla="*/ 2147483646 w 26"/>
                    <a:gd name="T37" fmla="*/ 2147483646 h 111"/>
                    <a:gd name="T38" fmla="*/ 2147483646 w 26"/>
                    <a:gd name="T39" fmla="*/ 2147483646 h 111"/>
                    <a:gd name="T40" fmla="*/ 2147483646 w 26"/>
                    <a:gd name="T41" fmla="*/ 2147483646 h 111"/>
                    <a:gd name="T42" fmla="*/ 2147483646 w 26"/>
                    <a:gd name="T43" fmla="*/ 2147483646 h 111"/>
                    <a:gd name="T44" fmla="*/ 2147483646 w 26"/>
                    <a:gd name="T45" fmla="*/ 2147483646 h 111"/>
                    <a:gd name="T46" fmla="*/ 2147483646 w 26"/>
                    <a:gd name="T47" fmla="*/ 2147483646 h 11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6"/>
                    <a:gd name="T73" fmla="*/ 0 h 111"/>
                    <a:gd name="T74" fmla="*/ 26 w 26"/>
                    <a:gd name="T75" fmla="*/ 111 h 11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6" h="111">
                      <a:moveTo>
                        <a:pt x="13" y="111"/>
                      </a:moveTo>
                      <a:lnTo>
                        <a:pt x="9" y="103"/>
                      </a:lnTo>
                      <a:lnTo>
                        <a:pt x="4" y="95"/>
                      </a:lnTo>
                      <a:lnTo>
                        <a:pt x="2" y="91"/>
                      </a:lnTo>
                      <a:lnTo>
                        <a:pt x="1" y="87"/>
                      </a:lnTo>
                      <a:lnTo>
                        <a:pt x="0" y="80"/>
                      </a:lnTo>
                      <a:lnTo>
                        <a:pt x="0" y="74"/>
                      </a:lnTo>
                      <a:lnTo>
                        <a:pt x="0" y="61"/>
                      </a:lnTo>
                      <a:lnTo>
                        <a:pt x="1" y="51"/>
                      </a:lnTo>
                      <a:lnTo>
                        <a:pt x="3" y="41"/>
                      </a:lnTo>
                      <a:lnTo>
                        <a:pt x="5" y="33"/>
                      </a:lnTo>
                      <a:lnTo>
                        <a:pt x="9" y="24"/>
                      </a:lnTo>
                      <a:lnTo>
                        <a:pt x="14" y="17"/>
                      </a:lnTo>
                      <a:lnTo>
                        <a:pt x="20" y="9"/>
                      </a:lnTo>
                      <a:lnTo>
                        <a:pt x="26" y="0"/>
                      </a:lnTo>
                      <a:lnTo>
                        <a:pt x="26" y="6"/>
                      </a:lnTo>
                      <a:lnTo>
                        <a:pt x="26" y="13"/>
                      </a:lnTo>
                      <a:lnTo>
                        <a:pt x="26" y="22"/>
                      </a:lnTo>
                      <a:lnTo>
                        <a:pt x="26" y="32"/>
                      </a:lnTo>
                      <a:lnTo>
                        <a:pt x="25" y="44"/>
                      </a:lnTo>
                      <a:lnTo>
                        <a:pt x="22" y="56"/>
                      </a:lnTo>
                      <a:lnTo>
                        <a:pt x="18" y="67"/>
                      </a:lnTo>
                      <a:lnTo>
                        <a:pt x="13" y="80"/>
                      </a:lnTo>
                      <a:lnTo>
                        <a:pt x="13" y="11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29" name="Freeform 105">
                  <a:extLst>
                    <a:ext uri="{FF2B5EF4-FFF2-40B4-BE49-F238E27FC236}">
                      <a16:creationId xmlns:a16="http://schemas.microsoft.com/office/drawing/2014/main" xmlns="" id="{97C63E0E-AF3D-48EF-9D2B-87716993E78A}"/>
                    </a:ext>
                  </a:extLst>
                </p:cNvPr>
                <p:cNvSpPr>
                  <a:spLocks/>
                </p:cNvSpPr>
                <p:nvPr>
                  <p:custDataLst>
                    <p:tags r:id="rId76"/>
                  </p:custDataLst>
                </p:nvPr>
              </p:nvSpPr>
              <p:spPr bwMode="auto">
                <a:xfrm>
                  <a:off x="3209925" y="5368925"/>
                  <a:ext cx="53975" cy="58738"/>
                </a:xfrm>
                <a:custGeom>
                  <a:avLst/>
                  <a:gdLst>
                    <a:gd name="T0" fmla="*/ 0 w 126"/>
                    <a:gd name="T1" fmla="*/ 2147483646 h 62"/>
                    <a:gd name="T2" fmla="*/ 2147483646 w 126"/>
                    <a:gd name="T3" fmla="*/ 2147483646 h 62"/>
                    <a:gd name="T4" fmla="*/ 2147483646 w 126"/>
                    <a:gd name="T5" fmla="*/ 2147483646 h 62"/>
                    <a:gd name="T6" fmla="*/ 2147483646 w 126"/>
                    <a:gd name="T7" fmla="*/ 2147483646 h 62"/>
                    <a:gd name="T8" fmla="*/ 2147483646 w 126"/>
                    <a:gd name="T9" fmla="*/ 2147483646 h 62"/>
                    <a:gd name="T10" fmla="*/ 2147483646 w 126"/>
                    <a:gd name="T11" fmla="*/ 2147483646 h 62"/>
                    <a:gd name="T12" fmla="*/ 2147483646 w 126"/>
                    <a:gd name="T13" fmla="*/ 2147483646 h 62"/>
                    <a:gd name="T14" fmla="*/ 2147483646 w 126"/>
                    <a:gd name="T15" fmla="*/ 2147483646 h 62"/>
                    <a:gd name="T16" fmla="*/ 2147483646 w 126"/>
                    <a:gd name="T17" fmla="*/ 2147483646 h 62"/>
                    <a:gd name="T18" fmla="*/ 2147483646 w 126"/>
                    <a:gd name="T19" fmla="*/ 2147483646 h 62"/>
                    <a:gd name="T20" fmla="*/ 2147483646 w 126"/>
                    <a:gd name="T21" fmla="*/ 2147483646 h 62"/>
                    <a:gd name="T22" fmla="*/ 2147483646 w 126"/>
                    <a:gd name="T23" fmla="*/ 2147483646 h 62"/>
                    <a:gd name="T24" fmla="*/ 2147483646 w 126"/>
                    <a:gd name="T25" fmla="*/ 2147483646 h 62"/>
                    <a:gd name="T26" fmla="*/ 2147483646 w 126"/>
                    <a:gd name="T27" fmla="*/ 2147483646 h 62"/>
                    <a:gd name="T28" fmla="*/ 2147483646 w 126"/>
                    <a:gd name="T29" fmla="*/ 2147483646 h 62"/>
                    <a:gd name="T30" fmla="*/ 2147483646 w 126"/>
                    <a:gd name="T31" fmla="*/ 2147483646 h 62"/>
                    <a:gd name="T32" fmla="*/ 2147483646 w 126"/>
                    <a:gd name="T33" fmla="*/ 2147483646 h 62"/>
                    <a:gd name="T34" fmla="*/ 2147483646 w 126"/>
                    <a:gd name="T35" fmla="*/ 2147483646 h 62"/>
                    <a:gd name="T36" fmla="*/ 2147483646 w 126"/>
                    <a:gd name="T37" fmla="*/ 2147483646 h 62"/>
                    <a:gd name="T38" fmla="*/ 2147483646 w 126"/>
                    <a:gd name="T39" fmla="*/ 2147483646 h 62"/>
                    <a:gd name="T40" fmla="*/ 2147483646 w 126"/>
                    <a:gd name="T41" fmla="*/ 2147483646 h 62"/>
                    <a:gd name="T42" fmla="*/ 2147483646 w 126"/>
                    <a:gd name="T43" fmla="*/ 2147483646 h 62"/>
                    <a:gd name="T44" fmla="*/ 2147483646 w 126"/>
                    <a:gd name="T45" fmla="*/ 2147483646 h 62"/>
                    <a:gd name="T46" fmla="*/ 2147483646 w 126"/>
                    <a:gd name="T47" fmla="*/ 2147483646 h 62"/>
                    <a:gd name="T48" fmla="*/ 2147483646 w 126"/>
                    <a:gd name="T49" fmla="*/ 0 h 62"/>
                    <a:gd name="T50" fmla="*/ 0 w 126"/>
                    <a:gd name="T51" fmla="*/ 0 h 62"/>
                    <a:gd name="T52" fmla="*/ 0 w 126"/>
                    <a:gd name="T53" fmla="*/ 2147483646 h 62"/>
                    <a:gd name="T54" fmla="*/ 0 w 126"/>
                    <a:gd name="T55" fmla="*/ 2147483646 h 62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26"/>
                    <a:gd name="T85" fmla="*/ 0 h 62"/>
                    <a:gd name="T86" fmla="*/ 126 w 126"/>
                    <a:gd name="T87" fmla="*/ 62 h 62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26" h="62">
                      <a:moveTo>
                        <a:pt x="0" y="19"/>
                      </a:moveTo>
                      <a:lnTo>
                        <a:pt x="11" y="20"/>
                      </a:lnTo>
                      <a:lnTo>
                        <a:pt x="21" y="21"/>
                      </a:lnTo>
                      <a:lnTo>
                        <a:pt x="29" y="23"/>
                      </a:lnTo>
                      <a:lnTo>
                        <a:pt x="36" y="26"/>
                      </a:lnTo>
                      <a:lnTo>
                        <a:pt x="50" y="33"/>
                      </a:lnTo>
                      <a:lnTo>
                        <a:pt x="61" y="40"/>
                      </a:lnTo>
                      <a:lnTo>
                        <a:pt x="70" y="48"/>
                      </a:lnTo>
                      <a:lnTo>
                        <a:pt x="79" y="55"/>
                      </a:lnTo>
                      <a:lnTo>
                        <a:pt x="84" y="58"/>
                      </a:lnTo>
                      <a:lnTo>
                        <a:pt x="89" y="60"/>
                      </a:lnTo>
                      <a:lnTo>
                        <a:pt x="95" y="61"/>
                      </a:lnTo>
                      <a:lnTo>
                        <a:pt x="100" y="62"/>
                      </a:lnTo>
                      <a:lnTo>
                        <a:pt x="105" y="61"/>
                      </a:lnTo>
                      <a:lnTo>
                        <a:pt x="109" y="60"/>
                      </a:lnTo>
                      <a:lnTo>
                        <a:pt x="113" y="58"/>
                      </a:lnTo>
                      <a:lnTo>
                        <a:pt x="117" y="56"/>
                      </a:lnTo>
                      <a:lnTo>
                        <a:pt x="122" y="51"/>
                      </a:lnTo>
                      <a:lnTo>
                        <a:pt x="126" y="49"/>
                      </a:lnTo>
                      <a:lnTo>
                        <a:pt x="110" y="33"/>
                      </a:lnTo>
                      <a:lnTo>
                        <a:pt x="96" y="21"/>
                      </a:lnTo>
                      <a:lnTo>
                        <a:pt x="89" y="15"/>
                      </a:lnTo>
                      <a:lnTo>
                        <a:pt x="81" y="9"/>
                      </a:lnTo>
                      <a:lnTo>
                        <a:pt x="72" y="5"/>
                      </a:lnTo>
                      <a:lnTo>
                        <a:pt x="61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0" y="1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30" name="Freeform 106">
                  <a:extLst>
                    <a:ext uri="{FF2B5EF4-FFF2-40B4-BE49-F238E27FC236}">
                      <a16:creationId xmlns:a16="http://schemas.microsoft.com/office/drawing/2014/main" xmlns="" id="{DD3C91F1-4E11-4080-B7FD-338134B469E2}"/>
                    </a:ext>
                  </a:extLst>
                </p:cNvPr>
                <p:cNvSpPr>
                  <a:spLocks/>
                </p:cNvSpPr>
                <p:nvPr>
                  <p:custDataLst>
                    <p:tags r:id="rId77"/>
                  </p:custDataLst>
                </p:nvPr>
              </p:nvSpPr>
              <p:spPr bwMode="auto">
                <a:xfrm>
                  <a:off x="5511800" y="5207000"/>
                  <a:ext cx="30163" cy="55563"/>
                </a:xfrm>
                <a:custGeom>
                  <a:avLst/>
                  <a:gdLst>
                    <a:gd name="T0" fmla="*/ 0 w 66"/>
                    <a:gd name="T1" fmla="*/ 0 h 44"/>
                    <a:gd name="T2" fmla="*/ 2147483646 w 66"/>
                    <a:gd name="T3" fmla="*/ 2147483646 h 44"/>
                    <a:gd name="T4" fmla="*/ 2147483646 w 66"/>
                    <a:gd name="T5" fmla="*/ 2147483646 h 44"/>
                    <a:gd name="T6" fmla="*/ 2147483646 w 66"/>
                    <a:gd name="T7" fmla="*/ 2147483646 h 44"/>
                    <a:gd name="T8" fmla="*/ 2147483646 w 66"/>
                    <a:gd name="T9" fmla="*/ 2147483646 h 44"/>
                    <a:gd name="T10" fmla="*/ 2147483646 w 66"/>
                    <a:gd name="T11" fmla="*/ 2147483646 h 44"/>
                    <a:gd name="T12" fmla="*/ 2147483646 w 66"/>
                    <a:gd name="T13" fmla="*/ 2147483646 h 44"/>
                    <a:gd name="T14" fmla="*/ 2147483646 w 66"/>
                    <a:gd name="T15" fmla="*/ 2147483646 h 44"/>
                    <a:gd name="T16" fmla="*/ 2147483646 w 66"/>
                    <a:gd name="T17" fmla="*/ 2147483646 h 44"/>
                    <a:gd name="T18" fmla="*/ 2147483646 w 66"/>
                    <a:gd name="T19" fmla="*/ 2147483646 h 44"/>
                    <a:gd name="T20" fmla="*/ 2147483646 w 66"/>
                    <a:gd name="T21" fmla="*/ 2147483646 h 44"/>
                    <a:gd name="T22" fmla="*/ 2147483646 w 66"/>
                    <a:gd name="T23" fmla="*/ 2147483646 h 44"/>
                    <a:gd name="T24" fmla="*/ 2147483646 w 66"/>
                    <a:gd name="T25" fmla="*/ 2147483646 h 44"/>
                    <a:gd name="T26" fmla="*/ 2147483646 w 66"/>
                    <a:gd name="T27" fmla="*/ 2147483646 h 44"/>
                    <a:gd name="T28" fmla="*/ 2147483646 w 66"/>
                    <a:gd name="T29" fmla="*/ 2147483646 h 44"/>
                    <a:gd name="T30" fmla="*/ 2147483646 w 66"/>
                    <a:gd name="T31" fmla="*/ 2147483646 h 44"/>
                    <a:gd name="T32" fmla="*/ 2147483646 w 66"/>
                    <a:gd name="T33" fmla="*/ 2147483646 h 44"/>
                    <a:gd name="T34" fmla="*/ 2147483646 w 66"/>
                    <a:gd name="T35" fmla="*/ 2147483646 h 44"/>
                    <a:gd name="T36" fmla="*/ 0 w 66"/>
                    <a:gd name="T37" fmla="*/ 2147483646 h 44"/>
                    <a:gd name="T38" fmla="*/ 0 w 66"/>
                    <a:gd name="T39" fmla="*/ 2147483646 h 44"/>
                    <a:gd name="T40" fmla="*/ 0 w 66"/>
                    <a:gd name="T41" fmla="*/ 2147483646 h 44"/>
                    <a:gd name="T42" fmla="*/ 0 w 66"/>
                    <a:gd name="T43" fmla="*/ 2147483646 h 44"/>
                    <a:gd name="T44" fmla="*/ 0 w 66"/>
                    <a:gd name="T45" fmla="*/ 0 h 4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66"/>
                    <a:gd name="T70" fmla="*/ 0 h 44"/>
                    <a:gd name="T71" fmla="*/ 66 w 66"/>
                    <a:gd name="T72" fmla="*/ 44 h 4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66" h="44">
                      <a:moveTo>
                        <a:pt x="0" y="0"/>
                      </a:moveTo>
                      <a:lnTo>
                        <a:pt x="13" y="1"/>
                      </a:lnTo>
                      <a:lnTo>
                        <a:pt x="23" y="2"/>
                      </a:lnTo>
                      <a:lnTo>
                        <a:pt x="32" y="4"/>
                      </a:lnTo>
                      <a:lnTo>
                        <a:pt x="38" y="7"/>
                      </a:lnTo>
                      <a:lnTo>
                        <a:pt x="44" y="9"/>
                      </a:lnTo>
                      <a:lnTo>
                        <a:pt x="50" y="11"/>
                      </a:lnTo>
                      <a:lnTo>
                        <a:pt x="57" y="12"/>
                      </a:lnTo>
                      <a:lnTo>
                        <a:pt x="66" y="13"/>
                      </a:lnTo>
                      <a:lnTo>
                        <a:pt x="65" y="17"/>
                      </a:lnTo>
                      <a:lnTo>
                        <a:pt x="62" y="21"/>
                      </a:lnTo>
                      <a:lnTo>
                        <a:pt x="60" y="25"/>
                      </a:lnTo>
                      <a:lnTo>
                        <a:pt x="57" y="28"/>
                      </a:lnTo>
                      <a:lnTo>
                        <a:pt x="49" y="34"/>
                      </a:lnTo>
                      <a:lnTo>
                        <a:pt x="40" y="39"/>
                      </a:lnTo>
                      <a:lnTo>
                        <a:pt x="31" y="42"/>
                      </a:lnTo>
                      <a:lnTo>
                        <a:pt x="21" y="44"/>
                      </a:lnTo>
                      <a:lnTo>
                        <a:pt x="10" y="44"/>
                      </a:lnTo>
                      <a:lnTo>
                        <a:pt x="0" y="43"/>
                      </a:lnTo>
                      <a:lnTo>
                        <a:pt x="0" y="31"/>
                      </a:lnTo>
                      <a:lnTo>
                        <a:pt x="0" y="22"/>
                      </a:lnTo>
                      <a:lnTo>
                        <a:pt x="0" y="1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31" name="Freeform 107">
                  <a:extLst>
                    <a:ext uri="{FF2B5EF4-FFF2-40B4-BE49-F238E27FC236}">
                      <a16:creationId xmlns:a16="http://schemas.microsoft.com/office/drawing/2014/main" xmlns="" id="{61607529-1DE2-46E5-85D5-9438DC124C68}"/>
                    </a:ext>
                  </a:extLst>
                </p:cNvPr>
                <p:cNvSpPr>
                  <a:spLocks/>
                </p:cNvSpPr>
                <p:nvPr>
                  <p:custDataLst>
                    <p:tags r:id="rId78"/>
                  </p:custDataLst>
                </p:nvPr>
              </p:nvSpPr>
              <p:spPr bwMode="auto">
                <a:xfrm>
                  <a:off x="7666038" y="1978025"/>
                  <a:ext cx="20637" cy="57150"/>
                </a:xfrm>
                <a:custGeom>
                  <a:avLst/>
                  <a:gdLst>
                    <a:gd name="T0" fmla="*/ 2147483646 w 46"/>
                    <a:gd name="T1" fmla="*/ 0 h 16"/>
                    <a:gd name="T2" fmla="*/ 2147483646 w 46"/>
                    <a:gd name="T3" fmla="*/ 2147483646 h 16"/>
                    <a:gd name="T4" fmla="*/ 2147483646 w 46"/>
                    <a:gd name="T5" fmla="*/ 2147483646 h 16"/>
                    <a:gd name="T6" fmla="*/ 2147483646 w 46"/>
                    <a:gd name="T7" fmla="*/ 2147483646 h 16"/>
                    <a:gd name="T8" fmla="*/ 2147483646 w 46"/>
                    <a:gd name="T9" fmla="*/ 2147483646 h 16"/>
                    <a:gd name="T10" fmla="*/ 2147483646 w 46"/>
                    <a:gd name="T11" fmla="*/ 2147483646 h 16"/>
                    <a:gd name="T12" fmla="*/ 2147483646 w 46"/>
                    <a:gd name="T13" fmla="*/ 2147483646 h 16"/>
                    <a:gd name="T14" fmla="*/ 2147483646 w 46"/>
                    <a:gd name="T15" fmla="*/ 2147483646 h 16"/>
                    <a:gd name="T16" fmla="*/ 2147483646 w 46"/>
                    <a:gd name="T17" fmla="*/ 2147483646 h 16"/>
                    <a:gd name="T18" fmla="*/ 2147483646 w 46"/>
                    <a:gd name="T19" fmla="*/ 2147483646 h 16"/>
                    <a:gd name="T20" fmla="*/ 0 w 46"/>
                    <a:gd name="T21" fmla="*/ 0 h 16"/>
                    <a:gd name="T22" fmla="*/ 2147483646 w 46"/>
                    <a:gd name="T23" fmla="*/ 0 h 1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6"/>
                    <a:gd name="T37" fmla="*/ 0 h 16"/>
                    <a:gd name="T38" fmla="*/ 46 w 46"/>
                    <a:gd name="T39" fmla="*/ 16 h 1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6" h="16">
                      <a:moveTo>
                        <a:pt x="46" y="0"/>
                      </a:moveTo>
                      <a:lnTo>
                        <a:pt x="40" y="7"/>
                      </a:lnTo>
                      <a:lnTo>
                        <a:pt x="35" y="13"/>
                      </a:lnTo>
                      <a:lnTo>
                        <a:pt x="31" y="14"/>
                      </a:lnTo>
                      <a:lnTo>
                        <a:pt x="29" y="15"/>
                      </a:lnTo>
                      <a:lnTo>
                        <a:pt x="26" y="16"/>
                      </a:lnTo>
                      <a:lnTo>
                        <a:pt x="23" y="16"/>
                      </a:lnTo>
                      <a:lnTo>
                        <a:pt x="16" y="14"/>
                      </a:lnTo>
                      <a:lnTo>
                        <a:pt x="11" y="11"/>
                      </a:lnTo>
                      <a:lnTo>
                        <a:pt x="5" y="6"/>
                      </a:lnTo>
                      <a:lnTo>
                        <a:pt x="0" y="0"/>
                      </a:lnTo>
                      <a:lnTo>
                        <a:pt x="46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32" name="Freeform 108">
                  <a:extLst>
                    <a:ext uri="{FF2B5EF4-FFF2-40B4-BE49-F238E27FC236}">
                      <a16:creationId xmlns:a16="http://schemas.microsoft.com/office/drawing/2014/main" xmlns="" id="{AAD8BFB3-DB55-4DDA-8568-D72A3755C15F}"/>
                    </a:ext>
                  </a:extLst>
                </p:cNvPr>
                <p:cNvSpPr>
                  <a:spLocks/>
                </p:cNvSpPr>
                <p:nvPr>
                  <p:custDataLst>
                    <p:tags r:id="rId79"/>
                  </p:custDataLst>
                </p:nvPr>
              </p:nvSpPr>
              <p:spPr bwMode="auto">
                <a:xfrm>
                  <a:off x="7842250" y="2011363"/>
                  <a:ext cx="15875" cy="57150"/>
                </a:xfrm>
                <a:custGeom>
                  <a:avLst/>
                  <a:gdLst>
                    <a:gd name="T0" fmla="*/ 2147483646 w 39"/>
                    <a:gd name="T1" fmla="*/ 2147483646 h 26"/>
                    <a:gd name="T2" fmla="*/ 2147483646 w 39"/>
                    <a:gd name="T3" fmla="*/ 2147483646 h 26"/>
                    <a:gd name="T4" fmla="*/ 2147483646 w 39"/>
                    <a:gd name="T5" fmla="*/ 2147483646 h 26"/>
                    <a:gd name="T6" fmla="*/ 2147483646 w 39"/>
                    <a:gd name="T7" fmla="*/ 2147483646 h 26"/>
                    <a:gd name="T8" fmla="*/ 2147483646 w 39"/>
                    <a:gd name="T9" fmla="*/ 2147483646 h 26"/>
                    <a:gd name="T10" fmla="*/ 2147483646 w 39"/>
                    <a:gd name="T11" fmla="*/ 2147483646 h 26"/>
                    <a:gd name="T12" fmla="*/ 2147483646 w 39"/>
                    <a:gd name="T13" fmla="*/ 2147483646 h 26"/>
                    <a:gd name="T14" fmla="*/ 2147483646 w 39"/>
                    <a:gd name="T15" fmla="*/ 2147483646 h 26"/>
                    <a:gd name="T16" fmla="*/ 2147483646 w 39"/>
                    <a:gd name="T17" fmla="*/ 2147483646 h 26"/>
                    <a:gd name="T18" fmla="*/ 2147483646 w 39"/>
                    <a:gd name="T19" fmla="*/ 2147483646 h 26"/>
                    <a:gd name="T20" fmla="*/ 0 w 39"/>
                    <a:gd name="T21" fmla="*/ 0 h 26"/>
                    <a:gd name="T22" fmla="*/ 2147483646 w 39"/>
                    <a:gd name="T23" fmla="*/ 2147483646 h 26"/>
                    <a:gd name="T24" fmla="*/ 2147483646 w 39"/>
                    <a:gd name="T25" fmla="*/ 2147483646 h 26"/>
                    <a:gd name="T26" fmla="*/ 2147483646 w 39"/>
                    <a:gd name="T27" fmla="*/ 2147483646 h 26"/>
                    <a:gd name="T28" fmla="*/ 2147483646 w 39"/>
                    <a:gd name="T29" fmla="*/ 2147483646 h 2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39"/>
                    <a:gd name="T46" fmla="*/ 0 h 26"/>
                    <a:gd name="T47" fmla="*/ 39 w 39"/>
                    <a:gd name="T48" fmla="*/ 26 h 2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39" h="26">
                      <a:moveTo>
                        <a:pt x="39" y="25"/>
                      </a:moveTo>
                      <a:lnTo>
                        <a:pt x="36" y="26"/>
                      </a:lnTo>
                      <a:lnTo>
                        <a:pt x="32" y="26"/>
                      </a:lnTo>
                      <a:lnTo>
                        <a:pt x="28" y="26"/>
                      </a:lnTo>
                      <a:lnTo>
                        <a:pt x="25" y="25"/>
                      </a:lnTo>
                      <a:lnTo>
                        <a:pt x="18" y="22"/>
                      </a:lnTo>
                      <a:lnTo>
                        <a:pt x="12" y="18"/>
                      </a:lnTo>
                      <a:lnTo>
                        <a:pt x="7" y="13"/>
                      </a:lnTo>
                      <a:lnTo>
                        <a:pt x="3" y="7"/>
                      </a:lnTo>
                      <a:lnTo>
                        <a:pt x="1" y="3"/>
                      </a:lnTo>
                      <a:lnTo>
                        <a:pt x="0" y="0"/>
                      </a:lnTo>
                      <a:lnTo>
                        <a:pt x="11" y="6"/>
                      </a:lnTo>
                      <a:lnTo>
                        <a:pt x="22" y="13"/>
                      </a:lnTo>
                      <a:lnTo>
                        <a:pt x="33" y="20"/>
                      </a:lnTo>
                      <a:lnTo>
                        <a:pt x="39" y="2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33" name="Freeform 109">
                  <a:extLst>
                    <a:ext uri="{FF2B5EF4-FFF2-40B4-BE49-F238E27FC236}">
                      <a16:creationId xmlns:a16="http://schemas.microsoft.com/office/drawing/2014/main" xmlns="" id="{3A636674-4C41-400F-A260-8E742D64E37E}"/>
                    </a:ext>
                  </a:extLst>
                </p:cNvPr>
                <p:cNvSpPr>
                  <a:spLocks/>
                </p:cNvSpPr>
                <p:nvPr>
                  <p:custDataLst>
                    <p:tags r:id="rId80"/>
                  </p:custDataLst>
                </p:nvPr>
              </p:nvSpPr>
              <p:spPr bwMode="auto">
                <a:xfrm>
                  <a:off x="7291388" y="2241550"/>
                  <a:ext cx="4762" cy="58738"/>
                </a:xfrm>
                <a:custGeom>
                  <a:avLst/>
                  <a:gdLst>
                    <a:gd name="T0" fmla="*/ 2147483646 w 11"/>
                    <a:gd name="T1" fmla="*/ 0 h 25"/>
                    <a:gd name="T2" fmla="*/ 2147483646 w 11"/>
                    <a:gd name="T3" fmla="*/ 2147483646 h 25"/>
                    <a:gd name="T4" fmla="*/ 2147483646 w 11"/>
                    <a:gd name="T5" fmla="*/ 2147483646 h 25"/>
                    <a:gd name="T6" fmla="*/ 2147483646 w 11"/>
                    <a:gd name="T7" fmla="*/ 2147483646 h 25"/>
                    <a:gd name="T8" fmla="*/ 2147483646 w 11"/>
                    <a:gd name="T9" fmla="*/ 2147483646 h 25"/>
                    <a:gd name="T10" fmla="*/ 2147483646 w 11"/>
                    <a:gd name="T11" fmla="*/ 2147483646 h 25"/>
                    <a:gd name="T12" fmla="*/ 2147483646 w 11"/>
                    <a:gd name="T13" fmla="*/ 2147483646 h 25"/>
                    <a:gd name="T14" fmla="*/ 0 w 11"/>
                    <a:gd name="T15" fmla="*/ 2147483646 h 25"/>
                    <a:gd name="T16" fmla="*/ 0 w 11"/>
                    <a:gd name="T17" fmla="*/ 2147483646 h 25"/>
                    <a:gd name="T18" fmla="*/ 2147483646 w 11"/>
                    <a:gd name="T19" fmla="*/ 2147483646 h 25"/>
                    <a:gd name="T20" fmla="*/ 2147483646 w 11"/>
                    <a:gd name="T21" fmla="*/ 2147483646 h 25"/>
                    <a:gd name="T22" fmla="*/ 2147483646 w 11"/>
                    <a:gd name="T23" fmla="*/ 2147483646 h 25"/>
                    <a:gd name="T24" fmla="*/ 2147483646 w 11"/>
                    <a:gd name="T25" fmla="*/ 0 h 2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1"/>
                    <a:gd name="T40" fmla="*/ 0 h 25"/>
                    <a:gd name="T41" fmla="*/ 11 w 11"/>
                    <a:gd name="T42" fmla="*/ 25 h 2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1" h="25">
                      <a:moveTo>
                        <a:pt x="11" y="0"/>
                      </a:moveTo>
                      <a:lnTo>
                        <a:pt x="11" y="5"/>
                      </a:lnTo>
                      <a:lnTo>
                        <a:pt x="10" y="12"/>
                      </a:lnTo>
                      <a:lnTo>
                        <a:pt x="9" y="20"/>
                      </a:lnTo>
                      <a:lnTo>
                        <a:pt x="4" y="25"/>
                      </a:lnTo>
                      <a:lnTo>
                        <a:pt x="2" y="23"/>
                      </a:lnTo>
                      <a:lnTo>
                        <a:pt x="1" y="20"/>
                      </a:lnTo>
                      <a:lnTo>
                        <a:pt x="0" y="15"/>
                      </a:lnTo>
                      <a:lnTo>
                        <a:pt x="0" y="12"/>
                      </a:lnTo>
                      <a:lnTo>
                        <a:pt x="1" y="9"/>
                      </a:lnTo>
                      <a:lnTo>
                        <a:pt x="3" y="5"/>
                      </a:lnTo>
                      <a:lnTo>
                        <a:pt x="6" y="2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34" name="Freeform 110">
                  <a:extLst>
                    <a:ext uri="{FF2B5EF4-FFF2-40B4-BE49-F238E27FC236}">
                      <a16:creationId xmlns:a16="http://schemas.microsoft.com/office/drawing/2014/main" xmlns="" id="{15D21EB9-1B73-496A-B871-F055D8D3321A}"/>
                    </a:ext>
                  </a:extLst>
                </p:cNvPr>
                <p:cNvSpPr>
                  <a:spLocks/>
                </p:cNvSpPr>
                <p:nvPr>
                  <p:custDataLst>
                    <p:tags r:id="rId81"/>
                  </p:custDataLst>
                </p:nvPr>
              </p:nvSpPr>
              <p:spPr bwMode="auto">
                <a:xfrm>
                  <a:off x="7105650" y="2803525"/>
                  <a:ext cx="14288" cy="58738"/>
                </a:xfrm>
                <a:custGeom>
                  <a:avLst/>
                  <a:gdLst>
                    <a:gd name="T0" fmla="*/ 2147483646 w 20"/>
                    <a:gd name="T1" fmla="*/ 0 h 31"/>
                    <a:gd name="T2" fmla="*/ 2147483646 w 20"/>
                    <a:gd name="T3" fmla="*/ 2147483646 h 31"/>
                    <a:gd name="T4" fmla="*/ 2147483646 w 20"/>
                    <a:gd name="T5" fmla="*/ 2147483646 h 31"/>
                    <a:gd name="T6" fmla="*/ 2147483646 w 20"/>
                    <a:gd name="T7" fmla="*/ 2147483646 h 31"/>
                    <a:gd name="T8" fmla="*/ 0 w 20"/>
                    <a:gd name="T9" fmla="*/ 2147483646 h 31"/>
                    <a:gd name="T10" fmla="*/ 0 w 20"/>
                    <a:gd name="T11" fmla="*/ 2147483646 h 31"/>
                    <a:gd name="T12" fmla="*/ 2147483646 w 20"/>
                    <a:gd name="T13" fmla="*/ 2147483646 h 31"/>
                    <a:gd name="T14" fmla="*/ 2147483646 w 20"/>
                    <a:gd name="T15" fmla="*/ 2147483646 h 31"/>
                    <a:gd name="T16" fmla="*/ 2147483646 w 20"/>
                    <a:gd name="T17" fmla="*/ 2147483646 h 31"/>
                    <a:gd name="T18" fmla="*/ 2147483646 w 20"/>
                    <a:gd name="T19" fmla="*/ 2147483646 h 31"/>
                    <a:gd name="T20" fmla="*/ 2147483646 w 20"/>
                    <a:gd name="T21" fmla="*/ 2147483646 h 31"/>
                    <a:gd name="T22" fmla="*/ 2147483646 w 20"/>
                    <a:gd name="T23" fmla="*/ 0 h 31"/>
                    <a:gd name="T24" fmla="*/ 2147483646 w 20"/>
                    <a:gd name="T25" fmla="*/ 0 h 3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0"/>
                    <a:gd name="T40" fmla="*/ 0 h 31"/>
                    <a:gd name="T41" fmla="*/ 20 w 20"/>
                    <a:gd name="T42" fmla="*/ 31 h 3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0" h="31">
                      <a:moveTo>
                        <a:pt x="20" y="0"/>
                      </a:moveTo>
                      <a:lnTo>
                        <a:pt x="16" y="12"/>
                      </a:lnTo>
                      <a:lnTo>
                        <a:pt x="10" y="20"/>
                      </a:lnTo>
                      <a:lnTo>
                        <a:pt x="5" y="26"/>
                      </a:lnTo>
                      <a:lnTo>
                        <a:pt x="0" y="31"/>
                      </a:lnTo>
                      <a:lnTo>
                        <a:pt x="0" y="25"/>
                      </a:lnTo>
                      <a:lnTo>
                        <a:pt x="1" y="19"/>
                      </a:lnTo>
                      <a:lnTo>
                        <a:pt x="2" y="13"/>
                      </a:lnTo>
                      <a:lnTo>
                        <a:pt x="5" y="9"/>
                      </a:lnTo>
                      <a:lnTo>
                        <a:pt x="8" y="6"/>
                      </a:lnTo>
                      <a:lnTo>
                        <a:pt x="11" y="3"/>
                      </a:lnTo>
                      <a:lnTo>
                        <a:pt x="16" y="0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35" name="Freeform 111">
                  <a:extLst>
                    <a:ext uri="{FF2B5EF4-FFF2-40B4-BE49-F238E27FC236}">
                      <a16:creationId xmlns:a16="http://schemas.microsoft.com/office/drawing/2014/main" xmlns="" id="{FAA40904-6585-4C6B-A6C0-9F06FB53F96F}"/>
                    </a:ext>
                  </a:extLst>
                </p:cNvPr>
                <p:cNvSpPr>
                  <a:spLocks/>
                </p:cNvSpPr>
                <p:nvPr>
                  <p:custDataLst>
                    <p:tags r:id="rId82"/>
                  </p:custDataLst>
                </p:nvPr>
              </p:nvSpPr>
              <p:spPr bwMode="auto">
                <a:xfrm>
                  <a:off x="7123113" y="2738438"/>
                  <a:ext cx="15875" cy="57150"/>
                </a:xfrm>
                <a:custGeom>
                  <a:avLst/>
                  <a:gdLst>
                    <a:gd name="T0" fmla="*/ 2147483646 w 26"/>
                    <a:gd name="T1" fmla="*/ 2147483646 h 37"/>
                    <a:gd name="T2" fmla="*/ 0 w 26"/>
                    <a:gd name="T3" fmla="*/ 2147483646 h 37"/>
                    <a:gd name="T4" fmla="*/ 2147483646 w 26"/>
                    <a:gd name="T5" fmla="*/ 2147483646 h 37"/>
                    <a:gd name="T6" fmla="*/ 2147483646 w 26"/>
                    <a:gd name="T7" fmla="*/ 2147483646 h 37"/>
                    <a:gd name="T8" fmla="*/ 2147483646 w 26"/>
                    <a:gd name="T9" fmla="*/ 2147483646 h 37"/>
                    <a:gd name="T10" fmla="*/ 2147483646 w 26"/>
                    <a:gd name="T11" fmla="*/ 0 h 37"/>
                    <a:gd name="T12" fmla="*/ 2147483646 w 26"/>
                    <a:gd name="T13" fmla="*/ 2147483646 h 37"/>
                    <a:gd name="T14" fmla="*/ 2147483646 w 26"/>
                    <a:gd name="T15" fmla="*/ 2147483646 h 37"/>
                    <a:gd name="T16" fmla="*/ 2147483646 w 26"/>
                    <a:gd name="T17" fmla="*/ 2147483646 h 37"/>
                    <a:gd name="T18" fmla="*/ 2147483646 w 26"/>
                    <a:gd name="T19" fmla="*/ 2147483646 h 37"/>
                    <a:gd name="T20" fmla="*/ 2147483646 w 26"/>
                    <a:gd name="T21" fmla="*/ 2147483646 h 37"/>
                    <a:gd name="T22" fmla="*/ 2147483646 w 26"/>
                    <a:gd name="T23" fmla="*/ 2147483646 h 37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6"/>
                    <a:gd name="T37" fmla="*/ 0 h 37"/>
                    <a:gd name="T38" fmla="*/ 26 w 26"/>
                    <a:gd name="T39" fmla="*/ 37 h 37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6" h="37">
                      <a:moveTo>
                        <a:pt x="13" y="37"/>
                      </a:moveTo>
                      <a:lnTo>
                        <a:pt x="0" y="12"/>
                      </a:lnTo>
                      <a:lnTo>
                        <a:pt x="6" y="7"/>
                      </a:lnTo>
                      <a:lnTo>
                        <a:pt x="13" y="4"/>
                      </a:lnTo>
                      <a:lnTo>
                        <a:pt x="21" y="1"/>
                      </a:lnTo>
                      <a:lnTo>
                        <a:pt x="26" y="0"/>
                      </a:lnTo>
                      <a:lnTo>
                        <a:pt x="26" y="6"/>
                      </a:lnTo>
                      <a:lnTo>
                        <a:pt x="25" y="11"/>
                      </a:lnTo>
                      <a:lnTo>
                        <a:pt x="24" y="17"/>
                      </a:lnTo>
                      <a:lnTo>
                        <a:pt x="23" y="21"/>
                      </a:lnTo>
                      <a:lnTo>
                        <a:pt x="18" y="29"/>
                      </a:lnTo>
                      <a:lnTo>
                        <a:pt x="13" y="3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36" name="Freeform 112">
                  <a:extLst>
                    <a:ext uri="{FF2B5EF4-FFF2-40B4-BE49-F238E27FC236}">
                      <a16:creationId xmlns:a16="http://schemas.microsoft.com/office/drawing/2014/main" xmlns="" id="{9DCC40A2-3805-4E8F-AC1D-9A4CE2FEFFB1}"/>
                    </a:ext>
                  </a:extLst>
                </p:cNvPr>
                <p:cNvSpPr>
                  <a:spLocks/>
                </p:cNvSpPr>
                <p:nvPr>
                  <p:custDataLst>
                    <p:tags r:id="rId83"/>
                  </p:custDataLst>
                </p:nvPr>
              </p:nvSpPr>
              <p:spPr bwMode="auto">
                <a:xfrm>
                  <a:off x="7011988" y="2587625"/>
                  <a:ext cx="1587" cy="60325"/>
                </a:xfrm>
                <a:custGeom>
                  <a:avLst/>
                  <a:gdLst>
                    <a:gd name="T0" fmla="*/ 0 w 7"/>
                    <a:gd name="T1" fmla="*/ 2147483646 h 18"/>
                    <a:gd name="T2" fmla="*/ 0 w 7"/>
                    <a:gd name="T3" fmla="*/ 0 h 18"/>
                    <a:gd name="T4" fmla="*/ 2147483646 w 7"/>
                    <a:gd name="T5" fmla="*/ 2147483646 h 18"/>
                    <a:gd name="T6" fmla="*/ 0 w 7"/>
                    <a:gd name="T7" fmla="*/ 2147483646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18"/>
                    <a:gd name="T14" fmla="*/ 7 w 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18">
                      <a:moveTo>
                        <a:pt x="0" y="18"/>
                      </a:moveTo>
                      <a:lnTo>
                        <a:pt x="0" y="0"/>
                      </a:lnTo>
                      <a:lnTo>
                        <a:pt x="7" y="12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37" name="Freeform 113">
                  <a:extLst>
                    <a:ext uri="{FF2B5EF4-FFF2-40B4-BE49-F238E27FC236}">
                      <a16:creationId xmlns:a16="http://schemas.microsoft.com/office/drawing/2014/main" xmlns="" id="{EA0A811E-C928-4391-BC5D-9902090B7DE2}"/>
                    </a:ext>
                  </a:extLst>
                </p:cNvPr>
                <p:cNvSpPr>
                  <a:spLocks/>
                </p:cNvSpPr>
                <p:nvPr>
                  <p:custDataLst>
                    <p:tags r:id="rId84"/>
                  </p:custDataLst>
                </p:nvPr>
              </p:nvSpPr>
              <p:spPr bwMode="auto">
                <a:xfrm>
                  <a:off x="3863975" y="1714500"/>
                  <a:ext cx="9525" cy="57150"/>
                </a:xfrm>
                <a:custGeom>
                  <a:avLst/>
                  <a:gdLst>
                    <a:gd name="T0" fmla="*/ 0 w 33"/>
                    <a:gd name="T1" fmla="*/ 2147483646 h 31"/>
                    <a:gd name="T2" fmla="*/ 2147483646 w 33"/>
                    <a:gd name="T3" fmla="*/ 0 h 31"/>
                    <a:gd name="T4" fmla="*/ 2147483646 w 33"/>
                    <a:gd name="T5" fmla="*/ 2147483646 h 31"/>
                    <a:gd name="T6" fmla="*/ 2147483646 w 33"/>
                    <a:gd name="T7" fmla="*/ 2147483646 h 31"/>
                    <a:gd name="T8" fmla="*/ 2147483646 w 33"/>
                    <a:gd name="T9" fmla="*/ 2147483646 h 31"/>
                    <a:gd name="T10" fmla="*/ 2147483646 w 33"/>
                    <a:gd name="T11" fmla="*/ 2147483646 h 31"/>
                    <a:gd name="T12" fmla="*/ 2147483646 w 33"/>
                    <a:gd name="T13" fmla="*/ 2147483646 h 31"/>
                    <a:gd name="T14" fmla="*/ 2147483646 w 33"/>
                    <a:gd name="T15" fmla="*/ 2147483646 h 31"/>
                    <a:gd name="T16" fmla="*/ 2147483646 w 33"/>
                    <a:gd name="T17" fmla="*/ 2147483646 h 31"/>
                    <a:gd name="T18" fmla="*/ 2147483646 w 33"/>
                    <a:gd name="T19" fmla="*/ 2147483646 h 31"/>
                    <a:gd name="T20" fmla="*/ 2147483646 w 33"/>
                    <a:gd name="T21" fmla="*/ 2147483646 h 31"/>
                    <a:gd name="T22" fmla="*/ 0 w 33"/>
                    <a:gd name="T23" fmla="*/ 2147483646 h 31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33"/>
                    <a:gd name="T37" fmla="*/ 0 h 31"/>
                    <a:gd name="T38" fmla="*/ 33 w 33"/>
                    <a:gd name="T39" fmla="*/ 31 h 31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33" h="31">
                      <a:moveTo>
                        <a:pt x="0" y="12"/>
                      </a:moveTo>
                      <a:lnTo>
                        <a:pt x="19" y="0"/>
                      </a:lnTo>
                      <a:lnTo>
                        <a:pt x="24" y="5"/>
                      </a:lnTo>
                      <a:lnTo>
                        <a:pt x="28" y="12"/>
                      </a:lnTo>
                      <a:lnTo>
                        <a:pt x="32" y="22"/>
                      </a:lnTo>
                      <a:lnTo>
                        <a:pt x="33" y="31"/>
                      </a:lnTo>
                      <a:lnTo>
                        <a:pt x="27" y="30"/>
                      </a:lnTo>
                      <a:lnTo>
                        <a:pt x="22" y="28"/>
                      </a:lnTo>
                      <a:lnTo>
                        <a:pt x="16" y="25"/>
                      </a:lnTo>
                      <a:lnTo>
                        <a:pt x="11" y="22"/>
                      </a:lnTo>
                      <a:lnTo>
                        <a:pt x="3" y="15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38" name="Freeform 114">
                  <a:extLst>
                    <a:ext uri="{FF2B5EF4-FFF2-40B4-BE49-F238E27FC236}">
                      <a16:creationId xmlns:a16="http://schemas.microsoft.com/office/drawing/2014/main" xmlns="" id="{23DAC961-9A7F-4C24-93A2-0BA9BD8EDA59}"/>
                    </a:ext>
                  </a:extLst>
                </p:cNvPr>
                <p:cNvSpPr>
                  <a:spLocks/>
                </p:cNvSpPr>
                <p:nvPr>
                  <p:custDataLst>
                    <p:tags r:id="rId85"/>
                  </p:custDataLst>
                </p:nvPr>
              </p:nvSpPr>
              <p:spPr bwMode="auto">
                <a:xfrm>
                  <a:off x="3849688" y="1482725"/>
                  <a:ext cx="3175" cy="57150"/>
                </a:xfrm>
                <a:custGeom>
                  <a:avLst/>
                  <a:gdLst>
                    <a:gd name="T0" fmla="*/ 2147483646 w 14"/>
                    <a:gd name="T1" fmla="*/ 0 h 6"/>
                    <a:gd name="T2" fmla="*/ 0 w 14"/>
                    <a:gd name="T3" fmla="*/ 2147483646 h 6"/>
                    <a:gd name="T4" fmla="*/ 2147483646 w 14"/>
                    <a:gd name="T5" fmla="*/ 0 h 6"/>
                    <a:gd name="T6" fmla="*/ 0 60000 65536"/>
                    <a:gd name="T7" fmla="*/ 0 60000 65536"/>
                    <a:gd name="T8" fmla="*/ 0 60000 65536"/>
                    <a:gd name="T9" fmla="*/ 0 w 14"/>
                    <a:gd name="T10" fmla="*/ 0 h 6"/>
                    <a:gd name="T11" fmla="*/ 14 w 14"/>
                    <a:gd name="T12" fmla="*/ 6 h 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4" h="6">
                      <a:moveTo>
                        <a:pt x="14" y="0"/>
                      </a:moveTo>
                      <a:lnTo>
                        <a:pt x="0" y="6"/>
                      </a:lnTo>
                      <a:lnTo>
                        <a:pt x="14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39" name="Freeform 115">
                  <a:extLst>
                    <a:ext uri="{FF2B5EF4-FFF2-40B4-BE49-F238E27FC236}">
                      <a16:creationId xmlns:a16="http://schemas.microsoft.com/office/drawing/2014/main" xmlns="" id="{A7646402-4C18-4385-A395-6ACD8FD701D4}"/>
                    </a:ext>
                  </a:extLst>
                </p:cNvPr>
                <p:cNvSpPr>
                  <a:spLocks/>
                </p:cNvSpPr>
                <p:nvPr>
                  <p:custDataLst>
                    <p:tags r:id="rId86"/>
                  </p:custDataLst>
                </p:nvPr>
              </p:nvSpPr>
              <p:spPr bwMode="auto">
                <a:xfrm>
                  <a:off x="5330825" y="3260725"/>
                  <a:ext cx="25400" cy="55563"/>
                </a:xfrm>
                <a:custGeom>
                  <a:avLst/>
                  <a:gdLst>
                    <a:gd name="T0" fmla="*/ 2147483646 w 59"/>
                    <a:gd name="T1" fmla="*/ 2147483646 h 31"/>
                    <a:gd name="T2" fmla="*/ 2147483646 w 59"/>
                    <a:gd name="T3" fmla="*/ 2147483646 h 31"/>
                    <a:gd name="T4" fmla="*/ 2147483646 w 59"/>
                    <a:gd name="T5" fmla="*/ 2147483646 h 31"/>
                    <a:gd name="T6" fmla="*/ 2147483646 w 59"/>
                    <a:gd name="T7" fmla="*/ 2147483646 h 31"/>
                    <a:gd name="T8" fmla="*/ 2147483646 w 59"/>
                    <a:gd name="T9" fmla="*/ 2147483646 h 31"/>
                    <a:gd name="T10" fmla="*/ 2147483646 w 59"/>
                    <a:gd name="T11" fmla="*/ 2147483646 h 31"/>
                    <a:gd name="T12" fmla="*/ 2147483646 w 59"/>
                    <a:gd name="T13" fmla="*/ 2147483646 h 31"/>
                    <a:gd name="T14" fmla="*/ 2147483646 w 59"/>
                    <a:gd name="T15" fmla="*/ 2147483646 h 31"/>
                    <a:gd name="T16" fmla="*/ 2147483646 w 59"/>
                    <a:gd name="T17" fmla="*/ 2147483646 h 31"/>
                    <a:gd name="T18" fmla="*/ 2147483646 w 59"/>
                    <a:gd name="T19" fmla="*/ 2147483646 h 31"/>
                    <a:gd name="T20" fmla="*/ 2147483646 w 59"/>
                    <a:gd name="T21" fmla="*/ 2147483646 h 31"/>
                    <a:gd name="T22" fmla="*/ 2147483646 w 59"/>
                    <a:gd name="T23" fmla="*/ 2147483646 h 31"/>
                    <a:gd name="T24" fmla="*/ 2147483646 w 59"/>
                    <a:gd name="T25" fmla="*/ 2147483646 h 31"/>
                    <a:gd name="T26" fmla="*/ 2147483646 w 59"/>
                    <a:gd name="T27" fmla="*/ 2147483646 h 31"/>
                    <a:gd name="T28" fmla="*/ 0 w 59"/>
                    <a:gd name="T29" fmla="*/ 2147483646 h 31"/>
                    <a:gd name="T30" fmla="*/ 2147483646 w 59"/>
                    <a:gd name="T31" fmla="*/ 2147483646 h 31"/>
                    <a:gd name="T32" fmla="*/ 2147483646 w 59"/>
                    <a:gd name="T33" fmla="*/ 2147483646 h 31"/>
                    <a:gd name="T34" fmla="*/ 2147483646 w 59"/>
                    <a:gd name="T35" fmla="*/ 2147483646 h 31"/>
                    <a:gd name="T36" fmla="*/ 2147483646 w 59"/>
                    <a:gd name="T37" fmla="*/ 2147483646 h 31"/>
                    <a:gd name="T38" fmla="*/ 2147483646 w 59"/>
                    <a:gd name="T39" fmla="*/ 2147483646 h 31"/>
                    <a:gd name="T40" fmla="*/ 2147483646 w 59"/>
                    <a:gd name="T41" fmla="*/ 0 h 31"/>
                    <a:gd name="T42" fmla="*/ 2147483646 w 59"/>
                    <a:gd name="T43" fmla="*/ 0 h 31"/>
                    <a:gd name="T44" fmla="*/ 2147483646 w 59"/>
                    <a:gd name="T45" fmla="*/ 2147483646 h 31"/>
                    <a:gd name="T46" fmla="*/ 2147483646 w 59"/>
                    <a:gd name="T47" fmla="*/ 2147483646 h 31"/>
                    <a:gd name="T48" fmla="*/ 2147483646 w 59"/>
                    <a:gd name="T49" fmla="*/ 2147483646 h 31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59"/>
                    <a:gd name="T76" fmla="*/ 0 h 31"/>
                    <a:gd name="T77" fmla="*/ 59 w 59"/>
                    <a:gd name="T78" fmla="*/ 31 h 31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59" h="31">
                      <a:moveTo>
                        <a:pt x="59" y="6"/>
                      </a:moveTo>
                      <a:lnTo>
                        <a:pt x="57" y="11"/>
                      </a:lnTo>
                      <a:lnTo>
                        <a:pt x="53" y="15"/>
                      </a:lnTo>
                      <a:lnTo>
                        <a:pt x="49" y="19"/>
                      </a:lnTo>
                      <a:lnTo>
                        <a:pt x="45" y="24"/>
                      </a:lnTo>
                      <a:lnTo>
                        <a:pt x="40" y="27"/>
                      </a:lnTo>
                      <a:lnTo>
                        <a:pt x="36" y="29"/>
                      </a:lnTo>
                      <a:lnTo>
                        <a:pt x="30" y="31"/>
                      </a:lnTo>
                      <a:lnTo>
                        <a:pt x="26" y="31"/>
                      </a:lnTo>
                      <a:lnTo>
                        <a:pt x="21" y="31"/>
                      </a:lnTo>
                      <a:lnTo>
                        <a:pt x="17" y="30"/>
                      </a:lnTo>
                      <a:lnTo>
                        <a:pt x="14" y="29"/>
                      </a:lnTo>
                      <a:lnTo>
                        <a:pt x="11" y="27"/>
                      </a:lnTo>
                      <a:lnTo>
                        <a:pt x="4" y="20"/>
                      </a:lnTo>
                      <a:lnTo>
                        <a:pt x="0" y="12"/>
                      </a:lnTo>
                      <a:lnTo>
                        <a:pt x="1" y="9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6" y="1"/>
                      </a:lnTo>
                      <a:lnTo>
                        <a:pt x="24" y="0"/>
                      </a:lnTo>
                      <a:lnTo>
                        <a:pt x="34" y="0"/>
                      </a:lnTo>
                      <a:lnTo>
                        <a:pt x="42" y="2"/>
                      </a:lnTo>
                      <a:lnTo>
                        <a:pt x="51" y="4"/>
                      </a:lnTo>
                      <a:lnTo>
                        <a:pt x="59" y="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40" name="Freeform 116">
                  <a:extLst>
                    <a:ext uri="{FF2B5EF4-FFF2-40B4-BE49-F238E27FC236}">
                      <a16:creationId xmlns:a16="http://schemas.microsoft.com/office/drawing/2014/main" xmlns="" id="{452E53F1-93D0-406D-83EB-452DA4E4E767}"/>
                    </a:ext>
                  </a:extLst>
                </p:cNvPr>
                <p:cNvSpPr>
                  <a:spLocks/>
                </p:cNvSpPr>
                <p:nvPr>
                  <p:custDataLst>
                    <p:tags r:id="rId87"/>
                  </p:custDataLst>
                </p:nvPr>
              </p:nvSpPr>
              <p:spPr bwMode="auto">
                <a:xfrm>
                  <a:off x="5033963" y="3122613"/>
                  <a:ext cx="19050" cy="58737"/>
                </a:xfrm>
                <a:custGeom>
                  <a:avLst/>
                  <a:gdLst>
                    <a:gd name="T0" fmla="*/ 2147483646 w 47"/>
                    <a:gd name="T1" fmla="*/ 0 h 68"/>
                    <a:gd name="T2" fmla="*/ 2147483646 w 47"/>
                    <a:gd name="T3" fmla="*/ 2147483646 h 68"/>
                    <a:gd name="T4" fmla="*/ 2147483646 w 47"/>
                    <a:gd name="T5" fmla="*/ 2147483646 h 68"/>
                    <a:gd name="T6" fmla="*/ 2147483646 w 47"/>
                    <a:gd name="T7" fmla="*/ 2147483646 h 68"/>
                    <a:gd name="T8" fmla="*/ 0 w 47"/>
                    <a:gd name="T9" fmla="*/ 2147483646 h 68"/>
                    <a:gd name="T10" fmla="*/ 0 w 47"/>
                    <a:gd name="T11" fmla="*/ 2147483646 h 68"/>
                    <a:gd name="T12" fmla="*/ 2147483646 w 47"/>
                    <a:gd name="T13" fmla="*/ 2147483646 h 68"/>
                    <a:gd name="T14" fmla="*/ 2147483646 w 47"/>
                    <a:gd name="T15" fmla="*/ 2147483646 h 68"/>
                    <a:gd name="T16" fmla="*/ 2147483646 w 47"/>
                    <a:gd name="T17" fmla="*/ 2147483646 h 68"/>
                    <a:gd name="T18" fmla="*/ 2147483646 w 47"/>
                    <a:gd name="T19" fmla="*/ 2147483646 h 68"/>
                    <a:gd name="T20" fmla="*/ 2147483646 w 47"/>
                    <a:gd name="T21" fmla="*/ 2147483646 h 68"/>
                    <a:gd name="T22" fmla="*/ 2147483646 w 47"/>
                    <a:gd name="T23" fmla="*/ 2147483646 h 68"/>
                    <a:gd name="T24" fmla="*/ 2147483646 w 47"/>
                    <a:gd name="T25" fmla="*/ 2147483646 h 68"/>
                    <a:gd name="T26" fmla="*/ 2147483646 w 47"/>
                    <a:gd name="T27" fmla="*/ 2147483646 h 68"/>
                    <a:gd name="T28" fmla="*/ 2147483646 w 47"/>
                    <a:gd name="T29" fmla="*/ 2147483646 h 68"/>
                    <a:gd name="T30" fmla="*/ 2147483646 w 47"/>
                    <a:gd name="T31" fmla="*/ 2147483646 h 68"/>
                    <a:gd name="T32" fmla="*/ 2147483646 w 47"/>
                    <a:gd name="T33" fmla="*/ 2147483646 h 68"/>
                    <a:gd name="T34" fmla="*/ 2147483646 w 47"/>
                    <a:gd name="T35" fmla="*/ 2147483646 h 68"/>
                    <a:gd name="T36" fmla="*/ 2147483646 w 47"/>
                    <a:gd name="T37" fmla="*/ 2147483646 h 68"/>
                    <a:gd name="T38" fmla="*/ 2147483646 w 47"/>
                    <a:gd name="T39" fmla="*/ 2147483646 h 68"/>
                    <a:gd name="T40" fmla="*/ 2147483646 w 47"/>
                    <a:gd name="T41" fmla="*/ 2147483646 h 68"/>
                    <a:gd name="T42" fmla="*/ 2147483646 w 47"/>
                    <a:gd name="T43" fmla="*/ 2147483646 h 68"/>
                    <a:gd name="T44" fmla="*/ 2147483646 w 47"/>
                    <a:gd name="T45" fmla="*/ 2147483646 h 68"/>
                    <a:gd name="T46" fmla="*/ 2147483646 w 47"/>
                    <a:gd name="T47" fmla="*/ 2147483646 h 68"/>
                    <a:gd name="T48" fmla="*/ 2147483646 w 47"/>
                    <a:gd name="T49" fmla="*/ 0 h 6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47"/>
                    <a:gd name="T76" fmla="*/ 0 h 68"/>
                    <a:gd name="T77" fmla="*/ 47 w 47"/>
                    <a:gd name="T78" fmla="*/ 68 h 6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47" h="68">
                      <a:moveTo>
                        <a:pt x="14" y="0"/>
                      </a:moveTo>
                      <a:lnTo>
                        <a:pt x="8" y="10"/>
                      </a:lnTo>
                      <a:lnTo>
                        <a:pt x="4" y="19"/>
                      </a:lnTo>
                      <a:lnTo>
                        <a:pt x="2" y="28"/>
                      </a:lnTo>
                      <a:lnTo>
                        <a:pt x="0" y="37"/>
                      </a:lnTo>
                      <a:lnTo>
                        <a:pt x="0" y="42"/>
                      </a:lnTo>
                      <a:lnTo>
                        <a:pt x="2" y="47"/>
                      </a:lnTo>
                      <a:lnTo>
                        <a:pt x="3" y="51"/>
                      </a:lnTo>
                      <a:lnTo>
                        <a:pt x="5" y="55"/>
                      </a:lnTo>
                      <a:lnTo>
                        <a:pt x="7" y="58"/>
                      </a:lnTo>
                      <a:lnTo>
                        <a:pt x="9" y="60"/>
                      </a:lnTo>
                      <a:lnTo>
                        <a:pt x="13" y="62"/>
                      </a:lnTo>
                      <a:lnTo>
                        <a:pt x="16" y="64"/>
                      </a:lnTo>
                      <a:lnTo>
                        <a:pt x="22" y="67"/>
                      </a:lnTo>
                      <a:lnTo>
                        <a:pt x="31" y="68"/>
                      </a:lnTo>
                      <a:lnTo>
                        <a:pt x="39" y="68"/>
                      </a:lnTo>
                      <a:lnTo>
                        <a:pt x="47" y="68"/>
                      </a:lnTo>
                      <a:lnTo>
                        <a:pt x="41" y="58"/>
                      </a:lnTo>
                      <a:lnTo>
                        <a:pt x="38" y="48"/>
                      </a:lnTo>
                      <a:lnTo>
                        <a:pt x="36" y="43"/>
                      </a:lnTo>
                      <a:lnTo>
                        <a:pt x="35" y="38"/>
                      </a:lnTo>
                      <a:lnTo>
                        <a:pt x="33" y="31"/>
                      </a:lnTo>
                      <a:lnTo>
                        <a:pt x="33" y="25"/>
                      </a:lnTo>
                      <a:lnTo>
                        <a:pt x="24" y="13"/>
                      </a:lnTo>
                      <a:lnTo>
                        <a:pt x="14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141" name="Group 117">
                  <a:extLst>
                    <a:ext uri="{FF2B5EF4-FFF2-40B4-BE49-F238E27FC236}">
                      <a16:creationId xmlns:a16="http://schemas.microsoft.com/office/drawing/2014/main" xmlns="" id="{D1E5E7D2-A392-4094-A03D-9CFAF7615D5C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88"/>
                  </p:custDataLst>
                </p:nvPr>
              </p:nvGrpSpPr>
              <p:grpSpPr bwMode="auto">
                <a:xfrm>
                  <a:off x="5805488" y="3309938"/>
                  <a:ext cx="46037" cy="374650"/>
                  <a:chOff x="3950" y="2430"/>
                  <a:chExt cx="36" cy="234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544" name="Freeform 118">
                    <a:extLst>
                      <a:ext uri="{FF2B5EF4-FFF2-40B4-BE49-F238E27FC236}">
                        <a16:creationId xmlns:a16="http://schemas.microsoft.com/office/drawing/2014/main" xmlns="" id="{9239F312-F470-4934-B0FE-7224B01AFBA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5" y="2658"/>
                    <a:ext cx="6" cy="6"/>
                  </a:xfrm>
                  <a:custGeom>
                    <a:avLst/>
                    <a:gdLst>
                      <a:gd name="T0" fmla="*/ 0 w 19"/>
                      <a:gd name="T1" fmla="*/ 0 h 20"/>
                      <a:gd name="T2" fmla="*/ 0 w 19"/>
                      <a:gd name="T3" fmla="*/ 0 h 20"/>
                      <a:gd name="T4" fmla="*/ 0 w 19"/>
                      <a:gd name="T5" fmla="*/ 0 h 20"/>
                      <a:gd name="T6" fmla="*/ 0 w 19"/>
                      <a:gd name="T7" fmla="*/ 0 h 20"/>
                      <a:gd name="T8" fmla="*/ 0 w 19"/>
                      <a:gd name="T9" fmla="*/ 0 h 20"/>
                      <a:gd name="T10" fmla="*/ 0 w 19"/>
                      <a:gd name="T11" fmla="*/ 0 h 20"/>
                      <a:gd name="T12" fmla="*/ 0 w 19"/>
                      <a:gd name="T13" fmla="*/ 0 h 20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9"/>
                      <a:gd name="T22" fmla="*/ 0 h 20"/>
                      <a:gd name="T23" fmla="*/ 19 w 19"/>
                      <a:gd name="T24" fmla="*/ 20 h 20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9" h="20">
                        <a:moveTo>
                          <a:pt x="0" y="0"/>
                        </a:moveTo>
                        <a:lnTo>
                          <a:pt x="0" y="20"/>
                        </a:lnTo>
                        <a:lnTo>
                          <a:pt x="19" y="14"/>
                        </a:lnTo>
                        <a:lnTo>
                          <a:pt x="14" y="8"/>
                        </a:lnTo>
                        <a:lnTo>
                          <a:pt x="10" y="4"/>
                        </a:lnTo>
                        <a:lnTo>
                          <a:pt x="4" y="1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45" name="Freeform 119">
                    <a:extLst>
                      <a:ext uri="{FF2B5EF4-FFF2-40B4-BE49-F238E27FC236}">
                        <a16:creationId xmlns:a16="http://schemas.microsoft.com/office/drawing/2014/main" xmlns="" id="{DBC9D165-F574-4AA5-8722-2E1EDBEC019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5" y="2644"/>
                    <a:ext cx="6" cy="4"/>
                  </a:xfrm>
                  <a:custGeom>
                    <a:avLst/>
                    <a:gdLst>
                      <a:gd name="T0" fmla="*/ 0 w 19"/>
                      <a:gd name="T1" fmla="*/ 0 h 12"/>
                      <a:gd name="T2" fmla="*/ 0 w 19"/>
                      <a:gd name="T3" fmla="*/ 0 h 12"/>
                      <a:gd name="T4" fmla="*/ 0 w 19"/>
                      <a:gd name="T5" fmla="*/ 0 h 12"/>
                      <a:gd name="T6" fmla="*/ 0 w 19"/>
                      <a:gd name="T7" fmla="*/ 0 h 12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9"/>
                      <a:gd name="T13" fmla="*/ 0 h 12"/>
                      <a:gd name="T14" fmla="*/ 19 w 19"/>
                      <a:gd name="T15" fmla="*/ 12 h 12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9" h="12">
                        <a:moveTo>
                          <a:pt x="13" y="12"/>
                        </a:moveTo>
                        <a:lnTo>
                          <a:pt x="19" y="0"/>
                        </a:lnTo>
                        <a:lnTo>
                          <a:pt x="0" y="0"/>
                        </a:lnTo>
                        <a:lnTo>
                          <a:pt x="13" y="12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46" name="Freeform 120">
                    <a:extLst>
                      <a:ext uri="{FF2B5EF4-FFF2-40B4-BE49-F238E27FC236}">
                        <a16:creationId xmlns:a16="http://schemas.microsoft.com/office/drawing/2014/main" xmlns="" id="{A57D5D33-9563-41F2-90C0-E599298F42B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5" y="2637"/>
                    <a:ext cx="6" cy="1"/>
                  </a:xfrm>
                  <a:custGeom>
                    <a:avLst/>
                    <a:gdLst>
                      <a:gd name="T0" fmla="*/ 0 w 19"/>
                      <a:gd name="T1" fmla="*/ 0 h 1"/>
                      <a:gd name="T2" fmla="*/ 0 w 19"/>
                      <a:gd name="T3" fmla="*/ 0 h 1"/>
                      <a:gd name="T4" fmla="*/ 0 w 19"/>
                      <a:gd name="T5" fmla="*/ 0 h 1"/>
                      <a:gd name="T6" fmla="*/ 0 w 19"/>
                      <a:gd name="T7" fmla="*/ 0 h 1"/>
                      <a:gd name="T8" fmla="*/ 0 w 19"/>
                      <a:gd name="T9" fmla="*/ 0 h 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9"/>
                      <a:gd name="T16" fmla="*/ 0 h 1"/>
                      <a:gd name="T17" fmla="*/ 19 w 19"/>
                      <a:gd name="T18" fmla="*/ 1 h 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9" h="1">
                        <a:moveTo>
                          <a:pt x="0" y="0"/>
                        </a:moveTo>
                        <a:lnTo>
                          <a:pt x="10" y="0"/>
                        </a:lnTo>
                        <a:lnTo>
                          <a:pt x="19" y="0"/>
                        </a:lnTo>
                        <a:lnTo>
                          <a:pt x="10" y="0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47" name="Rectangle 121">
                    <a:extLst>
                      <a:ext uri="{FF2B5EF4-FFF2-40B4-BE49-F238E27FC236}">
                        <a16:creationId xmlns:a16="http://schemas.microsoft.com/office/drawing/2014/main" xmlns="" id="{C72F821C-F5BF-4299-B56D-A70206D83B7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975" y="2632"/>
                    <a:ext cx="8" cy="2"/>
                  </a:xfrm>
                  <a:prstGeom prst="rect">
                    <a:avLst/>
                  </a:prstGeom>
                  <a:grpFill/>
                  <a:ln w="9525">
                    <a:solidFill>
                      <a:srgbClr val="FFFFFF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lvl1pPr>
                      <a:spcBef>
                        <a:spcPct val="20000"/>
                      </a:spcBef>
                      <a:buChar char="•"/>
                      <a:defRPr sz="32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spcBef>
                        <a:spcPct val="20000"/>
                      </a:spcBef>
                      <a:buChar char="–"/>
                      <a:defRPr sz="28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spcBef>
                        <a:spcPct val="20000"/>
                      </a:spcBef>
                      <a:buChar char="•"/>
                      <a:defRPr sz="24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spcBef>
                        <a:spcPct val="20000"/>
                      </a:spcBef>
                      <a:buChar char="–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spcBef>
                        <a:spcPct val="20000"/>
                      </a:spcBef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defTabSz="914378" fontAlgn="base">
                      <a:spcBef>
                        <a:spcPct val="0"/>
                      </a:spcBef>
                      <a:spcAft>
                        <a:spcPct val="0"/>
                      </a:spcAft>
                      <a:buNone/>
                      <a:defRPr/>
                    </a:pPr>
                    <a:endParaRPr lang="es-ES" altLang="es-ES" sz="18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548" name="Line 122">
                    <a:extLst>
                      <a:ext uri="{FF2B5EF4-FFF2-40B4-BE49-F238E27FC236}">
                        <a16:creationId xmlns:a16="http://schemas.microsoft.com/office/drawing/2014/main" xmlns="" id="{70D36FCB-413B-4A5D-B60A-23C6F43DBD5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972" y="2595"/>
                    <a:ext cx="5" cy="4"/>
                  </a:xfrm>
                  <a:prstGeom prst="line">
                    <a:avLst/>
                  </a:prstGeom>
                  <a:grpFill/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49" name="Freeform 123">
                    <a:extLst>
                      <a:ext uri="{FF2B5EF4-FFF2-40B4-BE49-F238E27FC236}">
                        <a16:creationId xmlns:a16="http://schemas.microsoft.com/office/drawing/2014/main" xmlns="" id="{A3CAB236-CD65-45BC-B743-4D0379896D9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5" y="2595"/>
                    <a:ext cx="2" cy="1"/>
                  </a:xfrm>
                  <a:custGeom>
                    <a:avLst/>
                    <a:gdLst>
                      <a:gd name="T0" fmla="*/ 0 w 6"/>
                      <a:gd name="T1" fmla="*/ 0 h 3"/>
                      <a:gd name="T2" fmla="*/ 0 w 6"/>
                      <a:gd name="T3" fmla="*/ 0 h 3"/>
                      <a:gd name="T4" fmla="*/ 0 w 6"/>
                      <a:gd name="T5" fmla="*/ 0 h 3"/>
                      <a:gd name="T6" fmla="*/ 0 w 6"/>
                      <a:gd name="T7" fmla="*/ 0 h 3"/>
                      <a:gd name="T8" fmla="*/ 0 w 6"/>
                      <a:gd name="T9" fmla="*/ 0 h 3"/>
                      <a:gd name="T10" fmla="*/ 0 w 6"/>
                      <a:gd name="T11" fmla="*/ 0 h 3"/>
                      <a:gd name="T12" fmla="*/ 0 w 6"/>
                      <a:gd name="T13" fmla="*/ 0 h 3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6"/>
                      <a:gd name="T22" fmla="*/ 0 h 3"/>
                      <a:gd name="T23" fmla="*/ 6 w 6"/>
                      <a:gd name="T24" fmla="*/ 3 h 3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6" h="3">
                        <a:moveTo>
                          <a:pt x="6" y="0"/>
                        </a:moveTo>
                        <a:lnTo>
                          <a:pt x="5" y="1"/>
                        </a:lnTo>
                        <a:lnTo>
                          <a:pt x="3" y="2"/>
                        </a:lnTo>
                        <a:lnTo>
                          <a:pt x="1" y="3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50" name="Freeform 124">
                    <a:extLst>
                      <a:ext uri="{FF2B5EF4-FFF2-40B4-BE49-F238E27FC236}">
                        <a16:creationId xmlns:a16="http://schemas.microsoft.com/office/drawing/2014/main" xmlns="" id="{5783C61F-9F1B-4944-AB72-B8C68D9D52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81" y="2555"/>
                    <a:ext cx="5" cy="8"/>
                  </a:xfrm>
                  <a:custGeom>
                    <a:avLst/>
                    <a:gdLst>
                      <a:gd name="T0" fmla="*/ 0 w 14"/>
                      <a:gd name="T1" fmla="*/ 0 h 24"/>
                      <a:gd name="T2" fmla="*/ 0 w 14"/>
                      <a:gd name="T3" fmla="*/ 0 h 24"/>
                      <a:gd name="T4" fmla="*/ 0 w 14"/>
                      <a:gd name="T5" fmla="*/ 0 h 24"/>
                      <a:gd name="T6" fmla="*/ 0 w 14"/>
                      <a:gd name="T7" fmla="*/ 0 h 24"/>
                      <a:gd name="T8" fmla="*/ 0 w 14"/>
                      <a:gd name="T9" fmla="*/ 0 h 24"/>
                      <a:gd name="T10" fmla="*/ 0 w 14"/>
                      <a:gd name="T11" fmla="*/ 0 h 24"/>
                      <a:gd name="T12" fmla="*/ 0 w 14"/>
                      <a:gd name="T13" fmla="*/ 0 h 24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4"/>
                      <a:gd name="T22" fmla="*/ 0 h 24"/>
                      <a:gd name="T23" fmla="*/ 14 w 14"/>
                      <a:gd name="T24" fmla="*/ 24 h 24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4" h="24">
                        <a:moveTo>
                          <a:pt x="14" y="0"/>
                        </a:moveTo>
                        <a:lnTo>
                          <a:pt x="13" y="5"/>
                        </a:lnTo>
                        <a:lnTo>
                          <a:pt x="9" y="12"/>
                        </a:lnTo>
                        <a:lnTo>
                          <a:pt x="5" y="19"/>
                        </a:lnTo>
                        <a:lnTo>
                          <a:pt x="0" y="24"/>
                        </a:lnTo>
                        <a:lnTo>
                          <a:pt x="0" y="16"/>
                        </a:lnTo>
                        <a:lnTo>
                          <a:pt x="0" y="12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51" name="Line 125">
                    <a:extLst>
                      <a:ext uri="{FF2B5EF4-FFF2-40B4-BE49-F238E27FC236}">
                        <a16:creationId xmlns:a16="http://schemas.microsoft.com/office/drawing/2014/main" xmlns="" id="{067D3660-D353-4F07-B061-2A47E730C24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981" y="2559"/>
                    <a:ext cx="2" cy="1"/>
                  </a:xfrm>
                  <a:prstGeom prst="line">
                    <a:avLst/>
                  </a:prstGeom>
                  <a:grpFill/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52" name="Freeform 126">
                    <a:extLst>
                      <a:ext uri="{FF2B5EF4-FFF2-40B4-BE49-F238E27FC236}">
                        <a16:creationId xmlns:a16="http://schemas.microsoft.com/office/drawing/2014/main" xmlns="" id="{476C05E6-0E9C-4809-B9FC-C8952594383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7" y="2572"/>
                    <a:ext cx="4" cy="3"/>
                  </a:xfrm>
                  <a:custGeom>
                    <a:avLst/>
                    <a:gdLst>
                      <a:gd name="T0" fmla="*/ 0 w 13"/>
                      <a:gd name="T1" fmla="*/ 0 h 12"/>
                      <a:gd name="T2" fmla="*/ 0 w 13"/>
                      <a:gd name="T3" fmla="*/ 0 h 12"/>
                      <a:gd name="T4" fmla="*/ 0 w 13"/>
                      <a:gd name="T5" fmla="*/ 0 h 12"/>
                      <a:gd name="T6" fmla="*/ 0 60000 65536"/>
                      <a:gd name="T7" fmla="*/ 0 60000 65536"/>
                      <a:gd name="T8" fmla="*/ 0 60000 65536"/>
                      <a:gd name="T9" fmla="*/ 0 w 13"/>
                      <a:gd name="T10" fmla="*/ 0 h 12"/>
                      <a:gd name="T11" fmla="*/ 13 w 13"/>
                      <a:gd name="T12" fmla="*/ 12 h 1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3" h="12">
                        <a:moveTo>
                          <a:pt x="13" y="12"/>
                        </a:moveTo>
                        <a:lnTo>
                          <a:pt x="0" y="0"/>
                        </a:lnTo>
                        <a:lnTo>
                          <a:pt x="13" y="12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53" name="Freeform 127">
                    <a:extLst>
                      <a:ext uri="{FF2B5EF4-FFF2-40B4-BE49-F238E27FC236}">
                        <a16:creationId xmlns:a16="http://schemas.microsoft.com/office/drawing/2014/main" xmlns="" id="{1F281FFF-D9E4-466B-BEBD-05185D3D9A0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81" y="2585"/>
                    <a:ext cx="2" cy="6"/>
                  </a:xfrm>
                  <a:custGeom>
                    <a:avLst/>
                    <a:gdLst>
                      <a:gd name="T0" fmla="*/ 0 w 7"/>
                      <a:gd name="T1" fmla="*/ 0 h 19"/>
                      <a:gd name="T2" fmla="*/ 0 w 7"/>
                      <a:gd name="T3" fmla="*/ 0 h 19"/>
                      <a:gd name="T4" fmla="*/ 0 w 7"/>
                      <a:gd name="T5" fmla="*/ 0 h 19"/>
                      <a:gd name="T6" fmla="*/ 0 w 7"/>
                      <a:gd name="T7" fmla="*/ 0 h 19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7"/>
                      <a:gd name="T13" fmla="*/ 0 h 19"/>
                      <a:gd name="T14" fmla="*/ 7 w 7"/>
                      <a:gd name="T15" fmla="*/ 19 h 19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7" h="19">
                        <a:moveTo>
                          <a:pt x="0" y="0"/>
                        </a:moveTo>
                        <a:lnTo>
                          <a:pt x="0" y="19"/>
                        </a:lnTo>
                        <a:lnTo>
                          <a:pt x="0" y="0"/>
                        </a:lnTo>
                        <a:lnTo>
                          <a:pt x="7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54" name="Line 128">
                    <a:extLst>
                      <a:ext uri="{FF2B5EF4-FFF2-40B4-BE49-F238E27FC236}">
                        <a16:creationId xmlns:a16="http://schemas.microsoft.com/office/drawing/2014/main" xmlns="" id="{0193DB28-7EFA-40FC-8571-8630B0B1E1D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981" y="2599"/>
                    <a:ext cx="1" cy="4"/>
                  </a:xfrm>
                  <a:prstGeom prst="line">
                    <a:avLst/>
                  </a:prstGeom>
                  <a:grpFill/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55" name="Freeform 129">
                    <a:extLst>
                      <a:ext uri="{FF2B5EF4-FFF2-40B4-BE49-F238E27FC236}">
                        <a16:creationId xmlns:a16="http://schemas.microsoft.com/office/drawing/2014/main" xmlns="" id="{DB6D3DA4-903D-4720-B938-A94C2090B88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0" y="2545"/>
                    <a:ext cx="2" cy="6"/>
                  </a:xfrm>
                  <a:custGeom>
                    <a:avLst/>
                    <a:gdLst>
                      <a:gd name="T0" fmla="*/ 0 w 8"/>
                      <a:gd name="T1" fmla="*/ 0 h 18"/>
                      <a:gd name="T2" fmla="*/ 0 w 8"/>
                      <a:gd name="T3" fmla="*/ 0 h 18"/>
                      <a:gd name="T4" fmla="*/ 0 w 8"/>
                      <a:gd name="T5" fmla="*/ 0 h 18"/>
                      <a:gd name="T6" fmla="*/ 0 w 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8"/>
                      <a:gd name="T13" fmla="*/ 0 h 18"/>
                      <a:gd name="T14" fmla="*/ 8 w 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8" h="18">
                        <a:moveTo>
                          <a:pt x="0" y="18"/>
                        </a:moveTo>
                        <a:lnTo>
                          <a:pt x="8" y="6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56" name="Freeform 130">
                    <a:extLst>
                      <a:ext uri="{FF2B5EF4-FFF2-40B4-BE49-F238E27FC236}">
                        <a16:creationId xmlns:a16="http://schemas.microsoft.com/office/drawing/2014/main" xmlns="" id="{39ECA15E-5A37-4951-BB42-B44BFBDB884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68" y="2532"/>
                    <a:ext cx="2" cy="7"/>
                  </a:xfrm>
                  <a:custGeom>
                    <a:avLst/>
                    <a:gdLst>
                      <a:gd name="T0" fmla="*/ 0 w 6"/>
                      <a:gd name="T1" fmla="*/ 0 h 19"/>
                      <a:gd name="T2" fmla="*/ 0 w 6"/>
                      <a:gd name="T3" fmla="*/ 0 h 19"/>
                      <a:gd name="T4" fmla="*/ 0 w 6"/>
                      <a:gd name="T5" fmla="*/ 0 h 19"/>
                      <a:gd name="T6" fmla="*/ 0 60000 65536"/>
                      <a:gd name="T7" fmla="*/ 0 60000 65536"/>
                      <a:gd name="T8" fmla="*/ 0 60000 65536"/>
                      <a:gd name="T9" fmla="*/ 0 w 6"/>
                      <a:gd name="T10" fmla="*/ 0 h 19"/>
                      <a:gd name="T11" fmla="*/ 6 w 6"/>
                      <a:gd name="T12" fmla="*/ 19 h 1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6" h="19">
                        <a:moveTo>
                          <a:pt x="0" y="0"/>
                        </a:moveTo>
                        <a:lnTo>
                          <a:pt x="0" y="19"/>
                        </a:lnTo>
                        <a:lnTo>
                          <a:pt x="6" y="13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57" name="Freeform 131">
                    <a:extLst>
                      <a:ext uri="{FF2B5EF4-FFF2-40B4-BE49-F238E27FC236}">
                        <a16:creationId xmlns:a16="http://schemas.microsoft.com/office/drawing/2014/main" xmlns="" id="{0E894CD2-AF29-437F-BB10-A8A546E1819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65" y="2513"/>
                    <a:ext cx="10" cy="5"/>
                  </a:xfrm>
                  <a:custGeom>
                    <a:avLst/>
                    <a:gdLst>
                      <a:gd name="T0" fmla="*/ 0 w 28"/>
                      <a:gd name="T1" fmla="*/ 0 h 19"/>
                      <a:gd name="T2" fmla="*/ 0 w 28"/>
                      <a:gd name="T3" fmla="*/ 0 h 19"/>
                      <a:gd name="T4" fmla="*/ 0 w 28"/>
                      <a:gd name="T5" fmla="*/ 0 h 19"/>
                      <a:gd name="T6" fmla="*/ 0 60000 65536"/>
                      <a:gd name="T7" fmla="*/ 0 60000 65536"/>
                      <a:gd name="T8" fmla="*/ 0 60000 65536"/>
                      <a:gd name="T9" fmla="*/ 0 w 28"/>
                      <a:gd name="T10" fmla="*/ 0 h 19"/>
                      <a:gd name="T11" fmla="*/ 28 w 28"/>
                      <a:gd name="T12" fmla="*/ 19 h 1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8" h="19">
                        <a:moveTo>
                          <a:pt x="0" y="0"/>
                        </a:moveTo>
                        <a:lnTo>
                          <a:pt x="0" y="19"/>
                        </a:lnTo>
                        <a:lnTo>
                          <a:pt x="28" y="19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58" name="Freeform 132">
                    <a:extLst>
                      <a:ext uri="{FF2B5EF4-FFF2-40B4-BE49-F238E27FC236}">
                        <a16:creationId xmlns:a16="http://schemas.microsoft.com/office/drawing/2014/main" xmlns="" id="{EA11951B-3FAD-4420-8B3A-0AC1B2B7037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0" y="2513"/>
                    <a:ext cx="5" cy="5"/>
                  </a:xfrm>
                  <a:custGeom>
                    <a:avLst/>
                    <a:gdLst>
                      <a:gd name="T0" fmla="*/ 0 w 15"/>
                      <a:gd name="T1" fmla="*/ 0 h 19"/>
                      <a:gd name="T2" fmla="*/ 0 w 15"/>
                      <a:gd name="T3" fmla="*/ 0 h 19"/>
                      <a:gd name="T4" fmla="*/ 0 w 15"/>
                      <a:gd name="T5" fmla="*/ 0 h 19"/>
                      <a:gd name="T6" fmla="*/ 0 60000 65536"/>
                      <a:gd name="T7" fmla="*/ 0 60000 65536"/>
                      <a:gd name="T8" fmla="*/ 0 60000 65536"/>
                      <a:gd name="T9" fmla="*/ 0 w 15"/>
                      <a:gd name="T10" fmla="*/ 0 h 19"/>
                      <a:gd name="T11" fmla="*/ 15 w 15"/>
                      <a:gd name="T12" fmla="*/ 19 h 1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5" h="19">
                        <a:moveTo>
                          <a:pt x="15" y="19"/>
                        </a:moveTo>
                        <a:lnTo>
                          <a:pt x="8" y="9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59" name="Freeform 133">
                    <a:extLst>
                      <a:ext uri="{FF2B5EF4-FFF2-40B4-BE49-F238E27FC236}">
                        <a16:creationId xmlns:a16="http://schemas.microsoft.com/office/drawing/2014/main" xmlns="" id="{A2EC3A63-69E8-4CB0-977A-4395CF07D45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5" y="2658"/>
                    <a:ext cx="6" cy="6"/>
                  </a:xfrm>
                  <a:custGeom>
                    <a:avLst/>
                    <a:gdLst>
                      <a:gd name="T0" fmla="*/ 0 w 19"/>
                      <a:gd name="T1" fmla="*/ 0 h 20"/>
                      <a:gd name="T2" fmla="*/ 0 w 19"/>
                      <a:gd name="T3" fmla="*/ 0 h 20"/>
                      <a:gd name="T4" fmla="*/ 0 w 19"/>
                      <a:gd name="T5" fmla="*/ 0 h 20"/>
                      <a:gd name="T6" fmla="*/ 0 w 19"/>
                      <a:gd name="T7" fmla="*/ 0 h 20"/>
                      <a:gd name="T8" fmla="*/ 0 w 19"/>
                      <a:gd name="T9" fmla="*/ 0 h 20"/>
                      <a:gd name="T10" fmla="*/ 0 w 19"/>
                      <a:gd name="T11" fmla="*/ 0 h 20"/>
                      <a:gd name="T12" fmla="*/ 0 w 19"/>
                      <a:gd name="T13" fmla="*/ 0 h 20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9"/>
                      <a:gd name="T22" fmla="*/ 0 h 20"/>
                      <a:gd name="T23" fmla="*/ 19 w 19"/>
                      <a:gd name="T24" fmla="*/ 20 h 20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9" h="20">
                        <a:moveTo>
                          <a:pt x="0" y="0"/>
                        </a:moveTo>
                        <a:lnTo>
                          <a:pt x="0" y="20"/>
                        </a:lnTo>
                        <a:lnTo>
                          <a:pt x="19" y="14"/>
                        </a:lnTo>
                        <a:lnTo>
                          <a:pt x="14" y="8"/>
                        </a:lnTo>
                        <a:lnTo>
                          <a:pt x="10" y="4"/>
                        </a:lnTo>
                        <a:lnTo>
                          <a:pt x="4" y="1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60" name="Freeform 134">
                    <a:extLst>
                      <a:ext uri="{FF2B5EF4-FFF2-40B4-BE49-F238E27FC236}">
                        <a16:creationId xmlns:a16="http://schemas.microsoft.com/office/drawing/2014/main" xmlns="" id="{16102914-F4FF-4FE6-AAC3-C8D2EBE2A78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5" y="2644"/>
                    <a:ext cx="6" cy="4"/>
                  </a:xfrm>
                  <a:custGeom>
                    <a:avLst/>
                    <a:gdLst>
                      <a:gd name="T0" fmla="*/ 0 w 19"/>
                      <a:gd name="T1" fmla="*/ 0 h 12"/>
                      <a:gd name="T2" fmla="*/ 0 w 19"/>
                      <a:gd name="T3" fmla="*/ 0 h 12"/>
                      <a:gd name="T4" fmla="*/ 0 w 19"/>
                      <a:gd name="T5" fmla="*/ 0 h 12"/>
                      <a:gd name="T6" fmla="*/ 0 w 19"/>
                      <a:gd name="T7" fmla="*/ 0 h 12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9"/>
                      <a:gd name="T13" fmla="*/ 0 h 12"/>
                      <a:gd name="T14" fmla="*/ 19 w 19"/>
                      <a:gd name="T15" fmla="*/ 12 h 12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9" h="12">
                        <a:moveTo>
                          <a:pt x="13" y="12"/>
                        </a:moveTo>
                        <a:lnTo>
                          <a:pt x="19" y="0"/>
                        </a:lnTo>
                        <a:lnTo>
                          <a:pt x="0" y="0"/>
                        </a:lnTo>
                        <a:lnTo>
                          <a:pt x="13" y="12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61" name="Freeform 135">
                    <a:extLst>
                      <a:ext uri="{FF2B5EF4-FFF2-40B4-BE49-F238E27FC236}">
                        <a16:creationId xmlns:a16="http://schemas.microsoft.com/office/drawing/2014/main" xmlns="" id="{A1997C42-65F1-4881-9EDB-42AFA80936B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5" y="2637"/>
                    <a:ext cx="6" cy="1"/>
                  </a:xfrm>
                  <a:custGeom>
                    <a:avLst/>
                    <a:gdLst>
                      <a:gd name="T0" fmla="*/ 0 w 19"/>
                      <a:gd name="T1" fmla="*/ 0 h 1"/>
                      <a:gd name="T2" fmla="*/ 0 w 19"/>
                      <a:gd name="T3" fmla="*/ 0 h 1"/>
                      <a:gd name="T4" fmla="*/ 0 w 19"/>
                      <a:gd name="T5" fmla="*/ 0 h 1"/>
                      <a:gd name="T6" fmla="*/ 0 w 19"/>
                      <a:gd name="T7" fmla="*/ 0 h 1"/>
                      <a:gd name="T8" fmla="*/ 0 w 19"/>
                      <a:gd name="T9" fmla="*/ 0 h 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9"/>
                      <a:gd name="T16" fmla="*/ 0 h 1"/>
                      <a:gd name="T17" fmla="*/ 19 w 19"/>
                      <a:gd name="T18" fmla="*/ 1 h 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9" h="1">
                        <a:moveTo>
                          <a:pt x="0" y="0"/>
                        </a:moveTo>
                        <a:lnTo>
                          <a:pt x="10" y="0"/>
                        </a:lnTo>
                        <a:lnTo>
                          <a:pt x="19" y="0"/>
                        </a:lnTo>
                        <a:lnTo>
                          <a:pt x="10" y="0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62" name="Rectangle 136">
                    <a:extLst>
                      <a:ext uri="{FF2B5EF4-FFF2-40B4-BE49-F238E27FC236}">
                        <a16:creationId xmlns:a16="http://schemas.microsoft.com/office/drawing/2014/main" xmlns="" id="{082EA49A-9117-468B-B6CE-8E0A7640524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975" y="2632"/>
                    <a:ext cx="8" cy="2"/>
                  </a:xfrm>
                  <a:prstGeom prst="rect">
                    <a:avLst/>
                  </a:prstGeom>
                  <a:grpFill/>
                  <a:ln w="9525">
                    <a:solidFill>
                      <a:srgbClr val="FFFFFF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lvl1pPr>
                      <a:spcBef>
                        <a:spcPct val="20000"/>
                      </a:spcBef>
                      <a:buChar char="•"/>
                      <a:defRPr sz="32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spcBef>
                        <a:spcPct val="20000"/>
                      </a:spcBef>
                      <a:buChar char="–"/>
                      <a:defRPr sz="28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spcBef>
                        <a:spcPct val="20000"/>
                      </a:spcBef>
                      <a:buChar char="•"/>
                      <a:defRPr sz="24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spcBef>
                        <a:spcPct val="20000"/>
                      </a:spcBef>
                      <a:buChar char="–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spcBef>
                        <a:spcPct val="20000"/>
                      </a:spcBef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defTabSz="914378" fontAlgn="base">
                      <a:spcBef>
                        <a:spcPct val="0"/>
                      </a:spcBef>
                      <a:spcAft>
                        <a:spcPct val="0"/>
                      </a:spcAft>
                      <a:buNone/>
                      <a:defRPr/>
                    </a:pPr>
                    <a:endParaRPr lang="es-ES" altLang="es-ES" sz="18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563" name="Line 137">
                    <a:extLst>
                      <a:ext uri="{FF2B5EF4-FFF2-40B4-BE49-F238E27FC236}">
                        <a16:creationId xmlns:a16="http://schemas.microsoft.com/office/drawing/2014/main" xmlns="" id="{830C2A75-A7AA-49AB-9092-D4C1FDFE164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972" y="2595"/>
                    <a:ext cx="5" cy="4"/>
                  </a:xfrm>
                  <a:prstGeom prst="line">
                    <a:avLst/>
                  </a:prstGeom>
                  <a:grpFill/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64" name="Freeform 138">
                    <a:extLst>
                      <a:ext uri="{FF2B5EF4-FFF2-40B4-BE49-F238E27FC236}">
                        <a16:creationId xmlns:a16="http://schemas.microsoft.com/office/drawing/2014/main" xmlns="" id="{D507B578-0CF8-41BB-BEC8-6ACB2E38A68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5" y="2595"/>
                    <a:ext cx="2" cy="1"/>
                  </a:xfrm>
                  <a:custGeom>
                    <a:avLst/>
                    <a:gdLst>
                      <a:gd name="T0" fmla="*/ 0 w 6"/>
                      <a:gd name="T1" fmla="*/ 0 h 3"/>
                      <a:gd name="T2" fmla="*/ 0 w 6"/>
                      <a:gd name="T3" fmla="*/ 0 h 3"/>
                      <a:gd name="T4" fmla="*/ 0 w 6"/>
                      <a:gd name="T5" fmla="*/ 0 h 3"/>
                      <a:gd name="T6" fmla="*/ 0 w 6"/>
                      <a:gd name="T7" fmla="*/ 0 h 3"/>
                      <a:gd name="T8" fmla="*/ 0 w 6"/>
                      <a:gd name="T9" fmla="*/ 0 h 3"/>
                      <a:gd name="T10" fmla="*/ 0 w 6"/>
                      <a:gd name="T11" fmla="*/ 0 h 3"/>
                      <a:gd name="T12" fmla="*/ 0 w 6"/>
                      <a:gd name="T13" fmla="*/ 0 h 3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6"/>
                      <a:gd name="T22" fmla="*/ 0 h 3"/>
                      <a:gd name="T23" fmla="*/ 6 w 6"/>
                      <a:gd name="T24" fmla="*/ 3 h 3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6" h="3">
                        <a:moveTo>
                          <a:pt x="6" y="0"/>
                        </a:moveTo>
                        <a:lnTo>
                          <a:pt x="5" y="1"/>
                        </a:lnTo>
                        <a:lnTo>
                          <a:pt x="3" y="2"/>
                        </a:lnTo>
                        <a:lnTo>
                          <a:pt x="1" y="3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65" name="Freeform 139">
                    <a:extLst>
                      <a:ext uri="{FF2B5EF4-FFF2-40B4-BE49-F238E27FC236}">
                        <a16:creationId xmlns:a16="http://schemas.microsoft.com/office/drawing/2014/main" xmlns="" id="{C87DBF56-AC1D-4A7B-8C8F-EBC76A6A8C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81" y="2555"/>
                    <a:ext cx="5" cy="8"/>
                  </a:xfrm>
                  <a:custGeom>
                    <a:avLst/>
                    <a:gdLst>
                      <a:gd name="T0" fmla="*/ 0 w 14"/>
                      <a:gd name="T1" fmla="*/ 0 h 24"/>
                      <a:gd name="T2" fmla="*/ 0 w 14"/>
                      <a:gd name="T3" fmla="*/ 0 h 24"/>
                      <a:gd name="T4" fmla="*/ 0 w 14"/>
                      <a:gd name="T5" fmla="*/ 0 h 24"/>
                      <a:gd name="T6" fmla="*/ 0 w 14"/>
                      <a:gd name="T7" fmla="*/ 0 h 24"/>
                      <a:gd name="T8" fmla="*/ 0 w 14"/>
                      <a:gd name="T9" fmla="*/ 0 h 24"/>
                      <a:gd name="T10" fmla="*/ 0 w 14"/>
                      <a:gd name="T11" fmla="*/ 0 h 24"/>
                      <a:gd name="T12" fmla="*/ 0 w 14"/>
                      <a:gd name="T13" fmla="*/ 0 h 24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4"/>
                      <a:gd name="T22" fmla="*/ 0 h 24"/>
                      <a:gd name="T23" fmla="*/ 14 w 14"/>
                      <a:gd name="T24" fmla="*/ 24 h 24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4" h="24">
                        <a:moveTo>
                          <a:pt x="14" y="0"/>
                        </a:moveTo>
                        <a:lnTo>
                          <a:pt x="13" y="5"/>
                        </a:lnTo>
                        <a:lnTo>
                          <a:pt x="9" y="12"/>
                        </a:lnTo>
                        <a:lnTo>
                          <a:pt x="5" y="19"/>
                        </a:lnTo>
                        <a:lnTo>
                          <a:pt x="0" y="24"/>
                        </a:lnTo>
                        <a:lnTo>
                          <a:pt x="0" y="16"/>
                        </a:lnTo>
                        <a:lnTo>
                          <a:pt x="0" y="12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66" name="Line 140">
                    <a:extLst>
                      <a:ext uri="{FF2B5EF4-FFF2-40B4-BE49-F238E27FC236}">
                        <a16:creationId xmlns:a16="http://schemas.microsoft.com/office/drawing/2014/main" xmlns="" id="{72C7390B-C52F-492B-8721-B19091A6595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981" y="2559"/>
                    <a:ext cx="2" cy="1"/>
                  </a:xfrm>
                  <a:prstGeom prst="line">
                    <a:avLst/>
                  </a:prstGeom>
                  <a:grpFill/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67" name="Freeform 141">
                    <a:extLst>
                      <a:ext uri="{FF2B5EF4-FFF2-40B4-BE49-F238E27FC236}">
                        <a16:creationId xmlns:a16="http://schemas.microsoft.com/office/drawing/2014/main" xmlns="" id="{A371CC9B-509D-4F10-BE69-3746D8725DA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7" y="2572"/>
                    <a:ext cx="4" cy="3"/>
                  </a:xfrm>
                  <a:custGeom>
                    <a:avLst/>
                    <a:gdLst>
                      <a:gd name="T0" fmla="*/ 0 w 13"/>
                      <a:gd name="T1" fmla="*/ 0 h 12"/>
                      <a:gd name="T2" fmla="*/ 0 w 13"/>
                      <a:gd name="T3" fmla="*/ 0 h 12"/>
                      <a:gd name="T4" fmla="*/ 0 w 13"/>
                      <a:gd name="T5" fmla="*/ 0 h 12"/>
                      <a:gd name="T6" fmla="*/ 0 60000 65536"/>
                      <a:gd name="T7" fmla="*/ 0 60000 65536"/>
                      <a:gd name="T8" fmla="*/ 0 60000 65536"/>
                      <a:gd name="T9" fmla="*/ 0 w 13"/>
                      <a:gd name="T10" fmla="*/ 0 h 12"/>
                      <a:gd name="T11" fmla="*/ 13 w 13"/>
                      <a:gd name="T12" fmla="*/ 12 h 1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3" h="12">
                        <a:moveTo>
                          <a:pt x="13" y="12"/>
                        </a:moveTo>
                        <a:lnTo>
                          <a:pt x="0" y="0"/>
                        </a:lnTo>
                        <a:lnTo>
                          <a:pt x="13" y="12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68" name="Freeform 142">
                    <a:extLst>
                      <a:ext uri="{FF2B5EF4-FFF2-40B4-BE49-F238E27FC236}">
                        <a16:creationId xmlns:a16="http://schemas.microsoft.com/office/drawing/2014/main" xmlns="" id="{52F9D6E8-8CF0-4452-BAE3-ED855B1276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81" y="2585"/>
                    <a:ext cx="2" cy="6"/>
                  </a:xfrm>
                  <a:custGeom>
                    <a:avLst/>
                    <a:gdLst>
                      <a:gd name="T0" fmla="*/ 0 w 7"/>
                      <a:gd name="T1" fmla="*/ 0 h 19"/>
                      <a:gd name="T2" fmla="*/ 0 w 7"/>
                      <a:gd name="T3" fmla="*/ 0 h 19"/>
                      <a:gd name="T4" fmla="*/ 0 w 7"/>
                      <a:gd name="T5" fmla="*/ 0 h 19"/>
                      <a:gd name="T6" fmla="*/ 0 w 7"/>
                      <a:gd name="T7" fmla="*/ 0 h 19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7"/>
                      <a:gd name="T13" fmla="*/ 0 h 19"/>
                      <a:gd name="T14" fmla="*/ 7 w 7"/>
                      <a:gd name="T15" fmla="*/ 19 h 19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7" h="19">
                        <a:moveTo>
                          <a:pt x="0" y="0"/>
                        </a:moveTo>
                        <a:lnTo>
                          <a:pt x="0" y="19"/>
                        </a:lnTo>
                        <a:lnTo>
                          <a:pt x="0" y="0"/>
                        </a:lnTo>
                        <a:lnTo>
                          <a:pt x="7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69" name="Line 143">
                    <a:extLst>
                      <a:ext uri="{FF2B5EF4-FFF2-40B4-BE49-F238E27FC236}">
                        <a16:creationId xmlns:a16="http://schemas.microsoft.com/office/drawing/2014/main" xmlns="" id="{60C2573B-8B4C-474E-A3A0-FB099D155AC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981" y="2599"/>
                    <a:ext cx="1" cy="4"/>
                  </a:xfrm>
                  <a:prstGeom prst="line">
                    <a:avLst/>
                  </a:prstGeom>
                  <a:grpFill/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70" name="Freeform 144">
                    <a:extLst>
                      <a:ext uri="{FF2B5EF4-FFF2-40B4-BE49-F238E27FC236}">
                        <a16:creationId xmlns:a16="http://schemas.microsoft.com/office/drawing/2014/main" xmlns="" id="{1ECC3112-8029-48D3-A1EC-7740118FB59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0" y="2545"/>
                    <a:ext cx="2" cy="6"/>
                  </a:xfrm>
                  <a:custGeom>
                    <a:avLst/>
                    <a:gdLst>
                      <a:gd name="T0" fmla="*/ 0 w 8"/>
                      <a:gd name="T1" fmla="*/ 0 h 18"/>
                      <a:gd name="T2" fmla="*/ 0 w 8"/>
                      <a:gd name="T3" fmla="*/ 0 h 18"/>
                      <a:gd name="T4" fmla="*/ 0 w 8"/>
                      <a:gd name="T5" fmla="*/ 0 h 18"/>
                      <a:gd name="T6" fmla="*/ 0 w 8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8"/>
                      <a:gd name="T13" fmla="*/ 0 h 18"/>
                      <a:gd name="T14" fmla="*/ 8 w 8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8" h="18">
                        <a:moveTo>
                          <a:pt x="0" y="18"/>
                        </a:moveTo>
                        <a:lnTo>
                          <a:pt x="8" y="6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71" name="Freeform 145">
                    <a:extLst>
                      <a:ext uri="{FF2B5EF4-FFF2-40B4-BE49-F238E27FC236}">
                        <a16:creationId xmlns:a16="http://schemas.microsoft.com/office/drawing/2014/main" xmlns="" id="{1755707F-F8FA-4EF7-A10F-688C5EC2274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68" y="2532"/>
                    <a:ext cx="2" cy="7"/>
                  </a:xfrm>
                  <a:custGeom>
                    <a:avLst/>
                    <a:gdLst>
                      <a:gd name="T0" fmla="*/ 0 w 6"/>
                      <a:gd name="T1" fmla="*/ 0 h 19"/>
                      <a:gd name="T2" fmla="*/ 0 w 6"/>
                      <a:gd name="T3" fmla="*/ 0 h 19"/>
                      <a:gd name="T4" fmla="*/ 0 w 6"/>
                      <a:gd name="T5" fmla="*/ 0 h 19"/>
                      <a:gd name="T6" fmla="*/ 0 60000 65536"/>
                      <a:gd name="T7" fmla="*/ 0 60000 65536"/>
                      <a:gd name="T8" fmla="*/ 0 60000 65536"/>
                      <a:gd name="T9" fmla="*/ 0 w 6"/>
                      <a:gd name="T10" fmla="*/ 0 h 19"/>
                      <a:gd name="T11" fmla="*/ 6 w 6"/>
                      <a:gd name="T12" fmla="*/ 19 h 1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6" h="19">
                        <a:moveTo>
                          <a:pt x="0" y="0"/>
                        </a:moveTo>
                        <a:lnTo>
                          <a:pt x="0" y="19"/>
                        </a:lnTo>
                        <a:lnTo>
                          <a:pt x="6" y="13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72" name="Freeform 146">
                    <a:extLst>
                      <a:ext uri="{FF2B5EF4-FFF2-40B4-BE49-F238E27FC236}">
                        <a16:creationId xmlns:a16="http://schemas.microsoft.com/office/drawing/2014/main" xmlns="" id="{8439E127-E678-4CC8-B9C2-D4FDC255DCA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65" y="2513"/>
                    <a:ext cx="10" cy="5"/>
                  </a:xfrm>
                  <a:custGeom>
                    <a:avLst/>
                    <a:gdLst>
                      <a:gd name="T0" fmla="*/ 0 w 28"/>
                      <a:gd name="T1" fmla="*/ 0 h 19"/>
                      <a:gd name="T2" fmla="*/ 0 w 28"/>
                      <a:gd name="T3" fmla="*/ 0 h 19"/>
                      <a:gd name="T4" fmla="*/ 0 w 28"/>
                      <a:gd name="T5" fmla="*/ 0 h 19"/>
                      <a:gd name="T6" fmla="*/ 0 60000 65536"/>
                      <a:gd name="T7" fmla="*/ 0 60000 65536"/>
                      <a:gd name="T8" fmla="*/ 0 60000 65536"/>
                      <a:gd name="T9" fmla="*/ 0 w 28"/>
                      <a:gd name="T10" fmla="*/ 0 h 19"/>
                      <a:gd name="T11" fmla="*/ 28 w 28"/>
                      <a:gd name="T12" fmla="*/ 19 h 1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8" h="19">
                        <a:moveTo>
                          <a:pt x="0" y="0"/>
                        </a:moveTo>
                        <a:lnTo>
                          <a:pt x="0" y="19"/>
                        </a:lnTo>
                        <a:lnTo>
                          <a:pt x="28" y="19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73" name="Freeform 147">
                    <a:extLst>
                      <a:ext uri="{FF2B5EF4-FFF2-40B4-BE49-F238E27FC236}">
                        <a16:creationId xmlns:a16="http://schemas.microsoft.com/office/drawing/2014/main" xmlns="" id="{DEAAA6FA-15BE-4989-86A5-091E47F86C6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0" y="2513"/>
                    <a:ext cx="5" cy="5"/>
                  </a:xfrm>
                  <a:custGeom>
                    <a:avLst/>
                    <a:gdLst>
                      <a:gd name="T0" fmla="*/ 0 w 15"/>
                      <a:gd name="T1" fmla="*/ 0 h 19"/>
                      <a:gd name="T2" fmla="*/ 0 w 15"/>
                      <a:gd name="T3" fmla="*/ 0 h 19"/>
                      <a:gd name="T4" fmla="*/ 0 w 15"/>
                      <a:gd name="T5" fmla="*/ 0 h 19"/>
                      <a:gd name="T6" fmla="*/ 0 60000 65536"/>
                      <a:gd name="T7" fmla="*/ 0 60000 65536"/>
                      <a:gd name="T8" fmla="*/ 0 60000 65536"/>
                      <a:gd name="T9" fmla="*/ 0 w 15"/>
                      <a:gd name="T10" fmla="*/ 0 h 19"/>
                      <a:gd name="T11" fmla="*/ 15 w 15"/>
                      <a:gd name="T12" fmla="*/ 19 h 1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5" h="19">
                        <a:moveTo>
                          <a:pt x="15" y="19"/>
                        </a:moveTo>
                        <a:lnTo>
                          <a:pt x="8" y="9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74" name="Freeform 148">
                    <a:extLst>
                      <a:ext uri="{FF2B5EF4-FFF2-40B4-BE49-F238E27FC236}">
                        <a16:creationId xmlns:a16="http://schemas.microsoft.com/office/drawing/2014/main" xmlns="" id="{51C5B658-393D-4F3E-A806-EAE3E52CB2C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50" y="2430"/>
                    <a:ext cx="7" cy="6"/>
                  </a:xfrm>
                  <a:custGeom>
                    <a:avLst/>
                    <a:gdLst>
                      <a:gd name="T0" fmla="*/ 0 w 20"/>
                      <a:gd name="T1" fmla="*/ 0 h 18"/>
                      <a:gd name="T2" fmla="*/ 0 w 20"/>
                      <a:gd name="T3" fmla="*/ 0 h 18"/>
                      <a:gd name="T4" fmla="*/ 0 w 20"/>
                      <a:gd name="T5" fmla="*/ 0 h 18"/>
                      <a:gd name="T6" fmla="*/ 0 w 20"/>
                      <a:gd name="T7" fmla="*/ 0 h 18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20"/>
                      <a:gd name="T13" fmla="*/ 0 h 18"/>
                      <a:gd name="T14" fmla="*/ 20 w 20"/>
                      <a:gd name="T15" fmla="*/ 18 h 18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20" h="18">
                        <a:moveTo>
                          <a:pt x="13" y="18"/>
                        </a:moveTo>
                        <a:lnTo>
                          <a:pt x="20" y="0"/>
                        </a:lnTo>
                        <a:lnTo>
                          <a:pt x="0" y="0"/>
                        </a:lnTo>
                        <a:lnTo>
                          <a:pt x="13" y="18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142" name="Group 149">
                  <a:extLst>
                    <a:ext uri="{FF2B5EF4-FFF2-40B4-BE49-F238E27FC236}">
                      <a16:creationId xmlns:a16="http://schemas.microsoft.com/office/drawing/2014/main" xmlns="" id="{A8E1B80B-2DBB-4999-9A04-6393D0103511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89"/>
                  </p:custDataLst>
                </p:nvPr>
              </p:nvGrpSpPr>
              <p:grpSpPr bwMode="auto">
                <a:xfrm>
                  <a:off x="7870825" y="3810000"/>
                  <a:ext cx="185738" cy="214313"/>
                  <a:chOff x="5486" y="2743"/>
                  <a:chExt cx="137" cy="132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535" name="Freeform 150">
                    <a:extLst>
                      <a:ext uri="{FF2B5EF4-FFF2-40B4-BE49-F238E27FC236}">
                        <a16:creationId xmlns:a16="http://schemas.microsoft.com/office/drawing/2014/main" xmlns="" id="{E058D352-ECA8-404B-980E-FFCE05FBAC7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95" y="2806"/>
                    <a:ext cx="13" cy="28"/>
                  </a:xfrm>
                  <a:custGeom>
                    <a:avLst/>
                    <a:gdLst>
                      <a:gd name="T0" fmla="*/ 0 w 40"/>
                      <a:gd name="T1" fmla="*/ 0 h 87"/>
                      <a:gd name="T2" fmla="*/ 0 w 40"/>
                      <a:gd name="T3" fmla="*/ 0 h 87"/>
                      <a:gd name="T4" fmla="*/ 0 w 40"/>
                      <a:gd name="T5" fmla="*/ 0 h 87"/>
                      <a:gd name="T6" fmla="*/ 0 w 40"/>
                      <a:gd name="T7" fmla="*/ 0 h 87"/>
                      <a:gd name="T8" fmla="*/ 0 w 40"/>
                      <a:gd name="T9" fmla="*/ 0 h 87"/>
                      <a:gd name="T10" fmla="*/ 0 w 40"/>
                      <a:gd name="T11" fmla="*/ 0 h 87"/>
                      <a:gd name="T12" fmla="*/ 0 w 40"/>
                      <a:gd name="T13" fmla="*/ 0 h 87"/>
                      <a:gd name="T14" fmla="*/ 0 w 40"/>
                      <a:gd name="T15" fmla="*/ 0 h 87"/>
                      <a:gd name="T16" fmla="*/ 0 w 40"/>
                      <a:gd name="T17" fmla="*/ 0 h 87"/>
                      <a:gd name="T18" fmla="*/ 0 w 40"/>
                      <a:gd name="T19" fmla="*/ 0 h 87"/>
                      <a:gd name="T20" fmla="*/ 0 w 40"/>
                      <a:gd name="T21" fmla="*/ 0 h 87"/>
                      <a:gd name="T22" fmla="*/ 0 w 40"/>
                      <a:gd name="T23" fmla="*/ 0 h 87"/>
                      <a:gd name="T24" fmla="*/ 0 w 40"/>
                      <a:gd name="T25" fmla="*/ 0 h 87"/>
                      <a:gd name="T26" fmla="*/ 0 w 40"/>
                      <a:gd name="T27" fmla="*/ 0 h 87"/>
                      <a:gd name="T28" fmla="*/ 0 w 40"/>
                      <a:gd name="T29" fmla="*/ 0 h 87"/>
                      <a:gd name="T30" fmla="*/ 0 w 40"/>
                      <a:gd name="T31" fmla="*/ 0 h 87"/>
                      <a:gd name="T32" fmla="*/ 0 w 40"/>
                      <a:gd name="T33" fmla="*/ 0 h 87"/>
                      <a:gd name="T34" fmla="*/ 0 w 40"/>
                      <a:gd name="T35" fmla="*/ 0 h 87"/>
                      <a:gd name="T36" fmla="*/ 0 w 40"/>
                      <a:gd name="T37" fmla="*/ 0 h 87"/>
                      <a:gd name="T38" fmla="*/ 0 w 40"/>
                      <a:gd name="T39" fmla="*/ 0 h 87"/>
                      <a:gd name="T40" fmla="*/ 0 w 40"/>
                      <a:gd name="T41" fmla="*/ 0 h 87"/>
                      <a:gd name="T42" fmla="*/ 0 w 40"/>
                      <a:gd name="T43" fmla="*/ 0 h 87"/>
                      <a:gd name="T44" fmla="*/ 0 w 40"/>
                      <a:gd name="T45" fmla="*/ 0 h 87"/>
                      <a:gd name="T46" fmla="*/ 0 w 40"/>
                      <a:gd name="T47" fmla="*/ 0 h 87"/>
                      <a:gd name="T48" fmla="*/ 0 w 40"/>
                      <a:gd name="T49" fmla="*/ 0 h 87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w 40"/>
                      <a:gd name="T76" fmla="*/ 0 h 87"/>
                      <a:gd name="T77" fmla="*/ 40 w 40"/>
                      <a:gd name="T78" fmla="*/ 87 h 87"/>
                    </a:gdLst>
                    <a:ahLst/>
                    <a:cxnLst>
                      <a:cxn ang="T50">
                        <a:pos x="T0" y="T1"/>
                      </a:cxn>
                      <a:cxn ang="T51">
                        <a:pos x="T2" y="T3"/>
                      </a:cxn>
                      <a:cxn ang="T52">
                        <a:pos x="T4" y="T5"/>
                      </a:cxn>
                      <a:cxn ang="T53">
                        <a:pos x="T6" y="T7"/>
                      </a:cxn>
                      <a:cxn ang="T54">
                        <a:pos x="T8" y="T9"/>
                      </a:cxn>
                      <a:cxn ang="T55">
                        <a:pos x="T10" y="T11"/>
                      </a:cxn>
                      <a:cxn ang="T56">
                        <a:pos x="T12" y="T13"/>
                      </a:cxn>
                      <a:cxn ang="T57">
                        <a:pos x="T14" y="T15"/>
                      </a:cxn>
                      <a:cxn ang="T58">
                        <a:pos x="T16" y="T17"/>
                      </a:cxn>
                      <a:cxn ang="T59">
                        <a:pos x="T18" y="T19"/>
                      </a:cxn>
                      <a:cxn ang="T60">
                        <a:pos x="T20" y="T21"/>
                      </a:cxn>
                      <a:cxn ang="T61">
                        <a:pos x="T22" y="T23"/>
                      </a:cxn>
                      <a:cxn ang="T62">
                        <a:pos x="T24" y="T25"/>
                      </a:cxn>
                      <a:cxn ang="T63">
                        <a:pos x="T26" y="T27"/>
                      </a:cxn>
                      <a:cxn ang="T64">
                        <a:pos x="T28" y="T29"/>
                      </a:cxn>
                      <a:cxn ang="T65">
                        <a:pos x="T30" y="T31"/>
                      </a:cxn>
                      <a:cxn ang="T66">
                        <a:pos x="T32" y="T33"/>
                      </a:cxn>
                      <a:cxn ang="T67">
                        <a:pos x="T34" y="T35"/>
                      </a:cxn>
                      <a:cxn ang="T68">
                        <a:pos x="T36" y="T37"/>
                      </a:cxn>
                      <a:cxn ang="T69">
                        <a:pos x="T38" y="T39"/>
                      </a:cxn>
                      <a:cxn ang="T70">
                        <a:pos x="T40" y="T41"/>
                      </a:cxn>
                      <a:cxn ang="T71">
                        <a:pos x="T42" y="T43"/>
                      </a:cxn>
                      <a:cxn ang="T72">
                        <a:pos x="T44" y="T45"/>
                      </a:cxn>
                      <a:cxn ang="T73">
                        <a:pos x="T46" y="T47"/>
                      </a:cxn>
                      <a:cxn ang="T74">
                        <a:pos x="T48" y="T49"/>
                      </a:cxn>
                    </a:cxnLst>
                    <a:rect l="T75" t="T76" r="T77" b="T78"/>
                    <a:pathLst>
                      <a:path w="40" h="87">
                        <a:moveTo>
                          <a:pt x="0" y="31"/>
                        </a:moveTo>
                        <a:lnTo>
                          <a:pt x="0" y="42"/>
                        </a:lnTo>
                        <a:lnTo>
                          <a:pt x="2" y="51"/>
                        </a:lnTo>
                        <a:lnTo>
                          <a:pt x="5" y="59"/>
                        </a:lnTo>
                        <a:lnTo>
                          <a:pt x="10" y="66"/>
                        </a:lnTo>
                        <a:lnTo>
                          <a:pt x="15" y="72"/>
                        </a:lnTo>
                        <a:lnTo>
                          <a:pt x="22" y="77"/>
                        </a:lnTo>
                        <a:lnTo>
                          <a:pt x="31" y="82"/>
                        </a:lnTo>
                        <a:lnTo>
                          <a:pt x="40" y="87"/>
                        </a:lnTo>
                        <a:lnTo>
                          <a:pt x="35" y="82"/>
                        </a:lnTo>
                        <a:lnTo>
                          <a:pt x="32" y="77"/>
                        </a:lnTo>
                        <a:lnTo>
                          <a:pt x="29" y="71"/>
                        </a:lnTo>
                        <a:lnTo>
                          <a:pt x="26" y="65"/>
                        </a:lnTo>
                        <a:lnTo>
                          <a:pt x="22" y="52"/>
                        </a:lnTo>
                        <a:lnTo>
                          <a:pt x="20" y="39"/>
                        </a:lnTo>
                        <a:lnTo>
                          <a:pt x="18" y="27"/>
                        </a:lnTo>
                        <a:lnTo>
                          <a:pt x="13" y="16"/>
                        </a:lnTo>
                        <a:lnTo>
                          <a:pt x="11" y="11"/>
                        </a:lnTo>
                        <a:lnTo>
                          <a:pt x="8" y="6"/>
                        </a:lnTo>
                        <a:lnTo>
                          <a:pt x="4" y="3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0" y="16"/>
                        </a:lnTo>
                        <a:lnTo>
                          <a:pt x="0" y="23"/>
                        </a:lnTo>
                        <a:lnTo>
                          <a:pt x="0" y="31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36" name="Freeform 151">
                    <a:extLst>
                      <a:ext uri="{FF2B5EF4-FFF2-40B4-BE49-F238E27FC236}">
                        <a16:creationId xmlns:a16="http://schemas.microsoft.com/office/drawing/2014/main" xmlns="" id="{B0E36646-BE24-4545-8CD2-D05B81E3D8A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03" y="2842"/>
                    <a:ext cx="20" cy="12"/>
                  </a:xfrm>
                  <a:custGeom>
                    <a:avLst/>
                    <a:gdLst>
                      <a:gd name="T0" fmla="*/ 0 w 61"/>
                      <a:gd name="T1" fmla="*/ 0 h 37"/>
                      <a:gd name="T2" fmla="*/ 0 w 61"/>
                      <a:gd name="T3" fmla="*/ 0 h 37"/>
                      <a:gd name="T4" fmla="*/ 0 w 61"/>
                      <a:gd name="T5" fmla="*/ 0 h 37"/>
                      <a:gd name="T6" fmla="*/ 0 w 61"/>
                      <a:gd name="T7" fmla="*/ 0 h 37"/>
                      <a:gd name="T8" fmla="*/ 0 w 61"/>
                      <a:gd name="T9" fmla="*/ 0 h 37"/>
                      <a:gd name="T10" fmla="*/ 0 w 61"/>
                      <a:gd name="T11" fmla="*/ 0 h 37"/>
                      <a:gd name="T12" fmla="*/ 0 w 61"/>
                      <a:gd name="T13" fmla="*/ 0 h 37"/>
                      <a:gd name="T14" fmla="*/ 0 w 61"/>
                      <a:gd name="T15" fmla="*/ 0 h 37"/>
                      <a:gd name="T16" fmla="*/ 0 w 61"/>
                      <a:gd name="T17" fmla="*/ 0 h 37"/>
                      <a:gd name="T18" fmla="*/ 0 w 61"/>
                      <a:gd name="T19" fmla="*/ 0 h 37"/>
                      <a:gd name="T20" fmla="*/ 0 w 61"/>
                      <a:gd name="T21" fmla="*/ 0 h 37"/>
                      <a:gd name="T22" fmla="*/ 0 w 61"/>
                      <a:gd name="T23" fmla="*/ 0 h 37"/>
                      <a:gd name="T24" fmla="*/ 0 w 61"/>
                      <a:gd name="T25" fmla="*/ 0 h 37"/>
                      <a:gd name="T26" fmla="*/ 0 w 61"/>
                      <a:gd name="T27" fmla="*/ 0 h 37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61"/>
                      <a:gd name="T43" fmla="*/ 0 h 37"/>
                      <a:gd name="T44" fmla="*/ 61 w 61"/>
                      <a:gd name="T45" fmla="*/ 37 h 37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61" h="37">
                        <a:moveTo>
                          <a:pt x="0" y="31"/>
                        </a:moveTo>
                        <a:lnTo>
                          <a:pt x="19" y="32"/>
                        </a:lnTo>
                        <a:lnTo>
                          <a:pt x="35" y="34"/>
                        </a:lnTo>
                        <a:lnTo>
                          <a:pt x="49" y="36"/>
                        </a:lnTo>
                        <a:lnTo>
                          <a:pt x="61" y="37"/>
                        </a:lnTo>
                        <a:lnTo>
                          <a:pt x="55" y="29"/>
                        </a:lnTo>
                        <a:lnTo>
                          <a:pt x="49" y="22"/>
                        </a:lnTo>
                        <a:lnTo>
                          <a:pt x="42" y="17"/>
                        </a:lnTo>
                        <a:lnTo>
                          <a:pt x="35" y="12"/>
                        </a:lnTo>
                        <a:lnTo>
                          <a:pt x="28" y="9"/>
                        </a:lnTo>
                        <a:lnTo>
                          <a:pt x="19" y="5"/>
                        </a:lnTo>
                        <a:lnTo>
                          <a:pt x="10" y="2"/>
                        </a:lnTo>
                        <a:lnTo>
                          <a:pt x="0" y="0"/>
                        </a:lnTo>
                        <a:lnTo>
                          <a:pt x="0" y="31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37" name="Freeform 152">
                    <a:extLst>
                      <a:ext uri="{FF2B5EF4-FFF2-40B4-BE49-F238E27FC236}">
                        <a16:creationId xmlns:a16="http://schemas.microsoft.com/office/drawing/2014/main" xmlns="" id="{7391A50D-6A16-4B6C-B971-1333F0463B8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68" y="2865"/>
                    <a:ext cx="13" cy="10"/>
                  </a:xfrm>
                  <a:custGeom>
                    <a:avLst/>
                    <a:gdLst>
                      <a:gd name="T0" fmla="*/ 0 w 40"/>
                      <a:gd name="T1" fmla="*/ 0 h 30"/>
                      <a:gd name="T2" fmla="*/ 0 w 40"/>
                      <a:gd name="T3" fmla="*/ 0 h 30"/>
                      <a:gd name="T4" fmla="*/ 0 w 40"/>
                      <a:gd name="T5" fmla="*/ 0 h 30"/>
                      <a:gd name="T6" fmla="*/ 0 w 40"/>
                      <a:gd name="T7" fmla="*/ 0 h 30"/>
                      <a:gd name="T8" fmla="*/ 0 w 40"/>
                      <a:gd name="T9" fmla="*/ 0 h 30"/>
                      <a:gd name="T10" fmla="*/ 0 w 40"/>
                      <a:gd name="T11" fmla="*/ 0 h 30"/>
                      <a:gd name="T12" fmla="*/ 0 w 40"/>
                      <a:gd name="T13" fmla="*/ 0 h 30"/>
                      <a:gd name="T14" fmla="*/ 0 w 40"/>
                      <a:gd name="T15" fmla="*/ 0 h 30"/>
                      <a:gd name="T16" fmla="*/ 0 w 40"/>
                      <a:gd name="T17" fmla="*/ 0 h 30"/>
                      <a:gd name="T18" fmla="*/ 0 w 40"/>
                      <a:gd name="T19" fmla="*/ 0 h 30"/>
                      <a:gd name="T20" fmla="*/ 0 w 40"/>
                      <a:gd name="T21" fmla="*/ 0 h 30"/>
                      <a:gd name="T22" fmla="*/ 0 w 40"/>
                      <a:gd name="T23" fmla="*/ 0 h 30"/>
                      <a:gd name="T24" fmla="*/ 0 w 40"/>
                      <a:gd name="T25" fmla="*/ 0 h 30"/>
                      <a:gd name="T26" fmla="*/ 0 w 40"/>
                      <a:gd name="T27" fmla="*/ 0 h 30"/>
                      <a:gd name="T28" fmla="*/ 0 w 40"/>
                      <a:gd name="T29" fmla="*/ 0 h 30"/>
                      <a:gd name="T30" fmla="*/ 0 w 40"/>
                      <a:gd name="T31" fmla="*/ 0 h 30"/>
                      <a:gd name="T32" fmla="*/ 0 w 40"/>
                      <a:gd name="T33" fmla="*/ 0 h 30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40"/>
                      <a:gd name="T52" fmla="*/ 0 h 30"/>
                      <a:gd name="T53" fmla="*/ 40 w 40"/>
                      <a:gd name="T54" fmla="*/ 30 h 30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40" h="30">
                        <a:moveTo>
                          <a:pt x="40" y="30"/>
                        </a:moveTo>
                        <a:lnTo>
                          <a:pt x="33" y="28"/>
                        </a:lnTo>
                        <a:lnTo>
                          <a:pt x="26" y="25"/>
                        </a:lnTo>
                        <a:lnTo>
                          <a:pt x="21" y="22"/>
                        </a:lnTo>
                        <a:lnTo>
                          <a:pt x="15" y="19"/>
                        </a:lnTo>
                        <a:lnTo>
                          <a:pt x="11" y="16"/>
                        </a:lnTo>
                        <a:lnTo>
                          <a:pt x="6" y="11"/>
                        </a:lnTo>
                        <a:lnTo>
                          <a:pt x="3" y="6"/>
                        </a:lnTo>
                        <a:lnTo>
                          <a:pt x="0" y="0"/>
                        </a:lnTo>
                        <a:lnTo>
                          <a:pt x="8" y="2"/>
                        </a:lnTo>
                        <a:lnTo>
                          <a:pt x="15" y="6"/>
                        </a:lnTo>
                        <a:lnTo>
                          <a:pt x="22" y="10"/>
                        </a:lnTo>
                        <a:lnTo>
                          <a:pt x="27" y="15"/>
                        </a:lnTo>
                        <a:lnTo>
                          <a:pt x="33" y="19"/>
                        </a:lnTo>
                        <a:lnTo>
                          <a:pt x="36" y="23"/>
                        </a:lnTo>
                        <a:lnTo>
                          <a:pt x="39" y="27"/>
                        </a:lnTo>
                        <a:lnTo>
                          <a:pt x="40" y="3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38" name="Freeform 153">
                    <a:extLst>
                      <a:ext uri="{FF2B5EF4-FFF2-40B4-BE49-F238E27FC236}">
                        <a16:creationId xmlns:a16="http://schemas.microsoft.com/office/drawing/2014/main" xmlns="" id="{46218BF7-2D2D-45D6-888C-563059977FE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15" y="2789"/>
                    <a:ext cx="24" cy="26"/>
                  </a:xfrm>
                  <a:custGeom>
                    <a:avLst/>
                    <a:gdLst>
                      <a:gd name="T0" fmla="*/ 0 w 74"/>
                      <a:gd name="T1" fmla="*/ 0 h 80"/>
                      <a:gd name="T2" fmla="*/ 0 w 74"/>
                      <a:gd name="T3" fmla="*/ 0 h 80"/>
                      <a:gd name="T4" fmla="*/ 0 w 74"/>
                      <a:gd name="T5" fmla="*/ 0 h 80"/>
                      <a:gd name="T6" fmla="*/ 0 w 74"/>
                      <a:gd name="T7" fmla="*/ 0 h 80"/>
                      <a:gd name="T8" fmla="*/ 0 w 74"/>
                      <a:gd name="T9" fmla="*/ 0 h 80"/>
                      <a:gd name="T10" fmla="*/ 0 w 74"/>
                      <a:gd name="T11" fmla="*/ 0 h 80"/>
                      <a:gd name="T12" fmla="*/ 0 w 74"/>
                      <a:gd name="T13" fmla="*/ 0 h 80"/>
                      <a:gd name="T14" fmla="*/ 0 w 74"/>
                      <a:gd name="T15" fmla="*/ 0 h 80"/>
                      <a:gd name="T16" fmla="*/ 0 w 74"/>
                      <a:gd name="T17" fmla="*/ 0 h 80"/>
                      <a:gd name="T18" fmla="*/ 0 w 74"/>
                      <a:gd name="T19" fmla="*/ 0 h 80"/>
                      <a:gd name="T20" fmla="*/ 0 w 74"/>
                      <a:gd name="T21" fmla="*/ 0 h 80"/>
                      <a:gd name="T22" fmla="*/ 0 w 74"/>
                      <a:gd name="T23" fmla="*/ 0 h 80"/>
                      <a:gd name="T24" fmla="*/ 0 w 74"/>
                      <a:gd name="T25" fmla="*/ 0 h 80"/>
                      <a:gd name="T26" fmla="*/ 0 w 74"/>
                      <a:gd name="T27" fmla="*/ 0 h 80"/>
                      <a:gd name="T28" fmla="*/ 0 w 74"/>
                      <a:gd name="T29" fmla="*/ 0 h 80"/>
                      <a:gd name="T30" fmla="*/ 0 w 74"/>
                      <a:gd name="T31" fmla="*/ 0 h 80"/>
                      <a:gd name="T32" fmla="*/ 0 w 74"/>
                      <a:gd name="T33" fmla="*/ 0 h 80"/>
                      <a:gd name="T34" fmla="*/ 0 w 74"/>
                      <a:gd name="T35" fmla="*/ 0 h 80"/>
                      <a:gd name="T36" fmla="*/ 0 w 74"/>
                      <a:gd name="T37" fmla="*/ 0 h 80"/>
                      <a:gd name="T38" fmla="*/ 0 w 74"/>
                      <a:gd name="T39" fmla="*/ 0 h 80"/>
                      <a:gd name="T40" fmla="*/ 0 w 74"/>
                      <a:gd name="T41" fmla="*/ 0 h 80"/>
                      <a:gd name="T42" fmla="*/ 0 w 74"/>
                      <a:gd name="T43" fmla="*/ 0 h 80"/>
                      <a:gd name="T44" fmla="*/ 0 w 74"/>
                      <a:gd name="T45" fmla="*/ 0 h 80"/>
                      <a:gd name="T46" fmla="*/ 0 w 74"/>
                      <a:gd name="T47" fmla="*/ 0 h 80"/>
                      <a:gd name="T48" fmla="*/ 0 w 74"/>
                      <a:gd name="T49" fmla="*/ 0 h 80"/>
                      <a:gd name="T50" fmla="*/ 0 w 74"/>
                      <a:gd name="T51" fmla="*/ 0 h 80"/>
                      <a:gd name="T52" fmla="*/ 0 w 74"/>
                      <a:gd name="T53" fmla="*/ 0 h 80"/>
                      <a:gd name="T54" fmla="*/ 0 w 74"/>
                      <a:gd name="T55" fmla="*/ 0 h 80"/>
                      <a:gd name="T56" fmla="*/ 0 w 74"/>
                      <a:gd name="T57" fmla="*/ 0 h 80"/>
                      <a:gd name="T58" fmla="*/ 0 w 74"/>
                      <a:gd name="T59" fmla="*/ 0 h 80"/>
                      <a:gd name="T60" fmla="*/ 0 w 74"/>
                      <a:gd name="T61" fmla="*/ 0 h 80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74"/>
                      <a:gd name="T94" fmla="*/ 0 h 80"/>
                      <a:gd name="T95" fmla="*/ 74 w 74"/>
                      <a:gd name="T96" fmla="*/ 80 h 80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74" h="80">
                        <a:moveTo>
                          <a:pt x="74" y="80"/>
                        </a:moveTo>
                        <a:lnTo>
                          <a:pt x="72" y="73"/>
                        </a:lnTo>
                        <a:lnTo>
                          <a:pt x="71" y="66"/>
                        </a:lnTo>
                        <a:lnTo>
                          <a:pt x="69" y="60"/>
                        </a:lnTo>
                        <a:lnTo>
                          <a:pt x="66" y="53"/>
                        </a:lnTo>
                        <a:lnTo>
                          <a:pt x="58" y="42"/>
                        </a:lnTo>
                        <a:lnTo>
                          <a:pt x="48" y="33"/>
                        </a:lnTo>
                        <a:lnTo>
                          <a:pt x="38" y="25"/>
                        </a:lnTo>
                        <a:lnTo>
                          <a:pt x="29" y="17"/>
                        </a:lnTo>
                        <a:lnTo>
                          <a:pt x="20" y="9"/>
                        </a:lnTo>
                        <a:lnTo>
                          <a:pt x="13" y="0"/>
                        </a:lnTo>
                        <a:lnTo>
                          <a:pt x="9" y="5"/>
                        </a:lnTo>
                        <a:lnTo>
                          <a:pt x="4" y="10"/>
                        </a:lnTo>
                        <a:lnTo>
                          <a:pt x="1" y="14"/>
                        </a:lnTo>
                        <a:lnTo>
                          <a:pt x="0" y="19"/>
                        </a:lnTo>
                        <a:lnTo>
                          <a:pt x="0" y="25"/>
                        </a:lnTo>
                        <a:lnTo>
                          <a:pt x="2" y="30"/>
                        </a:lnTo>
                        <a:lnTo>
                          <a:pt x="4" y="36"/>
                        </a:lnTo>
                        <a:lnTo>
                          <a:pt x="7" y="41"/>
                        </a:lnTo>
                        <a:lnTo>
                          <a:pt x="10" y="46"/>
                        </a:lnTo>
                        <a:lnTo>
                          <a:pt x="14" y="51"/>
                        </a:lnTo>
                        <a:lnTo>
                          <a:pt x="19" y="56"/>
                        </a:lnTo>
                        <a:lnTo>
                          <a:pt x="24" y="61"/>
                        </a:lnTo>
                        <a:lnTo>
                          <a:pt x="30" y="66"/>
                        </a:lnTo>
                        <a:lnTo>
                          <a:pt x="35" y="69"/>
                        </a:lnTo>
                        <a:lnTo>
                          <a:pt x="42" y="72"/>
                        </a:lnTo>
                        <a:lnTo>
                          <a:pt x="47" y="75"/>
                        </a:lnTo>
                        <a:lnTo>
                          <a:pt x="54" y="77"/>
                        </a:lnTo>
                        <a:lnTo>
                          <a:pt x="60" y="79"/>
                        </a:lnTo>
                        <a:lnTo>
                          <a:pt x="67" y="80"/>
                        </a:lnTo>
                        <a:lnTo>
                          <a:pt x="74" y="8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39" name="Freeform 154">
                    <a:extLst>
                      <a:ext uri="{FF2B5EF4-FFF2-40B4-BE49-F238E27FC236}">
                        <a16:creationId xmlns:a16="http://schemas.microsoft.com/office/drawing/2014/main" xmlns="" id="{745EF239-92BC-4EC7-A311-49C5E9E0475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55" y="2785"/>
                    <a:ext cx="26" cy="27"/>
                  </a:xfrm>
                  <a:custGeom>
                    <a:avLst/>
                    <a:gdLst>
                      <a:gd name="T0" fmla="*/ 0 w 86"/>
                      <a:gd name="T1" fmla="*/ 0 h 80"/>
                      <a:gd name="T2" fmla="*/ 0 w 86"/>
                      <a:gd name="T3" fmla="*/ 0 h 80"/>
                      <a:gd name="T4" fmla="*/ 0 w 86"/>
                      <a:gd name="T5" fmla="*/ 0 h 80"/>
                      <a:gd name="T6" fmla="*/ 0 w 86"/>
                      <a:gd name="T7" fmla="*/ 0 h 80"/>
                      <a:gd name="T8" fmla="*/ 0 w 86"/>
                      <a:gd name="T9" fmla="*/ 0 h 80"/>
                      <a:gd name="T10" fmla="*/ 0 w 86"/>
                      <a:gd name="T11" fmla="*/ 0 h 80"/>
                      <a:gd name="T12" fmla="*/ 0 w 86"/>
                      <a:gd name="T13" fmla="*/ 0 h 80"/>
                      <a:gd name="T14" fmla="*/ 0 w 86"/>
                      <a:gd name="T15" fmla="*/ 0 h 80"/>
                      <a:gd name="T16" fmla="*/ 0 w 86"/>
                      <a:gd name="T17" fmla="*/ 0 h 80"/>
                      <a:gd name="T18" fmla="*/ 0 w 86"/>
                      <a:gd name="T19" fmla="*/ 0 h 80"/>
                      <a:gd name="T20" fmla="*/ 0 w 86"/>
                      <a:gd name="T21" fmla="*/ 0 h 80"/>
                      <a:gd name="T22" fmla="*/ 0 w 86"/>
                      <a:gd name="T23" fmla="*/ 0 h 80"/>
                      <a:gd name="T24" fmla="*/ 0 w 86"/>
                      <a:gd name="T25" fmla="*/ 0 h 80"/>
                      <a:gd name="T26" fmla="*/ 0 w 86"/>
                      <a:gd name="T27" fmla="*/ 0 h 80"/>
                      <a:gd name="T28" fmla="*/ 0 w 86"/>
                      <a:gd name="T29" fmla="*/ 0 h 80"/>
                      <a:gd name="T30" fmla="*/ 0 w 86"/>
                      <a:gd name="T31" fmla="*/ 0 h 80"/>
                      <a:gd name="T32" fmla="*/ 0 w 86"/>
                      <a:gd name="T33" fmla="*/ 0 h 80"/>
                      <a:gd name="T34" fmla="*/ 0 w 86"/>
                      <a:gd name="T35" fmla="*/ 0 h 80"/>
                      <a:gd name="T36" fmla="*/ 0 w 86"/>
                      <a:gd name="T37" fmla="*/ 0 h 80"/>
                      <a:gd name="T38" fmla="*/ 0 w 86"/>
                      <a:gd name="T39" fmla="*/ 0 h 80"/>
                      <a:gd name="T40" fmla="*/ 0 w 86"/>
                      <a:gd name="T41" fmla="*/ 0 h 80"/>
                      <a:gd name="T42" fmla="*/ 0 w 86"/>
                      <a:gd name="T43" fmla="*/ 0 h 80"/>
                      <a:gd name="T44" fmla="*/ 0 w 86"/>
                      <a:gd name="T45" fmla="*/ 0 h 80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86"/>
                      <a:gd name="T70" fmla="*/ 0 h 80"/>
                      <a:gd name="T71" fmla="*/ 86 w 86"/>
                      <a:gd name="T72" fmla="*/ 80 h 80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86" h="80">
                        <a:moveTo>
                          <a:pt x="52" y="80"/>
                        </a:moveTo>
                        <a:lnTo>
                          <a:pt x="86" y="80"/>
                        </a:lnTo>
                        <a:lnTo>
                          <a:pt x="86" y="61"/>
                        </a:lnTo>
                        <a:lnTo>
                          <a:pt x="79" y="59"/>
                        </a:lnTo>
                        <a:lnTo>
                          <a:pt x="72" y="56"/>
                        </a:lnTo>
                        <a:lnTo>
                          <a:pt x="67" y="53"/>
                        </a:lnTo>
                        <a:lnTo>
                          <a:pt x="61" y="49"/>
                        </a:lnTo>
                        <a:lnTo>
                          <a:pt x="51" y="41"/>
                        </a:lnTo>
                        <a:lnTo>
                          <a:pt x="43" y="33"/>
                        </a:lnTo>
                        <a:lnTo>
                          <a:pt x="34" y="25"/>
                        </a:lnTo>
                        <a:lnTo>
                          <a:pt x="24" y="16"/>
                        </a:lnTo>
                        <a:lnTo>
                          <a:pt x="13" y="7"/>
                        </a:lnTo>
                        <a:lnTo>
                          <a:pt x="0" y="0"/>
                        </a:lnTo>
                        <a:lnTo>
                          <a:pt x="1" y="8"/>
                        </a:lnTo>
                        <a:lnTo>
                          <a:pt x="5" y="20"/>
                        </a:lnTo>
                        <a:lnTo>
                          <a:pt x="11" y="32"/>
                        </a:lnTo>
                        <a:lnTo>
                          <a:pt x="18" y="44"/>
                        </a:lnTo>
                        <a:lnTo>
                          <a:pt x="27" y="57"/>
                        </a:lnTo>
                        <a:lnTo>
                          <a:pt x="36" y="67"/>
                        </a:lnTo>
                        <a:lnTo>
                          <a:pt x="40" y="72"/>
                        </a:lnTo>
                        <a:lnTo>
                          <a:pt x="45" y="76"/>
                        </a:lnTo>
                        <a:lnTo>
                          <a:pt x="49" y="79"/>
                        </a:lnTo>
                        <a:lnTo>
                          <a:pt x="52" y="8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40" name="Freeform 155">
                    <a:extLst>
                      <a:ext uri="{FF2B5EF4-FFF2-40B4-BE49-F238E27FC236}">
                        <a16:creationId xmlns:a16="http://schemas.microsoft.com/office/drawing/2014/main" xmlns="" id="{6FBF2E86-81E5-499E-B476-8C57C54BD36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70" y="2825"/>
                    <a:ext cx="25" cy="11"/>
                  </a:xfrm>
                  <a:custGeom>
                    <a:avLst/>
                    <a:gdLst>
                      <a:gd name="T0" fmla="*/ 0 w 74"/>
                      <a:gd name="T1" fmla="*/ 0 h 31"/>
                      <a:gd name="T2" fmla="*/ 0 w 74"/>
                      <a:gd name="T3" fmla="*/ 0 h 31"/>
                      <a:gd name="T4" fmla="*/ 0 w 74"/>
                      <a:gd name="T5" fmla="*/ 0 h 31"/>
                      <a:gd name="T6" fmla="*/ 0 w 74"/>
                      <a:gd name="T7" fmla="*/ 0 h 31"/>
                      <a:gd name="T8" fmla="*/ 0 w 74"/>
                      <a:gd name="T9" fmla="*/ 0 h 31"/>
                      <a:gd name="T10" fmla="*/ 0 w 74"/>
                      <a:gd name="T11" fmla="*/ 0 h 31"/>
                      <a:gd name="T12" fmla="*/ 0 w 74"/>
                      <a:gd name="T13" fmla="*/ 0 h 31"/>
                      <a:gd name="T14" fmla="*/ 0 w 74"/>
                      <a:gd name="T15" fmla="*/ 0 h 31"/>
                      <a:gd name="T16" fmla="*/ 0 w 74"/>
                      <a:gd name="T17" fmla="*/ 0 h 31"/>
                      <a:gd name="T18" fmla="*/ 0 w 74"/>
                      <a:gd name="T19" fmla="*/ 0 h 31"/>
                      <a:gd name="T20" fmla="*/ 0 w 74"/>
                      <a:gd name="T21" fmla="*/ 0 h 31"/>
                      <a:gd name="T22" fmla="*/ 0 w 74"/>
                      <a:gd name="T23" fmla="*/ 0 h 31"/>
                      <a:gd name="T24" fmla="*/ 0 w 74"/>
                      <a:gd name="T25" fmla="*/ 0 h 31"/>
                      <a:gd name="T26" fmla="*/ 0 w 74"/>
                      <a:gd name="T27" fmla="*/ 0 h 31"/>
                      <a:gd name="T28" fmla="*/ 0 w 74"/>
                      <a:gd name="T29" fmla="*/ 0 h 31"/>
                      <a:gd name="T30" fmla="*/ 0 w 74"/>
                      <a:gd name="T31" fmla="*/ 0 h 31"/>
                      <a:gd name="T32" fmla="*/ 0 w 74"/>
                      <a:gd name="T33" fmla="*/ 0 h 31"/>
                      <a:gd name="T34" fmla="*/ 0 w 74"/>
                      <a:gd name="T35" fmla="*/ 0 h 31"/>
                      <a:gd name="T36" fmla="*/ 0 w 74"/>
                      <a:gd name="T37" fmla="*/ 0 h 31"/>
                      <a:gd name="T38" fmla="*/ 0 w 74"/>
                      <a:gd name="T39" fmla="*/ 0 h 31"/>
                      <a:gd name="T40" fmla="*/ 0 w 74"/>
                      <a:gd name="T41" fmla="*/ 0 h 31"/>
                      <a:gd name="T42" fmla="*/ 0 w 74"/>
                      <a:gd name="T43" fmla="*/ 0 h 31"/>
                      <a:gd name="T44" fmla="*/ 0 w 74"/>
                      <a:gd name="T45" fmla="*/ 0 h 31"/>
                      <a:gd name="T46" fmla="*/ 0 w 74"/>
                      <a:gd name="T47" fmla="*/ 0 h 31"/>
                      <a:gd name="T48" fmla="*/ 0 w 74"/>
                      <a:gd name="T49" fmla="*/ 0 h 31"/>
                      <a:gd name="T50" fmla="*/ 0 w 74"/>
                      <a:gd name="T51" fmla="*/ 0 h 31"/>
                      <a:gd name="T52" fmla="*/ 0 w 74"/>
                      <a:gd name="T53" fmla="*/ 0 h 31"/>
                      <a:gd name="T54" fmla="*/ 0 w 74"/>
                      <a:gd name="T55" fmla="*/ 0 h 31"/>
                      <a:gd name="T56" fmla="*/ 0 w 74"/>
                      <a:gd name="T57" fmla="*/ 0 h 31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w 74"/>
                      <a:gd name="T88" fmla="*/ 0 h 31"/>
                      <a:gd name="T89" fmla="*/ 74 w 74"/>
                      <a:gd name="T90" fmla="*/ 31 h 31"/>
                    </a:gdLst>
                    <a:ahLst/>
                    <a:cxnLst>
                      <a:cxn ang="T58">
                        <a:pos x="T0" y="T1"/>
                      </a:cxn>
                      <a:cxn ang="T59">
                        <a:pos x="T2" y="T3"/>
                      </a:cxn>
                      <a:cxn ang="T60">
                        <a:pos x="T4" y="T5"/>
                      </a:cxn>
                      <a:cxn ang="T61">
                        <a:pos x="T6" y="T7"/>
                      </a:cxn>
                      <a:cxn ang="T62">
                        <a:pos x="T8" y="T9"/>
                      </a:cxn>
                      <a:cxn ang="T63">
                        <a:pos x="T10" y="T11"/>
                      </a:cxn>
                      <a:cxn ang="T64">
                        <a:pos x="T12" y="T13"/>
                      </a:cxn>
                      <a:cxn ang="T65">
                        <a:pos x="T14" y="T15"/>
                      </a:cxn>
                      <a:cxn ang="T66">
                        <a:pos x="T16" y="T17"/>
                      </a:cxn>
                      <a:cxn ang="T67">
                        <a:pos x="T18" y="T19"/>
                      </a:cxn>
                      <a:cxn ang="T68">
                        <a:pos x="T20" y="T21"/>
                      </a:cxn>
                      <a:cxn ang="T69">
                        <a:pos x="T22" y="T23"/>
                      </a:cxn>
                      <a:cxn ang="T70">
                        <a:pos x="T24" y="T25"/>
                      </a:cxn>
                      <a:cxn ang="T71">
                        <a:pos x="T26" y="T27"/>
                      </a:cxn>
                      <a:cxn ang="T72">
                        <a:pos x="T28" y="T29"/>
                      </a:cxn>
                      <a:cxn ang="T73">
                        <a:pos x="T30" y="T31"/>
                      </a:cxn>
                      <a:cxn ang="T74">
                        <a:pos x="T32" y="T33"/>
                      </a:cxn>
                      <a:cxn ang="T75">
                        <a:pos x="T34" y="T35"/>
                      </a:cxn>
                      <a:cxn ang="T76">
                        <a:pos x="T36" y="T37"/>
                      </a:cxn>
                      <a:cxn ang="T77">
                        <a:pos x="T38" y="T39"/>
                      </a:cxn>
                      <a:cxn ang="T78">
                        <a:pos x="T40" y="T41"/>
                      </a:cxn>
                      <a:cxn ang="T79">
                        <a:pos x="T42" y="T43"/>
                      </a:cxn>
                      <a:cxn ang="T80">
                        <a:pos x="T44" y="T45"/>
                      </a:cxn>
                      <a:cxn ang="T81">
                        <a:pos x="T46" y="T47"/>
                      </a:cxn>
                      <a:cxn ang="T82">
                        <a:pos x="T48" y="T49"/>
                      </a:cxn>
                      <a:cxn ang="T83">
                        <a:pos x="T50" y="T51"/>
                      </a:cxn>
                      <a:cxn ang="T84">
                        <a:pos x="T52" y="T53"/>
                      </a:cxn>
                      <a:cxn ang="T85">
                        <a:pos x="T54" y="T55"/>
                      </a:cxn>
                      <a:cxn ang="T86">
                        <a:pos x="T56" y="T57"/>
                      </a:cxn>
                    </a:cxnLst>
                    <a:rect l="T87" t="T88" r="T89" b="T90"/>
                    <a:pathLst>
                      <a:path w="74" h="31">
                        <a:moveTo>
                          <a:pt x="0" y="7"/>
                        </a:moveTo>
                        <a:lnTo>
                          <a:pt x="3" y="11"/>
                        </a:lnTo>
                        <a:lnTo>
                          <a:pt x="5" y="15"/>
                        </a:lnTo>
                        <a:lnTo>
                          <a:pt x="9" y="18"/>
                        </a:lnTo>
                        <a:lnTo>
                          <a:pt x="14" y="21"/>
                        </a:lnTo>
                        <a:lnTo>
                          <a:pt x="18" y="24"/>
                        </a:lnTo>
                        <a:lnTo>
                          <a:pt x="23" y="26"/>
                        </a:lnTo>
                        <a:lnTo>
                          <a:pt x="29" y="28"/>
                        </a:lnTo>
                        <a:lnTo>
                          <a:pt x="34" y="29"/>
                        </a:lnTo>
                        <a:lnTo>
                          <a:pt x="47" y="31"/>
                        </a:lnTo>
                        <a:lnTo>
                          <a:pt x="58" y="31"/>
                        </a:lnTo>
                        <a:lnTo>
                          <a:pt x="63" y="30"/>
                        </a:lnTo>
                        <a:lnTo>
                          <a:pt x="67" y="29"/>
                        </a:lnTo>
                        <a:lnTo>
                          <a:pt x="71" y="27"/>
                        </a:lnTo>
                        <a:lnTo>
                          <a:pt x="74" y="25"/>
                        </a:lnTo>
                        <a:lnTo>
                          <a:pt x="64" y="18"/>
                        </a:lnTo>
                        <a:lnTo>
                          <a:pt x="55" y="13"/>
                        </a:lnTo>
                        <a:lnTo>
                          <a:pt x="51" y="10"/>
                        </a:lnTo>
                        <a:lnTo>
                          <a:pt x="47" y="8"/>
                        </a:lnTo>
                        <a:lnTo>
                          <a:pt x="43" y="5"/>
                        </a:lnTo>
                        <a:lnTo>
                          <a:pt x="41" y="0"/>
                        </a:lnTo>
                        <a:lnTo>
                          <a:pt x="33" y="1"/>
                        </a:lnTo>
                        <a:lnTo>
                          <a:pt x="28" y="1"/>
                        </a:lnTo>
                        <a:lnTo>
                          <a:pt x="22" y="1"/>
                        </a:lnTo>
                        <a:lnTo>
                          <a:pt x="18" y="0"/>
                        </a:lnTo>
                        <a:lnTo>
                          <a:pt x="14" y="0"/>
                        </a:lnTo>
                        <a:lnTo>
                          <a:pt x="10" y="0"/>
                        </a:lnTo>
                        <a:lnTo>
                          <a:pt x="6" y="3"/>
                        </a:lnTo>
                        <a:lnTo>
                          <a:pt x="0" y="7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41" name="Freeform 156">
                    <a:extLst>
                      <a:ext uri="{FF2B5EF4-FFF2-40B4-BE49-F238E27FC236}">
                        <a16:creationId xmlns:a16="http://schemas.microsoft.com/office/drawing/2014/main" xmlns="" id="{61F005DF-AA41-4036-A764-F3A58ABA826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62" y="2819"/>
                    <a:ext cx="6" cy="1"/>
                  </a:xfrm>
                  <a:custGeom>
                    <a:avLst/>
                    <a:gdLst>
                      <a:gd name="T0" fmla="*/ 0 w 20"/>
                      <a:gd name="T1" fmla="*/ 0 h 1"/>
                      <a:gd name="T2" fmla="*/ 0 w 20"/>
                      <a:gd name="T3" fmla="*/ 0 h 1"/>
                      <a:gd name="T4" fmla="*/ 0 w 20"/>
                      <a:gd name="T5" fmla="*/ 0 h 1"/>
                      <a:gd name="T6" fmla="*/ 0 w 20"/>
                      <a:gd name="T7" fmla="*/ 0 h 1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20"/>
                      <a:gd name="T13" fmla="*/ 0 h 1"/>
                      <a:gd name="T14" fmla="*/ 20 w 20"/>
                      <a:gd name="T15" fmla="*/ 1 h 1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20" h="1">
                        <a:moveTo>
                          <a:pt x="20" y="0"/>
                        </a:moveTo>
                        <a:lnTo>
                          <a:pt x="0" y="0"/>
                        </a:lnTo>
                        <a:lnTo>
                          <a:pt x="10" y="0"/>
                        </a:lnTo>
                        <a:lnTo>
                          <a:pt x="2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42" name="Freeform 157">
                    <a:extLst>
                      <a:ext uri="{FF2B5EF4-FFF2-40B4-BE49-F238E27FC236}">
                        <a16:creationId xmlns:a16="http://schemas.microsoft.com/office/drawing/2014/main" xmlns="" id="{E0E8260B-952A-4829-B524-3757274002E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09" y="2769"/>
                    <a:ext cx="32" cy="21"/>
                  </a:xfrm>
                  <a:custGeom>
                    <a:avLst/>
                    <a:gdLst>
                      <a:gd name="T0" fmla="*/ 0 w 100"/>
                      <a:gd name="T1" fmla="*/ 0 h 65"/>
                      <a:gd name="T2" fmla="*/ 0 w 100"/>
                      <a:gd name="T3" fmla="*/ 0 h 65"/>
                      <a:gd name="T4" fmla="*/ 0 w 100"/>
                      <a:gd name="T5" fmla="*/ 0 h 65"/>
                      <a:gd name="T6" fmla="*/ 0 w 100"/>
                      <a:gd name="T7" fmla="*/ 0 h 65"/>
                      <a:gd name="T8" fmla="*/ 0 w 100"/>
                      <a:gd name="T9" fmla="*/ 0 h 65"/>
                      <a:gd name="T10" fmla="*/ 0 w 100"/>
                      <a:gd name="T11" fmla="*/ 0 h 65"/>
                      <a:gd name="T12" fmla="*/ 0 w 100"/>
                      <a:gd name="T13" fmla="*/ 0 h 65"/>
                      <a:gd name="T14" fmla="*/ 0 w 100"/>
                      <a:gd name="T15" fmla="*/ 0 h 65"/>
                      <a:gd name="T16" fmla="*/ 0 w 100"/>
                      <a:gd name="T17" fmla="*/ 0 h 65"/>
                      <a:gd name="T18" fmla="*/ 0 w 100"/>
                      <a:gd name="T19" fmla="*/ 0 h 65"/>
                      <a:gd name="T20" fmla="*/ 0 w 100"/>
                      <a:gd name="T21" fmla="*/ 0 h 65"/>
                      <a:gd name="T22" fmla="*/ 0 w 100"/>
                      <a:gd name="T23" fmla="*/ 0 h 65"/>
                      <a:gd name="T24" fmla="*/ 0 w 100"/>
                      <a:gd name="T25" fmla="*/ 0 h 65"/>
                      <a:gd name="T26" fmla="*/ 0 w 100"/>
                      <a:gd name="T27" fmla="*/ 0 h 65"/>
                      <a:gd name="T28" fmla="*/ 0 w 100"/>
                      <a:gd name="T29" fmla="*/ 0 h 65"/>
                      <a:gd name="T30" fmla="*/ 0 w 100"/>
                      <a:gd name="T31" fmla="*/ 0 h 65"/>
                      <a:gd name="T32" fmla="*/ 0 w 100"/>
                      <a:gd name="T33" fmla="*/ 0 h 65"/>
                      <a:gd name="T34" fmla="*/ 0 w 100"/>
                      <a:gd name="T35" fmla="*/ 0 h 65"/>
                      <a:gd name="T36" fmla="*/ 0 w 100"/>
                      <a:gd name="T37" fmla="*/ 0 h 65"/>
                      <a:gd name="T38" fmla="*/ 0 w 100"/>
                      <a:gd name="T39" fmla="*/ 0 h 65"/>
                      <a:gd name="T40" fmla="*/ 0 w 100"/>
                      <a:gd name="T41" fmla="*/ 0 h 65"/>
                      <a:gd name="T42" fmla="*/ 0 w 100"/>
                      <a:gd name="T43" fmla="*/ 0 h 65"/>
                      <a:gd name="T44" fmla="*/ 0 w 100"/>
                      <a:gd name="T45" fmla="*/ 0 h 65"/>
                      <a:gd name="T46" fmla="*/ 0 w 100"/>
                      <a:gd name="T47" fmla="*/ 0 h 65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100"/>
                      <a:gd name="T73" fmla="*/ 0 h 65"/>
                      <a:gd name="T74" fmla="*/ 100 w 100"/>
                      <a:gd name="T75" fmla="*/ 65 h 65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100" h="65">
                        <a:moveTo>
                          <a:pt x="7" y="25"/>
                        </a:moveTo>
                        <a:lnTo>
                          <a:pt x="35" y="40"/>
                        </a:lnTo>
                        <a:lnTo>
                          <a:pt x="61" y="55"/>
                        </a:lnTo>
                        <a:lnTo>
                          <a:pt x="72" y="60"/>
                        </a:lnTo>
                        <a:lnTo>
                          <a:pt x="83" y="65"/>
                        </a:lnTo>
                        <a:lnTo>
                          <a:pt x="87" y="65"/>
                        </a:lnTo>
                        <a:lnTo>
                          <a:pt x="91" y="65"/>
                        </a:lnTo>
                        <a:lnTo>
                          <a:pt x="96" y="65"/>
                        </a:lnTo>
                        <a:lnTo>
                          <a:pt x="100" y="62"/>
                        </a:lnTo>
                        <a:lnTo>
                          <a:pt x="94" y="60"/>
                        </a:lnTo>
                        <a:lnTo>
                          <a:pt x="88" y="56"/>
                        </a:lnTo>
                        <a:lnTo>
                          <a:pt x="83" y="52"/>
                        </a:lnTo>
                        <a:lnTo>
                          <a:pt x="78" y="46"/>
                        </a:lnTo>
                        <a:lnTo>
                          <a:pt x="67" y="34"/>
                        </a:lnTo>
                        <a:lnTo>
                          <a:pt x="57" y="21"/>
                        </a:lnTo>
                        <a:lnTo>
                          <a:pt x="52" y="15"/>
                        </a:lnTo>
                        <a:lnTo>
                          <a:pt x="46" y="10"/>
                        </a:lnTo>
                        <a:lnTo>
                          <a:pt x="40" y="4"/>
                        </a:lnTo>
                        <a:lnTo>
                          <a:pt x="33" y="1"/>
                        </a:lnTo>
                        <a:lnTo>
                          <a:pt x="27" y="0"/>
                        </a:lnTo>
                        <a:lnTo>
                          <a:pt x="18" y="0"/>
                        </a:lnTo>
                        <a:lnTo>
                          <a:pt x="10" y="2"/>
                        </a:lnTo>
                        <a:lnTo>
                          <a:pt x="0" y="6"/>
                        </a:lnTo>
                        <a:lnTo>
                          <a:pt x="7" y="25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43" name="Freeform 158">
                    <a:extLst>
                      <a:ext uri="{FF2B5EF4-FFF2-40B4-BE49-F238E27FC236}">
                        <a16:creationId xmlns:a16="http://schemas.microsoft.com/office/drawing/2014/main" xmlns="" id="{0C47B75D-24E3-424B-B936-CA431829806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86" y="2743"/>
                    <a:ext cx="24" cy="34"/>
                  </a:xfrm>
                  <a:custGeom>
                    <a:avLst/>
                    <a:gdLst>
                      <a:gd name="T0" fmla="*/ 0 w 79"/>
                      <a:gd name="T1" fmla="*/ 0 h 104"/>
                      <a:gd name="T2" fmla="*/ 0 w 79"/>
                      <a:gd name="T3" fmla="*/ 0 h 104"/>
                      <a:gd name="T4" fmla="*/ 0 w 79"/>
                      <a:gd name="T5" fmla="*/ 0 h 104"/>
                      <a:gd name="T6" fmla="*/ 0 w 79"/>
                      <a:gd name="T7" fmla="*/ 0 h 104"/>
                      <a:gd name="T8" fmla="*/ 0 w 79"/>
                      <a:gd name="T9" fmla="*/ 0 h 104"/>
                      <a:gd name="T10" fmla="*/ 0 w 79"/>
                      <a:gd name="T11" fmla="*/ 0 h 104"/>
                      <a:gd name="T12" fmla="*/ 0 w 79"/>
                      <a:gd name="T13" fmla="*/ 0 h 104"/>
                      <a:gd name="T14" fmla="*/ 0 w 79"/>
                      <a:gd name="T15" fmla="*/ 0 h 104"/>
                      <a:gd name="T16" fmla="*/ 0 w 79"/>
                      <a:gd name="T17" fmla="*/ 0 h 104"/>
                      <a:gd name="T18" fmla="*/ 0 w 79"/>
                      <a:gd name="T19" fmla="*/ 0 h 104"/>
                      <a:gd name="T20" fmla="*/ 0 w 79"/>
                      <a:gd name="T21" fmla="*/ 0 h 104"/>
                      <a:gd name="T22" fmla="*/ 0 w 79"/>
                      <a:gd name="T23" fmla="*/ 0 h 104"/>
                      <a:gd name="T24" fmla="*/ 0 w 79"/>
                      <a:gd name="T25" fmla="*/ 0 h 104"/>
                      <a:gd name="T26" fmla="*/ 0 w 79"/>
                      <a:gd name="T27" fmla="*/ 0 h 104"/>
                      <a:gd name="T28" fmla="*/ 0 w 79"/>
                      <a:gd name="T29" fmla="*/ 0 h 104"/>
                      <a:gd name="T30" fmla="*/ 0 w 79"/>
                      <a:gd name="T31" fmla="*/ 0 h 104"/>
                      <a:gd name="T32" fmla="*/ 0 w 79"/>
                      <a:gd name="T33" fmla="*/ 0 h 104"/>
                      <a:gd name="T34" fmla="*/ 0 w 79"/>
                      <a:gd name="T35" fmla="*/ 0 h 104"/>
                      <a:gd name="T36" fmla="*/ 0 w 79"/>
                      <a:gd name="T37" fmla="*/ 0 h 104"/>
                      <a:gd name="T38" fmla="*/ 0 w 79"/>
                      <a:gd name="T39" fmla="*/ 0 h 104"/>
                      <a:gd name="T40" fmla="*/ 0 w 79"/>
                      <a:gd name="T41" fmla="*/ 0 h 104"/>
                      <a:gd name="T42" fmla="*/ 0 w 79"/>
                      <a:gd name="T43" fmla="*/ 0 h 104"/>
                      <a:gd name="T44" fmla="*/ 0 w 79"/>
                      <a:gd name="T45" fmla="*/ 0 h 104"/>
                      <a:gd name="T46" fmla="*/ 0 w 79"/>
                      <a:gd name="T47" fmla="*/ 0 h 104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79"/>
                      <a:gd name="T73" fmla="*/ 0 h 104"/>
                      <a:gd name="T74" fmla="*/ 79 w 79"/>
                      <a:gd name="T75" fmla="*/ 104 h 104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79" h="104">
                        <a:moveTo>
                          <a:pt x="72" y="85"/>
                        </a:moveTo>
                        <a:lnTo>
                          <a:pt x="56" y="61"/>
                        </a:lnTo>
                        <a:lnTo>
                          <a:pt x="43" y="41"/>
                        </a:lnTo>
                        <a:lnTo>
                          <a:pt x="29" y="20"/>
                        </a:lnTo>
                        <a:lnTo>
                          <a:pt x="12" y="0"/>
                        </a:lnTo>
                        <a:lnTo>
                          <a:pt x="6" y="16"/>
                        </a:lnTo>
                        <a:lnTo>
                          <a:pt x="2" y="33"/>
                        </a:lnTo>
                        <a:lnTo>
                          <a:pt x="0" y="40"/>
                        </a:lnTo>
                        <a:lnTo>
                          <a:pt x="0" y="48"/>
                        </a:lnTo>
                        <a:lnTo>
                          <a:pt x="0" y="55"/>
                        </a:lnTo>
                        <a:lnTo>
                          <a:pt x="0" y="62"/>
                        </a:lnTo>
                        <a:lnTo>
                          <a:pt x="1" y="68"/>
                        </a:lnTo>
                        <a:lnTo>
                          <a:pt x="3" y="74"/>
                        </a:lnTo>
                        <a:lnTo>
                          <a:pt x="6" y="79"/>
                        </a:lnTo>
                        <a:lnTo>
                          <a:pt x="10" y="83"/>
                        </a:lnTo>
                        <a:lnTo>
                          <a:pt x="14" y="88"/>
                        </a:lnTo>
                        <a:lnTo>
                          <a:pt x="20" y="90"/>
                        </a:lnTo>
                        <a:lnTo>
                          <a:pt x="25" y="92"/>
                        </a:lnTo>
                        <a:lnTo>
                          <a:pt x="33" y="92"/>
                        </a:lnTo>
                        <a:lnTo>
                          <a:pt x="43" y="93"/>
                        </a:lnTo>
                        <a:lnTo>
                          <a:pt x="54" y="96"/>
                        </a:lnTo>
                        <a:lnTo>
                          <a:pt x="65" y="100"/>
                        </a:lnTo>
                        <a:lnTo>
                          <a:pt x="79" y="104"/>
                        </a:lnTo>
                        <a:lnTo>
                          <a:pt x="72" y="85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143" name="Freeform 159">
                  <a:extLst>
                    <a:ext uri="{FF2B5EF4-FFF2-40B4-BE49-F238E27FC236}">
                      <a16:creationId xmlns:a16="http://schemas.microsoft.com/office/drawing/2014/main" xmlns="" id="{6FBCA81D-CF90-48C3-AFE6-77BD5F7DE4F0}"/>
                    </a:ext>
                  </a:extLst>
                </p:cNvPr>
                <p:cNvSpPr>
                  <a:spLocks/>
                </p:cNvSpPr>
                <p:nvPr>
                  <p:custDataLst>
                    <p:tags r:id="rId90"/>
                  </p:custDataLst>
                </p:nvPr>
              </p:nvSpPr>
              <p:spPr bwMode="auto">
                <a:xfrm>
                  <a:off x="4216400" y="3548063"/>
                  <a:ext cx="11113" cy="55562"/>
                </a:xfrm>
                <a:custGeom>
                  <a:avLst/>
                  <a:gdLst>
                    <a:gd name="T0" fmla="*/ 2147483646 w 27"/>
                    <a:gd name="T1" fmla="*/ 0 h 19"/>
                    <a:gd name="T2" fmla="*/ 2147483646 w 27"/>
                    <a:gd name="T3" fmla="*/ 2147483646 h 19"/>
                    <a:gd name="T4" fmla="*/ 2147483646 w 27"/>
                    <a:gd name="T5" fmla="*/ 2147483646 h 19"/>
                    <a:gd name="T6" fmla="*/ 2147483646 w 27"/>
                    <a:gd name="T7" fmla="*/ 2147483646 h 19"/>
                    <a:gd name="T8" fmla="*/ 0 w 27"/>
                    <a:gd name="T9" fmla="*/ 2147483646 h 19"/>
                    <a:gd name="T10" fmla="*/ 2147483646 w 27"/>
                    <a:gd name="T11" fmla="*/ 2147483646 h 19"/>
                    <a:gd name="T12" fmla="*/ 2147483646 w 27"/>
                    <a:gd name="T13" fmla="*/ 0 h 1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7"/>
                    <a:gd name="T22" fmla="*/ 0 h 19"/>
                    <a:gd name="T23" fmla="*/ 27 w 27"/>
                    <a:gd name="T24" fmla="*/ 19 h 19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7" h="19">
                      <a:moveTo>
                        <a:pt x="27" y="0"/>
                      </a:moveTo>
                      <a:lnTo>
                        <a:pt x="27" y="12"/>
                      </a:lnTo>
                      <a:lnTo>
                        <a:pt x="27" y="19"/>
                      </a:lnTo>
                      <a:lnTo>
                        <a:pt x="9" y="19"/>
                      </a:lnTo>
                      <a:lnTo>
                        <a:pt x="0" y="19"/>
                      </a:lnTo>
                      <a:lnTo>
                        <a:pt x="9" y="12"/>
                      </a:lnTo>
                      <a:lnTo>
                        <a:pt x="27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44" name="Freeform 160">
                  <a:extLst>
                    <a:ext uri="{FF2B5EF4-FFF2-40B4-BE49-F238E27FC236}">
                      <a16:creationId xmlns:a16="http://schemas.microsoft.com/office/drawing/2014/main" xmlns="" id="{5A3AF189-4DA6-4775-8E45-48F62C86C1D7}"/>
                    </a:ext>
                  </a:extLst>
                </p:cNvPr>
                <p:cNvSpPr>
                  <a:spLocks/>
                </p:cNvSpPr>
                <p:nvPr>
                  <p:custDataLst>
                    <p:tags r:id="rId91"/>
                  </p:custDataLst>
                </p:nvPr>
              </p:nvSpPr>
              <p:spPr bwMode="auto">
                <a:xfrm>
                  <a:off x="4140200" y="3687763"/>
                  <a:ext cx="14288" cy="57150"/>
                </a:xfrm>
                <a:custGeom>
                  <a:avLst/>
                  <a:gdLst>
                    <a:gd name="T0" fmla="*/ 0 w 39"/>
                    <a:gd name="T1" fmla="*/ 0 h 35"/>
                    <a:gd name="T2" fmla="*/ 2147483646 w 39"/>
                    <a:gd name="T3" fmla="*/ 0 h 35"/>
                    <a:gd name="T4" fmla="*/ 2147483646 w 39"/>
                    <a:gd name="T5" fmla="*/ 2147483646 h 35"/>
                    <a:gd name="T6" fmla="*/ 2147483646 w 39"/>
                    <a:gd name="T7" fmla="*/ 2147483646 h 35"/>
                    <a:gd name="T8" fmla="*/ 2147483646 w 39"/>
                    <a:gd name="T9" fmla="*/ 2147483646 h 35"/>
                    <a:gd name="T10" fmla="*/ 2147483646 w 39"/>
                    <a:gd name="T11" fmla="*/ 2147483646 h 35"/>
                    <a:gd name="T12" fmla="*/ 2147483646 w 39"/>
                    <a:gd name="T13" fmla="*/ 2147483646 h 35"/>
                    <a:gd name="T14" fmla="*/ 2147483646 w 39"/>
                    <a:gd name="T15" fmla="*/ 2147483646 h 35"/>
                    <a:gd name="T16" fmla="*/ 2147483646 w 39"/>
                    <a:gd name="T17" fmla="*/ 2147483646 h 35"/>
                    <a:gd name="T18" fmla="*/ 2147483646 w 39"/>
                    <a:gd name="T19" fmla="*/ 2147483646 h 35"/>
                    <a:gd name="T20" fmla="*/ 2147483646 w 39"/>
                    <a:gd name="T21" fmla="*/ 2147483646 h 35"/>
                    <a:gd name="T22" fmla="*/ 2147483646 w 39"/>
                    <a:gd name="T23" fmla="*/ 2147483646 h 35"/>
                    <a:gd name="T24" fmla="*/ 2147483646 w 39"/>
                    <a:gd name="T25" fmla="*/ 2147483646 h 35"/>
                    <a:gd name="T26" fmla="*/ 0 w 39"/>
                    <a:gd name="T27" fmla="*/ 0 h 3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9"/>
                    <a:gd name="T43" fmla="*/ 0 h 35"/>
                    <a:gd name="T44" fmla="*/ 39 w 39"/>
                    <a:gd name="T45" fmla="*/ 35 h 3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9" h="35">
                      <a:moveTo>
                        <a:pt x="0" y="0"/>
                      </a:moveTo>
                      <a:lnTo>
                        <a:pt x="39" y="0"/>
                      </a:lnTo>
                      <a:lnTo>
                        <a:pt x="36" y="9"/>
                      </a:lnTo>
                      <a:lnTo>
                        <a:pt x="33" y="19"/>
                      </a:lnTo>
                      <a:lnTo>
                        <a:pt x="27" y="28"/>
                      </a:lnTo>
                      <a:lnTo>
                        <a:pt x="22" y="34"/>
                      </a:lnTo>
                      <a:lnTo>
                        <a:pt x="19" y="35"/>
                      </a:lnTo>
                      <a:lnTo>
                        <a:pt x="16" y="35"/>
                      </a:lnTo>
                      <a:lnTo>
                        <a:pt x="13" y="34"/>
                      </a:lnTo>
                      <a:lnTo>
                        <a:pt x="11" y="31"/>
                      </a:lnTo>
                      <a:lnTo>
                        <a:pt x="7" y="26"/>
                      </a:lnTo>
                      <a:lnTo>
                        <a:pt x="5" y="20"/>
                      </a:lnTo>
                      <a:lnTo>
                        <a:pt x="2" y="1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45" name="Freeform 161">
                  <a:extLst>
                    <a:ext uri="{FF2B5EF4-FFF2-40B4-BE49-F238E27FC236}">
                      <a16:creationId xmlns:a16="http://schemas.microsoft.com/office/drawing/2014/main" xmlns="" id="{FE9B16FE-9245-4E23-B268-92B25D2A1AAC}"/>
                    </a:ext>
                  </a:extLst>
                </p:cNvPr>
                <p:cNvSpPr>
                  <a:spLocks/>
                </p:cNvSpPr>
                <p:nvPr>
                  <p:custDataLst>
                    <p:tags r:id="rId92"/>
                  </p:custDataLst>
                </p:nvPr>
              </p:nvSpPr>
              <p:spPr bwMode="auto">
                <a:xfrm>
                  <a:off x="5938838" y="2014538"/>
                  <a:ext cx="728662" cy="331787"/>
                </a:xfrm>
                <a:custGeom>
                  <a:avLst/>
                  <a:gdLst>
                    <a:gd name="T0" fmla="*/ 2147483646 w 1688"/>
                    <a:gd name="T1" fmla="*/ 2147483646 h 630"/>
                    <a:gd name="T2" fmla="*/ 2147483646 w 1688"/>
                    <a:gd name="T3" fmla="*/ 2147483646 h 630"/>
                    <a:gd name="T4" fmla="*/ 2147483646 w 1688"/>
                    <a:gd name="T5" fmla="*/ 2147483646 h 630"/>
                    <a:gd name="T6" fmla="*/ 2147483646 w 1688"/>
                    <a:gd name="T7" fmla="*/ 2147483646 h 630"/>
                    <a:gd name="T8" fmla="*/ 2147483646 w 1688"/>
                    <a:gd name="T9" fmla="*/ 2147483646 h 630"/>
                    <a:gd name="T10" fmla="*/ 2147483646 w 1688"/>
                    <a:gd name="T11" fmla="*/ 2147483646 h 630"/>
                    <a:gd name="T12" fmla="*/ 2147483646 w 1688"/>
                    <a:gd name="T13" fmla="*/ 2147483646 h 630"/>
                    <a:gd name="T14" fmla="*/ 2147483646 w 1688"/>
                    <a:gd name="T15" fmla="*/ 2147483646 h 630"/>
                    <a:gd name="T16" fmla="*/ 2147483646 w 1688"/>
                    <a:gd name="T17" fmla="*/ 2147483646 h 630"/>
                    <a:gd name="T18" fmla="*/ 2147483646 w 1688"/>
                    <a:gd name="T19" fmla="*/ 2147483646 h 630"/>
                    <a:gd name="T20" fmla="*/ 2147483646 w 1688"/>
                    <a:gd name="T21" fmla="*/ 2147483646 h 630"/>
                    <a:gd name="T22" fmla="*/ 2147483646 w 1688"/>
                    <a:gd name="T23" fmla="*/ 2147483646 h 630"/>
                    <a:gd name="T24" fmla="*/ 2147483646 w 1688"/>
                    <a:gd name="T25" fmla="*/ 2147483646 h 630"/>
                    <a:gd name="T26" fmla="*/ 2147483646 w 1688"/>
                    <a:gd name="T27" fmla="*/ 2147483646 h 630"/>
                    <a:gd name="T28" fmla="*/ 2147483646 w 1688"/>
                    <a:gd name="T29" fmla="*/ 2147483646 h 630"/>
                    <a:gd name="T30" fmla="*/ 2147483646 w 1688"/>
                    <a:gd name="T31" fmla="*/ 2147483646 h 630"/>
                    <a:gd name="T32" fmla="*/ 2147483646 w 1688"/>
                    <a:gd name="T33" fmla="*/ 2147483646 h 630"/>
                    <a:gd name="T34" fmla="*/ 2147483646 w 1688"/>
                    <a:gd name="T35" fmla="*/ 2147483646 h 630"/>
                    <a:gd name="T36" fmla="*/ 2147483646 w 1688"/>
                    <a:gd name="T37" fmla="*/ 2147483646 h 630"/>
                    <a:gd name="T38" fmla="*/ 2147483646 w 1688"/>
                    <a:gd name="T39" fmla="*/ 2147483646 h 630"/>
                    <a:gd name="T40" fmla="*/ 2147483646 w 1688"/>
                    <a:gd name="T41" fmla="*/ 2147483646 h 630"/>
                    <a:gd name="T42" fmla="*/ 2147483646 w 1688"/>
                    <a:gd name="T43" fmla="*/ 2147483646 h 630"/>
                    <a:gd name="T44" fmla="*/ 2147483646 w 1688"/>
                    <a:gd name="T45" fmla="*/ 2147483646 h 630"/>
                    <a:gd name="T46" fmla="*/ 2147483646 w 1688"/>
                    <a:gd name="T47" fmla="*/ 2147483646 h 630"/>
                    <a:gd name="T48" fmla="*/ 2147483646 w 1688"/>
                    <a:gd name="T49" fmla="*/ 2147483646 h 630"/>
                    <a:gd name="T50" fmla="*/ 2147483646 w 1688"/>
                    <a:gd name="T51" fmla="*/ 2147483646 h 630"/>
                    <a:gd name="T52" fmla="*/ 2147483646 w 1688"/>
                    <a:gd name="T53" fmla="*/ 2147483646 h 630"/>
                    <a:gd name="T54" fmla="*/ 2147483646 w 1688"/>
                    <a:gd name="T55" fmla="*/ 2147483646 h 630"/>
                    <a:gd name="T56" fmla="*/ 2147483646 w 1688"/>
                    <a:gd name="T57" fmla="*/ 2147483646 h 630"/>
                    <a:gd name="T58" fmla="*/ 2147483646 w 1688"/>
                    <a:gd name="T59" fmla="*/ 2147483646 h 630"/>
                    <a:gd name="T60" fmla="*/ 2147483646 w 1688"/>
                    <a:gd name="T61" fmla="*/ 2147483646 h 630"/>
                    <a:gd name="T62" fmla="*/ 2147483646 w 1688"/>
                    <a:gd name="T63" fmla="*/ 2147483646 h 630"/>
                    <a:gd name="T64" fmla="*/ 2147483646 w 1688"/>
                    <a:gd name="T65" fmla="*/ 2147483646 h 630"/>
                    <a:gd name="T66" fmla="*/ 2147483646 w 1688"/>
                    <a:gd name="T67" fmla="*/ 2147483646 h 630"/>
                    <a:gd name="T68" fmla="*/ 2147483646 w 1688"/>
                    <a:gd name="T69" fmla="*/ 2147483646 h 630"/>
                    <a:gd name="T70" fmla="*/ 2147483646 w 1688"/>
                    <a:gd name="T71" fmla="*/ 2147483646 h 630"/>
                    <a:gd name="T72" fmla="*/ 2147483646 w 1688"/>
                    <a:gd name="T73" fmla="*/ 2147483646 h 630"/>
                    <a:gd name="T74" fmla="*/ 2147483646 w 1688"/>
                    <a:gd name="T75" fmla="*/ 2147483646 h 630"/>
                    <a:gd name="T76" fmla="*/ 2147483646 w 1688"/>
                    <a:gd name="T77" fmla="*/ 2147483646 h 630"/>
                    <a:gd name="T78" fmla="*/ 2147483646 w 1688"/>
                    <a:gd name="T79" fmla="*/ 2147483646 h 630"/>
                    <a:gd name="T80" fmla="*/ 2147483646 w 1688"/>
                    <a:gd name="T81" fmla="*/ 2147483646 h 630"/>
                    <a:gd name="T82" fmla="*/ 2147483646 w 1688"/>
                    <a:gd name="T83" fmla="*/ 2147483646 h 630"/>
                    <a:gd name="T84" fmla="*/ 2147483646 w 1688"/>
                    <a:gd name="T85" fmla="*/ 2147483646 h 630"/>
                    <a:gd name="T86" fmla="*/ 2147483646 w 1688"/>
                    <a:gd name="T87" fmla="*/ 2147483646 h 630"/>
                    <a:gd name="T88" fmla="*/ 2147483646 w 1688"/>
                    <a:gd name="T89" fmla="*/ 2147483646 h 630"/>
                    <a:gd name="T90" fmla="*/ 2147483646 w 1688"/>
                    <a:gd name="T91" fmla="*/ 2147483646 h 630"/>
                    <a:gd name="T92" fmla="*/ 2147483646 w 1688"/>
                    <a:gd name="T93" fmla="*/ 2147483646 h 630"/>
                    <a:gd name="T94" fmla="*/ 2147483646 w 1688"/>
                    <a:gd name="T95" fmla="*/ 2147483646 h 630"/>
                    <a:gd name="T96" fmla="*/ 2147483646 w 1688"/>
                    <a:gd name="T97" fmla="*/ 2147483646 h 630"/>
                    <a:gd name="T98" fmla="*/ 2147483646 w 1688"/>
                    <a:gd name="T99" fmla="*/ 2147483646 h 630"/>
                    <a:gd name="T100" fmla="*/ 2147483646 w 1688"/>
                    <a:gd name="T101" fmla="*/ 2147483646 h 630"/>
                    <a:gd name="T102" fmla="*/ 2147483646 w 1688"/>
                    <a:gd name="T103" fmla="*/ 2147483646 h 630"/>
                    <a:gd name="T104" fmla="*/ 2147483646 w 1688"/>
                    <a:gd name="T105" fmla="*/ 2147483646 h 630"/>
                    <a:gd name="T106" fmla="*/ 2147483646 w 1688"/>
                    <a:gd name="T107" fmla="*/ 2147483646 h 630"/>
                    <a:gd name="T108" fmla="*/ 2147483646 w 1688"/>
                    <a:gd name="T109" fmla="*/ 2147483646 h 630"/>
                    <a:gd name="T110" fmla="*/ 2147483646 w 1688"/>
                    <a:gd name="T111" fmla="*/ 2147483646 h 630"/>
                    <a:gd name="T112" fmla="*/ 2147483646 w 1688"/>
                    <a:gd name="T113" fmla="*/ 2147483646 h 630"/>
                    <a:gd name="T114" fmla="*/ 2147483646 w 1688"/>
                    <a:gd name="T115" fmla="*/ 2147483646 h 630"/>
                    <a:gd name="T116" fmla="*/ 2147483646 w 1688"/>
                    <a:gd name="T117" fmla="*/ 2147483646 h 63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688"/>
                    <a:gd name="T178" fmla="*/ 0 h 630"/>
                    <a:gd name="T179" fmla="*/ 1688 w 1688"/>
                    <a:gd name="T180" fmla="*/ 630 h 63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688" h="630">
                      <a:moveTo>
                        <a:pt x="0" y="180"/>
                      </a:moveTo>
                      <a:lnTo>
                        <a:pt x="7" y="190"/>
                      </a:lnTo>
                      <a:lnTo>
                        <a:pt x="15" y="199"/>
                      </a:lnTo>
                      <a:lnTo>
                        <a:pt x="22" y="208"/>
                      </a:lnTo>
                      <a:lnTo>
                        <a:pt x="32" y="216"/>
                      </a:lnTo>
                      <a:lnTo>
                        <a:pt x="41" y="224"/>
                      </a:lnTo>
                      <a:lnTo>
                        <a:pt x="51" y="232"/>
                      </a:lnTo>
                      <a:lnTo>
                        <a:pt x="62" y="238"/>
                      </a:lnTo>
                      <a:lnTo>
                        <a:pt x="74" y="244"/>
                      </a:lnTo>
                      <a:lnTo>
                        <a:pt x="86" y="249"/>
                      </a:lnTo>
                      <a:lnTo>
                        <a:pt x="99" y="253"/>
                      </a:lnTo>
                      <a:lnTo>
                        <a:pt x="112" y="257"/>
                      </a:lnTo>
                      <a:lnTo>
                        <a:pt x="126" y="260"/>
                      </a:lnTo>
                      <a:lnTo>
                        <a:pt x="140" y="262"/>
                      </a:lnTo>
                      <a:lnTo>
                        <a:pt x="155" y="264"/>
                      </a:lnTo>
                      <a:lnTo>
                        <a:pt x="171" y="265"/>
                      </a:lnTo>
                      <a:lnTo>
                        <a:pt x="187" y="266"/>
                      </a:lnTo>
                      <a:lnTo>
                        <a:pt x="187" y="270"/>
                      </a:lnTo>
                      <a:lnTo>
                        <a:pt x="189" y="276"/>
                      </a:lnTo>
                      <a:lnTo>
                        <a:pt x="191" y="281"/>
                      </a:lnTo>
                      <a:lnTo>
                        <a:pt x="196" y="288"/>
                      </a:lnTo>
                      <a:lnTo>
                        <a:pt x="205" y="300"/>
                      </a:lnTo>
                      <a:lnTo>
                        <a:pt x="215" y="312"/>
                      </a:lnTo>
                      <a:lnTo>
                        <a:pt x="227" y="323"/>
                      </a:lnTo>
                      <a:lnTo>
                        <a:pt x="238" y="331"/>
                      </a:lnTo>
                      <a:lnTo>
                        <a:pt x="242" y="335"/>
                      </a:lnTo>
                      <a:lnTo>
                        <a:pt x="246" y="337"/>
                      </a:lnTo>
                      <a:lnTo>
                        <a:pt x="251" y="340"/>
                      </a:lnTo>
                      <a:lnTo>
                        <a:pt x="253" y="340"/>
                      </a:lnTo>
                      <a:lnTo>
                        <a:pt x="253" y="349"/>
                      </a:lnTo>
                      <a:lnTo>
                        <a:pt x="253" y="358"/>
                      </a:lnTo>
                      <a:lnTo>
                        <a:pt x="253" y="365"/>
                      </a:lnTo>
                      <a:lnTo>
                        <a:pt x="253" y="370"/>
                      </a:lnTo>
                      <a:lnTo>
                        <a:pt x="253" y="379"/>
                      </a:lnTo>
                      <a:lnTo>
                        <a:pt x="254" y="386"/>
                      </a:lnTo>
                      <a:lnTo>
                        <a:pt x="256" y="394"/>
                      </a:lnTo>
                      <a:lnTo>
                        <a:pt x="260" y="402"/>
                      </a:lnTo>
                      <a:lnTo>
                        <a:pt x="262" y="404"/>
                      </a:lnTo>
                      <a:lnTo>
                        <a:pt x="266" y="406"/>
                      </a:lnTo>
                      <a:lnTo>
                        <a:pt x="273" y="408"/>
                      </a:lnTo>
                      <a:lnTo>
                        <a:pt x="280" y="410"/>
                      </a:lnTo>
                      <a:lnTo>
                        <a:pt x="296" y="413"/>
                      </a:lnTo>
                      <a:lnTo>
                        <a:pt x="307" y="414"/>
                      </a:lnTo>
                      <a:lnTo>
                        <a:pt x="323" y="414"/>
                      </a:lnTo>
                      <a:lnTo>
                        <a:pt x="341" y="416"/>
                      </a:lnTo>
                      <a:lnTo>
                        <a:pt x="356" y="419"/>
                      </a:lnTo>
                      <a:lnTo>
                        <a:pt x="373" y="422"/>
                      </a:lnTo>
                      <a:lnTo>
                        <a:pt x="403" y="431"/>
                      </a:lnTo>
                      <a:lnTo>
                        <a:pt x="433" y="441"/>
                      </a:lnTo>
                      <a:lnTo>
                        <a:pt x="463" y="452"/>
                      </a:lnTo>
                      <a:lnTo>
                        <a:pt x="490" y="461"/>
                      </a:lnTo>
                      <a:lnTo>
                        <a:pt x="504" y="464"/>
                      </a:lnTo>
                      <a:lnTo>
                        <a:pt x="518" y="467"/>
                      </a:lnTo>
                      <a:lnTo>
                        <a:pt x="532" y="469"/>
                      </a:lnTo>
                      <a:lnTo>
                        <a:pt x="546" y="469"/>
                      </a:lnTo>
                      <a:lnTo>
                        <a:pt x="548" y="477"/>
                      </a:lnTo>
                      <a:lnTo>
                        <a:pt x="554" y="485"/>
                      </a:lnTo>
                      <a:lnTo>
                        <a:pt x="559" y="493"/>
                      </a:lnTo>
                      <a:lnTo>
                        <a:pt x="566" y="501"/>
                      </a:lnTo>
                      <a:lnTo>
                        <a:pt x="575" y="510"/>
                      </a:lnTo>
                      <a:lnTo>
                        <a:pt x="583" y="517"/>
                      </a:lnTo>
                      <a:lnTo>
                        <a:pt x="592" y="524"/>
                      </a:lnTo>
                      <a:lnTo>
                        <a:pt x="602" y="531"/>
                      </a:lnTo>
                      <a:lnTo>
                        <a:pt x="612" y="537"/>
                      </a:lnTo>
                      <a:lnTo>
                        <a:pt x="622" y="542"/>
                      </a:lnTo>
                      <a:lnTo>
                        <a:pt x="633" y="547"/>
                      </a:lnTo>
                      <a:lnTo>
                        <a:pt x="643" y="550"/>
                      </a:lnTo>
                      <a:lnTo>
                        <a:pt x="653" y="553"/>
                      </a:lnTo>
                      <a:lnTo>
                        <a:pt x="661" y="555"/>
                      </a:lnTo>
                      <a:lnTo>
                        <a:pt x="670" y="555"/>
                      </a:lnTo>
                      <a:lnTo>
                        <a:pt x="679" y="555"/>
                      </a:lnTo>
                      <a:lnTo>
                        <a:pt x="738" y="568"/>
                      </a:lnTo>
                      <a:lnTo>
                        <a:pt x="904" y="568"/>
                      </a:lnTo>
                      <a:lnTo>
                        <a:pt x="910" y="572"/>
                      </a:lnTo>
                      <a:lnTo>
                        <a:pt x="917" y="576"/>
                      </a:lnTo>
                      <a:lnTo>
                        <a:pt x="928" y="580"/>
                      </a:lnTo>
                      <a:lnTo>
                        <a:pt x="940" y="585"/>
                      </a:lnTo>
                      <a:lnTo>
                        <a:pt x="970" y="595"/>
                      </a:lnTo>
                      <a:lnTo>
                        <a:pt x="1003" y="605"/>
                      </a:lnTo>
                      <a:lnTo>
                        <a:pt x="1037" y="614"/>
                      </a:lnTo>
                      <a:lnTo>
                        <a:pt x="1070" y="623"/>
                      </a:lnTo>
                      <a:lnTo>
                        <a:pt x="1084" y="626"/>
                      </a:lnTo>
                      <a:lnTo>
                        <a:pt x="1097" y="628"/>
                      </a:lnTo>
                      <a:lnTo>
                        <a:pt x="1108" y="629"/>
                      </a:lnTo>
                      <a:lnTo>
                        <a:pt x="1117" y="630"/>
                      </a:lnTo>
                      <a:lnTo>
                        <a:pt x="1121" y="629"/>
                      </a:lnTo>
                      <a:lnTo>
                        <a:pt x="1127" y="627"/>
                      </a:lnTo>
                      <a:lnTo>
                        <a:pt x="1134" y="625"/>
                      </a:lnTo>
                      <a:lnTo>
                        <a:pt x="1140" y="622"/>
                      </a:lnTo>
                      <a:lnTo>
                        <a:pt x="1157" y="613"/>
                      </a:lnTo>
                      <a:lnTo>
                        <a:pt x="1174" y="603"/>
                      </a:lnTo>
                      <a:lnTo>
                        <a:pt x="1209" y="583"/>
                      </a:lnTo>
                      <a:lnTo>
                        <a:pt x="1237" y="568"/>
                      </a:lnTo>
                      <a:lnTo>
                        <a:pt x="1337" y="568"/>
                      </a:lnTo>
                      <a:lnTo>
                        <a:pt x="1344" y="564"/>
                      </a:lnTo>
                      <a:lnTo>
                        <a:pt x="1355" y="556"/>
                      </a:lnTo>
                      <a:lnTo>
                        <a:pt x="1366" y="546"/>
                      </a:lnTo>
                      <a:lnTo>
                        <a:pt x="1377" y="534"/>
                      </a:lnTo>
                      <a:lnTo>
                        <a:pt x="1387" y="522"/>
                      </a:lnTo>
                      <a:lnTo>
                        <a:pt x="1395" y="510"/>
                      </a:lnTo>
                      <a:lnTo>
                        <a:pt x="1398" y="503"/>
                      </a:lnTo>
                      <a:lnTo>
                        <a:pt x="1400" y="497"/>
                      </a:lnTo>
                      <a:lnTo>
                        <a:pt x="1403" y="492"/>
                      </a:lnTo>
                      <a:lnTo>
                        <a:pt x="1403" y="487"/>
                      </a:lnTo>
                      <a:lnTo>
                        <a:pt x="1403" y="483"/>
                      </a:lnTo>
                      <a:lnTo>
                        <a:pt x="1401" y="479"/>
                      </a:lnTo>
                      <a:lnTo>
                        <a:pt x="1399" y="475"/>
                      </a:lnTo>
                      <a:lnTo>
                        <a:pt x="1397" y="471"/>
                      </a:lnTo>
                      <a:lnTo>
                        <a:pt x="1392" y="463"/>
                      </a:lnTo>
                      <a:lnTo>
                        <a:pt x="1386" y="455"/>
                      </a:lnTo>
                      <a:lnTo>
                        <a:pt x="1379" y="445"/>
                      </a:lnTo>
                      <a:lnTo>
                        <a:pt x="1374" y="434"/>
                      </a:lnTo>
                      <a:lnTo>
                        <a:pt x="1373" y="429"/>
                      </a:lnTo>
                      <a:lnTo>
                        <a:pt x="1371" y="422"/>
                      </a:lnTo>
                      <a:lnTo>
                        <a:pt x="1370" y="415"/>
                      </a:lnTo>
                      <a:lnTo>
                        <a:pt x="1370" y="408"/>
                      </a:lnTo>
                      <a:lnTo>
                        <a:pt x="1483" y="408"/>
                      </a:lnTo>
                      <a:lnTo>
                        <a:pt x="1486" y="404"/>
                      </a:lnTo>
                      <a:lnTo>
                        <a:pt x="1491" y="399"/>
                      </a:lnTo>
                      <a:lnTo>
                        <a:pt x="1499" y="394"/>
                      </a:lnTo>
                      <a:lnTo>
                        <a:pt x="1508" y="388"/>
                      </a:lnTo>
                      <a:lnTo>
                        <a:pt x="1529" y="376"/>
                      </a:lnTo>
                      <a:lnTo>
                        <a:pt x="1551" y="364"/>
                      </a:lnTo>
                      <a:lnTo>
                        <a:pt x="1574" y="352"/>
                      </a:lnTo>
                      <a:lnTo>
                        <a:pt x="1594" y="343"/>
                      </a:lnTo>
                      <a:lnTo>
                        <a:pt x="1608" y="335"/>
                      </a:lnTo>
                      <a:lnTo>
                        <a:pt x="1616" y="333"/>
                      </a:lnTo>
                      <a:lnTo>
                        <a:pt x="1628" y="332"/>
                      </a:lnTo>
                      <a:lnTo>
                        <a:pt x="1640" y="329"/>
                      </a:lnTo>
                      <a:lnTo>
                        <a:pt x="1651" y="325"/>
                      </a:lnTo>
                      <a:lnTo>
                        <a:pt x="1662" y="319"/>
                      </a:lnTo>
                      <a:lnTo>
                        <a:pt x="1670" y="314"/>
                      </a:lnTo>
                      <a:lnTo>
                        <a:pt x="1679" y="308"/>
                      </a:lnTo>
                      <a:lnTo>
                        <a:pt x="1685" y="302"/>
                      </a:lnTo>
                      <a:lnTo>
                        <a:pt x="1688" y="297"/>
                      </a:lnTo>
                      <a:lnTo>
                        <a:pt x="1680" y="294"/>
                      </a:lnTo>
                      <a:lnTo>
                        <a:pt x="1674" y="291"/>
                      </a:lnTo>
                      <a:lnTo>
                        <a:pt x="1667" y="288"/>
                      </a:lnTo>
                      <a:lnTo>
                        <a:pt x="1661" y="284"/>
                      </a:lnTo>
                      <a:lnTo>
                        <a:pt x="1656" y="279"/>
                      </a:lnTo>
                      <a:lnTo>
                        <a:pt x="1652" y="275"/>
                      </a:lnTo>
                      <a:lnTo>
                        <a:pt x="1650" y="270"/>
                      </a:lnTo>
                      <a:lnTo>
                        <a:pt x="1648" y="266"/>
                      </a:lnTo>
                      <a:lnTo>
                        <a:pt x="1632" y="258"/>
                      </a:lnTo>
                      <a:lnTo>
                        <a:pt x="1619" y="252"/>
                      </a:lnTo>
                      <a:lnTo>
                        <a:pt x="1613" y="250"/>
                      </a:lnTo>
                      <a:lnTo>
                        <a:pt x="1608" y="249"/>
                      </a:lnTo>
                      <a:lnTo>
                        <a:pt x="1602" y="248"/>
                      </a:lnTo>
                      <a:lnTo>
                        <a:pt x="1596" y="247"/>
                      </a:lnTo>
                      <a:lnTo>
                        <a:pt x="1583" y="248"/>
                      </a:lnTo>
                      <a:lnTo>
                        <a:pt x="1574" y="249"/>
                      </a:lnTo>
                      <a:lnTo>
                        <a:pt x="1567" y="251"/>
                      </a:lnTo>
                      <a:lnTo>
                        <a:pt x="1563" y="253"/>
                      </a:lnTo>
                      <a:lnTo>
                        <a:pt x="1558" y="256"/>
                      </a:lnTo>
                      <a:lnTo>
                        <a:pt x="1553" y="258"/>
                      </a:lnTo>
                      <a:lnTo>
                        <a:pt x="1546" y="259"/>
                      </a:lnTo>
                      <a:lnTo>
                        <a:pt x="1535" y="259"/>
                      </a:lnTo>
                      <a:lnTo>
                        <a:pt x="1521" y="259"/>
                      </a:lnTo>
                      <a:lnTo>
                        <a:pt x="1509" y="258"/>
                      </a:lnTo>
                      <a:lnTo>
                        <a:pt x="1497" y="256"/>
                      </a:lnTo>
                      <a:lnTo>
                        <a:pt x="1487" y="253"/>
                      </a:lnTo>
                      <a:lnTo>
                        <a:pt x="1478" y="249"/>
                      </a:lnTo>
                      <a:lnTo>
                        <a:pt x="1471" y="245"/>
                      </a:lnTo>
                      <a:lnTo>
                        <a:pt x="1463" y="240"/>
                      </a:lnTo>
                      <a:lnTo>
                        <a:pt x="1457" y="235"/>
                      </a:lnTo>
                      <a:lnTo>
                        <a:pt x="1452" y="228"/>
                      </a:lnTo>
                      <a:lnTo>
                        <a:pt x="1448" y="220"/>
                      </a:lnTo>
                      <a:lnTo>
                        <a:pt x="1443" y="213"/>
                      </a:lnTo>
                      <a:lnTo>
                        <a:pt x="1440" y="205"/>
                      </a:lnTo>
                      <a:lnTo>
                        <a:pt x="1434" y="187"/>
                      </a:lnTo>
                      <a:lnTo>
                        <a:pt x="1429" y="167"/>
                      </a:lnTo>
                      <a:lnTo>
                        <a:pt x="1422" y="136"/>
                      </a:lnTo>
                      <a:lnTo>
                        <a:pt x="1412" y="134"/>
                      </a:lnTo>
                      <a:lnTo>
                        <a:pt x="1385" y="127"/>
                      </a:lnTo>
                      <a:lnTo>
                        <a:pt x="1367" y="124"/>
                      </a:lnTo>
                      <a:lnTo>
                        <a:pt x="1347" y="121"/>
                      </a:lnTo>
                      <a:lnTo>
                        <a:pt x="1326" y="119"/>
                      </a:lnTo>
                      <a:lnTo>
                        <a:pt x="1303" y="118"/>
                      </a:lnTo>
                      <a:lnTo>
                        <a:pt x="1294" y="119"/>
                      </a:lnTo>
                      <a:lnTo>
                        <a:pt x="1286" y="120"/>
                      </a:lnTo>
                      <a:lnTo>
                        <a:pt x="1281" y="123"/>
                      </a:lnTo>
                      <a:lnTo>
                        <a:pt x="1275" y="126"/>
                      </a:lnTo>
                      <a:lnTo>
                        <a:pt x="1267" y="134"/>
                      </a:lnTo>
                      <a:lnTo>
                        <a:pt x="1262" y="142"/>
                      </a:lnTo>
                      <a:lnTo>
                        <a:pt x="1260" y="147"/>
                      </a:lnTo>
                      <a:lnTo>
                        <a:pt x="1257" y="151"/>
                      </a:lnTo>
                      <a:lnTo>
                        <a:pt x="1252" y="156"/>
                      </a:lnTo>
                      <a:lnTo>
                        <a:pt x="1248" y="159"/>
                      </a:lnTo>
                      <a:lnTo>
                        <a:pt x="1242" y="162"/>
                      </a:lnTo>
                      <a:lnTo>
                        <a:pt x="1236" y="165"/>
                      </a:lnTo>
                      <a:lnTo>
                        <a:pt x="1227" y="166"/>
                      </a:lnTo>
                      <a:lnTo>
                        <a:pt x="1217" y="167"/>
                      </a:lnTo>
                      <a:lnTo>
                        <a:pt x="1199" y="167"/>
                      </a:lnTo>
                      <a:lnTo>
                        <a:pt x="1184" y="167"/>
                      </a:lnTo>
                      <a:lnTo>
                        <a:pt x="1168" y="167"/>
                      </a:lnTo>
                      <a:lnTo>
                        <a:pt x="1150" y="167"/>
                      </a:lnTo>
                      <a:lnTo>
                        <a:pt x="1130" y="167"/>
                      </a:lnTo>
                      <a:lnTo>
                        <a:pt x="1106" y="167"/>
                      </a:lnTo>
                      <a:lnTo>
                        <a:pt x="1078" y="167"/>
                      </a:lnTo>
                      <a:lnTo>
                        <a:pt x="1044" y="167"/>
                      </a:lnTo>
                      <a:lnTo>
                        <a:pt x="1034" y="164"/>
                      </a:lnTo>
                      <a:lnTo>
                        <a:pt x="1025" y="160"/>
                      </a:lnTo>
                      <a:lnTo>
                        <a:pt x="1015" y="156"/>
                      </a:lnTo>
                      <a:lnTo>
                        <a:pt x="1005" y="151"/>
                      </a:lnTo>
                      <a:lnTo>
                        <a:pt x="986" y="140"/>
                      </a:lnTo>
                      <a:lnTo>
                        <a:pt x="967" y="129"/>
                      </a:lnTo>
                      <a:lnTo>
                        <a:pt x="956" y="123"/>
                      </a:lnTo>
                      <a:lnTo>
                        <a:pt x="945" y="118"/>
                      </a:lnTo>
                      <a:lnTo>
                        <a:pt x="934" y="112"/>
                      </a:lnTo>
                      <a:lnTo>
                        <a:pt x="922" y="108"/>
                      </a:lnTo>
                      <a:lnTo>
                        <a:pt x="908" y="104"/>
                      </a:lnTo>
                      <a:lnTo>
                        <a:pt x="895" y="102"/>
                      </a:lnTo>
                      <a:lnTo>
                        <a:pt x="880" y="100"/>
                      </a:lnTo>
                      <a:lnTo>
                        <a:pt x="865" y="99"/>
                      </a:lnTo>
                      <a:lnTo>
                        <a:pt x="852" y="100"/>
                      </a:lnTo>
                      <a:lnTo>
                        <a:pt x="841" y="102"/>
                      </a:lnTo>
                      <a:lnTo>
                        <a:pt x="832" y="105"/>
                      </a:lnTo>
                      <a:lnTo>
                        <a:pt x="822" y="108"/>
                      </a:lnTo>
                      <a:lnTo>
                        <a:pt x="811" y="112"/>
                      </a:lnTo>
                      <a:lnTo>
                        <a:pt x="801" y="114"/>
                      </a:lnTo>
                      <a:lnTo>
                        <a:pt x="790" y="118"/>
                      </a:lnTo>
                      <a:lnTo>
                        <a:pt x="778" y="118"/>
                      </a:lnTo>
                      <a:lnTo>
                        <a:pt x="765" y="118"/>
                      </a:lnTo>
                      <a:lnTo>
                        <a:pt x="753" y="117"/>
                      </a:lnTo>
                      <a:lnTo>
                        <a:pt x="740" y="116"/>
                      </a:lnTo>
                      <a:lnTo>
                        <a:pt x="729" y="114"/>
                      </a:lnTo>
                      <a:lnTo>
                        <a:pt x="720" y="111"/>
                      </a:lnTo>
                      <a:lnTo>
                        <a:pt x="710" y="108"/>
                      </a:lnTo>
                      <a:lnTo>
                        <a:pt x="701" y="105"/>
                      </a:lnTo>
                      <a:lnTo>
                        <a:pt x="692" y="101"/>
                      </a:lnTo>
                      <a:lnTo>
                        <a:pt x="686" y="96"/>
                      </a:lnTo>
                      <a:lnTo>
                        <a:pt x="678" y="90"/>
                      </a:lnTo>
                      <a:lnTo>
                        <a:pt x="672" y="84"/>
                      </a:lnTo>
                      <a:lnTo>
                        <a:pt x="667" y="76"/>
                      </a:lnTo>
                      <a:lnTo>
                        <a:pt x="662" y="68"/>
                      </a:lnTo>
                      <a:lnTo>
                        <a:pt x="658" y="58"/>
                      </a:lnTo>
                      <a:lnTo>
                        <a:pt x="655" y="49"/>
                      </a:lnTo>
                      <a:lnTo>
                        <a:pt x="652" y="38"/>
                      </a:lnTo>
                      <a:lnTo>
                        <a:pt x="459" y="0"/>
                      </a:lnTo>
                      <a:lnTo>
                        <a:pt x="446" y="7"/>
                      </a:lnTo>
                      <a:lnTo>
                        <a:pt x="446" y="16"/>
                      </a:lnTo>
                      <a:lnTo>
                        <a:pt x="446" y="23"/>
                      </a:lnTo>
                      <a:lnTo>
                        <a:pt x="446" y="30"/>
                      </a:lnTo>
                      <a:lnTo>
                        <a:pt x="446" y="38"/>
                      </a:lnTo>
                      <a:lnTo>
                        <a:pt x="446" y="44"/>
                      </a:lnTo>
                      <a:lnTo>
                        <a:pt x="448" y="50"/>
                      </a:lnTo>
                      <a:lnTo>
                        <a:pt x="451" y="55"/>
                      </a:lnTo>
                      <a:lnTo>
                        <a:pt x="454" y="61"/>
                      </a:lnTo>
                      <a:lnTo>
                        <a:pt x="463" y="71"/>
                      </a:lnTo>
                      <a:lnTo>
                        <a:pt x="471" y="79"/>
                      </a:lnTo>
                      <a:lnTo>
                        <a:pt x="476" y="84"/>
                      </a:lnTo>
                      <a:lnTo>
                        <a:pt x="480" y="89"/>
                      </a:lnTo>
                      <a:lnTo>
                        <a:pt x="485" y="94"/>
                      </a:lnTo>
                      <a:lnTo>
                        <a:pt x="488" y="100"/>
                      </a:lnTo>
                      <a:lnTo>
                        <a:pt x="490" y="106"/>
                      </a:lnTo>
                      <a:lnTo>
                        <a:pt x="492" y="113"/>
                      </a:lnTo>
                      <a:lnTo>
                        <a:pt x="493" y="122"/>
                      </a:lnTo>
                      <a:lnTo>
                        <a:pt x="492" y="130"/>
                      </a:lnTo>
                      <a:lnTo>
                        <a:pt x="313" y="130"/>
                      </a:lnTo>
                      <a:lnTo>
                        <a:pt x="307" y="122"/>
                      </a:lnTo>
                      <a:lnTo>
                        <a:pt x="300" y="113"/>
                      </a:lnTo>
                      <a:lnTo>
                        <a:pt x="298" y="108"/>
                      </a:lnTo>
                      <a:lnTo>
                        <a:pt x="296" y="102"/>
                      </a:lnTo>
                      <a:lnTo>
                        <a:pt x="294" y="95"/>
                      </a:lnTo>
                      <a:lnTo>
                        <a:pt x="294" y="87"/>
                      </a:lnTo>
                      <a:lnTo>
                        <a:pt x="279" y="87"/>
                      </a:lnTo>
                      <a:lnTo>
                        <a:pt x="266" y="87"/>
                      </a:lnTo>
                      <a:lnTo>
                        <a:pt x="240" y="99"/>
                      </a:lnTo>
                      <a:lnTo>
                        <a:pt x="233" y="99"/>
                      </a:lnTo>
                      <a:lnTo>
                        <a:pt x="225" y="97"/>
                      </a:lnTo>
                      <a:lnTo>
                        <a:pt x="219" y="95"/>
                      </a:lnTo>
                      <a:lnTo>
                        <a:pt x="211" y="93"/>
                      </a:lnTo>
                      <a:lnTo>
                        <a:pt x="204" y="91"/>
                      </a:lnTo>
                      <a:lnTo>
                        <a:pt x="195" y="89"/>
                      </a:lnTo>
                      <a:lnTo>
                        <a:pt x="185" y="88"/>
                      </a:lnTo>
                      <a:lnTo>
                        <a:pt x="174" y="87"/>
                      </a:lnTo>
                      <a:lnTo>
                        <a:pt x="164" y="88"/>
                      </a:lnTo>
                      <a:lnTo>
                        <a:pt x="155" y="90"/>
                      </a:lnTo>
                      <a:lnTo>
                        <a:pt x="146" y="93"/>
                      </a:lnTo>
                      <a:lnTo>
                        <a:pt x="138" y="97"/>
                      </a:lnTo>
                      <a:lnTo>
                        <a:pt x="122" y="106"/>
                      </a:lnTo>
                      <a:lnTo>
                        <a:pt x="107" y="118"/>
                      </a:lnTo>
                      <a:lnTo>
                        <a:pt x="92" y="129"/>
                      </a:lnTo>
                      <a:lnTo>
                        <a:pt x="76" y="139"/>
                      </a:lnTo>
                      <a:lnTo>
                        <a:pt x="68" y="143"/>
                      </a:lnTo>
                      <a:lnTo>
                        <a:pt x="60" y="146"/>
                      </a:lnTo>
                      <a:lnTo>
                        <a:pt x="50" y="148"/>
                      </a:lnTo>
                      <a:lnTo>
                        <a:pt x="41" y="149"/>
                      </a:lnTo>
                      <a:lnTo>
                        <a:pt x="37" y="149"/>
                      </a:lnTo>
                      <a:lnTo>
                        <a:pt x="31" y="151"/>
                      </a:lnTo>
                      <a:lnTo>
                        <a:pt x="25" y="153"/>
                      </a:lnTo>
                      <a:lnTo>
                        <a:pt x="18" y="157"/>
                      </a:lnTo>
                      <a:lnTo>
                        <a:pt x="11" y="161"/>
                      </a:lnTo>
                      <a:lnTo>
                        <a:pt x="6" y="166"/>
                      </a:lnTo>
                      <a:lnTo>
                        <a:pt x="4" y="169"/>
                      </a:lnTo>
                      <a:lnTo>
                        <a:pt x="3" y="173"/>
                      </a:lnTo>
                      <a:lnTo>
                        <a:pt x="1" y="177"/>
                      </a:lnTo>
                      <a:lnTo>
                        <a:pt x="0" y="18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46" name="Freeform 162">
                  <a:extLst>
                    <a:ext uri="{FF2B5EF4-FFF2-40B4-BE49-F238E27FC236}">
                      <a16:creationId xmlns:a16="http://schemas.microsoft.com/office/drawing/2014/main" xmlns="" id="{D6ADC7CA-8C5F-473E-8433-0867197939A7}"/>
                    </a:ext>
                  </a:extLst>
                </p:cNvPr>
                <p:cNvSpPr>
                  <a:spLocks/>
                </p:cNvSpPr>
                <p:nvPr>
                  <p:custDataLst>
                    <p:tags r:id="rId93"/>
                  </p:custDataLst>
                </p:nvPr>
              </p:nvSpPr>
              <p:spPr bwMode="auto">
                <a:xfrm>
                  <a:off x="2265363" y="3981450"/>
                  <a:ext cx="328612" cy="415925"/>
                </a:xfrm>
                <a:custGeom>
                  <a:avLst/>
                  <a:gdLst>
                    <a:gd name="T0" fmla="*/ 2147483646 w 758"/>
                    <a:gd name="T1" fmla="*/ 2147483646 h 795"/>
                    <a:gd name="T2" fmla="*/ 2147483646 w 758"/>
                    <a:gd name="T3" fmla="*/ 2147483646 h 795"/>
                    <a:gd name="T4" fmla="*/ 2147483646 w 758"/>
                    <a:gd name="T5" fmla="*/ 2147483646 h 795"/>
                    <a:gd name="T6" fmla="*/ 2147483646 w 758"/>
                    <a:gd name="T7" fmla="*/ 2147483646 h 795"/>
                    <a:gd name="T8" fmla="*/ 2147483646 w 758"/>
                    <a:gd name="T9" fmla="*/ 2147483646 h 795"/>
                    <a:gd name="T10" fmla="*/ 2147483646 w 758"/>
                    <a:gd name="T11" fmla="*/ 2147483646 h 795"/>
                    <a:gd name="T12" fmla="*/ 2147483646 w 758"/>
                    <a:gd name="T13" fmla="*/ 2147483646 h 795"/>
                    <a:gd name="T14" fmla="*/ 2147483646 w 758"/>
                    <a:gd name="T15" fmla="*/ 2147483646 h 795"/>
                    <a:gd name="T16" fmla="*/ 2147483646 w 758"/>
                    <a:gd name="T17" fmla="*/ 2147483646 h 795"/>
                    <a:gd name="T18" fmla="*/ 2147483646 w 758"/>
                    <a:gd name="T19" fmla="*/ 2147483646 h 795"/>
                    <a:gd name="T20" fmla="*/ 2147483646 w 758"/>
                    <a:gd name="T21" fmla="*/ 2147483646 h 795"/>
                    <a:gd name="T22" fmla="*/ 2147483646 w 758"/>
                    <a:gd name="T23" fmla="*/ 2147483646 h 795"/>
                    <a:gd name="T24" fmla="*/ 2147483646 w 758"/>
                    <a:gd name="T25" fmla="*/ 2147483646 h 795"/>
                    <a:gd name="T26" fmla="*/ 2147483646 w 758"/>
                    <a:gd name="T27" fmla="*/ 2147483646 h 795"/>
                    <a:gd name="T28" fmla="*/ 2147483646 w 758"/>
                    <a:gd name="T29" fmla="*/ 2147483646 h 795"/>
                    <a:gd name="T30" fmla="*/ 2147483646 w 758"/>
                    <a:gd name="T31" fmla="*/ 2147483646 h 795"/>
                    <a:gd name="T32" fmla="*/ 2147483646 w 758"/>
                    <a:gd name="T33" fmla="*/ 2147483646 h 795"/>
                    <a:gd name="T34" fmla="*/ 2147483646 w 758"/>
                    <a:gd name="T35" fmla="*/ 2147483646 h 795"/>
                    <a:gd name="T36" fmla="*/ 2147483646 w 758"/>
                    <a:gd name="T37" fmla="*/ 2147483646 h 795"/>
                    <a:gd name="T38" fmla="*/ 2147483646 w 758"/>
                    <a:gd name="T39" fmla="*/ 2147483646 h 795"/>
                    <a:gd name="T40" fmla="*/ 2147483646 w 758"/>
                    <a:gd name="T41" fmla="*/ 2147483646 h 795"/>
                    <a:gd name="T42" fmla="*/ 2147483646 w 758"/>
                    <a:gd name="T43" fmla="*/ 2147483646 h 795"/>
                    <a:gd name="T44" fmla="*/ 2147483646 w 758"/>
                    <a:gd name="T45" fmla="*/ 2147483646 h 795"/>
                    <a:gd name="T46" fmla="*/ 2147483646 w 758"/>
                    <a:gd name="T47" fmla="*/ 2147483646 h 795"/>
                    <a:gd name="T48" fmla="*/ 2147483646 w 758"/>
                    <a:gd name="T49" fmla="*/ 2147483646 h 795"/>
                    <a:gd name="T50" fmla="*/ 2147483646 w 758"/>
                    <a:gd name="T51" fmla="*/ 2147483646 h 795"/>
                    <a:gd name="T52" fmla="*/ 2147483646 w 758"/>
                    <a:gd name="T53" fmla="*/ 2147483646 h 795"/>
                    <a:gd name="T54" fmla="*/ 2147483646 w 758"/>
                    <a:gd name="T55" fmla="*/ 2147483646 h 795"/>
                    <a:gd name="T56" fmla="*/ 2147483646 w 758"/>
                    <a:gd name="T57" fmla="*/ 2147483646 h 795"/>
                    <a:gd name="T58" fmla="*/ 2147483646 w 758"/>
                    <a:gd name="T59" fmla="*/ 2147483646 h 795"/>
                    <a:gd name="T60" fmla="*/ 2147483646 w 758"/>
                    <a:gd name="T61" fmla="*/ 2147483646 h 795"/>
                    <a:gd name="T62" fmla="*/ 2147483646 w 758"/>
                    <a:gd name="T63" fmla="*/ 2147483646 h 795"/>
                    <a:gd name="T64" fmla="*/ 2147483646 w 758"/>
                    <a:gd name="T65" fmla="*/ 2147483646 h 795"/>
                    <a:gd name="T66" fmla="*/ 2147483646 w 758"/>
                    <a:gd name="T67" fmla="*/ 2147483646 h 795"/>
                    <a:gd name="T68" fmla="*/ 2147483646 w 758"/>
                    <a:gd name="T69" fmla="*/ 2147483646 h 795"/>
                    <a:gd name="T70" fmla="*/ 2147483646 w 758"/>
                    <a:gd name="T71" fmla="*/ 2147483646 h 795"/>
                    <a:gd name="T72" fmla="*/ 2147483646 w 758"/>
                    <a:gd name="T73" fmla="*/ 2147483646 h 795"/>
                    <a:gd name="T74" fmla="*/ 2147483646 w 758"/>
                    <a:gd name="T75" fmla="*/ 2147483646 h 795"/>
                    <a:gd name="T76" fmla="*/ 2147483646 w 758"/>
                    <a:gd name="T77" fmla="*/ 2147483646 h 795"/>
                    <a:gd name="T78" fmla="*/ 2147483646 w 758"/>
                    <a:gd name="T79" fmla="*/ 2147483646 h 795"/>
                    <a:gd name="T80" fmla="*/ 2147483646 w 758"/>
                    <a:gd name="T81" fmla="*/ 2147483646 h 795"/>
                    <a:gd name="T82" fmla="*/ 2147483646 w 758"/>
                    <a:gd name="T83" fmla="*/ 2147483646 h 795"/>
                    <a:gd name="T84" fmla="*/ 2147483646 w 758"/>
                    <a:gd name="T85" fmla="*/ 2147483646 h 795"/>
                    <a:gd name="T86" fmla="*/ 2147483646 w 758"/>
                    <a:gd name="T87" fmla="*/ 2147483646 h 795"/>
                    <a:gd name="T88" fmla="*/ 2147483646 w 758"/>
                    <a:gd name="T89" fmla="*/ 2147483646 h 795"/>
                    <a:gd name="T90" fmla="*/ 2147483646 w 758"/>
                    <a:gd name="T91" fmla="*/ 2147483646 h 795"/>
                    <a:gd name="T92" fmla="*/ 2147483646 w 758"/>
                    <a:gd name="T93" fmla="*/ 2147483646 h 795"/>
                    <a:gd name="T94" fmla="*/ 2147483646 w 758"/>
                    <a:gd name="T95" fmla="*/ 2147483646 h 795"/>
                    <a:gd name="T96" fmla="*/ 2147483646 w 758"/>
                    <a:gd name="T97" fmla="*/ 2147483646 h 795"/>
                    <a:gd name="T98" fmla="*/ 2147483646 w 758"/>
                    <a:gd name="T99" fmla="*/ 2147483646 h 795"/>
                    <a:gd name="T100" fmla="*/ 2147483646 w 758"/>
                    <a:gd name="T101" fmla="*/ 2147483646 h 795"/>
                    <a:gd name="T102" fmla="*/ 2147483646 w 758"/>
                    <a:gd name="T103" fmla="*/ 2147483646 h 795"/>
                    <a:gd name="T104" fmla="*/ 2147483646 w 758"/>
                    <a:gd name="T105" fmla="*/ 2147483646 h 795"/>
                    <a:gd name="T106" fmla="*/ 2147483646 w 758"/>
                    <a:gd name="T107" fmla="*/ 2147483646 h 795"/>
                    <a:gd name="T108" fmla="*/ 2147483646 w 758"/>
                    <a:gd name="T109" fmla="*/ 2147483646 h 795"/>
                    <a:gd name="T110" fmla="*/ 2147483646 w 758"/>
                    <a:gd name="T111" fmla="*/ 2147483646 h 795"/>
                    <a:gd name="T112" fmla="*/ 2147483646 w 758"/>
                    <a:gd name="T113" fmla="*/ 2147483646 h 795"/>
                    <a:gd name="T114" fmla="*/ 2147483646 w 758"/>
                    <a:gd name="T115" fmla="*/ 2147483646 h 795"/>
                    <a:gd name="T116" fmla="*/ 2147483646 w 758"/>
                    <a:gd name="T117" fmla="*/ 2147483646 h 795"/>
                    <a:gd name="T118" fmla="*/ 0 w 758"/>
                    <a:gd name="T119" fmla="*/ 2147483646 h 795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758"/>
                    <a:gd name="T181" fmla="*/ 0 h 795"/>
                    <a:gd name="T182" fmla="*/ 758 w 758"/>
                    <a:gd name="T183" fmla="*/ 795 h 795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758" h="795">
                      <a:moveTo>
                        <a:pt x="0" y="80"/>
                      </a:moveTo>
                      <a:lnTo>
                        <a:pt x="10" y="80"/>
                      </a:lnTo>
                      <a:lnTo>
                        <a:pt x="20" y="80"/>
                      </a:lnTo>
                      <a:lnTo>
                        <a:pt x="26" y="80"/>
                      </a:lnTo>
                      <a:lnTo>
                        <a:pt x="31" y="81"/>
                      </a:lnTo>
                      <a:lnTo>
                        <a:pt x="37" y="83"/>
                      </a:lnTo>
                      <a:lnTo>
                        <a:pt x="43" y="85"/>
                      </a:lnTo>
                      <a:lnTo>
                        <a:pt x="49" y="88"/>
                      </a:lnTo>
                      <a:lnTo>
                        <a:pt x="55" y="92"/>
                      </a:lnTo>
                      <a:lnTo>
                        <a:pt x="61" y="97"/>
                      </a:lnTo>
                      <a:lnTo>
                        <a:pt x="66" y="102"/>
                      </a:lnTo>
                      <a:lnTo>
                        <a:pt x="72" y="108"/>
                      </a:lnTo>
                      <a:lnTo>
                        <a:pt x="77" y="113"/>
                      </a:lnTo>
                      <a:lnTo>
                        <a:pt x="82" y="120"/>
                      </a:lnTo>
                      <a:lnTo>
                        <a:pt x="86" y="127"/>
                      </a:lnTo>
                      <a:lnTo>
                        <a:pt x="88" y="134"/>
                      </a:lnTo>
                      <a:lnTo>
                        <a:pt x="92" y="142"/>
                      </a:lnTo>
                      <a:lnTo>
                        <a:pt x="93" y="152"/>
                      </a:lnTo>
                      <a:lnTo>
                        <a:pt x="94" y="161"/>
                      </a:lnTo>
                      <a:lnTo>
                        <a:pt x="93" y="169"/>
                      </a:lnTo>
                      <a:lnTo>
                        <a:pt x="92" y="175"/>
                      </a:lnTo>
                      <a:lnTo>
                        <a:pt x="89" y="180"/>
                      </a:lnTo>
                      <a:lnTo>
                        <a:pt x="87" y="183"/>
                      </a:lnTo>
                      <a:lnTo>
                        <a:pt x="84" y="186"/>
                      </a:lnTo>
                      <a:lnTo>
                        <a:pt x="82" y="190"/>
                      </a:lnTo>
                      <a:lnTo>
                        <a:pt x="81" y="193"/>
                      </a:lnTo>
                      <a:lnTo>
                        <a:pt x="81" y="197"/>
                      </a:lnTo>
                      <a:lnTo>
                        <a:pt x="81" y="205"/>
                      </a:lnTo>
                      <a:lnTo>
                        <a:pt x="82" y="214"/>
                      </a:lnTo>
                      <a:lnTo>
                        <a:pt x="83" y="221"/>
                      </a:lnTo>
                      <a:lnTo>
                        <a:pt x="84" y="227"/>
                      </a:lnTo>
                      <a:lnTo>
                        <a:pt x="88" y="240"/>
                      </a:lnTo>
                      <a:lnTo>
                        <a:pt x="94" y="252"/>
                      </a:lnTo>
                      <a:lnTo>
                        <a:pt x="97" y="262"/>
                      </a:lnTo>
                      <a:lnTo>
                        <a:pt x="100" y="271"/>
                      </a:lnTo>
                      <a:lnTo>
                        <a:pt x="95" y="278"/>
                      </a:lnTo>
                      <a:lnTo>
                        <a:pt x="92" y="285"/>
                      </a:lnTo>
                      <a:lnTo>
                        <a:pt x="88" y="293"/>
                      </a:lnTo>
                      <a:lnTo>
                        <a:pt x="85" y="300"/>
                      </a:lnTo>
                      <a:lnTo>
                        <a:pt x="83" y="308"/>
                      </a:lnTo>
                      <a:lnTo>
                        <a:pt x="82" y="318"/>
                      </a:lnTo>
                      <a:lnTo>
                        <a:pt x="81" y="328"/>
                      </a:lnTo>
                      <a:lnTo>
                        <a:pt x="81" y="339"/>
                      </a:lnTo>
                      <a:lnTo>
                        <a:pt x="81" y="352"/>
                      </a:lnTo>
                      <a:lnTo>
                        <a:pt x="83" y="363"/>
                      </a:lnTo>
                      <a:lnTo>
                        <a:pt x="85" y="374"/>
                      </a:lnTo>
                      <a:lnTo>
                        <a:pt x="88" y="382"/>
                      </a:lnTo>
                      <a:lnTo>
                        <a:pt x="93" y="390"/>
                      </a:lnTo>
                      <a:lnTo>
                        <a:pt x="97" y="396"/>
                      </a:lnTo>
                      <a:lnTo>
                        <a:pt x="101" y="402"/>
                      </a:lnTo>
                      <a:lnTo>
                        <a:pt x="107" y="407"/>
                      </a:lnTo>
                      <a:lnTo>
                        <a:pt x="99" y="415"/>
                      </a:lnTo>
                      <a:lnTo>
                        <a:pt x="94" y="424"/>
                      </a:lnTo>
                      <a:lnTo>
                        <a:pt x="89" y="433"/>
                      </a:lnTo>
                      <a:lnTo>
                        <a:pt x="85" y="441"/>
                      </a:lnTo>
                      <a:lnTo>
                        <a:pt x="78" y="457"/>
                      </a:lnTo>
                      <a:lnTo>
                        <a:pt x="73" y="474"/>
                      </a:lnTo>
                      <a:lnTo>
                        <a:pt x="88" y="493"/>
                      </a:lnTo>
                      <a:lnTo>
                        <a:pt x="101" y="511"/>
                      </a:lnTo>
                      <a:lnTo>
                        <a:pt x="113" y="529"/>
                      </a:lnTo>
                      <a:lnTo>
                        <a:pt x="124" y="548"/>
                      </a:lnTo>
                      <a:lnTo>
                        <a:pt x="130" y="558"/>
                      </a:lnTo>
                      <a:lnTo>
                        <a:pt x="134" y="567"/>
                      </a:lnTo>
                      <a:lnTo>
                        <a:pt x="138" y="577"/>
                      </a:lnTo>
                      <a:lnTo>
                        <a:pt x="141" y="588"/>
                      </a:lnTo>
                      <a:lnTo>
                        <a:pt x="143" y="599"/>
                      </a:lnTo>
                      <a:lnTo>
                        <a:pt x="145" y="611"/>
                      </a:lnTo>
                      <a:lnTo>
                        <a:pt x="146" y="622"/>
                      </a:lnTo>
                      <a:lnTo>
                        <a:pt x="146" y="634"/>
                      </a:lnTo>
                      <a:lnTo>
                        <a:pt x="148" y="640"/>
                      </a:lnTo>
                      <a:lnTo>
                        <a:pt x="149" y="648"/>
                      </a:lnTo>
                      <a:lnTo>
                        <a:pt x="152" y="659"/>
                      </a:lnTo>
                      <a:lnTo>
                        <a:pt x="156" y="670"/>
                      </a:lnTo>
                      <a:lnTo>
                        <a:pt x="166" y="696"/>
                      </a:lnTo>
                      <a:lnTo>
                        <a:pt x="179" y="724"/>
                      </a:lnTo>
                      <a:lnTo>
                        <a:pt x="187" y="738"/>
                      </a:lnTo>
                      <a:lnTo>
                        <a:pt x="194" y="750"/>
                      </a:lnTo>
                      <a:lnTo>
                        <a:pt x="201" y="763"/>
                      </a:lnTo>
                      <a:lnTo>
                        <a:pt x="208" y="774"/>
                      </a:lnTo>
                      <a:lnTo>
                        <a:pt x="214" y="782"/>
                      </a:lnTo>
                      <a:lnTo>
                        <a:pt x="221" y="789"/>
                      </a:lnTo>
                      <a:lnTo>
                        <a:pt x="224" y="792"/>
                      </a:lnTo>
                      <a:lnTo>
                        <a:pt x="228" y="793"/>
                      </a:lnTo>
                      <a:lnTo>
                        <a:pt x="230" y="794"/>
                      </a:lnTo>
                      <a:lnTo>
                        <a:pt x="233" y="795"/>
                      </a:lnTo>
                      <a:lnTo>
                        <a:pt x="239" y="794"/>
                      </a:lnTo>
                      <a:lnTo>
                        <a:pt x="244" y="793"/>
                      </a:lnTo>
                      <a:lnTo>
                        <a:pt x="251" y="790"/>
                      </a:lnTo>
                      <a:lnTo>
                        <a:pt x="256" y="787"/>
                      </a:lnTo>
                      <a:lnTo>
                        <a:pt x="266" y="780"/>
                      </a:lnTo>
                      <a:lnTo>
                        <a:pt x="278" y="771"/>
                      </a:lnTo>
                      <a:lnTo>
                        <a:pt x="289" y="761"/>
                      </a:lnTo>
                      <a:lnTo>
                        <a:pt x="302" y="753"/>
                      </a:lnTo>
                      <a:lnTo>
                        <a:pt x="309" y="750"/>
                      </a:lnTo>
                      <a:lnTo>
                        <a:pt x="317" y="747"/>
                      </a:lnTo>
                      <a:lnTo>
                        <a:pt x="324" y="746"/>
                      </a:lnTo>
                      <a:lnTo>
                        <a:pt x="332" y="745"/>
                      </a:lnTo>
                      <a:lnTo>
                        <a:pt x="341" y="746"/>
                      </a:lnTo>
                      <a:lnTo>
                        <a:pt x="348" y="747"/>
                      </a:lnTo>
                      <a:lnTo>
                        <a:pt x="355" y="748"/>
                      </a:lnTo>
                      <a:lnTo>
                        <a:pt x="361" y="750"/>
                      </a:lnTo>
                      <a:lnTo>
                        <a:pt x="371" y="756"/>
                      </a:lnTo>
                      <a:lnTo>
                        <a:pt x="380" y="763"/>
                      </a:lnTo>
                      <a:lnTo>
                        <a:pt x="388" y="770"/>
                      </a:lnTo>
                      <a:lnTo>
                        <a:pt x="395" y="777"/>
                      </a:lnTo>
                      <a:lnTo>
                        <a:pt x="403" y="783"/>
                      </a:lnTo>
                      <a:lnTo>
                        <a:pt x="412" y="789"/>
                      </a:lnTo>
                      <a:lnTo>
                        <a:pt x="418" y="780"/>
                      </a:lnTo>
                      <a:lnTo>
                        <a:pt x="422" y="773"/>
                      </a:lnTo>
                      <a:lnTo>
                        <a:pt x="427" y="767"/>
                      </a:lnTo>
                      <a:lnTo>
                        <a:pt x="432" y="761"/>
                      </a:lnTo>
                      <a:lnTo>
                        <a:pt x="437" y="758"/>
                      </a:lnTo>
                      <a:lnTo>
                        <a:pt x="443" y="754"/>
                      </a:lnTo>
                      <a:lnTo>
                        <a:pt x="448" y="752"/>
                      </a:lnTo>
                      <a:lnTo>
                        <a:pt x="454" y="750"/>
                      </a:lnTo>
                      <a:lnTo>
                        <a:pt x="478" y="745"/>
                      </a:lnTo>
                      <a:lnTo>
                        <a:pt x="505" y="739"/>
                      </a:lnTo>
                      <a:lnTo>
                        <a:pt x="525" y="647"/>
                      </a:lnTo>
                      <a:lnTo>
                        <a:pt x="525" y="637"/>
                      </a:lnTo>
                      <a:lnTo>
                        <a:pt x="525" y="622"/>
                      </a:lnTo>
                      <a:lnTo>
                        <a:pt x="526" y="616"/>
                      </a:lnTo>
                      <a:lnTo>
                        <a:pt x="529" y="610"/>
                      </a:lnTo>
                      <a:lnTo>
                        <a:pt x="533" y="604"/>
                      </a:lnTo>
                      <a:lnTo>
                        <a:pt x="539" y="600"/>
                      </a:lnTo>
                      <a:lnTo>
                        <a:pt x="547" y="594"/>
                      </a:lnTo>
                      <a:lnTo>
                        <a:pt x="555" y="590"/>
                      </a:lnTo>
                      <a:lnTo>
                        <a:pt x="565" y="587"/>
                      </a:lnTo>
                      <a:lnTo>
                        <a:pt x="575" y="584"/>
                      </a:lnTo>
                      <a:lnTo>
                        <a:pt x="597" y="579"/>
                      </a:lnTo>
                      <a:lnTo>
                        <a:pt x="621" y="575"/>
                      </a:lnTo>
                      <a:lnTo>
                        <a:pt x="644" y="574"/>
                      </a:lnTo>
                      <a:lnTo>
                        <a:pt x="665" y="573"/>
                      </a:lnTo>
                      <a:lnTo>
                        <a:pt x="671" y="573"/>
                      </a:lnTo>
                      <a:lnTo>
                        <a:pt x="678" y="575"/>
                      </a:lnTo>
                      <a:lnTo>
                        <a:pt x="682" y="577"/>
                      </a:lnTo>
                      <a:lnTo>
                        <a:pt x="687" y="579"/>
                      </a:lnTo>
                      <a:lnTo>
                        <a:pt x="691" y="581"/>
                      </a:lnTo>
                      <a:lnTo>
                        <a:pt x="695" y="583"/>
                      </a:lnTo>
                      <a:lnTo>
                        <a:pt x="700" y="585"/>
                      </a:lnTo>
                      <a:lnTo>
                        <a:pt x="704" y="585"/>
                      </a:lnTo>
                      <a:lnTo>
                        <a:pt x="738" y="598"/>
                      </a:lnTo>
                      <a:lnTo>
                        <a:pt x="738" y="589"/>
                      </a:lnTo>
                      <a:lnTo>
                        <a:pt x="740" y="581"/>
                      </a:lnTo>
                      <a:lnTo>
                        <a:pt x="744" y="573"/>
                      </a:lnTo>
                      <a:lnTo>
                        <a:pt x="748" y="566"/>
                      </a:lnTo>
                      <a:lnTo>
                        <a:pt x="751" y="559"/>
                      </a:lnTo>
                      <a:lnTo>
                        <a:pt x="755" y="550"/>
                      </a:lnTo>
                      <a:lnTo>
                        <a:pt x="757" y="541"/>
                      </a:lnTo>
                      <a:lnTo>
                        <a:pt x="758" y="530"/>
                      </a:lnTo>
                      <a:lnTo>
                        <a:pt x="757" y="518"/>
                      </a:lnTo>
                      <a:lnTo>
                        <a:pt x="756" y="508"/>
                      </a:lnTo>
                      <a:lnTo>
                        <a:pt x="752" y="499"/>
                      </a:lnTo>
                      <a:lnTo>
                        <a:pt x="749" y="492"/>
                      </a:lnTo>
                      <a:lnTo>
                        <a:pt x="740" y="478"/>
                      </a:lnTo>
                      <a:lnTo>
                        <a:pt x="731" y="467"/>
                      </a:lnTo>
                      <a:lnTo>
                        <a:pt x="726" y="462"/>
                      </a:lnTo>
                      <a:lnTo>
                        <a:pt x="722" y="456"/>
                      </a:lnTo>
                      <a:lnTo>
                        <a:pt x="716" y="450"/>
                      </a:lnTo>
                      <a:lnTo>
                        <a:pt x="713" y="443"/>
                      </a:lnTo>
                      <a:lnTo>
                        <a:pt x="710" y="435"/>
                      </a:lnTo>
                      <a:lnTo>
                        <a:pt x="706" y="424"/>
                      </a:lnTo>
                      <a:lnTo>
                        <a:pt x="705" y="413"/>
                      </a:lnTo>
                      <a:lnTo>
                        <a:pt x="704" y="401"/>
                      </a:lnTo>
                      <a:lnTo>
                        <a:pt x="671" y="401"/>
                      </a:lnTo>
                      <a:lnTo>
                        <a:pt x="660" y="403"/>
                      </a:lnTo>
                      <a:lnTo>
                        <a:pt x="650" y="403"/>
                      </a:lnTo>
                      <a:lnTo>
                        <a:pt x="641" y="402"/>
                      </a:lnTo>
                      <a:lnTo>
                        <a:pt x="633" y="399"/>
                      </a:lnTo>
                      <a:lnTo>
                        <a:pt x="625" y="395"/>
                      </a:lnTo>
                      <a:lnTo>
                        <a:pt x="617" y="390"/>
                      </a:lnTo>
                      <a:lnTo>
                        <a:pt x="611" y="384"/>
                      </a:lnTo>
                      <a:lnTo>
                        <a:pt x="605" y="378"/>
                      </a:lnTo>
                      <a:lnTo>
                        <a:pt x="601" y="370"/>
                      </a:lnTo>
                      <a:lnTo>
                        <a:pt x="597" y="363"/>
                      </a:lnTo>
                      <a:lnTo>
                        <a:pt x="593" y="356"/>
                      </a:lnTo>
                      <a:lnTo>
                        <a:pt x="590" y="349"/>
                      </a:lnTo>
                      <a:lnTo>
                        <a:pt x="586" y="336"/>
                      </a:lnTo>
                      <a:lnTo>
                        <a:pt x="585" y="327"/>
                      </a:lnTo>
                      <a:lnTo>
                        <a:pt x="585" y="321"/>
                      </a:lnTo>
                      <a:lnTo>
                        <a:pt x="585" y="311"/>
                      </a:lnTo>
                      <a:lnTo>
                        <a:pt x="585" y="297"/>
                      </a:lnTo>
                      <a:lnTo>
                        <a:pt x="585" y="278"/>
                      </a:lnTo>
                      <a:lnTo>
                        <a:pt x="585" y="274"/>
                      </a:lnTo>
                      <a:lnTo>
                        <a:pt x="583" y="269"/>
                      </a:lnTo>
                      <a:lnTo>
                        <a:pt x="581" y="265"/>
                      </a:lnTo>
                      <a:lnTo>
                        <a:pt x="578" y="260"/>
                      </a:lnTo>
                      <a:lnTo>
                        <a:pt x="570" y="251"/>
                      </a:lnTo>
                      <a:lnTo>
                        <a:pt x="560" y="242"/>
                      </a:lnTo>
                      <a:lnTo>
                        <a:pt x="548" y="233"/>
                      </a:lnTo>
                      <a:lnTo>
                        <a:pt x="534" y="223"/>
                      </a:lnTo>
                      <a:lnTo>
                        <a:pt x="520" y="215"/>
                      </a:lnTo>
                      <a:lnTo>
                        <a:pt x="503" y="205"/>
                      </a:lnTo>
                      <a:lnTo>
                        <a:pt x="487" y="197"/>
                      </a:lnTo>
                      <a:lnTo>
                        <a:pt x="470" y="190"/>
                      </a:lnTo>
                      <a:lnTo>
                        <a:pt x="455" y="183"/>
                      </a:lnTo>
                      <a:lnTo>
                        <a:pt x="440" y="178"/>
                      </a:lnTo>
                      <a:lnTo>
                        <a:pt x="425" y="173"/>
                      </a:lnTo>
                      <a:lnTo>
                        <a:pt x="412" y="170"/>
                      </a:lnTo>
                      <a:lnTo>
                        <a:pt x="401" y="167"/>
                      </a:lnTo>
                      <a:lnTo>
                        <a:pt x="392" y="167"/>
                      </a:lnTo>
                      <a:lnTo>
                        <a:pt x="384" y="166"/>
                      </a:lnTo>
                      <a:lnTo>
                        <a:pt x="375" y="165"/>
                      </a:lnTo>
                      <a:lnTo>
                        <a:pt x="367" y="164"/>
                      </a:lnTo>
                      <a:lnTo>
                        <a:pt x="359" y="161"/>
                      </a:lnTo>
                      <a:lnTo>
                        <a:pt x="351" y="158"/>
                      </a:lnTo>
                      <a:lnTo>
                        <a:pt x="344" y="155"/>
                      </a:lnTo>
                      <a:lnTo>
                        <a:pt x="336" y="151"/>
                      </a:lnTo>
                      <a:lnTo>
                        <a:pt x="330" y="145"/>
                      </a:lnTo>
                      <a:lnTo>
                        <a:pt x="323" y="140"/>
                      </a:lnTo>
                      <a:lnTo>
                        <a:pt x="318" y="135"/>
                      </a:lnTo>
                      <a:lnTo>
                        <a:pt x="312" y="129"/>
                      </a:lnTo>
                      <a:lnTo>
                        <a:pt x="307" y="122"/>
                      </a:lnTo>
                      <a:lnTo>
                        <a:pt x="302" y="115"/>
                      </a:lnTo>
                      <a:lnTo>
                        <a:pt x="299" y="108"/>
                      </a:lnTo>
                      <a:lnTo>
                        <a:pt x="296" y="101"/>
                      </a:lnTo>
                      <a:lnTo>
                        <a:pt x="292" y="92"/>
                      </a:lnTo>
                      <a:lnTo>
                        <a:pt x="289" y="63"/>
                      </a:lnTo>
                      <a:lnTo>
                        <a:pt x="285" y="32"/>
                      </a:lnTo>
                      <a:lnTo>
                        <a:pt x="283" y="25"/>
                      </a:lnTo>
                      <a:lnTo>
                        <a:pt x="279" y="19"/>
                      </a:lnTo>
                      <a:lnTo>
                        <a:pt x="276" y="14"/>
                      </a:lnTo>
                      <a:lnTo>
                        <a:pt x="272" y="9"/>
                      </a:lnTo>
                      <a:lnTo>
                        <a:pt x="267" y="6"/>
                      </a:lnTo>
                      <a:lnTo>
                        <a:pt x="261" y="3"/>
                      </a:lnTo>
                      <a:lnTo>
                        <a:pt x="254" y="1"/>
                      </a:lnTo>
                      <a:lnTo>
                        <a:pt x="246" y="0"/>
                      </a:lnTo>
                      <a:lnTo>
                        <a:pt x="236" y="1"/>
                      </a:lnTo>
                      <a:lnTo>
                        <a:pt x="227" y="3"/>
                      </a:lnTo>
                      <a:lnTo>
                        <a:pt x="218" y="5"/>
                      </a:lnTo>
                      <a:lnTo>
                        <a:pt x="208" y="9"/>
                      </a:lnTo>
                      <a:lnTo>
                        <a:pt x="190" y="18"/>
                      </a:lnTo>
                      <a:lnTo>
                        <a:pt x="173" y="30"/>
                      </a:lnTo>
                      <a:lnTo>
                        <a:pt x="155" y="43"/>
                      </a:lnTo>
                      <a:lnTo>
                        <a:pt x="138" y="55"/>
                      </a:lnTo>
                      <a:lnTo>
                        <a:pt x="129" y="60"/>
                      </a:lnTo>
                      <a:lnTo>
                        <a:pt x="119" y="66"/>
                      </a:lnTo>
                      <a:lnTo>
                        <a:pt x="110" y="70"/>
                      </a:lnTo>
                      <a:lnTo>
                        <a:pt x="100" y="74"/>
                      </a:lnTo>
                      <a:lnTo>
                        <a:pt x="20" y="80"/>
                      </a:lnTo>
                      <a:lnTo>
                        <a:pt x="0" y="8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47" name="Freeform 163">
                  <a:extLst>
                    <a:ext uri="{FF2B5EF4-FFF2-40B4-BE49-F238E27FC236}">
                      <a16:creationId xmlns:a16="http://schemas.microsoft.com/office/drawing/2014/main" xmlns="" id="{3349C13A-3942-441D-8FFB-1DAD78F1A383}"/>
                    </a:ext>
                  </a:extLst>
                </p:cNvPr>
                <p:cNvSpPr>
                  <a:spLocks/>
                </p:cNvSpPr>
                <p:nvPr>
                  <p:custDataLst>
                    <p:tags r:id="rId94"/>
                  </p:custDataLst>
                </p:nvPr>
              </p:nvSpPr>
              <p:spPr bwMode="auto">
                <a:xfrm>
                  <a:off x="2479675" y="3411538"/>
                  <a:ext cx="119063" cy="215900"/>
                </a:xfrm>
                <a:custGeom>
                  <a:avLst/>
                  <a:gdLst>
                    <a:gd name="T0" fmla="*/ 2147483646 w 273"/>
                    <a:gd name="T1" fmla="*/ 2147483646 h 414"/>
                    <a:gd name="T2" fmla="*/ 2147483646 w 273"/>
                    <a:gd name="T3" fmla="*/ 2147483646 h 414"/>
                    <a:gd name="T4" fmla="*/ 2147483646 w 273"/>
                    <a:gd name="T5" fmla="*/ 2147483646 h 414"/>
                    <a:gd name="T6" fmla="*/ 2147483646 w 273"/>
                    <a:gd name="T7" fmla="*/ 2147483646 h 414"/>
                    <a:gd name="T8" fmla="*/ 2147483646 w 273"/>
                    <a:gd name="T9" fmla="*/ 2147483646 h 414"/>
                    <a:gd name="T10" fmla="*/ 2147483646 w 273"/>
                    <a:gd name="T11" fmla="*/ 2147483646 h 414"/>
                    <a:gd name="T12" fmla="*/ 2147483646 w 273"/>
                    <a:gd name="T13" fmla="*/ 2147483646 h 414"/>
                    <a:gd name="T14" fmla="*/ 2147483646 w 273"/>
                    <a:gd name="T15" fmla="*/ 2147483646 h 414"/>
                    <a:gd name="T16" fmla="*/ 2147483646 w 273"/>
                    <a:gd name="T17" fmla="*/ 2147483646 h 414"/>
                    <a:gd name="T18" fmla="*/ 2147483646 w 273"/>
                    <a:gd name="T19" fmla="*/ 2147483646 h 414"/>
                    <a:gd name="T20" fmla="*/ 2147483646 w 273"/>
                    <a:gd name="T21" fmla="*/ 2147483646 h 414"/>
                    <a:gd name="T22" fmla="*/ 2147483646 w 273"/>
                    <a:gd name="T23" fmla="*/ 2147483646 h 414"/>
                    <a:gd name="T24" fmla="*/ 2147483646 w 273"/>
                    <a:gd name="T25" fmla="*/ 2147483646 h 414"/>
                    <a:gd name="T26" fmla="*/ 2147483646 w 273"/>
                    <a:gd name="T27" fmla="*/ 2147483646 h 414"/>
                    <a:gd name="T28" fmla="*/ 2147483646 w 273"/>
                    <a:gd name="T29" fmla="*/ 2147483646 h 414"/>
                    <a:gd name="T30" fmla="*/ 2147483646 w 273"/>
                    <a:gd name="T31" fmla="*/ 2147483646 h 414"/>
                    <a:gd name="T32" fmla="*/ 2147483646 w 273"/>
                    <a:gd name="T33" fmla="*/ 2147483646 h 414"/>
                    <a:gd name="T34" fmla="*/ 2147483646 w 273"/>
                    <a:gd name="T35" fmla="*/ 2147483646 h 414"/>
                    <a:gd name="T36" fmla="*/ 2147483646 w 273"/>
                    <a:gd name="T37" fmla="*/ 2147483646 h 414"/>
                    <a:gd name="T38" fmla="*/ 2147483646 w 273"/>
                    <a:gd name="T39" fmla="*/ 2147483646 h 414"/>
                    <a:gd name="T40" fmla="*/ 2147483646 w 273"/>
                    <a:gd name="T41" fmla="*/ 2147483646 h 414"/>
                    <a:gd name="T42" fmla="*/ 2147483646 w 273"/>
                    <a:gd name="T43" fmla="*/ 2147483646 h 414"/>
                    <a:gd name="T44" fmla="*/ 2147483646 w 273"/>
                    <a:gd name="T45" fmla="*/ 2147483646 h 414"/>
                    <a:gd name="T46" fmla="*/ 2147483646 w 273"/>
                    <a:gd name="T47" fmla="*/ 2147483646 h 414"/>
                    <a:gd name="T48" fmla="*/ 2147483646 w 273"/>
                    <a:gd name="T49" fmla="*/ 2147483646 h 414"/>
                    <a:gd name="T50" fmla="*/ 2147483646 w 273"/>
                    <a:gd name="T51" fmla="*/ 2147483646 h 414"/>
                    <a:gd name="T52" fmla="*/ 2147483646 w 273"/>
                    <a:gd name="T53" fmla="*/ 2147483646 h 414"/>
                    <a:gd name="T54" fmla="*/ 2147483646 w 273"/>
                    <a:gd name="T55" fmla="*/ 2147483646 h 414"/>
                    <a:gd name="T56" fmla="*/ 2147483646 w 273"/>
                    <a:gd name="T57" fmla="*/ 2147483646 h 414"/>
                    <a:gd name="T58" fmla="*/ 2147483646 w 273"/>
                    <a:gd name="T59" fmla="*/ 2147483646 h 414"/>
                    <a:gd name="T60" fmla="*/ 2147483646 w 273"/>
                    <a:gd name="T61" fmla="*/ 2147483646 h 414"/>
                    <a:gd name="T62" fmla="*/ 2147483646 w 273"/>
                    <a:gd name="T63" fmla="*/ 2147483646 h 414"/>
                    <a:gd name="T64" fmla="*/ 2147483646 w 273"/>
                    <a:gd name="T65" fmla="*/ 2147483646 h 414"/>
                    <a:gd name="T66" fmla="*/ 2147483646 w 273"/>
                    <a:gd name="T67" fmla="*/ 2147483646 h 414"/>
                    <a:gd name="T68" fmla="*/ 2147483646 w 273"/>
                    <a:gd name="T69" fmla="*/ 2147483646 h 414"/>
                    <a:gd name="T70" fmla="*/ 2147483646 w 273"/>
                    <a:gd name="T71" fmla="*/ 2147483646 h 414"/>
                    <a:gd name="T72" fmla="*/ 2147483646 w 273"/>
                    <a:gd name="T73" fmla="*/ 2147483646 h 414"/>
                    <a:gd name="T74" fmla="*/ 2147483646 w 273"/>
                    <a:gd name="T75" fmla="*/ 2147483646 h 414"/>
                    <a:gd name="T76" fmla="*/ 2147483646 w 273"/>
                    <a:gd name="T77" fmla="*/ 2147483646 h 414"/>
                    <a:gd name="T78" fmla="*/ 2147483646 w 273"/>
                    <a:gd name="T79" fmla="*/ 2147483646 h 414"/>
                    <a:gd name="T80" fmla="*/ 2147483646 w 273"/>
                    <a:gd name="T81" fmla="*/ 2147483646 h 414"/>
                    <a:gd name="T82" fmla="*/ 2147483646 w 273"/>
                    <a:gd name="T83" fmla="*/ 2147483646 h 414"/>
                    <a:gd name="T84" fmla="*/ 2147483646 w 273"/>
                    <a:gd name="T85" fmla="*/ 2147483646 h 414"/>
                    <a:gd name="T86" fmla="*/ 2147483646 w 273"/>
                    <a:gd name="T87" fmla="*/ 2147483646 h 414"/>
                    <a:gd name="T88" fmla="*/ 2147483646 w 273"/>
                    <a:gd name="T89" fmla="*/ 2147483646 h 414"/>
                    <a:gd name="T90" fmla="*/ 2147483646 w 273"/>
                    <a:gd name="T91" fmla="*/ 2147483646 h 414"/>
                    <a:gd name="T92" fmla="*/ 2147483646 w 273"/>
                    <a:gd name="T93" fmla="*/ 2147483646 h 414"/>
                    <a:gd name="T94" fmla="*/ 2147483646 w 273"/>
                    <a:gd name="T95" fmla="*/ 2147483646 h 414"/>
                    <a:gd name="T96" fmla="*/ 2147483646 w 273"/>
                    <a:gd name="T97" fmla="*/ 2147483646 h 414"/>
                    <a:gd name="T98" fmla="*/ 2147483646 w 273"/>
                    <a:gd name="T99" fmla="*/ 2147483646 h 414"/>
                    <a:gd name="T100" fmla="*/ 2147483646 w 273"/>
                    <a:gd name="T101" fmla="*/ 2147483646 h 414"/>
                    <a:gd name="T102" fmla="*/ 2147483646 w 273"/>
                    <a:gd name="T103" fmla="*/ 2147483646 h 414"/>
                    <a:gd name="T104" fmla="*/ 2147483646 w 273"/>
                    <a:gd name="T105" fmla="*/ 2147483646 h 414"/>
                    <a:gd name="T106" fmla="*/ 2147483646 w 273"/>
                    <a:gd name="T107" fmla="*/ 2147483646 h 414"/>
                    <a:gd name="T108" fmla="*/ 2147483646 w 273"/>
                    <a:gd name="T109" fmla="*/ 2147483646 h 41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73"/>
                    <a:gd name="T166" fmla="*/ 0 h 414"/>
                    <a:gd name="T167" fmla="*/ 273 w 273"/>
                    <a:gd name="T168" fmla="*/ 414 h 41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73" h="414">
                      <a:moveTo>
                        <a:pt x="232" y="142"/>
                      </a:moveTo>
                      <a:lnTo>
                        <a:pt x="225" y="140"/>
                      </a:lnTo>
                      <a:lnTo>
                        <a:pt x="219" y="137"/>
                      </a:lnTo>
                      <a:lnTo>
                        <a:pt x="213" y="133"/>
                      </a:lnTo>
                      <a:lnTo>
                        <a:pt x="209" y="130"/>
                      </a:lnTo>
                      <a:lnTo>
                        <a:pt x="201" y="121"/>
                      </a:lnTo>
                      <a:lnTo>
                        <a:pt x="195" y="113"/>
                      </a:lnTo>
                      <a:lnTo>
                        <a:pt x="190" y="105"/>
                      </a:lnTo>
                      <a:lnTo>
                        <a:pt x="185" y="99"/>
                      </a:lnTo>
                      <a:lnTo>
                        <a:pt x="183" y="96"/>
                      </a:lnTo>
                      <a:lnTo>
                        <a:pt x="179" y="95"/>
                      </a:lnTo>
                      <a:lnTo>
                        <a:pt x="176" y="93"/>
                      </a:lnTo>
                      <a:lnTo>
                        <a:pt x="173" y="93"/>
                      </a:lnTo>
                      <a:lnTo>
                        <a:pt x="167" y="94"/>
                      </a:lnTo>
                      <a:lnTo>
                        <a:pt x="164" y="97"/>
                      </a:lnTo>
                      <a:lnTo>
                        <a:pt x="161" y="101"/>
                      </a:lnTo>
                      <a:lnTo>
                        <a:pt x="159" y="105"/>
                      </a:lnTo>
                      <a:lnTo>
                        <a:pt x="153" y="86"/>
                      </a:lnTo>
                      <a:lnTo>
                        <a:pt x="147" y="68"/>
                      </a:lnTo>
                      <a:lnTo>
                        <a:pt x="142" y="54"/>
                      </a:lnTo>
                      <a:lnTo>
                        <a:pt x="135" y="41"/>
                      </a:lnTo>
                      <a:lnTo>
                        <a:pt x="132" y="36"/>
                      </a:lnTo>
                      <a:lnTo>
                        <a:pt x="128" y="30"/>
                      </a:lnTo>
                      <a:lnTo>
                        <a:pt x="123" y="25"/>
                      </a:lnTo>
                      <a:lnTo>
                        <a:pt x="118" y="20"/>
                      </a:lnTo>
                      <a:lnTo>
                        <a:pt x="111" y="14"/>
                      </a:lnTo>
                      <a:lnTo>
                        <a:pt x="103" y="9"/>
                      </a:lnTo>
                      <a:lnTo>
                        <a:pt x="96" y="5"/>
                      </a:lnTo>
                      <a:lnTo>
                        <a:pt x="86" y="0"/>
                      </a:lnTo>
                      <a:lnTo>
                        <a:pt x="80" y="7"/>
                      </a:lnTo>
                      <a:lnTo>
                        <a:pt x="73" y="15"/>
                      </a:lnTo>
                      <a:lnTo>
                        <a:pt x="69" y="19"/>
                      </a:lnTo>
                      <a:lnTo>
                        <a:pt x="66" y="23"/>
                      </a:lnTo>
                      <a:lnTo>
                        <a:pt x="63" y="25"/>
                      </a:lnTo>
                      <a:lnTo>
                        <a:pt x="60" y="25"/>
                      </a:lnTo>
                      <a:lnTo>
                        <a:pt x="57" y="32"/>
                      </a:lnTo>
                      <a:lnTo>
                        <a:pt x="57" y="37"/>
                      </a:lnTo>
                      <a:lnTo>
                        <a:pt x="56" y="42"/>
                      </a:lnTo>
                      <a:lnTo>
                        <a:pt x="57" y="47"/>
                      </a:lnTo>
                      <a:lnTo>
                        <a:pt x="58" y="59"/>
                      </a:lnTo>
                      <a:lnTo>
                        <a:pt x="60" y="75"/>
                      </a:lnTo>
                      <a:lnTo>
                        <a:pt x="52" y="78"/>
                      </a:lnTo>
                      <a:lnTo>
                        <a:pt x="43" y="83"/>
                      </a:lnTo>
                      <a:lnTo>
                        <a:pt x="33" y="90"/>
                      </a:lnTo>
                      <a:lnTo>
                        <a:pt x="24" y="97"/>
                      </a:lnTo>
                      <a:lnTo>
                        <a:pt x="17" y="104"/>
                      </a:lnTo>
                      <a:lnTo>
                        <a:pt x="9" y="111"/>
                      </a:lnTo>
                      <a:lnTo>
                        <a:pt x="4" y="118"/>
                      </a:lnTo>
                      <a:lnTo>
                        <a:pt x="0" y="123"/>
                      </a:lnTo>
                      <a:lnTo>
                        <a:pt x="40" y="198"/>
                      </a:lnTo>
                      <a:lnTo>
                        <a:pt x="57" y="201"/>
                      </a:lnTo>
                      <a:lnTo>
                        <a:pt x="73" y="205"/>
                      </a:lnTo>
                      <a:lnTo>
                        <a:pt x="78" y="207"/>
                      </a:lnTo>
                      <a:lnTo>
                        <a:pt x="84" y="210"/>
                      </a:lnTo>
                      <a:lnTo>
                        <a:pt x="89" y="214"/>
                      </a:lnTo>
                      <a:lnTo>
                        <a:pt x="93" y="218"/>
                      </a:lnTo>
                      <a:lnTo>
                        <a:pt x="96" y="222"/>
                      </a:lnTo>
                      <a:lnTo>
                        <a:pt x="99" y="226"/>
                      </a:lnTo>
                      <a:lnTo>
                        <a:pt x="101" y="231"/>
                      </a:lnTo>
                      <a:lnTo>
                        <a:pt x="103" y="237"/>
                      </a:lnTo>
                      <a:lnTo>
                        <a:pt x="106" y="251"/>
                      </a:lnTo>
                      <a:lnTo>
                        <a:pt x="106" y="265"/>
                      </a:lnTo>
                      <a:lnTo>
                        <a:pt x="106" y="272"/>
                      </a:lnTo>
                      <a:lnTo>
                        <a:pt x="103" y="279"/>
                      </a:lnTo>
                      <a:lnTo>
                        <a:pt x="100" y="286"/>
                      </a:lnTo>
                      <a:lnTo>
                        <a:pt x="96" y="293"/>
                      </a:lnTo>
                      <a:lnTo>
                        <a:pt x="93" y="301"/>
                      </a:lnTo>
                      <a:lnTo>
                        <a:pt x="89" y="307"/>
                      </a:lnTo>
                      <a:lnTo>
                        <a:pt x="87" y="314"/>
                      </a:lnTo>
                      <a:lnTo>
                        <a:pt x="86" y="321"/>
                      </a:lnTo>
                      <a:lnTo>
                        <a:pt x="88" y="330"/>
                      </a:lnTo>
                      <a:lnTo>
                        <a:pt x="91" y="343"/>
                      </a:lnTo>
                      <a:lnTo>
                        <a:pt x="98" y="359"/>
                      </a:lnTo>
                      <a:lnTo>
                        <a:pt x="107" y="374"/>
                      </a:lnTo>
                      <a:lnTo>
                        <a:pt x="112" y="382"/>
                      </a:lnTo>
                      <a:lnTo>
                        <a:pt x="117" y="389"/>
                      </a:lnTo>
                      <a:lnTo>
                        <a:pt x="122" y="395"/>
                      </a:lnTo>
                      <a:lnTo>
                        <a:pt x="129" y="401"/>
                      </a:lnTo>
                      <a:lnTo>
                        <a:pt x="134" y="406"/>
                      </a:lnTo>
                      <a:lnTo>
                        <a:pt x="141" y="411"/>
                      </a:lnTo>
                      <a:lnTo>
                        <a:pt x="146" y="413"/>
                      </a:lnTo>
                      <a:lnTo>
                        <a:pt x="153" y="414"/>
                      </a:lnTo>
                      <a:lnTo>
                        <a:pt x="174" y="410"/>
                      </a:lnTo>
                      <a:lnTo>
                        <a:pt x="215" y="398"/>
                      </a:lnTo>
                      <a:lnTo>
                        <a:pt x="236" y="392"/>
                      </a:lnTo>
                      <a:lnTo>
                        <a:pt x="255" y="385"/>
                      </a:lnTo>
                      <a:lnTo>
                        <a:pt x="262" y="381"/>
                      </a:lnTo>
                      <a:lnTo>
                        <a:pt x="267" y="377"/>
                      </a:lnTo>
                      <a:lnTo>
                        <a:pt x="271" y="374"/>
                      </a:lnTo>
                      <a:lnTo>
                        <a:pt x="273" y="370"/>
                      </a:lnTo>
                      <a:lnTo>
                        <a:pt x="271" y="361"/>
                      </a:lnTo>
                      <a:lnTo>
                        <a:pt x="269" y="352"/>
                      </a:lnTo>
                      <a:lnTo>
                        <a:pt x="267" y="343"/>
                      </a:lnTo>
                      <a:lnTo>
                        <a:pt x="263" y="335"/>
                      </a:lnTo>
                      <a:lnTo>
                        <a:pt x="253" y="321"/>
                      </a:lnTo>
                      <a:lnTo>
                        <a:pt x="242" y="309"/>
                      </a:lnTo>
                      <a:lnTo>
                        <a:pt x="231" y="295"/>
                      </a:lnTo>
                      <a:lnTo>
                        <a:pt x="222" y="282"/>
                      </a:lnTo>
                      <a:lnTo>
                        <a:pt x="218" y="274"/>
                      </a:lnTo>
                      <a:lnTo>
                        <a:pt x="215" y="266"/>
                      </a:lnTo>
                      <a:lnTo>
                        <a:pt x="213" y="257"/>
                      </a:lnTo>
                      <a:lnTo>
                        <a:pt x="212" y="247"/>
                      </a:lnTo>
                      <a:lnTo>
                        <a:pt x="213" y="229"/>
                      </a:lnTo>
                      <a:lnTo>
                        <a:pt x="215" y="215"/>
                      </a:lnTo>
                      <a:lnTo>
                        <a:pt x="219" y="202"/>
                      </a:lnTo>
                      <a:lnTo>
                        <a:pt x="222" y="190"/>
                      </a:lnTo>
                      <a:lnTo>
                        <a:pt x="226" y="178"/>
                      </a:lnTo>
                      <a:lnTo>
                        <a:pt x="230" y="167"/>
                      </a:lnTo>
                      <a:lnTo>
                        <a:pt x="232" y="155"/>
                      </a:lnTo>
                      <a:lnTo>
                        <a:pt x="232" y="14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148" name="Group 164">
                  <a:extLst>
                    <a:ext uri="{FF2B5EF4-FFF2-40B4-BE49-F238E27FC236}">
                      <a16:creationId xmlns:a16="http://schemas.microsoft.com/office/drawing/2014/main" xmlns="" id="{3D04396C-D8BE-4F80-9795-296B29A21A42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95"/>
                  </p:custDataLst>
                </p:nvPr>
              </p:nvGrpSpPr>
              <p:grpSpPr bwMode="auto">
                <a:xfrm>
                  <a:off x="2193925" y="3246438"/>
                  <a:ext cx="323850" cy="401637"/>
                  <a:chOff x="1486" y="2412"/>
                  <a:chExt cx="244" cy="256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531" name="Freeform 165">
                    <a:extLst>
                      <a:ext uri="{FF2B5EF4-FFF2-40B4-BE49-F238E27FC236}">
                        <a16:creationId xmlns:a16="http://schemas.microsoft.com/office/drawing/2014/main" xmlns="" id="{90AE3C73-2AD2-4EBB-A5F4-DE068EA7689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39" y="2457"/>
                    <a:ext cx="18" cy="7"/>
                  </a:xfrm>
                  <a:custGeom>
                    <a:avLst/>
                    <a:gdLst>
                      <a:gd name="T0" fmla="*/ 0 w 54"/>
                      <a:gd name="T1" fmla="*/ 0 h 22"/>
                      <a:gd name="T2" fmla="*/ 0 w 54"/>
                      <a:gd name="T3" fmla="*/ 0 h 22"/>
                      <a:gd name="T4" fmla="*/ 0 w 54"/>
                      <a:gd name="T5" fmla="*/ 0 h 22"/>
                      <a:gd name="T6" fmla="*/ 0 w 54"/>
                      <a:gd name="T7" fmla="*/ 0 h 22"/>
                      <a:gd name="T8" fmla="*/ 0 w 54"/>
                      <a:gd name="T9" fmla="*/ 0 h 22"/>
                      <a:gd name="T10" fmla="*/ 0 w 54"/>
                      <a:gd name="T11" fmla="*/ 0 h 22"/>
                      <a:gd name="T12" fmla="*/ 0 w 54"/>
                      <a:gd name="T13" fmla="*/ 0 h 22"/>
                      <a:gd name="T14" fmla="*/ 0 w 54"/>
                      <a:gd name="T15" fmla="*/ 0 h 22"/>
                      <a:gd name="T16" fmla="*/ 0 w 54"/>
                      <a:gd name="T17" fmla="*/ 0 h 22"/>
                      <a:gd name="T18" fmla="*/ 0 w 54"/>
                      <a:gd name="T19" fmla="*/ 0 h 22"/>
                      <a:gd name="T20" fmla="*/ 0 w 54"/>
                      <a:gd name="T21" fmla="*/ 0 h 22"/>
                      <a:gd name="T22" fmla="*/ 0 w 54"/>
                      <a:gd name="T23" fmla="*/ 0 h 22"/>
                      <a:gd name="T24" fmla="*/ 0 w 54"/>
                      <a:gd name="T25" fmla="*/ 0 h 22"/>
                      <a:gd name="T26" fmla="*/ 0 w 54"/>
                      <a:gd name="T27" fmla="*/ 0 h 22"/>
                      <a:gd name="T28" fmla="*/ 0 w 54"/>
                      <a:gd name="T29" fmla="*/ 0 h 22"/>
                      <a:gd name="T30" fmla="*/ 0 w 54"/>
                      <a:gd name="T31" fmla="*/ 0 h 22"/>
                      <a:gd name="T32" fmla="*/ 0 w 54"/>
                      <a:gd name="T33" fmla="*/ 0 h 22"/>
                      <a:gd name="T34" fmla="*/ 0 w 54"/>
                      <a:gd name="T35" fmla="*/ 0 h 22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54"/>
                      <a:gd name="T55" fmla="*/ 0 h 22"/>
                      <a:gd name="T56" fmla="*/ 54 w 54"/>
                      <a:gd name="T57" fmla="*/ 22 h 22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54" h="22">
                        <a:moveTo>
                          <a:pt x="0" y="0"/>
                        </a:moveTo>
                        <a:lnTo>
                          <a:pt x="0" y="18"/>
                        </a:lnTo>
                        <a:lnTo>
                          <a:pt x="6" y="20"/>
                        </a:lnTo>
                        <a:lnTo>
                          <a:pt x="10" y="21"/>
                        </a:lnTo>
                        <a:lnTo>
                          <a:pt x="14" y="22"/>
                        </a:lnTo>
                        <a:lnTo>
                          <a:pt x="20" y="22"/>
                        </a:lnTo>
                        <a:lnTo>
                          <a:pt x="23" y="22"/>
                        </a:lnTo>
                        <a:lnTo>
                          <a:pt x="27" y="21"/>
                        </a:lnTo>
                        <a:lnTo>
                          <a:pt x="31" y="20"/>
                        </a:lnTo>
                        <a:lnTo>
                          <a:pt x="33" y="18"/>
                        </a:lnTo>
                        <a:lnTo>
                          <a:pt x="35" y="16"/>
                        </a:lnTo>
                        <a:lnTo>
                          <a:pt x="41" y="12"/>
                        </a:lnTo>
                        <a:lnTo>
                          <a:pt x="47" y="8"/>
                        </a:lnTo>
                        <a:lnTo>
                          <a:pt x="54" y="6"/>
                        </a:lnTo>
                        <a:lnTo>
                          <a:pt x="36" y="5"/>
                        </a:lnTo>
                        <a:lnTo>
                          <a:pt x="20" y="3"/>
                        </a:lnTo>
                        <a:lnTo>
                          <a:pt x="6" y="1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32" name="Freeform 166">
                    <a:extLst>
                      <a:ext uri="{FF2B5EF4-FFF2-40B4-BE49-F238E27FC236}">
                        <a16:creationId xmlns:a16="http://schemas.microsoft.com/office/drawing/2014/main" xmlns="" id="{A48BEBE2-6493-444B-831C-AA71C3DE59D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26" y="2412"/>
                    <a:ext cx="2" cy="8"/>
                  </a:xfrm>
                  <a:custGeom>
                    <a:avLst/>
                    <a:gdLst>
                      <a:gd name="T0" fmla="*/ 0 w 6"/>
                      <a:gd name="T1" fmla="*/ 0 h 24"/>
                      <a:gd name="T2" fmla="*/ 0 w 6"/>
                      <a:gd name="T3" fmla="*/ 0 h 24"/>
                      <a:gd name="T4" fmla="*/ 0 w 6"/>
                      <a:gd name="T5" fmla="*/ 0 h 24"/>
                      <a:gd name="T6" fmla="*/ 0 w 6"/>
                      <a:gd name="T7" fmla="*/ 0 h 24"/>
                      <a:gd name="T8" fmla="*/ 0 w 6"/>
                      <a:gd name="T9" fmla="*/ 0 h 24"/>
                      <a:gd name="T10" fmla="*/ 0 w 6"/>
                      <a:gd name="T11" fmla="*/ 0 h 24"/>
                      <a:gd name="T12" fmla="*/ 0 w 6"/>
                      <a:gd name="T13" fmla="*/ 0 h 24"/>
                      <a:gd name="T14" fmla="*/ 0 w 6"/>
                      <a:gd name="T15" fmla="*/ 0 h 24"/>
                      <a:gd name="T16" fmla="*/ 0 w 6"/>
                      <a:gd name="T17" fmla="*/ 0 h 24"/>
                      <a:gd name="T18" fmla="*/ 0 w 6"/>
                      <a:gd name="T19" fmla="*/ 0 h 24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6"/>
                      <a:gd name="T31" fmla="*/ 0 h 24"/>
                      <a:gd name="T32" fmla="*/ 6 w 6"/>
                      <a:gd name="T33" fmla="*/ 24 h 24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6" h="24">
                        <a:moveTo>
                          <a:pt x="6" y="24"/>
                        </a:moveTo>
                        <a:lnTo>
                          <a:pt x="6" y="0"/>
                        </a:lnTo>
                        <a:lnTo>
                          <a:pt x="4" y="1"/>
                        </a:lnTo>
                        <a:lnTo>
                          <a:pt x="1" y="3"/>
                        </a:lnTo>
                        <a:lnTo>
                          <a:pt x="0" y="7"/>
                        </a:lnTo>
                        <a:lnTo>
                          <a:pt x="0" y="12"/>
                        </a:lnTo>
                        <a:lnTo>
                          <a:pt x="0" y="16"/>
                        </a:lnTo>
                        <a:lnTo>
                          <a:pt x="1" y="20"/>
                        </a:lnTo>
                        <a:lnTo>
                          <a:pt x="4" y="23"/>
                        </a:lnTo>
                        <a:lnTo>
                          <a:pt x="6" y="24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33" name="Freeform 167">
                    <a:extLst>
                      <a:ext uri="{FF2B5EF4-FFF2-40B4-BE49-F238E27FC236}">
                        <a16:creationId xmlns:a16="http://schemas.microsoft.com/office/drawing/2014/main" xmlns="" id="{369762B3-6EF1-4062-A4EC-6CBE72E0C3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57" y="2438"/>
                    <a:ext cx="8" cy="4"/>
                  </a:xfrm>
                  <a:custGeom>
                    <a:avLst/>
                    <a:gdLst>
                      <a:gd name="T0" fmla="*/ 0 w 27"/>
                      <a:gd name="T1" fmla="*/ 0 h 12"/>
                      <a:gd name="T2" fmla="*/ 0 w 27"/>
                      <a:gd name="T3" fmla="*/ 0 h 12"/>
                      <a:gd name="T4" fmla="*/ 0 w 27"/>
                      <a:gd name="T5" fmla="*/ 0 h 12"/>
                      <a:gd name="T6" fmla="*/ 0 w 27"/>
                      <a:gd name="T7" fmla="*/ 0 h 12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27"/>
                      <a:gd name="T13" fmla="*/ 0 h 12"/>
                      <a:gd name="T14" fmla="*/ 27 w 27"/>
                      <a:gd name="T15" fmla="*/ 12 h 12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27" h="12">
                        <a:moveTo>
                          <a:pt x="0" y="12"/>
                        </a:moveTo>
                        <a:lnTo>
                          <a:pt x="27" y="12"/>
                        </a:lnTo>
                        <a:lnTo>
                          <a:pt x="14" y="0"/>
                        </a:lnTo>
                        <a:lnTo>
                          <a:pt x="0" y="12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34" name="Freeform 168">
                    <a:extLst>
                      <a:ext uri="{FF2B5EF4-FFF2-40B4-BE49-F238E27FC236}">
                        <a16:creationId xmlns:a16="http://schemas.microsoft.com/office/drawing/2014/main" xmlns="" id="{23339CC4-50A9-4D58-B225-C1BA7B884AD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6" y="2444"/>
                    <a:ext cx="244" cy="224"/>
                  </a:xfrm>
                  <a:custGeom>
                    <a:avLst/>
                    <a:gdLst>
                      <a:gd name="T0" fmla="*/ 0 w 743"/>
                      <a:gd name="T1" fmla="*/ 1 h 672"/>
                      <a:gd name="T2" fmla="*/ 0 w 743"/>
                      <a:gd name="T3" fmla="*/ 1 h 672"/>
                      <a:gd name="T4" fmla="*/ 0 w 743"/>
                      <a:gd name="T5" fmla="*/ 1 h 672"/>
                      <a:gd name="T6" fmla="*/ 1 w 743"/>
                      <a:gd name="T7" fmla="*/ 1 h 672"/>
                      <a:gd name="T8" fmla="*/ 1 w 743"/>
                      <a:gd name="T9" fmla="*/ 1 h 672"/>
                      <a:gd name="T10" fmla="*/ 1 w 743"/>
                      <a:gd name="T11" fmla="*/ 2 h 672"/>
                      <a:gd name="T12" fmla="*/ 1 w 743"/>
                      <a:gd name="T13" fmla="*/ 2 h 672"/>
                      <a:gd name="T14" fmla="*/ 1 w 743"/>
                      <a:gd name="T15" fmla="*/ 2 h 672"/>
                      <a:gd name="T16" fmla="*/ 1 w 743"/>
                      <a:gd name="T17" fmla="*/ 2 h 672"/>
                      <a:gd name="T18" fmla="*/ 1 w 743"/>
                      <a:gd name="T19" fmla="*/ 2 h 672"/>
                      <a:gd name="T20" fmla="*/ 1 w 743"/>
                      <a:gd name="T21" fmla="*/ 3 h 672"/>
                      <a:gd name="T22" fmla="*/ 1 w 743"/>
                      <a:gd name="T23" fmla="*/ 3 h 672"/>
                      <a:gd name="T24" fmla="*/ 2 w 743"/>
                      <a:gd name="T25" fmla="*/ 3 h 672"/>
                      <a:gd name="T26" fmla="*/ 2 w 743"/>
                      <a:gd name="T27" fmla="*/ 3 h 672"/>
                      <a:gd name="T28" fmla="*/ 2 w 743"/>
                      <a:gd name="T29" fmla="*/ 3 h 672"/>
                      <a:gd name="T30" fmla="*/ 2 w 743"/>
                      <a:gd name="T31" fmla="*/ 2 h 672"/>
                      <a:gd name="T32" fmla="*/ 2 w 743"/>
                      <a:gd name="T33" fmla="*/ 2 h 672"/>
                      <a:gd name="T34" fmla="*/ 2 w 743"/>
                      <a:gd name="T35" fmla="*/ 2 h 672"/>
                      <a:gd name="T36" fmla="*/ 2 w 743"/>
                      <a:gd name="T37" fmla="*/ 2 h 672"/>
                      <a:gd name="T38" fmla="*/ 3 w 743"/>
                      <a:gd name="T39" fmla="*/ 2 h 672"/>
                      <a:gd name="T40" fmla="*/ 3 w 743"/>
                      <a:gd name="T41" fmla="*/ 2 h 672"/>
                      <a:gd name="T42" fmla="*/ 3 w 743"/>
                      <a:gd name="T43" fmla="*/ 2 h 672"/>
                      <a:gd name="T44" fmla="*/ 3 w 743"/>
                      <a:gd name="T45" fmla="*/ 1 h 672"/>
                      <a:gd name="T46" fmla="*/ 3 w 743"/>
                      <a:gd name="T47" fmla="*/ 1 h 672"/>
                      <a:gd name="T48" fmla="*/ 3 w 743"/>
                      <a:gd name="T49" fmla="*/ 1 h 672"/>
                      <a:gd name="T50" fmla="*/ 3 w 743"/>
                      <a:gd name="T51" fmla="*/ 1 h 672"/>
                      <a:gd name="T52" fmla="*/ 3 w 743"/>
                      <a:gd name="T53" fmla="*/ 1 h 672"/>
                      <a:gd name="T54" fmla="*/ 3 w 743"/>
                      <a:gd name="T55" fmla="*/ 1 h 672"/>
                      <a:gd name="T56" fmla="*/ 3 w 743"/>
                      <a:gd name="T57" fmla="*/ 1 h 672"/>
                      <a:gd name="T58" fmla="*/ 3 w 743"/>
                      <a:gd name="T59" fmla="*/ 1 h 672"/>
                      <a:gd name="T60" fmla="*/ 3 w 743"/>
                      <a:gd name="T61" fmla="*/ 1 h 672"/>
                      <a:gd name="T62" fmla="*/ 2 w 743"/>
                      <a:gd name="T63" fmla="*/ 1 h 672"/>
                      <a:gd name="T64" fmla="*/ 2 w 743"/>
                      <a:gd name="T65" fmla="*/ 0 h 672"/>
                      <a:gd name="T66" fmla="*/ 2 w 743"/>
                      <a:gd name="T67" fmla="*/ 0 h 672"/>
                      <a:gd name="T68" fmla="*/ 2 w 743"/>
                      <a:gd name="T69" fmla="*/ 0 h 672"/>
                      <a:gd name="T70" fmla="*/ 2 w 743"/>
                      <a:gd name="T71" fmla="*/ 0 h 672"/>
                      <a:gd name="T72" fmla="*/ 2 w 743"/>
                      <a:gd name="T73" fmla="*/ 0 h 672"/>
                      <a:gd name="T74" fmla="*/ 2 w 743"/>
                      <a:gd name="T75" fmla="*/ 0 h 672"/>
                      <a:gd name="T76" fmla="*/ 2 w 743"/>
                      <a:gd name="T77" fmla="*/ 0 h 672"/>
                      <a:gd name="T78" fmla="*/ 2 w 743"/>
                      <a:gd name="T79" fmla="*/ 0 h 672"/>
                      <a:gd name="T80" fmla="*/ 1 w 743"/>
                      <a:gd name="T81" fmla="*/ 0 h 672"/>
                      <a:gd name="T82" fmla="*/ 1 w 743"/>
                      <a:gd name="T83" fmla="*/ 0 h 672"/>
                      <a:gd name="T84" fmla="*/ 1 w 743"/>
                      <a:gd name="T85" fmla="*/ 0 h 672"/>
                      <a:gd name="T86" fmla="*/ 1 w 743"/>
                      <a:gd name="T87" fmla="*/ 0 h 672"/>
                      <a:gd name="T88" fmla="*/ 1 w 743"/>
                      <a:gd name="T89" fmla="*/ 0 h 672"/>
                      <a:gd name="T90" fmla="*/ 1 w 743"/>
                      <a:gd name="T91" fmla="*/ 0 h 672"/>
                      <a:gd name="T92" fmla="*/ 1 w 743"/>
                      <a:gd name="T93" fmla="*/ 0 h 672"/>
                      <a:gd name="T94" fmla="*/ 1 w 743"/>
                      <a:gd name="T95" fmla="*/ 0 h 672"/>
                      <a:gd name="T96" fmla="*/ 0 w 743"/>
                      <a:gd name="T97" fmla="*/ 0 h 672"/>
                      <a:gd name="T98" fmla="*/ 0 w 743"/>
                      <a:gd name="T99" fmla="*/ 1 h 672"/>
                      <a:gd name="T100" fmla="*/ 0 w 743"/>
                      <a:gd name="T101" fmla="*/ 1 h 672"/>
                      <a:gd name="T102" fmla="*/ 0 w 743"/>
                      <a:gd name="T103" fmla="*/ 1 h 672"/>
                      <a:gd name="T104" fmla="*/ 0 w 743"/>
                      <a:gd name="T105" fmla="*/ 1 h 672"/>
                      <a:gd name="T106" fmla="*/ 0 w 743"/>
                      <a:gd name="T107" fmla="*/ 1 h 672"/>
                      <a:gd name="T108" fmla="*/ 0 w 743"/>
                      <a:gd name="T109" fmla="*/ 0 h 672"/>
                      <a:gd name="T110" fmla="*/ 0 w 743"/>
                      <a:gd name="T111" fmla="*/ 0 h 672"/>
                      <a:gd name="T112" fmla="*/ 0 w 743"/>
                      <a:gd name="T113" fmla="*/ 0 h 672"/>
                      <a:gd name="T114" fmla="*/ 0 w 743"/>
                      <a:gd name="T115" fmla="*/ 0 h 672"/>
                      <a:gd name="T116" fmla="*/ 0 w 743"/>
                      <a:gd name="T117" fmla="*/ 0 h 672"/>
                      <a:gd name="T118" fmla="*/ 0 w 743"/>
                      <a:gd name="T119" fmla="*/ 0 h 672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w 743"/>
                      <a:gd name="T181" fmla="*/ 0 h 672"/>
                      <a:gd name="T182" fmla="*/ 743 w 743"/>
                      <a:gd name="T183" fmla="*/ 672 h 672"/>
                    </a:gdLst>
                    <a:ahLst/>
                    <a:cxnLst>
                      <a:cxn ang="T120">
                        <a:pos x="T0" y="T1"/>
                      </a:cxn>
                      <a:cxn ang="T121">
                        <a:pos x="T2" y="T3"/>
                      </a:cxn>
                      <a:cxn ang="T122">
                        <a:pos x="T4" y="T5"/>
                      </a:cxn>
                      <a:cxn ang="T123">
                        <a:pos x="T6" y="T7"/>
                      </a:cxn>
                      <a:cxn ang="T124">
                        <a:pos x="T8" y="T9"/>
                      </a:cxn>
                      <a:cxn ang="T125">
                        <a:pos x="T10" y="T11"/>
                      </a:cxn>
                      <a:cxn ang="T126">
                        <a:pos x="T12" y="T13"/>
                      </a:cxn>
                      <a:cxn ang="T127">
                        <a:pos x="T14" y="T15"/>
                      </a:cxn>
                      <a:cxn ang="T128">
                        <a:pos x="T16" y="T17"/>
                      </a:cxn>
                      <a:cxn ang="T129">
                        <a:pos x="T18" y="T19"/>
                      </a:cxn>
                      <a:cxn ang="T130">
                        <a:pos x="T20" y="T21"/>
                      </a:cxn>
                      <a:cxn ang="T131">
                        <a:pos x="T22" y="T23"/>
                      </a:cxn>
                      <a:cxn ang="T132">
                        <a:pos x="T24" y="T25"/>
                      </a:cxn>
                      <a:cxn ang="T133">
                        <a:pos x="T26" y="T27"/>
                      </a:cxn>
                      <a:cxn ang="T134">
                        <a:pos x="T28" y="T29"/>
                      </a:cxn>
                      <a:cxn ang="T135">
                        <a:pos x="T30" y="T31"/>
                      </a:cxn>
                      <a:cxn ang="T136">
                        <a:pos x="T32" y="T33"/>
                      </a:cxn>
                      <a:cxn ang="T137">
                        <a:pos x="T34" y="T35"/>
                      </a:cxn>
                      <a:cxn ang="T138">
                        <a:pos x="T36" y="T37"/>
                      </a:cxn>
                      <a:cxn ang="T139">
                        <a:pos x="T38" y="T39"/>
                      </a:cxn>
                      <a:cxn ang="T140">
                        <a:pos x="T40" y="T41"/>
                      </a:cxn>
                      <a:cxn ang="T141">
                        <a:pos x="T42" y="T43"/>
                      </a:cxn>
                      <a:cxn ang="T142">
                        <a:pos x="T44" y="T45"/>
                      </a:cxn>
                      <a:cxn ang="T143">
                        <a:pos x="T46" y="T47"/>
                      </a:cxn>
                      <a:cxn ang="T144">
                        <a:pos x="T48" y="T49"/>
                      </a:cxn>
                      <a:cxn ang="T145">
                        <a:pos x="T50" y="T51"/>
                      </a:cxn>
                      <a:cxn ang="T146">
                        <a:pos x="T52" y="T53"/>
                      </a:cxn>
                      <a:cxn ang="T147">
                        <a:pos x="T54" y="T55"/>
                      </a:cxn>
                      <a:cxn ang="T148">
                        <a:pos x="T56" y="T57"/>
                      </a:cxn>
                      <a:cxn ang="T149">
                        <a:pos x="T58" y="T59"/>
                      </a:cxn>
                      <a:cxn ang="T150">
                        <a:pos x="T60" y="T61"/>
                      </a:cxn>
                      <a:cxn ang="T151">
                        <a:pos x="T62" y="T63"/>
                      </a:cxn>
                      <a:cxn ang="T152">
                        <a:pos x="T64" y="T65"/>
                      </a:cxn>
                      <a:cxn ang="T153">
                        <a:pos x="T66" y="T67"/>
                      </a:cxn>
                      <a:cxn ang="T154">
                        <a:pos x="T68" y="T69"/>
                      </a:cxn>
                      <a:cxn ang="T155">
                        <a:pos x="T70" y="T71"/>
                      </a:cxn>
                      <a:cxn ang="T156">
                        <a:pos x="T72" y="T73"/>
                      </a:cxn>
                      <a:cxn ang="T157">
                        <a:pos x="T74" y="T75"/>
                      </a:cxn>
                      <a:cxn ang="T158">
                        <a:pos x="T76" y="T77"/>
                      </a:cxn>
                      <a:cxn ang="T159">
                        <a:pos x="T78" y="T79"/>
                      </a:cxn>
                      <a:cxn ang="T160">
                        <a:pos x="T80" y="T81"/>
                      </a:cxn>
                      <a:cxn ang="T161">
                        <a:pos x="T82" y="T83"/>
                      </a:cxn>
                      <a:cxn ang="T162">
                        <a:pos x="T84" y="T85"/>
                      </a:cxn>
                      <a:cxn ang="T163">
                        <a:pos x="T86" y="T87"/>
                      </a:cxn>
                      <a:cxn ang="T164">
                        <a:pos x="T88" y="T89"/>
                      </a:cxn>
                      <a:cxn ang="T165">
                        <a:pos x="T90" y="T91"/>
                      </a:cxn>
                      <a:cxn ang="T166">
                        <a:pos x="T92" y="T93"/>
                      </a:cxn>
                      <a:cxn ang="T167">
                        <a:pos x="T94" y="T95"/>
                      </a:cxn>
                      <a:cxn ang="T168">
                        <a:pos x="T96" y="T97"/>
                      </a:cxn>
                      <a:cxn ang="T169">
                        <a:pos x="T98" y="T99"/>
                      </a:cxn>
                      <a:cxn ang="T170">
                        <a:pos x="T100" y="T101"/>
                      </a:cxn>
                      <a:cxn ang="T171">
                        <a:pos x="T102" y="T103"/>
                      </a:cxn>
                      <a:cxn ang="T172">
                        <a:pos x="T104" y="T105"/>
                      </a:cxn>
                      <a:cxn ang="T173">
                        <a:pos x="T106" y="T107"/>
                      </a:cxn>
                      <a:cxn ang="T174">
                        <a:pos x="T108" y="T109"/>
                      </a:cxn>
                      <a:cxn ang="T175">
                        <a:pos x="T110" y="T111"/>
                      </a:cxn>
                      <a:cxn ang="T176">
                        <a:pos x="T112" y="T113"/>
                      </a:cxn>
                      <a:cxn ang="T177">
                        <a:pos x="T114" y="T115"/>
                      </a:cxn>
                      <a:cxn ang="T178">
                        <a:pos x="T116" y="T117"/>
                      </a:cxn>
                      <a:cxn ang="T179">
                        <a:pos x="T118" y="T119"/>
                      </a:cxn>
                    </a:cxnLst>
                    <a:rect l="T180" t="T181" r="T182" b="T183"/>
                    <a:pathLst>
                      <a:path w="743" h="672">
                        <a:moveTo>
                          <a:pt x="0" y="143"/>
                        </a:moveTo>
                        <a:lnTo>
                          <a:pt x="0" y="160"/>
                        </a:lnTo>
                        <a:lnTo>
                          <a:pt x="2" y="177"/>
                        </a:lnTo>
                        <a:lnTo>
                          <a:pt x="5" y="194"/>
                        </a:lnTo>
                        <a:lnTo>
                          <a:pt x="9" y="208"/>
                        </a:lnTo>
                        <a:lnTo>
                          <a:pt x="15" y="222"/>
                        </a:lnTo>
                        <a:lnTo>
                          <a:pt x="22" y="235"/>
                        </a:lnTo>
                        <a:lnTo>
                          <a:pt x="29" y="246"/>
                        </a:lnTo>
                        <a:lnTo>
                          <a:pt x="39" y="257"/>
                        </a:lnTo>
                        <a:lnTo>
                          <a:pt x="50" y="266"/>
                        </a:lnTo>
                        <a:lnTo>
                          <a:pt x="61" y="274"/>
                        </a:lnTo>
                        <a:lnTo>
                          <a:pt x="74" y="280"/>
                        </a:lnTo>
                        <a:lnTo>
                          <a:pt x="89" y="286"/>
                        </a:lnTo>
                        <a:lnTo>
                          <a:pt x="104" y="291"/>
                        </a:lnTo>
                        <a:lnTo>
                          <a:pt x="121" y="294"/>
                        </a:lnTo>
                        <a:lnTo>
                          <a:pt x="139" y="296"/>
                        </a:lnTo>
                        <a:lnTo>
                          <a:pt x="159" y="297"/>
                        </a:lnTo>
                        <a:lnTo>
                          <a:pt x="160" y="302"/>
                        </a:lnTo>
                        <a:lnTo>
                          <a:pt x="162" y="309"/>
                        </a:lnTo>
                        <a:lnTo>
                          <a:pt x="166" y="316"/>
                        </a:lnTo>
                        <a:lnTo>
                          <a:pt x="171" y="323"/>
                        </a:lnTo>
                        <a:lnTo>
                          <a:pt x="177" y="331"/>
                        </a:lnTo>
                        <a:lnTo>
                          <a:pt x="184" y="337"/>
                        </a:lnTo>
                        <a:lnTo>
                          <a:pt x="191" y="342"/>
                        </a:lnTo>
                        <a:lnTo>
                          <a:pt x="198" y="346"/>
                        </a:lnTo>
                        <a:lnTo>
                          <a:pt x="311" y="346"/>
                        </a:lnTo>
                        <a:lnTo>
                          <a:pt x="308" y="357"/>
                        </a:lnTo>
                        <a:lnTo>
                          <a:pt x="305" y="365"/>
                        </a:lnTo>
                        <a:lnTo>
                          <a:pt x="300" y="372"/>
                        </a:lnTo>
                        <a:lnTo>
                          <a:pt x="296" y="379"/>
                        </a:lnTo>
                        <a:lnTo>
                          <a:pt x="292" y="385"/>
                        </a:lnTo>
                        <a:lnTo>
                          <a:pt x="288" y="391"/>
                        </a:lnTo>
                        <a:lnTo>
                          <a:pt x="286" y="399"/>
                        </a:lnTo>
                        <a:lnTo>
                          <a:pt x="285" y="408"/>
                        </a:lnTo>
                        <a:lnTo>
                          <a:pt x="286" y="420"/>
                        </a:lnTo>
                        <a:lnTo>
                          <a:pt x="289" y="435"/>
                        </a:lnTo>
                        <a:lnTo>
                          <a:pt x="293" y="451"/>
                        </a:lnTo>
                        <a:lnTo>
                          <a:pt x="298" y="467"/>
                        </a:lnTo>
                        <a:lnTo>
                          <a:pt x="307" y="495"/>
                        </a:lnTo>
                        <a:lnTo>
                          <a:pt x="311" y="513"/>
                        </a:lnTo>
                        <a:lnTo>
                          <a:pt x="310" y="517"/>
                        </a:lnTo>
                        <a:lnTo>
                          <a:pt x="309" y="522"/>
                        </a:lnTo>
                        <a:lnTo>
                          <a:pt x="307" y="526"/>
                        </a:lnTo>
                        <a:lnTo>
                          <a:pt x="305" y="531"/>
                        </a:lnTo>
                        <a:lnTo>
                          <a:pt x="303" y="535"/>
                        </a:lnTo>
                        <a:lnTo>
                          <a:pt x="300" y="540"/>
                        </a:lnTo>
                        <a:lnTo>
                          <a:pt x="298" y="544"/>
                        </a:lnTo>
                        <a:lnTo>
                          <a:pt x="298" y="549"/>
                        </a:lnTo>
                        <a:lnTo>
                          <a:pt x="299" y="557"/>
                        </a:lnTo>
                        <a:lnTo>
                          <a:pt x="302" y="566"/>
                        </a:lnTo>
                        <a:lnTo>
                          <a:pt x="305" y="577"/>
                        </a:lnTo>
                        <a:lnTo>
                          <a:pt x="309" y="587"/>
                        </a:lnTo>
                        <a:lnTo>
                          <a:pt x="315" y="597"/>
                        </a:lnTo>
                        <a:lnTo>
                          <a:pt x="321" y="607"/>
                        </a:lnTo>
                        <a:lnTo>
                          <a:pt x="328" y="617"/>
                        </a:lnTo>
                        <a:lnTo>
                          <a:pt x="337" y="627"/>
                        </a:lnTo>
                        <a:lnTo>
                          <a:pt x="344" y="637"/>
                        </a:lnTo>
                        <a:lnTo>
                          <a:pt x="353" y="645"/>
                        </a:lnTo>
                        <a:lnTo>
                          <a:pt x="362" y="653"/>
                        </a:lnTo>
                        <a:lnTo>
                          <a:pt x="371" y="659"/>
                        </a:lnTo>
                        <a:lnTo>
                          <a:pt x="379" y="664"/>
                        </a:lnTo>
                        <a:lnTo>
                          <a:pt x="388" y="669"/>
                        </a:lnTo>
                        <a:lnTo>
                          <a:pt x="397" y="671"/>
                        </a:lnTo>
                        <a:lnTo>
                          <a:pt x="405" y="672"/>
                        </a:lnTo>
                        <a:lnTo>
                          <a:pt x="415" y="671"/>
                        </a:lnTo>
                        <a:lnTo>
                          <a:pt x="424" y="670"/>
                        </a:lnTo>
                        <a:lnTo>
                          <a:pt x="435" y="667"/>
                        </a:lnTo>
                        <a:lnTo>
                          <a:pt x="445" y="663"/>
                        </a:lnTo>
                        <a:lnTo>
                          <a:pt x="455" y="658"/>
                        </a:lnTo>
                        <a:lnTo>
                          <a:pt x="465" y="653"/>
                        </a:lnTo>
                        <a:lnTo>
                          <a:pt x="475" y="647"/>
                        </a:lnTo>
                        <a:lnTo>
                          <a:pt x="484" y="641"/>
                        </a:lnTo>
                        <a:lnTo>
                          <a:pt x="493" y="634"/>
                        </a:lnTo>
                        <a:lnTo>
                          <a:pt x="500" y="627"/>
                        </a:lnTo>
                        <a:lnTo>
                          <a:pt x="507" y="619"/>
                        </a:lnTo>
                        <a:lnTo>
                          <a:pt x="512" y="612"/>
                        </a:lnTo>
                        <a:lnTo>
                          <a:pt x="518" y="605"/>
                        </a:lnTo>
                        <a:lnTo>
                          <a:pt x="521" y="599"/>
                        </a:lnTo>
                        <a:lnTo>
                          <a:pt x="523" y="592"/>
                        </a:lnTo>
                        <a:lnTo>
                          <a:pt x="524" y="586"/>
                        </a:lnTo>
                        <a:lnTo>
                          <a:pt x="518" y="574"/>
                        </a:lnTo>
                        <a:lnTo>
                          <a:pt x="504" y="551"/>
                        </a:lnTo>
                        <a:lnTo>
                          <a:pt x="487" y="528"/>
                        </a:lnTo>
                        <a:lnTo>
                          <a:pt x="477" y="513"/>
                        </a:lnTo>
                        <a:lnTo>
                          <a:pt x="477" y="469"/>
                        </a:lnTo>
                        <a:lnTo>
                          <a:pt x="504" y="469"/>
                        </a:lnTo>
                        <a:lnTo>
                          <a:pt x="518" y="476"/>
                        </a:lnTo>
                        <a:lnTo>
                          <a:pt x="541" y="484"/>
                        </a:lnTo>
                        <a:lnTo>
                          <a:pt x="564" y="493"/>
                        </a:lnTo>
                        <a:lnTo>
                          <a:pt x="577" y="500"/>
                        </a:lnTo>
                        <a:lnTo>
                          <a:pt x="578" y="496"/>
                        </a:lnTo>
                        <a:lnTo>
                          <a:pt x="580" y="493"/>
                        </a:lnTo>
                        <a:lnTo>
                          <a:pt x="584" y="489"/>
                        </a:lnTo>
                        <a:lnTo>
                          <a:pt x="589" y="485"/>
                        </a:lnTo>
                        <a:lnTo>
                          <a:pt x="600" y="477"/>
                        </a:lnTo>
                        <a:lnTo>
                          <a:pt x="614" y="469"/>
                        </a:lnTo>
                        <a:lnTo>
                          <a:pt x="629" y="461"/>
                        </a:lnTo>
                        <a:lnTo>
                          <a:pt x="642" y="453"/>
                        </a:lnTo>
                        <a:lnTo>
                          <a:pt x="647" y="449"/>
                        </a:lnTo>
                        <a:lnTo>
                          <a:pt x="652" y="445"/>
                        </a:lnTo>
                        <a:lnTo>
                          <a:pt x="655" y="442"/>
                        </a:lnTo>
                        <a:lnTo>
                          <a:pt x="657" y="438"/>
                        </a:lnTo>
                        <a:lnTo>
                          <a:pt x="662" y="440"/>
                        </a:lnTo>
                        <a:lnTo>
                          <a:pt x="666" y="441"/>
                        </a:lnTo>
                        <a:lnTo>
                          <a:pt x="669" y="441"/>
                        </a:lnTo>
                        <a:lnTo>
                          <a:pt x="674" y="441"/>
                        </a:lnTo>
                        <a:lnTo>
                          <a:pt x="677" y="440"/>
                        </a:lnTo>
                        <a:lnTo>
                          <a:pt x="679" y="439"/>
                        </a:lnTo>
                        <a:lnTo>
                          <a:pt x="681" y="437"/>
                        </a:lnTo>
                        <a:lnTo>
                          <a:pt x="685" y="435"/>
                        </a:lnTo>
                        <a:lnTo>
                          <a:pt x="691" y="424"/>
                        </a:lnTo>
                        <a:lnTo>
                          <a:pt x="697" y="414"/>
                        </a:lnTo>
                        <a:lnTo>
                          <a:pt x="657" y="339"/>
                        </a:lnTo>
                        <a:lnTo>
                          <a:pt x="661" y="334"/>
                        </a:lnTo>
                        <a:lnTo>
                          <a:pt x="666" y="327"/>
                        </a:lnTo>
                        <a:lnTo>
                          <a:pt x="674" y="320"/>
                        </a:lnTo>
                        <a:lnTo>
                          <a:pt x="681" y="313"/>
                        </a:lnTo>
                        <a:lnTo>
                          <a:pt x="690" y="306"/>
                        </a:lnTo>
                        <a:lnTo>
                          <a:pt x="700" y="299"/>
                        </a:lnTo>
                        <a:lnTo>
                          <a:pt x="709" y="294"/>
                        </a:lnTo>
                        <a:lnTo>
                          <a:pt x="717" y="291"/>
                        </a:lnTo>
                        <a:lnTo>
                          <a:pt x="715" y="275"/>
                        </a:lnTo>
                        <a:lnTo>
                          <a:pt x="714" y="263"/>
                        </a:lnTo>
                        <a:lnTo>
                          <a:pt x="713" y="258"/>
                        </a:lnTo>
                        <a:lnTo>
                          <a:pt x="714" y="253"/>
                        </a:lnTo>
                        <a:lnTo>
                          <a:pt x="714" y="248"/>
                        </a:lnTo>
                        <a:lnTo>
                          <a:pt x="717" y="241"/>
                        </a:lnTo>
                        <a:lnTo>
                          <a:pt x="720" y="241"/>
                        </a:lnTo>
                        <a:lnTo>
                          <a:pt x="723" y="239"/>
                        </a:lnTo>
                        <a:lnTo>
                          <a:pt x="726" y="235"/>
                        </a:lnTo>
                        <a:lnTo>
                          <a:pt x="730" y="231"/>
                        </a:lnTo>
                        <a:lnTo>
                          <a:pt x="737" y="223"/>
                        </a:lnTo>
                        <a:lnTo>
                          <a:pt x="743" y="216"/>
                        </a:lnTo>
                        <a:lnTo>
                          <a:pt x="735" y="215"/>
                        </a:lnTo>
                        <a:lnTo>
                          <a:pt x="728" y="213"/>
                        </a:lnTo>
                        <a:lnTo>
                          <a:pt x="721" y="210"/>
                        </a:lnTo>
                        <a:lnTo>
                          <a:pt x="714" y="207"/>
                        </a:lnTo>
                        <a:lnTo>
                          <a:pt x="709" y="204"/>
                        </a:lnTo>
                        <a:lnTo>
                          <a:pt x="703" y="200"/>
                        </a:lnTo>
                        <a:lnTo>
                          <a:pt x="700" y="196"/>
                        </a:lnTo>
                        <a:lnTo>
                          <a:pt x="696" y="191"/>
                        </a:lnTo>
                        <a:lnTo>
                          <a:pt x="692" y="186"/>
                        </a:lnTo>
                        <a:lnTo>
                          <a:pt x="690" y="181"/>
                        </a:lnTo>
                        <a:lnTo>
                          <a:pt x="688" y="174"/>
                        </a:lnTo>
                        <a:lnTo>
                          <a:pt x="686" y="168"/>
                        </a:lnTo>
                        <a:lnTo>
                          <a:pt x="684" y="156"/>
                        </a:lnTo>
                        <a:lnTo>
                          <a:pt x="684" y="143"/>
                        </a:lnTo>
                        <a:lnTo>
                          <a:pt x="679" y="143"/>
                        </a:lnTo>
                        <a:lnTo>
                          <a:pt x="675" y="144"/>
                        </a:lnTo>
                        <a:lnTo>
                          <a:pt x="670" y="145"/>
                        </a:lnTo>
                        <a:lnTo>
                          <a:pt x="667" y="146"/>
                        </a:lnTo>
                        <a:lnTo>
                          <a:pt x="662" y="150"/>
                        </a:lnTo>
                        <a:lnTo>
                          <a:pt x="657" y="155"/>
                        </a:lnTo>
                        <a:lnTo>
                          <a:pt x="646" y="154"/>
                        </a:lnTo>
                        <a:lnTo>
                          <a:pt x="639" y="152"/>
                        </a:lnTo>
                        <a:lnTo>
                          <a:pt x="636" y="150"/>
                        </a:lnTo>
                        <a:lnTo>
                          <a:pt x="634" y="148"/>
                        </a:lnTo>
                        <a:lnTo>
                          <a:pt x="632" y="146"/>
                        </a:lnTo>
                        <a:lnTo>
                          <a:pt x="631" y="144"/>
                        </a:lnTo>
                        <a:lnTo>
                          <a:pt x="630" y="134"/>
                        </a:lnTo>
                        <a:lnTo>
                          <a:pt x="630" y="124"/>
                        </a:lnTo>
                        <a:lnTo>
                          <a:pt x="624" y="124"/>
                        </a:lnTo>
                        <a:lnTo>
                          <a:pt x="618" y="121"/>
                        </a:lnTo>
                        <a:lnTo>
                          <a:pt x="610" y="119"/>
                        </a:lnTo>
                        <a:lnTo>
                          <a:pt x="602" y="115"/>
                        </a:lnTo>
                        <a:lnTo>
                          <a:pt x="595" y="111"/>
                        </a:lnTo>
                        <a:lnTo>
                          <a:pt x="589" y="106"/>
                        </a:lnTo>
                        <a:lnTo>
                          <a:pt x="587" y="103"/>
                        </a:lnTo>
                        <a:lnTo>
                          <a:pt x="585" y="100"/>
                        </a:lnTo>
                        <a:lnTo>
                          <a:pt x="584" y="97"/>
                        </a:lnTo>
                        <a:lnTo>
                          <a:pt x="584" y="93"/>
                        </a:lnTo>
                        <a:lnTo>
                          <a:pt x="587" y="83"/>
                        </a:lnTo>
                        <a:lnTo>
                          <a:pt x="590" y="69"/>
                        </a:lnTo>
                        <a:lnTo>
                          <a:pt x="544" y="69"/>
                        </a:lnTo>
                        <a:lnTo>
                          <a:pt x="536" y="75"/>
                        </a:lnTo>
                        <a:lnTo>
                          <a:pt x="530" y="80"/>
                        </a:lnTo>
                        <a:lnTo>
                          <a:pt x="523" y="83"/>
                        </a:lnTo>
                        <a:lnTo>
                          <a:pt x="518" y="85"/>
                        </a:lnTo>
                        <a:lnTo>
                          <a:pt x="505" y="87"/>
                        </a:lnTo>
                        <a:lnTo>
                          <a:pt x="490" y="87"/>
                        </a:lnTo>
                        <a:lnTo>
                          <a:pt x="485" y="88"/>
                        </a:lnTo>
                        <a:lnTo>
                          <a:pt x="478" y="92"/>
                        </a:lnTo>
                        <a:lnTo>
                          <a:pt x="475" y="94"/>
                        </a:lnTo>
                        <a:lnTo>
                          <a:pt x="473" y="97"/>
                        </a:lnTo>
                        <a:lnTo>
                          <a:pt x="472" y="101"/>
                        </a:lnTo>
                        <a:lnTo>
                          <a:pt x="471" y="105"/>
                        </a:lnTo>
                        <a:lnTo>
                          <a:pt x="457" y="111"/>
                        </a:lnTo>
                        <a:lnTo>
                          <a:pt x="444" y="117"/>
                        </a:lnTo>
                        <a:lnTo>
                          <a:pt x="439" y="117"/>
                        </a:lnTo>
                        <a:lnTo>
                          <a:pt x="434" y="116"/>
                        </a:lnTo>
                        <a:lnTo>
                          <a:pt x="430" y="115"/>
                        </a:lnTo>
                        <a:lnTo>
                          <a:pt x="426" y="113"/>
                        </a:lnTo>
                        <a:lnTo>
                          <a:pt x="422" y="110"/>
                        </a:lnTo>
                        <a:lnTo>
                          <a:pt x="420" y="107"/>
                        </a:lnTo>
                        <a:lnTo>
                          <a:pt x="418" y="104"/>
                        </a:lnTo>
                        <a:lnTo>
                          <a:pt x="418" y="99"/>
                        </a:lnTo>
                        <a:lnTo>
                          <a:pt x="410" y="103"/>
                        </a:lnTo>
                        <a:lnTo>
                          <a:pt x="404" y="104"/>
                        </a:lnTo>
                        <a:lnTo>
                          <a:pt x="398" y="104"/>
                        </a:lnTo>
                        <a:lnTo>
                          <a:pt x="393" y="102"/>
                        </a:lnTo>
                        <a:lnTo>
                          <a:pt x="388" y="98"/>
                        </a:lnTo>
                        <a:lnTo>
                          <a:pt x="384" y="93"/>
                        </a:lnTo>
                        <a:lnTo>
                          <a:pt x="381" y="88"/>
                        </a:lnTo>
                        <a:lnTo>
                          <a:pt x="378" y="81"/>
                        </a:lnTo>
                        <a:lnTo>
                          <a:pt x="359" y="83"/>
                        </a:lnTo>
                        <a:lnTo>
                          <a:pt x="340" y="86"/>
                        </a:lnTo>
                        <a:lnTo>
                          <a:pt x="331" y="86"/>
                        </a:lnTo>
                        <a:lnTo>
                          <a:pt x="323" y="86"/>
                        </a:lnTo>
                        <a:lnTo>
                          <a:pt x="320" y="86"/>
                        </a:lnTo>
                        <a:lnTo>
                          <a:pt x="317" y="85"/>
                        </a:lnTo>
                        <a:lnTo>
                          <a:pt x="314" y="83"/>
                        </a:lnTo>
                        <a:lnTo>
                          <a:pt x="311" y="81"/>
                        </a:lnTo>
                        <a:lnTo>
                          <a:pt x="305" y="86"/>
                        </a:lnTo>
                        <a:lnTo>
                          <a:pt x="298" y="89"/>
                        </a:lnTo>
                        <a:lnTo>
                          <a:pt x="291" y="92"/>
                        </a:lnTo>
                        <a:lnTo>
                          <a:pt x="285" y="93"/>
                        </a:lnTo>
                        <a:lnTo>
                          <a:pt x="275" y="93"/>
                        </a:lnTo>
                        <a:lnTo>
                          <a:pt x="265" y="93"/>
                        </a:lnTo>
                        <a:lnTo>
                          <a:pt x="258" y="93"/>
                        </a:lnTo>
                        <a:lnTo>
                          <a:pt x="252" y="93"/>
                        </a:lnTo>
                        <a:lnTo>
                          <a:pt x="251" y="83"/>
                        </a:lnTo>
                        <a:lnTo>
                          <a:pt x="249" y="73"/>
                        </a:lnTo>
                        <a:lnTo>
                          <a:pt x="244" y="65"/>
                        </a:lnTo>
                        <a:lnTo>
                          <a:pt x="240" y="58"/>
                        </a:lnTo>
                        <a:lnTo>
                          <a:pt x="233" y="52"/>
                        </a:lnTo>
                        <a:lnTo>
                          <a:pt x="227" y="47"/>
                        </a:lnTo>
                        <a:lnTo>
                          <a:pt x="219" y="42"/>
                        </a:lnTo>
                        <a:lnTo>
                          <a:pt x="211" y="38"/>
                        </a:lnTo>
                        <a:lnTo>
                          <a:pt x="195" y="30"/>
                        </a:lnTo>
                        <a:lnTo>
                          <a:pt x="179" y="22"/>
                        </a:lnTo>
                        <a:lnTo>
                          <a:pt x="171" y="18"/>
                        </a:lnTo>
                        <a:lnTo>
                          <a:pt x="164" y="13"/>
                        </a:lnTo>
                        <a:lnTo>
                          <a:pt x="158" y="7"/>
                        </a:lnTo>
                        <a:lnTo>
                          <a:pt x="152" y="0"/>
                        </a:lnTo>
                        <a:lnTo>
                          <a:pt x="148" y="10"/>
                        </a:lnTo>
                        <a:lnTo>
                          <a:pt x="146" y="20"/>
                        </a:lnTo>
                        <a:lnTo>
                          <a:pt x="146" y="31"/>
                        </a:lnTo>
                        <a:lnTo>
                          <a:pt x="146" y="44"/>
                        </a:lnTo>
                        <a:lnTo>
                          <a:pt x="140" y="44"/>
                        </a:lnTo>
                        <a:lnTo>
                          <a:pt x="136" y="46"/>
                        </a:lnTo>
                        <a:lnTo>
                          <a:pt x="131" y="49"/>
                        </a:lnTo>
                        <a:lnTo>
                          <a:pt x="127" y="52"/>
                        </a:lnTo>
                        <a:lnTo>
                          <a:pt x="124" y="57"/>
                        </a:lnTo>
                        <a:lnTo>
                          <a:pt x="121" y="62"/>
                        </a:lnTo>
                        <a:lnTo>
                          <a:pt x="119" y="69"/>
                        </a:lnTo>
                        <a:lnTo>
                          <a:pt x="119" y="75"/>
                        </a:lnTo>
                        <a:lnTo>
                          <a:pt x="119" y="96"/>
                        </a:lnTo>
                        <a:lnTo>
                          <a:pt x="119" y="108"/>
                        </a:lnTo>
                        <a:lnTo>
                          <a:pt x="119" y="118"/>
                        </a:lnTo>
                        <a:lnTo>
                          <a:pt x="119" y="137"/>
                        </a:lnTo>
                        <a:lnTo>
                          <a:pt x="116" y="150"/>
                        </a:lnTo>
                        <a:lnTo>
                          <a:pt x="109" y="169"/>
                        </a:lnTo>
                        <a:lnTo>
                          <a:pt x="107" y="180"/>
                        </a:lnTo>
                        <a:lnTo>
                          <a:pt x="105" y="188"/>
                        </a:lnTo>
                        <a:lnTo>
                          <a:pt x="104" y="194"/>
                        </a:lnTo>
                        <a:lnTo>
                          <a:pt x="105" y="198"/>
                        </a:lnTo>
                        <a:lnTo>
                          <a:pt x="99" y="197"/>
                        </a:lnTo>
                        <a:lnTo>
                          <a:pt x="93" y="194"/>
                        </a:lnTo>
                        <a:lnTo>
                          <a:pt x="90" y="193"/>
                        </a:lnTo>
                        <a:lnTo>
                          <a:pt x="87" y="190"/>
                        </a:lnTo>
                        <a:lnTo>
                          <a:pt x="86" y="188"/>
                        </a:lnTo>
                        <a:lnTo>
                          <a:pt x="85" y="186"/>
                        </a:lnTo>
                        <a:lnTo>
                          <a:pt x="80" y="186"/>
                        </a:lnTo>
                        <a:lnTo>
                          <a:pt x="74" y="185"/>
                        </a:lnTo>
                        <a:lnTo>
                          <a:pt x="70" y="184"/>
                        </a:lnTo>
                        <a:lnTo>
                          <a:pt x="67" y="182"/>
                        </a:lnTo>
                        <a:lnTo>
                          <a:pt x="63" y="179"/>
                        </a:lnTo>
                        <a:lnTo>
                          <a:pt x="60" y="176"/>
                        </a:lnTo>
                        <a:lnTo>
                          <a:pt x="58" y="173"/>
                        </a:lnTo>
                        <a:lnTo>
                          <a:pt x="57" y="169"/>
                        </a:lnTo>
                        <a:lnTo>
                          <a:pt x="54" y="161"/>
                        </a:lnTo>
                        <a:lnTo>
                          <a:pt x="52" y="152"/>
                        </a:lnTo>
                        <a:lnTo>
                          <a:pt x="52" y="142"/>
                        </a:lnTo>
                        <a:lnTo>
                          <a:pt x="52" y="131"/>
                        </a:lnTo>
                        <a:lnTo>
                          <a:pt x="52" y="119"/>
                        </a:lnTo>
                        <a:lnTo>
                          <a:pt x="54" y="109"/>
                        </a:lnTo>
                        <a:lnTo>
                          <a:pt x="56" y="100"/>
                        </a:lnTo>
                        <a:lnTo>
                          <a:pt x="59" y="91"/>
                        </a:lnTo>
                        <a:lnTo>
                          <a:pt x="65" y="76"/>
                        </a:lnTo>
                        <a:lnTo>
                          <a:pt x="73" y="61"/>
                        </a:lnTo>
                        <a:lnTo>
                          <a:pt x="81" y="49"/>
                        </a:lnTo>
                        <a:lnTo>
                          <a:pt x="89" y="36"/>
                        </a:lnTo>
                        <a:lnTo>
                          <a:pt x="92" y="29"/>
                        </a:lnTo>
                        <a:lnTo>
                          <a:pt x="95" y="22"/>
                        </a:lnTo>
                        <a:lnTo>
                          <a:pt x="97" y="15"/>
                        </a:lnTo>
                        <a:lnTo>
                          <a:pt x="98" y="7"/>
                        </a:lnTo>
                        <a:lnTo>
                          <a:pt x="85" y="12"/>
                        </a:lnTo>
                        <a:lnTo>
                          <a:pt x="73" y="18"/>
                        </a:lnTo>
                        <a:lnTo>
                          <a:pt x="62" y="24"/>
                        </a:lnTo>
                        <a:lnTo>
                          <a:pt x="52" y="30"/>
                        </a:lnTo>
                        <a:lnTo>
                          <a:pt x="43" y="37"/>
                        </a:lnTo>
                        <a:lnTo>
                          <a:pt x="35" y="44"/>
                        </a:lnTo>
                        <a:lnTo>
                          <a:pt x="28" y="52"/>
                        </a:lnTo>
                        <a:lnTo>
                          <a:pt x="22" y="60"/>
                        </a:lnTo>
                        <a:lnTo>
                          <a:pt x="16" y="70"/>
                        </a:lnTo>
                        <a:lnTo>
                          <a:pt x="12" y="79"/>
                        </a:lnTo>
                        <a:lnTo>
                          <a:pt x="7" y="89"/>
                        </a:lnTo>
                        <a:lnTo>
                          <a:pt x="4" y="99"/>
                        </a:lnTo>
                        <a:lnTo>
                          <a:pt x="2" y="109"/>
                        </a:lnTo>
                        <a:lnTo>
                          <a:pt x="1" y="120"/>
                        </a:lnTo>
                        <a:lnTo>
                          <a:pt x="0" y="131"/>
                        </a:lnTo>
                        <a:lnTo>
                          <a:pt x="0" y="143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149" name="Freeform 169">
                  <a:extLst>
                    <a:ext uri="{FF2B5EF4-FFF2-40B4-BE49-F238E27FC236}">
                      <a16:creationId xmlns:a16="http://schemas.microsoft.com/office/drawing/2014/main" xmlns="" id="{9E065128-5123-44C1-A35C-C5A06BA2AB3A}"/>
                    </a:ext>
                  </a:extLst>
                </p:cNvPr>
                <p:cNvSpPr>
                  <a:spLocks/>
                </p:cNvSpPr>
                <p:nvPr>
                  <p:custDataLst>
                    <p:tags r:id="rId96"/>
                  </p:custDataLst>
                </p:nvPr>
              </p:nvSpPr>
              <p:spPr bwMode="auto">
                <a:xfrm>
                  <a:off x="7215188" y="4786313"/>
                  <a:ext cx="31750" cy="11112"/>
                </a:xfrm>
                <a:custGeom>
                  <a:avLst/>
                  <a:gdLst>
                    <a:gd name="T0" fmla="*/ 0 w 79"/>
                    <a:gd name="T1" fmla="*/ 2147483646 h 23"/>
                    <a:gd name="T2" fmla="*/ 2147483646 w 79"/>
                    <a:gd name="T3" fmla="*/ 2147483646 h 23"/>
                    <a:gd name="T4" fmla="*/ 2147483646 w 79"/>
                    <a:gd name="T5" fmla="*/ 2147483646 h 23"/>
                    <a:gd name="T6" fmla="*/ 2147483646 w 79"/>
                    <a:gd name="T7" fmla="*/ 2147483646 h 23"/>
                    <a:gd name="T8" fmla="*/ 2147483646 w 79"/>
                    <a:gd name="T9" fmla="*/ 0 h 23"/>
                    <a:gd name="T10" fmla="*/ 2147483646 w 79"/>
                    <a:gd name="T11" fmla="*/ 0 h 23"/>
                    <a:gd name="T12" fmla="*/ 2147483646 w 79"/>
                    <a:gd name="T13" fmla="*/ 2147483646 h 23"/>
                    <a:gd name="T14" fmla="*/ 2147483646 w 79"/>
                    <a:gd name="T15" fmla="*/ 2147483646 h 23"/>
                    <a:gd name="T16" fmla="*/ 2147483646 w 79"/>
                    <a:gd name="T17" fmla="*/ 2147483646 h 23"/>
                    <a:gd name="T18" fmla="*/ 2147483646 w 79"/>
                    <a:gd name="T19" fmla="*/ 2147483646 h 23"/>
                    <a:gd name="T20" fmla="*/ 2147483646 w 79"/>
                    <a:gd name="T21" fmla="*/ 2147483646 h 23"/>
                    <a:gd name="T22" fmla="*/ 2147483646 w 79"/>
                    <a:gd name="T23" fmla="*/ 2147483646 h 23"/>
                    <a:gd name="T24" fmla="*/ 2147483646 w 79"/>
                    <a:gd name="T25" fmla="*/ 2147483646 h 23"/>
                    <a:gd name="T26" fmla="*/ 2147483646 w 79"/>
                    <a:gd name="T27" fmla="*/ 2147483646 h 23"/>
                    <a:gd name="T28" fmla="*/ 2147483646 w 79"/>
                    <a:gd name="T29" fmla="*/ 2147483646 h 23"/>
                    <a:gd name="T30" fmla="*/ 2147483646 w 79"/>
                    <a:gd name="T31" fmla="*/ 2147483646 h 23"/>
                    <a:gd name="T32" fmla="*/ 2147483646 w 79"/>
                    <a:gd name="T33" fmla="*/ 2147483646 h 23"/>
                    <a:gd name="T34" fmla="*/ 2147483646 w 79"/>
                    <a:gd name="T35" fmla="*/ 2147483646 h 23"/>
                    <a:gd name="T36" fmla="*/ 2147483646 w 79"/>
                    <a:gd name="T37" fmla="*/ 2147483646 h 23"/>
                    <a:gd name="T38" fmla="*/ 2147483646 w 79"/>
                    <a:gd name="T39" fmla="*/ 2147483646 h 23"/>
                    <a:gd name="T40" fmla="*/ 2147483646 w 79"/>
                    <a:gd name="T41" fmla="*/ 2147483646 h 23"/>
                    <a:gd name="T42" fmla="*/ 2147483646 w 79"/>
                    <a:gd name="T43" fmla="*/ 2147483646 h 23"/>
                    <a:gd name="T44" fmla="*/ 2147483646 w 79"/>
                    <a:gd name="T45" fmla="*/ 2147483646 h 23"/>
                    <a:gd name="T46" fmla="*/ 2147483646 w 79"/>
                    <a:gd name="T47" fmla="*/ 2147483646 h 23"/>
                    <a:gd name="T48" fmla="*/ 0 w 79"/>
                    <a:gd name="T49" fmla="*/ 2147483646 h 23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9"/>
                    <a:gd name="T76" fmla="*/ 0 h 23"/>
                    <a:gd name="T77" fmla="*/ 79 w 79"/>
                    <a:gd name="T78" fmla="*/ 23 h 23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9" h="23">
                      <a:moveTo>
                        <a:pt x="0" y="23"/>
                      </a:moveTo>
                      <a:lnTo>
                        <a:pt x="22" y="13"/>
                      </a:lnTo>
                      <a:lnTo>
                        <a:pt x="45" y="4"/>
                      </a:lnTo>
                      <a:lnTo>
                        <a:pt x="56" y="1"/>
                      </a:lnTo>
                      <a:lnTo>
                        <a:pt x="65" y="0"/>
                      </a:lnTo>
                      <a:lnTo>
                        <a:pt x="69" y="0"/>
                      </a:lnTo>
                      <a:lnTo>
                        <a:pt x="74" y="1"/>
                      </a:lnTo>
                      <a:lnTo>
                        <a:pt x="77" y="2"/>
                      </a:lnTo>
                      <a:lnTo>
                        <a:pt x="79" y="4"/>
                      </a:lnTo>
                      <a:lnTo>
                        <a:pt x="77" y="8"/>
                      </a:lnTo>
                      <a:lnTo>
                        <a:pt x="75" y="13"/>
                      </a:lnTo>
                      <a:lnTo>
                        <a:pt x="72" y="16"/>
                      </a:lnTo>
                      <a:lnTo>
                        <a:pt x="68" y="19"/>
                      </a:lnTo>
                      <a:lnTo>
                        <a:pt x="64" y="21"/>
                      </a:lnTo>
                      <a:lnTo>
                        <a:pt x="59" y="22"/>
                      </a:lnTo>
                      <a:lnTo>
                        <a:pt x="53" y="23"/>
                      </a:lnTo>
                      <a:lnTo>
                        <a:pt x="46" y="23"/>
                      </a:lnTo>
                      <a:lnTo>
                        <a:pt x="37" y="23"/>
                      </a:lnTo>
                      <a:lnTo>
                        <a:pt x="32" y="21"/>
                      </a:lnTo>
                      <a:lnTo>
                        <a:pt x="26" y="20"/>
                      </a:lnTo>
                      <a:lnTo>
                        <a:pt x="23" y="19"/>
                      </a:lnTo>
                      <a:lnTo>
                        <a:pt x="19" y="18"/>
                      </a:lnTo>
                      <a:lnTo>
                        <a:pt x="14" y="18"/>
                      </a:lnTo>
                      <a:lnTo>
                        <a:pt x="9" y="20"/>
                      </a:lnTo>
                      <a:lnTo>
                        <a:pt x="0" y="2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50" name="Freeform 170">
                  <a:extLst>
                    <a:ext uri="{FF2B5EF4-FFF2-40B4-BE49-F238E27FC236}">
                      <a16:creationId xmlns:a16="http://schemas.microsoft.com/office/drawing/2014/main" xmlns="" id="{362F51C1-02E6-43C6-9CA3-213EB89E21D9}"/>
                    </a:ext>
                  </a:extLst>
                </p:cNvPr>
                <p:cNvSpPr>
                  <a:spLocks/>
                </p:cNvSpPr>
                <p:nvPr>
                  <p:custDataLst>
                    <p:tags r:id="rId97"/>
                  </p:custDataLst>
                </p:nvPr>
              </p:nvSpPr>
              <p:spPr bwMode="auto">
                <a:xfrm>
                  <a:off x="7331075" y="4919663"/>
                  <a:ext cx="1588" cy="4762"/>
                </a:xfrm>
                <a:custGeom>
                  <a:avLst/>
                  <a:gdLst>
                    <a:gd name="T0" fmla="*/ 0 w 1588"/>
                    <a:gd name="T1" fmla="*/ 0 h 6"/>
                    <a:gd name="T2" fmla="*/ 0 w 1588"/>
                    <a:gd name="T3" fmla="*/ 2147483646 h 6"/>
                    <a:gd name="T4" fmla="*/ 0 w 1588"/>
                    <a:gd name="T5" fmla="*/ 0 h 6"/>
                    <a:gd name="T6" fmla="*/ 0 60000 65536"/>
                    <a:gd name="T7" fmla="*/ 0 60000 65536"/>
                    <a:gd name="T8" fmla="*/ 0 60000 65536"/>
                    <a:gd name="T9" fmla="*/ 0 w 1588"/>
                    <a:gd name="T10" fmla="*/ 0 h 6"/>
                    <a:gd name="T11" fmla="*/ 1588 w 1588"/>
                    <a:gd name="T12" fmla="*/ 6 h 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588" h="6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51" name="Line 171">
                  <a:extLst>
                    <a:ext uri="{FF2B5EF4-FFF2-40B4-BE49-F238E27FC236}">
                      <a16:creationId xmlns:a16="http://schemas.microsoft.com/office/drawing/2014/main" xmlns="" id="{ADAAC42F-4D56-4F4D-A86C-B72031796357}"/>
                    </a:ext>
                  </a:extLst>
                </p:cNvPr>
                <p:cNvSpPr>
                  <a:spLocks noChangeShapeType="1"/>
                </p:cNvSpPr>
                <p:nvPr>
                  <p:custDataLst>
                    <p:tags r:id="rId98"/>
                  </p:custDataLst>
                </p:nvPr>
              </p:nvSpPr>
              <p:spPr bwMode="auto">
                <a:xfrm flipV="1">
                  <a:off x="7421563" y="4918075"/>
                  <a:ext cx="1587" cy="12700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52" name="Freeform 172">
                  <a:extLst>
                    <a:ext uri="{FF2B5EF4-FFF2-40B4-BE49-F238E27FC236}">
                      <a16:creationId xmlns:a16="http://schemas.microsoft.com/office/drawing/2014/main" xmlns="" id="{DE059985-C6AD-46C8-A98F-EB87DA34B370}"/>
                    </a:ext>
                  </a:extLst>
                </p:cNvPr>
                <p:cNvSpPr>
                  <a:spLocks/>
                </p:cNvSpPr>
                <p:nvPr>
                  <p:custDataLst>
                    <p:tags r:id="rId99"/>
                  </p:custDataLst>
                </p:nvPr>
              </p:nvSpPr>
              <p:spPr bwMode="auto">
                <a:xfrm>
                  <a:off x="7421563" y="4918075"/>
                  <a:ext cx="3175" cy="15875"/>
                </a:xfrm>
                <a:custGeom>
                  <a:avLst/>
                  <a:gdLst>
                    <a:gd name="T0" fmla="*/ 0 w 5"/>
                    <a:gd name="T1" fmla="*/ 0 h 30"/>
                    <a:gd name="T2" fmla="*/ 2147483646 w 5"/>
                    <a:gd name="T3" fmla="*/ 2147483646 h 30"/>
                    <a:gd name="T4" fmla="*/ 2147483646 w 5"/>
                    <a:gd name="T5" fmla="*/ 2147483646 h 30"/>
                    <a:gd name="T6" fmla="*/ 2147483646 w 5"/>
                    <a:gd name="T7" fmla="*/ 2147483646 h 30"/>
                    <a:gd name="T8" fmla="*/ 2147483646 w 5"/>
                    <a:gd name="T9" fmla="*/ 2147483646 h 30"/>
                    <a:gd name="T10" fmla="*/ 2147483646 w 5"/>
                    <a:gd name="T11" fmla="*/ 2147483646 h 30"/>
                    <a:gd name="T12" fmla="*/ 2147483646 w 5"/>
                    <a:gd name="T13" fmla="*/ 2147483646 h 30"/>
                    <a:gd name="T14" fmla="*/ 2147483646 w 5"/>
                    <a:gd name="T15" fmla="*/ 2147483646 h 30"/>
                    <a:gd name="T16" fmla="*/ 0 w 5"/>
                    <a:gd name="T17" fmla="*/ 2147483646 h 3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30"/>
                    <a:gd name="T29" fmla="*/ 5 w 5"/>
                    <a:gd name="T30" fmla="*/ 30 h 3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30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4" y="4"/>
                      </a:lnTo>
                      <a:lnTo>
                        <a:pt x="5" y="8"/>
                      </a:lnTo>
                      <a:lnTo>
                        <a:pt x="5" y="13"/>
                      </a:lnTo>
                      <a:lnTo>
                        <a:pt x="5" y="18"/>
                      </a:lnTo>
                      <a:lnTo>
                        <a:pt x="4" y="23"/>
                      </a:lnTo>
                      <a:lnTo>
                        <a:pt x="2" y="27"/>
                      </a:lnTo>
                      <a:lnTo>
                        <a:pt x="0" y="3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53" name="Freeform 173">
                  <a:extLst>
                    <a:ext uri="{FF2B5EF4-FFF2-40B4-BE49-F238E27FC236}">
                      <a16:creationId xmlns:a16="http://schemas.microsoft.com/office/drawing/2014/main" xmlns="" id="{7E3E550C-744E-4685-950C-9104DCB43B56}"/>
                    </a:ext>
                  </a:extLst>
                </p:cNvPr>
                <p:cNvSpPr>
                  <a:spLocks/>
                </p:cNvSpPr>
                <p:nvPr>
                  <p:custDataLst>
                    <p:tags r:id="rId100"/>
                  </p:custDataLst>
                </p:nvPr>
              </p:nvSpPr>
              <p:spPr bwMode="auto">
                <a:xfrm>
                  <a:off x="7720013" y="4387850"/>
                  <a:ext cx="22225" cy="28575"/>
                </a:xfrm>
                <a:custGeom>
                  <a:avLst/>
                  <a:gdLst>
                    <a:gd name="T0" fmla="*/ 0 w 53"/>
                    <a:gd name="T1" fmla="*/ 2147483646 h 55"/>
                    <a:gd name="T2" fmla="*/ 2147483646 w 53"/>
                    <a:gd name="T3" fmla="*/ 2147483646 h 55"/>
                    <a:gd name="T4" fmla="*/ 2147483646 w 53"/>
                    <a:gd name="T5" fmla="*/ 2147483646 h 55"/>
                    <a:gd name="T6" fmla="*/ 2147483646 w 53"/>
                    <a:gd name="T7" fmla="*/ 2147483646 h 55"/>
                    <a:gd name="T8" fmla="*/ 2147483646 w 53"/>
                    <a:gd name="T9" fmla="*/ 2147483646 h 55"/>
                    <a:gd name="T10" fmla="*/ 2147483646 w 53"/>
                    <a:gd name="T11" fmla="*/ 2147483646 h 55"/>
                    <a:gd name="T12" fmla="*/ 2147483646 w 53"/>
                    <a:gd name="T13" fmla="*/ 2147483646 h 55"/>
                    <a:gd name="T14" fmla="*/ 2147483646 w 53"/>
                    <a:gd name="T15" fmla="*/ 2147483646 h 55"/>
                    <a:gd name="T16" fmla="*/ 2147483646 w 53"/>
                    <a:gd name="T17" fmla="*/ 2147483646 h 55"/>
                    <a:gd name="T18" fmla="*/ 2147483646 w 53"/>
                    <a:gd name="T19" fmla="*/ 2147483646 h 55"/>
                    <a:gd name="T20" fmla="*/ 2147483646 w 53"/>
                    <a:gd name="T21" fmla="*/ 2147483646 h 55"/>
                    <a:gd name="T22" fmla="*/ 2147483646 w 53"/>
                    <a:gd name="T23" fmla="*/ 2147483646 h 55"/>
                    <a:gd name="T24" fmla="*/ 2147483646 w 53"/>
                    <a:gd name="T25" fmla="*/ 2147483646 h 55"/>
                    <a:gd name="T26" fmla="*/ 2147483646 w 53"/>
                    <a:gd name="T27" fmla="*/ 0 h 55"/>
                    <a:gd name="T28" fmla="*/ 2147483646 w 53"/>
                    <a:gd name="T29" fmla="*/ 2147483646 h 55"/>
                    <a:gd name="T30" fmla="*/ 0 w 53"/>
                    <a:gd name="T31" fmla="*/ 2147483646 h 55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53"/>
                    <a:gd name="T49" fmla="*/ 0 h 55"/>
                    <a:gd name="T50" fmla="*/ 53 w 53"/>
                    <a:gd name="T51" fmla="*/ 55 h 55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53" h="55">
                      <a:moveTo>
                        <a:pt x="0" y="12"/>
                      </a:moveTo>
                      <a:lnTo>
                        <a:pt x="1" y="17"/>
                      </a:lnTo>
                      <a:lnTo>
                        <a:pt x="5" y="22"/>
                      </a:lnTo>
                      <a:lnTo>
                        <a:pt x="9" y="27"/>
                      </a:lnTo>
                      <a:lnTo>
                        <a:pt x="15" y="33"/>
                      </a:lnTo>
                      <a:lnTo>
                        <a:pt x="26" y="44"/>
                      </a:lnTo>
                      <a:lnTo>
                        <a:pt x="33" y="55"/>
                      </a:lnTo>
                      <a:lnTo>
                        <a:pt x="53" y="55"/>
                      </a:lnTo>
                      <a:lnTo>
                        <a:pt x="40" y="41"/>
                      </a:lnTo>
                      <a:lnTo>
                        <a:pt x="28" y="29"/>
                      </a:lnTo>
                      <a:lnTo>
                        <a:pt x="23" y="23"/>
                      </a:lnTo>
                      <a:lnTo>
                        <a:pt x="19" y="16"/>
                      </a:lnTo>
                      <a:lnTo>
                        <a:pt x="16" y="8"/>
                      </a:lnTo>
                      <a:lnTo>
                        <a:pt x="14" y="0"/>
                      </a:lnTo>
                      <a:lnTo>
                        <a:pt x="7" y="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54" name="Freeform 174">
                  <a:extLst>
                    <a:ext uri="{FF2B5EF4-FFF2-40B4-BE49-F238E27FC236}">
                      <a16:creationId xmlns:a16="http://schemas.microsoft.com/office/drawing/2014/main" xmlns="" id="{7BD834B6-A62D-4C1E-8026-696C0E1D1843}"/>
                    </a:ext>
                  </a:extLst>
                </p:cNvPr>
                <p:cNvSpPr>
                  <a:spLocks/>
                </p:cNvSpPr>
                <p:nvPr>
                  <p:custDataLst>
                    <p:tags r:id="rId101"/>
                  </p:custDataLst>
                </p:nvPr>
              </p:nvSpPr>
              <p:spPr bwMode="auto">
                <a:xfrm>
                  <a:off x="7726363" y="4314825"/>
                  <a:ext cx="26987" cy="39688"/>
                </a:xfrm>
                <a:custGeom>
                  <a:avLst/>
                  <a:gdLst>
                    <a:gd name="T0" fmla="*/ 0 w 65"/>
                    <a:gd name="T1" fmla="*/ 2147483646 h 75"/>
                    <a:gd name="T2" fmla="*/ 2147483646 w 65"/>
                    <a:gd name="T3" fmla="*/ 2147483646 h 75"/>
                    <a:gd name="T4" fmla="*/ 2147483646 w 65"/>
                    <a:gd name="T5" fmla="*/ 2147483646 h 75"/>
                    <a:gd name="T6" fmla="*/ 2147483646 w 65"/>
                    <a:gd name="T7" fmla="*/ 2147483646 h 75"/>
                    <a:gd name="T8" fmla="*/ 2147483646 w 65"/>
                    <a:gd name="T9" fmla="*/ 2147483646 h 75"/>
                    <a:gd name="T10" fmla="*/ 2147483646 w 65"/>
                    <a:gd name="T11" fmla="*/ 2147483646 h 75"/>
                    <a:gd name="T12" fmla="*/ 2147483646 w 65"/>
                    <a:gd name="T13" fmla="*/ 2147483646 h 75"/>
                    <a:gd name="T14" fmla="*/ 2147483646 w 65"/>
                    <a:gd name="T15" fmla="*/ 2147483646 h 75"/>
                    <a:gd name="T16" fmla="*/ 2147483646 w 65"/>
                    <a:gd name="T17" fmla="*/ 2147483646 h 75"/>
                    <a:gd name="T18" fmla="*/ 2147483646 w 65"/>
                    <a:gd name="T19" fmla="*/ 2147483646 h 75"/>
                    <a:gd name="T20" fmla="*/ 2147483646 w 65"/>
                    <a:gd name="T21" fmla="*/ 2147483646 h 75"/>
                    <a:gd name="T22" fmla="*/ 2147483646 w 65"/>
                    <a:gd name="T23" fmla="*/ 2147483646 h 75"/>
                    <a:gd name="T24" fmla="*/ 2147483646 w 65"/>
                    <a:gd name="T25" fmla="*/ 2147483646 h 75"/>
                    <a:gd name="T26" fmla="*/ 2147483646 w 65"/>
                    <a:gd name="T27" fmla="*/ 2147483646 h 75"/>
                    <a:gd name="T28" fmla="*/ 2147483646 w 65"/>
                    <a:gd name="T29" fmla="*/ 2147483646 h 75"/>
                    <a:gd name="T30" fmla="*/ 2147483646 w 65"/>
                    <a:gd name="T31" fmla="*/ 2147483646 h 75"/>
                    <a:gd name="T32" fmla="*/ 2147483646 w 65"/>
                    <a:gd name="T33" fmla="*/ 2147483646 h 75"/>
                    <a:gd name="T34" fmla="*/ 2147483646 w 65"/>
                    <a:gd name="T35" fmla="*/ 2147483646 h 75"/>
                    <a:gd name="T36" fmla="*/ 2147483646 w 65"/>
                    <a:gd name="T37" fmla="*/ 0 h 75"/>
                    <a:gd name="T38" fmla="*/ 2147483646 w 65"/>
                    <a:gd name="T39" fmla="*/ 0 h 75"/>
                    <a:gd name="T40" fmla="*/ 2147483646 w 65"/>
                    <a:gd name="T41" fmla="*/ 0 h 75"/>
                    <a:gd name="T42" fmla="*/ 2147483646 w 65"/>
                    <a:gd name="T43" fmla="*/ 2147483646 h 75"/>
                    <a:gd name="T44" fmla="*/ 2147483646 w 65"/>
                    <a:gd name="T45" fmla="*/ 2147483646 h 75"/>
                    <a:gd name="T46" fmla="*/ 2147483646 w 65"/>
                    <a:gd name="T47" fmla="*/ 2147483646 h 75"/>
                    <a:gd name="T48" fmla="*/ 2147483646 w 65"/>
                    <a:gd name="T49" fmla="*/ 2147483646 h 75"/>
                    <a:gd name="T50" fmla="*/ 2147483646 w 65"/>
                    <a:gd name="T51" fmla="*/ 2147483646 h 75"/>
                    <a:gd name="T52" fmla="*/ 2147483646 w 65"/>
                    <a:gd name="T53" fmla="*/ 2147483646 h 75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65"/>
                    <a:gd name="T82" fmla="*/ 0 h 75"/>
                    <a:gd name="T83" fmla="*/ 65 w 65"/>
                    <a:gd name="T84" fmla="*/ 75 h 75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65" h="75">
                      <a:moveTo>
                        <a:pt x="0" y="32"/>
                      </a:moveTo>
                      <a:lnTo>
                        <a:pt x="9" y="43"/>
                      </a:lnTo>
                      <a:lnTo>
                        <a:pt x="20" y="55"/>
                      </a:lnTo>
                      <a:lnTo>
                        <a:pt x="26" y="61"/>
                      </a:lnTo>
                      <a:lnTo>
                        <a:pt x="32" y="67"/>
                      </a:lnTo>
                      <a:lnTo>
                        <a:pt x="39" y="71"/>
                      </a:lnTo>
                      <a:lnTo>
                        <a:pt x="46" y="75"/>
                      </a:lnTo>
                      <a:lnTo>
                        <a:pt x="51" y="61"/>
                      </a:lnTo>
                      <a:lnTo>
                        <a:pt x="58" y="48"/>
                      </a:lnTo>
                      <a:lnTo>
                        <a:pt x="61" y="42"/>
                      </a:lnTo>
                      <a:lnTo>
                        <a:pt x="63" y="36"/>
                      </a:lnTo>
                      <a:lnTo>
                        <a:pt x="65" y="31"/>
                      </a:lnTo>
                      <a:lnTo>
                        <a:pt x="65" y="26"/>
                      </a:lnTo>
                      <a:lnTo>
                        <a:pt x="65" y="21"/>
                      </a:lnTo>
                      <a:lnTo>
                        <a:pt x="63" y="18"/>
                      </a:lnTo>
                      <a:lnTo>
                        <a:pt x="61" y="13"/>
                      </a:lnTo>
                      <a:lnTo>
                        <a:pt x="58" y="10"/>
                      </a:lnTo>
                      <a:lnTo>
                        <a:pt x="51" y="5"/>
                      </a:lnTo>
                      <a:lnTo>
                        <a:pt x="46" y="0"/>
                      </a:lnTo>
                      <a:lnTo>
                        <a:pt x="34" y="0"/>
                      </a:lnTo>
                      <a:lnTo>
                        <a:pt x="26" y="0"/>
                      </a:lnTo>
                      <a:lnTo>
                        <a:pt x="25" y="2"/>
                      </a:lnTo>
                      <a:lnTo>
                        <a:pt x="24" y="7"/>
                      </a:lnTo>
                      <a:lnTo>
                        <a:pt x="23" y="9"/>
                      </a:lnTo>
                      <a:lnTo>
                        <a:pt x="23" y="11"/>
                      </a:lnTo>
                      <a:lnTo>
                        <a:pt x="24" y="12"/>
                      </a:lnTo>
                      <a:lnTo>
                        <a:pt x="26" y="1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55" name="Freeform 175">
                  <a:extLst>
                    <a:ext uri="{FF2B5EF4-FFF2-40B4-BE49-F238E27FC236}">
                      <a16:creationId xmlns:a16="http://schemas.microsoft.com/office/drawing/2014/main" xmlns="" id="{6B8C9230-4862-47E9-BC1D-C5C1AC78C3D5}"/>
                    </a:ext>
                  </a:extLst>
                </p:cNvPr>
                <p:cNvSpPr>
                  <a:spLocks/>
                </p:cNvSpPr>
                <p:nvPr>
                  <p:custDataLst>
                    <p:tags r:id="rId102"/>
                  </p:custDataLst>
                </p:nvPr>
              </p:nvSpPr>
              <p:spPr bwMode="auto">
                <a:xfrm>
                  <a:off x="7702550" y="4291013"/>
                  <a:ext cx="17463" cy="30162"/>
                </a:xfrm>
                <a:custGeom>
                  <a:avLst/>
                  <a:gdLst>
                    <a:gd name="T0" fmla="*/ 0 w 40"/>
                    <a:gd name="T1" fmla="*/ 2147483646 h 62"/>
                    <a:gd name="T2" fmla="*/ 2147483646 w 40"/>
                    <a:gd name="T3" fmla="*/ 2147483646 h 62"/>
                    <a:gd name="T4" fmla="*/ 2147483646 w 40"/>
                    <a:gd name="T5" fmla="*/ 2147483646 h 62"/>
                    <a:gd name="T6" fmla="*/ 2147483646 w 40"/>
                    <a:gd name="T7" fmla="*/ 2147483646 h 62"/>
                    <a:gd name="T8" fmla="*/ 2147483646 w 40"/>
                    <a:gd name="T9" fmla="*/ 2147483646 h 62"/>
                    <a:gd name="T10" fmla="*/ 2147483646 w 40"/>
                    <a:gd name="T11" fmla="*/ 2147483646 h 62"/>
                    <a:gd name="T12" fmla="*/ 2147483646 w 40"/>
                    <a:gd name="T13" fmla="*/ 2147483646 h 62"/>
                    <a:gd name="T14" fmla="*/ 2147483646 w 40"/>
                    <a:gd name="T15" fmla="*/ 2147483646 h 62"/>
                    <a:gd name="T16" fmla="*/ 2147483646 w 40"/>
                    <a:gd name="T17" fmla="*/ 0 h 6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0"/>
                    <a:gd name="T28" fmla="*/ 0 h 62"/>
                    <a:gd name="T29" fmla="*/ 40 w 40"/>
                    <a:gd name="T30" fmla="*/ 62 h 6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0" h="62">
                      <a:moveTo>
                        <a:pt x="0" y="62"/>
                      </a:moveTo>
                      <a:lnTo>
                        <a:pt x="3" y="52"/>
                      </a:lnTo>
                      <a:lnTo>
                        <a:pt x="7" y="43"/>
                      </a:lnTo>
                      <a:lnTo>
                        <a:pt x="12" y="33"/>
                      </a:lnTo>
                      <a:lnTo>
                        <a:pt x="17" y="25"/>
                      </a:lnTo>
                      <a:lnTo>
                        <a:pt x="23" y="17"/>
                      </a:lnTo>
                      <a:lnTo>
                        <a:pt x="29" y="9"/>
                      </a:lnTo>
                      <a:lnTo>
                        <a:pt x="35" y="3"/>
                      </a:lnTo>
                      <a:lnTo>
                        <a:pt x="4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56" name="Freeform 176">
                  <a:extLst>
                    <a:ext uri="{FF2B5EF4-FFF2-40B4-BE49-F238E27FC236}">
                      <a16:creationId xmlns:a16="http://schemas.microsoft.com/office/drawing/2014/main" xmlns="" id="{20D794DE-1545-46D9-A8CF-27CB64D71F2A}"/>
                    </a:ext>
                  </a:extLst>
                </p:cNvPr>
                <p:cNvSpPr>
                  <a:spLocks/>
                </p:cNvSpPr>
                <p:nvPr>
                  <p:custDataLst>
                    <p:tags r:id="rId103"/>
                  </p:custDataLst>
                </p:nvPr>
              </p:nvSpPr>
              <p:spPr bwMode="auto">
                <a:xfrm>
                  <a:off x="7621588" y="4168775"/>
                  <a:ext cx="68262" cy="138113"/>
                </a:xfrm>
                <a:custGeom>
                  <a:avLst/>
                  <a:gdLst>
                    <a:gd name="T0" fmla="*/ 2147483646 w 159"/>
                    <a:gd name="T1" fmla="*/ 2147483646 h 259"/>
                    <a:gd name="T2" fmla="*/ 2147483646 w 159"/>
                    <a:gd name="T3" fmla="*/ 2147483646 h 259"/>
                    <a:gd name="T4" fmla="*/ 2147483646 w 159"/>
                    <a:gd name="T5" fmla="*/ 2147483646 h 259"/>
                    <a:gd name="T6" fmla="*/ 2147483646 w 159"/>
                    <a:gd name="T7" fmla="*/ 2147483646 h 259"/>
                    <a:gd name="T8" fmla="*/ 2147483646 w 159"/>
                    <a:gd name="T9" fmla="*/ 2147483646 h 259"/>
                    <a:gd name="T10" fmla="*/ 2147483646 w 159"/>
                    <a:gd name="T11" fmla="*/ 2147483646 h 259"/>
                    <a:gd name="T12" fmla="*/ 2147483646 w 159"/>
                    <a:gd name="T13" fmla="*/ 2147483646 h 259"/>
                    <a:gd name="T14" fmla="*/ 2147483646 w 159"/>
                    <a:gd name="T15" fmla="*/ 2147483646 h 259"/>
                    <a:gd name="T16" fmla="*/ 2147483646 w 159"/>
                    <a:gd name="T17" fmla="*/ 2147483646 h 259"/>
                    <a:gd name="T18" fmla="*/ 2147483646 w 159"/>
                    <a:gd name="T19" fmla="*/ 2147483646 h 259"/>
                    <a:gd name="T20" fmla="*/ 2147483646 w 159"/>
                    <a:gd name="T21" fmla="*/ 2147483646 h 259"/>
                    <a:gd name="T22" fmla="*/ 2147483646 w 159"/>
                    <a:gd name="T23" fmla="*/ 2147483646 h 259"/>
                    <a:gd name="T24" fmla="*/ 2147483646 w 159"/>
                    <a:gd name="T25" fmla="*/ 2147483646 h 259"/>
                    <a:gd name="T26" fmla="*/ 2147483646 w 159"/>
                    <a:gd name="T27" fmla="*/ 2147483646 h 259"/>
                    <a:gd name="T28" fmla="*/ 2147483646 w 159"/>
                    <a:gd name="T29" fmla="*/ 2147483646 h 259"/>
                    <a:gd name="T30" fmla="*/ 2147483646 w 159"/>
                    <a:gd name="T31" fmla="*/ 2147483646 h 259"/>
                    <a:gd name="T32" fmla="*/ 2147483646 w 159"/>
                    <a:gd name="T33" fmla="*/ 2147483646 h 259"/>
                    <a:gd name="T34" fmla="*/ 2147483646 w 159"/>
                    <a:gd name="T35" fmla="*/ 2147483646 h 259"/>
                    <a:gd name="T36" fmla="*/ 2147483646 w 159"/>
                    <a:gd name="T37" fmla="*/ 2147483646 h 259"/>
                    <a:gd name="T38" fmla="*/ 2147483646 w 159"/>
                    <a:gd name="T39" fmla="*/ 2147483646 h 259"/>
                    <a:gd name="T40" fmla="*/ 2147483646 w 159"/>
                    <a:gd name="T41" fmla="*/ 2147483646 h 259"/>
                    <a:gd name="T42" fmla="*/ 2147483646 w 159"/>
                    <a:gd name="T43" fmla="*/ 2147483646 h 259"/>
                    <a:gd name="T44" fmla="*/ 2147483646 w 159"/>
                    <a:gd name="T45" fmla="*/ 2147483646 h 259"/>
                    <a:gd name="T46" fmla="*/ 2147483646 w 159"/>
                    <a:gd name="T47" fmla="*/ 2147483646 h 259"/>
                    <a:gd name="T48" fmla="*/ 2147483646 w 159"/>
                    <a:gd name="T49" fmla="*/ 2147483646 h 259"/>
                    <a:gd name="T50" fmla="*/ 2147483646 w 159"/>
                    <a:gd name="T51" fmla="*/ 2147483646 h 259"/>
                    <a:gd name="T52" fmla="*/ 2147483646 w 159"/>
                    <a:gd name="T53" fmla="*/ 2147483646 h 259"/>
                    <a:gd name="T54" fmla="*/ 2147483646 w 159"/>
                    <a:gd name="T55" fmla="*/ 2147483646 h 259"/>
                    <a:gd name="T56" fmla="*/ 2147483646 w 159"/>
                    <a:gd name="T57" fmla="*/ 2147483646 h 259"/>
                    <a:gd name="T58" fmla="*/ 2147483646 w 159"/>
                    <a:gd name="T59" fmla="*/ 2147483646 h 259"/>
                    <a:gd name="T60" fmla="*/ 2147483646 w 159"/>
                    <a:gd name="T61" fmla="*/ 2147483646 h 259"/>
                    <a:gd name="T62" fmla="*/ 2147483646 w 159"/>
                    <a:gd name="T63" fmla="*/ 2147483646 h 259"/>
                    <a:gd name="T64" fmla="*/ 2147483646 w 159"/>
                    <a:gd name="T65" fmla="*/ 2147483646 h 259"/>
                    <a:gd name="T66" fmla="*/ 2147483646 w 159"/>
                    <a:gd name="T67" fmla="*/ 2147483646 h 259"/>
                    <a:gd name="T68" fmla="*/ 2147483646 w 159"/>
                    <a:gd name="T69" fmla="*/ 2147483646 h 259"/>
                    <a:gd name="T70" fmla="*/ 0 w 159"/>
                    <a:gd name="T71" fmla="*/ 2147483646 h 259"/>
                    <a:gd name="T72" fmla="*/ 0 w 159"/>
                    <a:gd name="T73" fmla="*/ 0 h 259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59"/>
                    <a:gd name="T112" fmla="*/ 0 h 259"/>
                    <a:gd name="T113" fmla="*/ 159 w 159"/>
                    <a:gd name="T114" fmla="*/ 259 h 259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59" h="259">
                      <a:moveTo>
                        <a:pt x="159" y="259"/>
                      </a:moveTo>
                      <a:lnTo>
                        <a:pt x="159" y="251"/>
                      </a:lnTo>
                      <a:lnTo>
                        <a:pt x="159" y="244"/>
                      </a:lnTo>
                      <a:lnTo>
                        <a:pt x="159" y="236"/>
                      </a:lnTo>
                      <a:lnTo>
                        <a:pt x="159" y="228"/>
                      </a:lnTo>
                      <a:lnTo>
                        <a:pt x="159" y="224"/>
                      </a:lnTo>
                      <a:lnTo>
                        <a:pt x="158" y="219"/>
                      </a:lnTo>
                      <a:lnTo>
                        <a:pt x="156" y="215"/>
                      </a:lnTo>
                      <a:lnTo>
                        <a:pt x="153" y="210"/>
                      </a:lnTo>
                      <a:lnTo>
                        <a:pt x="145" y="202"/>
                      </a:lnTo>
                      <a:lnTo>
                        <a:pt x="135" y="195"/>
                      </a:lnTo>
                      <a:lnTo>
                        <a:pt x="124" y="189"/>
                      </a:lnTo>
                      <a:lnTo>
                        <a:pt x="112" y="184"/>
                      </a:lnTo>
                      <a:lnTo>
                        <a:pt x="99" y="180"/>
                      </a:lnTo>
                      <a:lnTo>
                        <a:pt x="87" y="179"/>
                      </a:lnTo>
                      <a:lnTo>
                        <a:pt x="85" y="178"/>
                      </a:lnTo>
                      <a:lnTo>
                        <a:pt x="82" y="177"/>
                      </a:lnTo>
                      <a:lnTo>
                        <a:pt x="81" y="175"/>
                      </a:lnTo>
                      <a:lnTo>
                        <a:pt x="80" y="173"/>
                      </a:lnTo>
                      <a:lnTo>
                        <a:pt x="80" y="167"/>
                      </a:lnTo>
                      <a:lnTo>
                        <a:pt x="81" y="161"/>
                      </a:lnTo>
                      <a:lnTo>
                        <a:pt x="85" y="148"/>
                      </a:lnTo>
                      <a:lnTo>
                        <a:pt x="87" y="142"/>
                      </a:lnTo>
                      <a:lnTo>
                        <a:pt x="73" y="141"/>
                      </a:lnTo>
                      <a:lnTo>
                        <a:pt x="59" y="139"/>
                      </a:lnTo>
                      <a:lnTo>
                        <a:pt x="48" y="135"/>
                      </a:lnTo>
                      <a:lnTo>
                        <a:pt x="40" y="129"/>
                      </a:lnTo>
                      <a:lnTo>
                        <a:pt x="31" y="121"/>
                      </a:lnTo>
                      <a:lnTo>
                        <a:pt x="24" y="113"/>
                      </a:lnTo>
                      <a:lnTo>
                        <a:pt x="18" y="104"/>
                      </a:lnTo>
                      <a:lnTo>
                        <a:pt x="13" y="94"/>
                      </a:lnTo>
                      <a:lnTo>
                        <a:pt x="9" y="84"/>
                      </a:lnTo>
                      <a:lnTo>
                        <a:pt x="7" y="73"/>
                      </a:lnTo>
                      <a:lnTo>
                        <a:pt x="5" y="60"/>
                      </a:lnTo>
                      <a:lnTo>
                        <a:pt x="2" y="48"/>
                      </a:lnTo>
                      <a:lnTo>
                        <a:pt x="0" y="25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57" name="Line 177">
                  <a:extLst>
                    <a:ext uri="{FF2B5EF4-FFF2-40B4-BE49-F238E27FC236}">
                      <a16:creationId xmlns:a16="http://schemas.microsoft.com/office/drawing/2014/main" xmlns="" id="{900B47AF-E7B5-47C2-86AB-251A548B3F01}"/>
                    </a:ext>
                  </a:extLst>
                </p:cNvPr>
                <p:cNvSpPr>
                  <a:spLocks noChangeShapeType="1"/>
                </p:cNvSpPr>
                <p:nvPr>
                  <p:custDataLst>
                    <p:tags r:id="rId104"/>
                  </p:custDataLst>
                </p:nvPr>
              </p:nvSpPr>
              <p:spPr bwMode="auto">
                <a:xfrm flipH="1" flipV="1">
                  <a:off x="7615238" y="4135438"/>
                  <a:ext cx="6350" cy="33337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58" name="Freeform 178">
                  <a:extLst>
                    <a:ext uri="{FF2B5EF4-FFF2-40B4-BE49-F238E27FC236}">
                      <a16:creationId xmlns:a16="http://schemas.microsoft.com/office/drawing/2014/main" xmlns="" id="{B6A3E2FB-CFFB-4A2F-AB99-CBDA75C97691}"/>
                    </a:ext>
                  </a:extLst>
                </p:cNvPr>
                <p:cNvSpPr>
                  <a:spLocks/>
                </p:cNvSpPr>
                <p:nvPr>
                  <p:custDataLst>
                    <p:tags r:id="rId105"/>
                  </p:custDataLst>
                </p:nvPr>
              </p:nvSpPr>
              <p:spPr bwMode="auto">
                <a:xfrm>
                  <a:off x="7615238" y="4119563"/>
                  <a:ext cx="6350" cy="15875"/>
                </a:xfrm>
                <a:custGeom>
                  <a:avLst/>
                  <a:gdLst>
                    <a:gd name="T0" fmla="*/ 0 w 13"/>
                    <a:gd name="T1" fmla="*/ 2147483646 h 25"/>
                    <a:gd name="T2" fmla="*/ 2147483646 w 13"/>
                    <a:gd name="T3" fmla="*/ 2147483646 h 25"/>
                    <a:gd name="T4" fmla="*/ 2147483646 w 13"/>
                    <a:gd name="T5" fmla="*/ 2147483646 h 25"/>
                    <a:gd name="T6" fmla="*/ 2147483646 w 13"/>
                    <a:gd name="T7" fmla="*/ 2147483646 h 25"/>
                    <a:gd name="T8" fmla="*/ 2147483646 w 13"/>
                    <a:gd name="T9" fmla="*/ 0 h 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3"/>
                    <a:gd name="T16" fmla="*/ 0 h 25"/>
                    <a:gd name="T17" fmla="*/ 13 w 13"/>
                    <a:gd name="T18" fmla="*/ 25 h 2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3" h="25">
                      <a:moveTo>
                        <a:pt x="0" y="25"/>
                      </a:moveTo>
                      <a:lnTo>
                        <a:pt x="1" y="19"/>
                      </a:lnTo>
                      <a:lnTo>
                        <a:pt x="4" y="13"/>
                      </a:lnTo>
                      <a:lnTo>
                        <a:pt x="8" y="6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59" name="Line 179">
                  <a:extLst>
                    <a:ext uri="{FF2B5EF4-FFF2-40B4-BE49-F238E27FC236}">
                      <a16:creationId xmlns:a16="http://schemas.microsoft.com/office/drawing/2014/main" xmlns="" id="{142A08C5-F04E-4160-BAA1-E7687BF6BDF1}"/>
                    </a:ext>
                  </a:extLst>
                </p:cNvPr>
                <p:cNvSpPr>
                  <a:spLocks noChangeShapeType="1"/>
                </p:cNvSpPr>
                <p:nvPr>
                  <p:custDataLst>
                    <p:tags r:id="rId106"/>
                  </p:custDataLst>
                </p:nvPr>
              </p:nvSpPr>
              <p:spPr bwMode="auto">
                <a:xfrm flipV="1">
                  <a:off x="7621588" y="4106863"/>
                  <a:ext cx="0" cy="12700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0" name="Freeform 180">
                  <a:extLst>
                    <a:ext uri="{FF2B5EF4-FFF2-40B4-BE49-F238E27FC236}">
                      <a16:creationId xmlns:a16="http://schemas.microsoft.com/office/drawing/2014/main" xmlns="" id="{4EE82159-3A68-4113-BBE9-257576F78940}"/>
                    </a:ext>
                  </a:extLst>
                </p:cNvPr>
                <p:cNvSpPr>
                  <a:spLocks/>
                </p:cNvSpPr>
                <p:nvPr>
                  <p:custDataLst>
                    <p:tags r:id="rId107"/>
                  </p:custDataLst>
                </p:nvPr>
              </p:nvSpPr>
              <p:spPr bwMode="auto">
                <a:xfrm>
                  <a:off x="7575550" y="4040188"/>
                  <a:ext cx="46038" cy="66675"/>
                </a:xfrm>
                <a:custGeom>
                  <a:avLst/>
                  <a:gdLst>
                    <a:gd name="T0" fmla="*/ 2147483646 w 100"/>
                    <a:gd name="T1" fmla="*/ 2147483646 h 123"/>
                    <a:gd name="T2" fmla="*/ 2147483646 w 100"/>
                    <a:gd name="T3" fmla="*/ 2147483646 h 123"/>
                    <a:gd name="T4" fmla="*/ 2147483646 w 100"/>
                    <a:gd name="T5" fmla="*/ 2147483646 h 123"/>
                    <a:gd name="T6" fmla="*/ 2147483646 w 100"/>
                    <a:gd name="T7" fmla="*/ 2147483646 h 123"/>
                    <a:gd name="T8" fmla="*/ 2147483646 w 100"/>
                    <a:gd name="T9" fmla="*/ 2147483646 h 123"/>
                    <a:gd name="T10" fmla="*/ 2147483646 w 100"/>
                    <a:gd name="T11" fmla="*/ 2147483646 h 123"/>
                    <a:gd name="T12" fmla="*/ 2147483646 w 100"/>
                    <a:gd name="T13" fmla="*/ 2147483646 h 123"/>
                    <a:gd name="T14" fmla="*/ 2147483646 w 100"/>
                    <a:gd name="T15" fmla="*/ 2147483646 h 123"/>
                    <a:gd name="T16" fmla="*/ 2147483646 w 100"/>
                    <a:gd name="T17" fmla="*/ 2147483646 h 123"/>
                    <a:gd name="T18" fmla="*/ 2147483646 w 100"/>
                    <a:gd name="T19" fmla="*/ 2147483646 h 123"/>
                    <a:gd name="T20" fmla="*/ 2147483646 w 100"/>
                    <a:gd name="T21" fmla="*/ 2147483646 h 123"/>
                    <a:gd name="T22" fmla="*/ 2147483646 w 100"/>
                    <a:gd name="T23" fmla="*/ 2147483646 h 123"/>
                    <a:gd name="T24" fmla="*/ 0 w 100"/>
                    <a:gd name="T25" fmla="*/ 2147483646 h 123"/>
                    <a:gd name="T26" fmla="*/ 2147483646 w 100"/>
                    <a:gd name="T27" fmla="*/ 2147483646 h 123"/>
                    <a:gd name="T28" fmla="*/ 2147483646 w 100"/>
                    <a:gd name="T29" fmla="*/ 2147483646 h 123"/>
                    <a:gd name="T30" fmla="*/ 2147483646 w 100"/>
                    <a:gd name="T31" fmla="*/ 2147483646 h 123"/>
                    <a:gd name="T32" fmla="*/ 2147483646 w 100"/>
                    <a:gd name="T33" fmla="*/ 0 h 12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00"/>
                    <a:gd name="T52" fmla="*/ 0 h 123"/>
                    <a:gd name="T53" fmla="*/ 100 w 100"/>
                    <a:gd name="T54" fmla="*/ 123 h 12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00" h="123">
                      <a:moveTo>
                        <a:pt x="100" y="123"/>
                      </a:moveTo>
                      <a:lnTo>
                        <a:pt x="90" y="122"/>
                      </a:lnTo>
                      <a:lnTo>
                        <a:pt x="76" y="119"/>
                      </a:lnTo>
                      <a:lnTo>
                        <a:pt x="60" y="114"/>
                      </a:lnTo>
                      <a:lnTo>
                        <a:pt x="43" y="107"/>
                      </a:lnTo>
                      <a:lnTo>
                        <a:pt x="34" y="103"/>
                      </a:lnTo>
                      <a:lnTo>
                        <a:pt x="27" y="99"/>
                      </a:lnTo>
                      <a:lnTo>
                        <a:pt x="20" y="94"/>
                      </a:lnTo>
                      <a:lnTo>
                        <a:pt x="13" y="89"/>
                      </a:lnTo>
                      <a:lnTo>
                        <a:pt x="8" y="84"/>
                      </a:lnTo>
                      <a:lnTo>
                        <a:pt x="4" y="79"/>
                      </a:lnTo>
                      <a:lnTo>
                        <a:pt x="1" y="73"/>
                      </a:lnTo>
                      <a:lnTo>
                        <a:pt x="0" y="68"/>
                      </a:lnTo>
                      <a:lnTo>
                        <a:pt x="2" y="55"/>
                      </a:lnTo>
                      <a:lnTo>
                        <a:pt x="7" y="36"/>
                      </a:lnTo>
                      <a:lnTo>
                        <a:pt x="11" y="17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1" name="Freeform 181">
                  <a:extLst>
                    <a:ext uri="{FF2B5EF4-FFF2-40B4-BE49-F238E27FC236}">
                      <a16:creationId xmlns:a16="http://schemas.microsoft.com/office/drawing/2014/main" xmlns="" id="{DAC2EA22-3495-4810-83A8-CC5095845451}"/>
                    </a:ext>
                  </a:extLst>
                </p:cNvPr>
                <p:cNvSpPr>
                  <a:spLocks/>
                </p:cNvSpPr>
                <p:nvPr>
                  <p:custDataLst>
                    <p:tags r:id="rId108"/>
                  </p:custDataLst>
                </p:nvPr>
              </p:nvSpPr>
              <p:spPr bwMode="auto">
                <a:xfrm>
                  <a:off x="7589838" y="3983038"/>
                  <a:ext cx="1587" cy="50800"/>
                </a:xfrm>
                <a:custGeom>
                  <a:avLst/>
                  <a:gdLst>
                    <a:gd name="T0" fmla="*/ 2147483646 w 5"/>
                    <a:gd name="T1" fmla="*/ 0 h 99"/>
                    <a:gd name="T2" fmla="*/ 2147483646 w 5"/>
                    <a:gd name="T3" fmla="*/ 2147483646 h 99"/>
                    <a:gd name="T4" fmla="*/ 2147483646 w 5"/>
                    <a:gd name="T5" fmla="*/ 2147483646 h 99"/>
                    <a:gd name="T6" fmla="*/ 0 w 5"/>
                    <a:gd name="T7" fmla="*/ 2147483646 h 99"/>
                    <a:gd name="T8" fmla="*/ 0 w 5"/>
                    <a:gd name="T9" fmla="*/ 2147483646 h 99"/>
                    <a:gd name="T10" fmla="*/ 2147483646 w 5"/>
                    <a:gd name="T11" fmla="*/ 2147483646 h 99"/>
                    <a:gd name="T12" fmla="*/ 2147483646 w 5"/>
                    <a:gd name="T13" fmla="*/ 2147483646 h 9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"/>
                    <a:gd name="T22" fmla="*/ 0 h 99"/>
                    <a:gd name="T23" fmla="*/ 5 w 5"/>
                    <a:gd name="T24" fmla="*/ 99 h 99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" h="99">
                      <a:moveTo>
                        <a:pt x="5" y="0"/>
                      </a:moveTo>
                      <a:lnTo>
                        <a:pt x="4" y="34"/>
                      </a:lnTo>
                      <a:lnTo>
                        <a:pt x="1" y="59"/>
                      </a:lnTo>
                      <a:lnTo>
                        <a:pt x="0" y="69"/>
                      </a:lnTo>
                      <a:lnTo>
                        <a:pt x="0" y="78"/>
                      </a:lnTo>
                      <a:lnTo>
                        <a:pt x="2" y="87"/>
                      </a:lnTo>
                      <a:lnTo>
                        <a:pt x="5" y="9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2" name="Freeform 182">
                  <a:extLst>
                    <a:ext uri="{FF2B5EF4-FFF2-40B4-BE49-F238E27FC236}">
                      <a16:creationId xmlns:a16="http://schemas.microsoft.com/office/drawing/2014/main" xmlns="" id="{7104E495-5C10-4E8E-A1C8-BB6CE54B7F0D}"/>
                    </a:ext>
                  </a:extLst>
                </p:cNvPr>
                <p:cNvSpPr>
                  <a:spLocks/>
                </p:cNvSpPr>
                <p:nvPr>
                  <p:custDataLst>
                    <p:tags r:id="rId109"/>
                  </p:custDataLst>
                </p:nvPr>
              </p:nvSpPr>
              <p:spPr bwMode="auto">
                <a:xfrm>
                  <a:off x="7596188" y="3976688"/>
                  <a:ext cx="7937" cy="36512"/>
                </a:xfrm>
                <a:custGeom>
                  <a:avLst/>
                  <a:gdLst>
                    <a:gd name="T0" fmla="*/ 2147483646 w 14"/>
                    <a:gd name="T1" fmla="*/ 0 h 68"/>
                    <a:gd name="T2" fmla="*/ 2147483646 w 14"/>
                    <a:gd name="T3" fmla="*/ 2147483646 h 68"/>
                    <a:gd name="T4" fmla="*/ 2147483646 w 14"/>
                    <a:gd name="T5" fmla="*/ 2147483646 h 68"/>
                    <a:gd name="T6" fmla="*/ 2147483646 w 14"/>
                    <a:gd name="T7" fmla="*/ 2147483646 h 68"/>
                    <a:gd name="T8" fmla="*/ 0 w 14"/>
                    <a:gd name="T9" fmla="*/ 2147483646 h 6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4"/>
                    <a:gd name="T16" fmla="*/ 0 h 68"/>
                    <a:gd name="T17" fmla="*/ 14 w 14"/>
                    <a:gd name="T18" fmla="*/ 68 h 6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4" h="68">
                      <a:moveTo>
                        <a:pt x="14" y="0"/>
                      </a:moveTo>
                      <a:lnTo>
                        <a:pt x="8" y="16"/>
                      </a:lnTo>
                      <a:lnTo>
                        <a:pt x="4" y="33"/>
                      </a:lnTo>
                      <a:lnTo>
                        <a:pt x="2" y="52"/>
                      </a:lnTo>
                      <a:lnTo>
                        <a:pt x="0" y="6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3" name="Freeform 183">
                  <a:extLst>
                    <a:ext uri="{FF2B5EF4-FFF2-40B4-BE49-F238E27FC236}">
                      <a16:creationId xmlns:a16="http://schemas.microsoft.com/office/drawing/2014/main" xmlns="" id="{75CE4719-6E74-4699-9B92-A43365ACE23E}"/>
                    </a:ext>
                  </a:extLst>
                </p:cNvPr>
                <p:cNvSpPr>
                  <a:spLocks/>
                </p:cNvSpPr>
                <p:nvPr>
                  <p:custDataLst>
                    <p:tags r:id="rId110"/>
                  </p:custDataLst>
                </p:nvPr>
              </p:nvSpPr>
              <p:spPr bwMode="auto">
                <a:xfrm>
                  <a:off x="7612063" y="3957638"/>
                  <a:ext cx="1587" cy="22225"/>
                </a:xfrm>
                <a:custGeom>
                  <a:avLst/>
                  <a:gdLst>
                    <a:gd name="T0" fmla="*/ 0 w 1587"/>
                    <a:gd name="T1" fmla="*/ 0 h 43"/>
                    <a:gd name="T2" fmla="*/ 0 w 1587"/>
                    <a:gd name="T3" fmla="*/ 2147483646 h 43"/>
                    <a:gd name="T4" fmla="*/ 0 w 1587"/>
                    <a:gd name="T5" fmla="*/ 2147483646 h 43"/>
                    <a:gd name="T6" fmla="*/ 0 w 1587"/>
                    <a:gd name="T7" fmla="*/ 2147483646 h 43"/>
                    <a:gd name="T8" fmla="*/ 0 w 1587"/>
                    <a:gd name="T9" fmla="*/ 2147483646 h 4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87"/>
                    <a:gd name="T16" fmla="*/ 0 h 43"/>
                    <a:gd name="T17" fmla="*/ 1587 w 1587"/>
                    <a:gd name="T18" fmla="*/ 43 h 4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87" h="43">
                      <a:moveTo>
                        <a:pt x="0" y="0"/>
                      </a:moveTo>
                      <a:lnTo>
                        <a:pt x="0" y="13"/>
                      </a:lnTo>
                      <a:lnTo>
                        <a:pt x="0" y="26"/>
                      </a:lnTo>
                      <a:lnTo>
                        <a:pt x="0" y="37"/>
                      </a:lnTo>
                      <a:lnTo>
                        <a:pt x="0" y="4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4" name="Line 184">
                  <a:extLst>
                    <a:ext uri="{FF2B5EF4-FFF2-40B4-BE49-F238E27FC236}">
                      <a16:creationId xmlns:a16="http://schemas.microsoft.com/office/drawing/2014/main" xmlns="" id="{D5CD891B-4036-484F-A0D1-798D5923D2E8}"/>
                    </a:ext>
                  </a:extLst>
                </p:cNvPr>
                <p:cNvSpPr>
                  <a:spLocks noChangeShapeType="1"/>
                </p:cNvSpPr>
                <p:nvPr>
                  <p:custDataLst>
                    <p:tags r:id="rId111"/>
                  </p:custDataLst>
                </p:nvPr>
              </p:nvSpPr>
              <p:spPr bwMode="auto">
                <a:xfrm flipV="1">
                  <a:off x="7612063" y="3976688"/>
                  <a:ext cx="1587" cy="3175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5" name="Freeform 185">
                  <a:extLst>
                    <a:ext uri="{FF2B5EF4-FFF2-40B4-BE49-F238E27FC236}">
                      <a16:creationId xmlns:a16="http://schemas.microsoft.com/office/drawing/2014/main" xmlns="" id="{E76924B6-26BE-420C-AAB7-D7959ED8F6DD}"/>
                    </a:ext>
                  </a:extLst>
                </p:cNvPr>
                <p:cNvSpPr>
                  <a:spLocks/>
                </p:cNvSpPr>
                <p:nvPr>
                  <p:custDataLst>
                    <p:tags r:id="rId112"/>
                  </p:custDataLst>
                </p:nvPr>
              </p:nvSpPr>
              <p:spPr bwMode="auto">
                <a:xfrm>
                  <a:off x="7596188" y="3960813"/>
                  <a:ext cx="1587" cy="15875"/>
                </a:xfrm>
                <a:custGeom>
                  <a:avLst/>
                  <a:gdLst>
                    <a:gd name="T0" fmla="*/ 0 w 1587"/>
                    <a:gd name="T1" fmla="*/ 2147483646 h 31"/>
                    <a:gd name="T2" fmla="*/ 0 w 1587"/>
                    <a:gd name="T3" fmla="*/ 2147483646 h 31"/>
                    <a:gd name="T4" fmla="*/ 0 w 1587"/>
                    <a:gd name="T5" fmla="*/ 2147483646 h 31"/>
                    <a:gd name="T6" fmla="*/ 0 w 1587"/>
                    <a:gd name="T7" fmla="*/ 2147483646 h 31"/>
                    <a:gd name="T8" fmla="*/ 0 w 1587"/>
                    <a:gd name="T9" fmla="*/ 0 h 3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87"/>
                    <a:gd name="T16" fmla="*/ 0 h 31"/>
                    <a:gd name="T17" fmla="*/ 1587 w 1587"/>
                    <a:gd name="T18" fmla="*/ 31 h 3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87" h="31">
                      <a:moveTo>
                        <a:pt x="0" y="31"/>
                      </a:moveTo>
                      <a:lnTo>
                        <a:pt x="0" y="22"/>
                      </a:lnTo>
                      <a:lnTo>
                        <a:pt x="0" y="15"/>
                      </a:lnTo>
                      <a:lnTo>
                        <a:pt x="0" y="8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6" name="Freeform 186">
                  <a:extLst>
                    <a:ext uri="{FF2B5EF4-FFF2-40B4-BE49-F238E27FC236}">
                      <a16:creationId xmlns:a16="http://schemas.microsoft.com/office/drawing/2014/main" xmlns="" id="{48DD4681-AB25-416A-ABA7-DF935942BCEF}"/>
                    </a:ext>
                  </a:extLst>
                </p:cNvPr>
                <p:cNvSpPr>
                  <a:spLocks/>
                </p:cNvSpPr>
                <p:nvPr>
                  <p:custDataLst>
                    <p:tags r:id="rId113"/>
                  </p:custDataLst>
                </p:nvPr>
              </p:nvSpPr>
              <p:spPr bwMode="auto">
                <a:xfrm>
                  <a:off x="7316788" y="4949825"/>
                  <a:ext cx="96837" cy="87313"/>
                </a:xfrm>
                <a:custGeom>
                  <a:avLst/>
                  <a:gdLst>
                    <a:gd name="T0" fmla="*/ 2147483646 w 225"/>
                    <a:gd name="T1" fmla="*/ 2147483646 h 167"/>
                    <a:gd name="T2" fmla="*/ 2147483646 w 225"/>
                    <a:gd name="T3" fmla="*/ 2147483646 h 167"/>
                    <a:gd name="T4" fmla="*/ 0 w 225"/>
                    <a:gd name="T5" fmla="*/ 2147483646 h 167"/>
                    <a:gd name="T6" fmla="*/ 2147483646 w 225"/>
                    <a:gd name="T7" fmla="*/ 2147483646 h 167"/>
                    <a:gd name="T8" fmla="*/ 2147483646 w 225"/>
                    <a:gd name="T9" fmla="*/ 2147483646 h 167"/>
                    <a:gd name="T10" fmla="*/ 2147483646 w 225"/>
                    <a:gd name="T11" fmla="*/ 2147483646 h 167"/>
                    <a:gd name="T12" fmla="*/ 2147483646 w 225"/>
                    <a:gd name="T13" fmla="*/ 2147483646 h 167"/>
                    <a:gd name="T14" fmla="*/ 2147483646 w 225"/>
                    <a:gd name="T15" fmla="*/ 2147483646 h 167"/>
                    <a:gd name="T16" fmla="*/ 2147483646 w 225"/>
                    <a:gd name="T17" fmla="*/ 2147483646 h 167"/>
                    <a:gd name="T18" fmla="*/ 2147483646 w 225"/>
                    <a:gd name="T19" fmla="*/ 2147483646 h 167"/>
                    <a:gd name="T20" fmla="*/ 2147483646 w 225"/>
                    <a:gd name="T21" fmla="*/ 2147483646 h 167"/>
                    <a:gd name="T22" fmla="*/ 2147483646 w 225"/>
                    <a:gd name="T23" fmla="*/ 2147483646 h 167"/>
                    <a:gd name="T24" fmla="*/ 2147483646 w 225"/>
                    <a:gd name="T25" fmla="*/ 2147483646 h 167"/>
                    <a:gd name="T26" fmla="*/ 2147483646 w 225"/>
                    <a:gd name="T27" fmla="*/ 2147483646 h 167"/>
                    <a:gd name="T28" fmla="*/ 2147483646 w 225"/>
                    <a:gd name="T29" fmla="*/ 2147483646 h 167"/>
                    <a:gd name="T30" fmla="*/ 2147483646 w 225"/>
                    <a:gd name="T31" fmla="*/ 2147483646 h 167"/>
                    <a:gd name="T32" fmla="*/ 2147483646 w 225"/>
                    <a:gd name="T33" fmla="*/ 2147483646 h 167"/>
                    <a:gd name="T34" fmla="*/ 2147483646 w 225"/>
                    <a:gd name="T35" fmla="*/ 0 h 167"/>
                    <a:gd name="T36" fmla="*/ 2147483646 w 225"/>
                    <a:gd name="T37" fmla="*/ 2147483646 h 167"/>
                    <a:gd name="T38" fmla="*/ 2147483646 w 225"/>
                    <a:gd name="T39" fmla="*/ 2147483646 h 167"/>
                    <a:gd name="T40" fmla="*/ 2147483646 w 225"/>
                    <a:gd name="T41" fmla="*/ 2147483646 h 167"/>
                    <a:gd name="T42" fmla="*/ 2147483646 w 225"/>
                    <a:gd name="T43" fmla="*/ 2147483646 h 167"/>
                    <a:gd name="T44" fmla="*/ 2147483646 w 225"/>
                    <a:gd name="T45" fmla="*/ 2147483646 h 167"/>
                    <a:gd name="T46" fmla="*/ 2147483646 w 225"/>
                    <a:gd name="T47" fmla="*/ 2147483646 h 167"/>
                    <a:gd name="T48" fmla="*/ 2147483646 w 225"/>
                    <a:gd name="T49" fmla="*/ 2147483646 h 167"/>
                    <a:gd name="T50" fmla="*/ 2147483646 w 225"/>
                    <a:gd name="T51" fmla="*/ 2147483646 h 167"/>
                    <a:gd name="T52" fmla="*/ 2147483646 w 225"/>
                    <a:gd name="T53" fmla="*/ 2147483646 h 167"/>
                    <a:gd name="T54" fmla="*/ 2147483646 w 225"/>
                    <a:gd name="T55" fmla="*/ 2147483646 h 167"/>
                    <a:gd name="T56" fmla="*/ 2147483646 w 225"/>
                    <a:gd name="T57" fmla="*/ 2147483646 h 167"/>
                    <a:gd name="T58" fmla="*/ 2147483646 w 225"/>
                    <a:gd name="T59" fmla="*/ 2147483646 h 167"/>
                    <a:gd name="T60" fmla="*/ 2147483646 w 225"/>
                    <a:gd name="T61" fmla="*/ 2147483646 h 167"/>
                    <a:gd name="T62" fmla="*/ 2147483646 w 225"/>
                    <a:gd name="T63" fmla="*/ 2147483646 h 167"/>
                    <a:gd name="T64" fmla="*/ 2147483646 w 225"/>
                    <a:gd name="T65" fmla="*/ 2147483646 h 16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25"/>
                    <a:gd name="T100" fmla="*/ 0 h 167"/>
                    <a:gd name="T101" fmla="*/ 225 w 225"/>
                    <a:gd name="T102" fmla="*/ 167 h 16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25" h="167">
                      <a:moveTo>
                        <a:pt x="26" y="167"/>
                      </a:moveTo>
                      <a:lnTo>
                        <a:pt x="19" y="158"/>
                      </a:lnTo>
                      <a:lnTo>
                        <a:pt x="10" y="148"/>
                      </a:lnTo>
                      <a:lnTo>
                        <a:pt x="7" y="142"/>
                      </a:lnTo>
                      <a:lnTo>
                        <a:pt x="3" y="136"/>
                      </a:lnTo>
                      <a:lnTo>
                        <a:pt x="0" y="130"/>
                      </a:lnTo>
                      <a:lnTo>
                        <a:pt x="0" y="123"/>
                      </a:lnTo>
                      <a:lnTo>
                        <a:pt x="1" y="108"/>
                      </a:lnTo>
                      <a:lnTo>
                        <a:pt x="5" y="89"/>
                      </a:lnTo>
                      <a:lnTo>
                        <a:pt x="11" y="68"/>
                      </a:lnTo>
                      <a:lnTo>
                        <a:pt x="20" y="48"/>
                      </a:lnTo>
                      <a:lnTo>
                        <a:pt x="24" y="39"/>
                      </a:lnTo>
                      <a:lnTo>
                        <a:pt x="28" y="29"/>
                      </a:lnTo>
                      <a:lnTo>
                        <a:pt x="34" y="21"/>
                      </a:lnTo>
                      <a:lnTo>
                        <a:pt x="38" y="14"/>
                      </a:lnTo>
                      <a:lnTo>
                        <a:pt x="44" y="9"/>
                      </a:lnTo>
                      <a:lnTo>
                        <a:pt x="49" y="4"/>
                      </a:lnTo>
                      <a:lnTo>
                        <a:pt x="54" y="1"/>
                      </a:lnTo>
                      <a:lnTo>
                        <a:pt x="59" y="0"/>
                      </a:lnTo>
                      <a:lnTo>
                        <a:pt x="65" y="1"/>
                      </a:lnTo>
                      <a:lnTo>
                        <a:pt x="70" y="1"/>
                      </a:lnTo>
                      <a:lnTo>
                        <a:pt x="76" y="3"/>
                      </a:lnTo>
                      <a:lnTo>
                        <a:pt x="80" y="4"/>
                      </a:lnTo>
                      <a:lnTo>
                        <a:pt x="88" y="8"/>
                      </a:lnTo>
                      <a:lnTo>
                        <a:pt x="94" y="13"/>
                      </a:lnTo>
                      <a:lnTo>
                        <a:pt x="100" y="17"/>
                      </a:lnTo>
                      <a:lnTo>
                        <a:pt x="106" y="21"/>
                      </a:lnTo>
                      <a:lnTo>
                        <a:pt x="112" y="24"/>
                      </a:lnTo>
                      <a:lnTo>
                        <a:pt x="120" y="25"/>
                      </a:lnTo>
                      <a:lnTo>
                        <a:pt x="128" y="24"/>
                      </a:lnTo>
                      <a:lnTo>
                        <a:pt x="137" y="22"/>
                      </a:lnTo>
                      <a:lnTo>
                        <a:pt x="145" y="19"/>
                      </a:lnTo>
                      <a:lnTo>
                        <a:pt x="151" y="15"/>
                      </a:lnTo>
                      <a:lnTo>
                        <a:pt x="165" y="7"/>
                      </a:lnTo>
                      <a:lnTo>
                        <a:pt x="179" y="0"/>
                      </a:lnTo>
                      <a:lnTo>
                        <a:pt x="225" y="0"/>
                      </a:lnTo>
                      <a:lnTo>
                        <a:pt x="221" y="11"/>
                      </a:lnTo>
                      <a:lnTo>
                        <a:pt x="215" y="22"/>
                      </a:lnTo>
                      <a:lnTo>
                        <a:pt x="209" y="31"/>
                      </a:lnTo>
                      <a:lnTo>
                        <a:pt x="201" y="41"/>
                      </a:lnTo>
                      <a:lnTo>
                        <a:pt x="185" y="57"/>
                      </a:lnTo>
                      <a:lnTo>
                        <a:pt x="168" y="72"/>
                      </a:lnTo>
                      <a:lnTo>
                        <a:pt x="151" y="86"/>
                      </a:lnTo>
                      <a:lnTo>
                        <a:pt x="138" y="100"/>
                      </a:lnTo>
                      <a:lnTo>
                        <a:pt x="133" y="107"/>
                      </a:lnTo>
                      <a:lnTo>
                        <a:pt x="129" y="114"/>
                      </a:lnTo>
                      <a:lnTo>
                        <a:pt x="126" y="122"/>
                      </a:lnTo>
                      <a:lnTo>
                        <a:pt x="126" y="130"/>
                      </a:lnTo>
                      <a:lnTo>
                        <a:pt x="125" y="129"/>
                      </a:lnTo>
                      <a:lnTo>
                        <a:pt x="123" y="126"/>
                      </a:lnTo>
                      <a:lnTo>
                        <a:pt x="120" y="122"/>
                      </a:lnTo>
                      <a:lnTo>
                        <a:pt x="120" y="117"/>
                      </a:lnTo>
                      <a:lnTo>
                        <a:pt x="112" y="119"/>
                      </a:lnTo>
                      <a:lnTo>
                        <a:pt x="106" y="121"/>
                      </a:lnTo>
                      <a:lnTo>
                        <a:pt x="101" y="124"/>
                      </a:lnTo>
                      <a:lnTo>
                        <a:pt x="97" y="128"/>
                      </a:lnTo>
                      <a:lnTo>
                        <a:pt x="88" y="135"/>
                      </a:lnTo>
                      <a:lnTo>
                        <a:pt x="80" y="145"/>
                      </a:lnTo>
                      <a:lnTo>
                        <a:pt x="76" y="149"/>
                      </a:lnTo>
                      <a:lnTo>
                        <a:pt x="71" y="153"/>
                      </a:lnTo>
                      <a:lnTo>
                        <a:pt x="66" y="157"/>
                      </a:lnTo>
                      <a:lnTo>
                        <a:pt x="60" y="160"/>
                      </a:lnTo>
                      <a:lnTo>
                        <a:pt x="54" y="163"/>
                      </a:lnTo>
                      <a:lnTo>
                        <a:pt x="46" y="165"/>
                      </a:lnTo>
                      <a:lnTo>
                        <a:pt x="36" y="166"/>
                      </a:lnTo>
                      <a:lnTo>
                        <a:pt x="26" y="16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7" name="Freeform 187">
                  <a:extLst>
                    <a:ext uri="{FF2B5EF4-FFF2-40B4-BE49-F238E27FC236}">
                      <a16:creationId xmlns:a16="http://schemas.microsoft.com/office/drawing/2014/main" xmlns="" id="{CB464081-6B86-43F5-8A7F-FAD66925B5B4}"/>
                    </a:ext>
                  </a:extLst>
                </p:cNvPr>
                <p:cNvSpPr>
                  <a:spLocks/>
                </p:cNvSpPr>
                <p:nvPr>
                  <p:custDataLst>
                    <p:tags r:id="rId114"/>
                  </p:custDataLst>
                </p:nvPr>
              </p:nvSpPr>
              <p:spPr bwMode="auto">
                <a:xfrm>
                  <a:off x="7454900" y="4168775"/>
                  <a:ext cx="3175" cy="17463"/>
                </a:xfrm>
                <a:custGeom>
                  <a:avLst/>
                  <a:gdLst>
                    <a:gd name="T0" fmla="*/ 0 w 7"/>
                    <a:gd name="T1" fmla="*/ 2147483646 h 31"/>
                    <a:gd name="T2" fmla="*/ 2147483646 w 7"/>
                    <a:gd name="T3" fmla="*/ 2147483646 h 31"/>
                    <a:gd name="T4" fmla="*/ 2147483646 w 7"/>
                    <a:gd name="T5" fmla="*/ 2147483646 h 31"/>
                    <a:gd name="T6" fmla="*/ 2147483646 w 7"/>
                    <a:gd name="T7" fmla="*/ 2147483646 h 31"/>
                    <a:gd name="T8" fmla="*/ 2147483646 w 7"/>
                    <a:gd name="T9" fmla="*/ 0 h 31"/>
                    <a:gd name="T10" fmla="*/ 2147483646 w 7"/>
                    <a:gd name="T11" fmla="*/ 2147483646 h 31"/>
                    <a:gd name="T12" fmla="*/ 2147483646 w 7"/>
                    <a:gd name="T13" fmla="*/ 2147483646 h 31"/>
                    <a:gd name="T14" fmla="*/ 2147483646 w 7"/>
                    <a:gd name="T15" fmla="*/ 2147483646 h 31"/>
                    <a:gd name="T16" fmla="*/ 0 w 7"/>
                    <a:gd name="T17" fmla="*/ 2147483646 h 3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"/>
                    <a:gd name="T28" fmla="*/ 0 h 31"/>
                    <a:gd name="T29" fmla="*/ 7 w 7"/>
                    <a:gd name="T30" fmla="*/ 31 h 3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" h="31">
                      <a:moveTo>
                        <a:pt x="0" y="31"/>
                      </a:moveTo>
                      <a:lnTo>
                        <a:pt x="5" y="22"/>
                      </a:lnTo>
                      <a:lnTo>
                        <a:pt x="6" y="13"/>
                      </a:lnTo>
                      <a:lnTo>
                        <a:pt x="7" y="6"/>
                      </a:lnTo>
                      <a:lnTo>
                        <a:pt x="7" y="0"/>
                      </a:lnTo>
                      <a:lnTo>
                        <a:pt x="6" y="6"/>
                      </a:lnTo>
                      <a:lnTo>
                        <a:pt x="4" y="13"/>
                      </a:lnTo>
                      <a:lnTo>
                        <a:pt x="1" y="22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8" name="Freeform 188">
                  <a:extLst>
                    <a:ext uri="{FF2B5EF4-FFF2-40B4-BE49-F238E27FC236}">
                      <a16:creationId xmlns:a16="http://schemas.microsoft.com/office/drawing/2014/main" xmlns="" id="{A583CBDB-FC14-4D1B-899A-97099CC58E2D}"/>
                    </a:ext>
                  </a:extLst>
                </p:cNvPr>
                <p:cNvSpPr>
                  <a:spLocks/>
                </p:cNvSpPr>
                <p:nvPr>
                  <p:custDataLst>
                    <p:tags r:id="rId115"/>
                  </p:custDataLst>
                </p:nvPr>
              </p:nvSpPr>
              <p:spPr bwMode="auto">
                <a:xfrm>
                  <a:off x="7388225" y="4090988"/>
                  <a:ext cx="15875" cy="15875"/>
                </a:xfrm>
                <a:custGeom>
                  <a:avLst/>
                  <a:gdLst>
                    <a:gd name="T0" fmla="*/ 2147483646 w 33"/>
                    <a:gd name="T1" fmla="*/ 2147483646 h 31"/>
                    <a:gd name="T2" fmla="*/ 2147483646 w 33"/>
                    <a:gd name="T3" fmla="*/ 0 h 31"/>
                    <a:gd name="T4" fmla="*/ 2147483646 w 33"/>
                    <a:gd name="T5" fmla="*/ 0 h 31"/>
                    <a:gd name="T6" fmla="*/ 2147483646 w 33"/>
                    <a:gd name="T7" fmla="*/ 2147483646 h 31"/>
                    <a:gd name="T8" fmla="*/ 2147483646 w 33"/>
                    <a:gd name="T9" fmla="*/ 2147483646 h 31"/>
                    <a:gd name="T10" fmla="*/ 2147483646 w 33"/>
                    <a:gd name="T11" fmla="*/ 2147483646 h 31"/>
                    <a:gd name="T12" fmla="*/ 2147483646 w 33"/>
                    <a:gd name="T13" fmla="*/ 2147483646 h 31"/>
                    <a:gd name="T14" fmla="*/ 2147483646 w 33"/>
                    <a:gd name="T15" fmla="*/ 2147483646 h 31"/>
                    <a:gd name="T16" fmla="*/ 2147483646 w 33"/>
                    <a:gd name="T17" fmla="*/ 2147483646 h 31"/>
                    <a:gd name="T18" fmla="*/ 0 w 33"/>
                    <a:gd name="T19" fmla="*/ 2147483646 h 31"/>
                    <a:gd name="T20" fmla="*/ 2147483646 w 33"/>
                    <a:gd name="T21" fmla="*/ 2147483646 h 31"/>
                    <a:gd name="T22" fmla="*/ 2147483646 w 33"/>
                    <a:gd name="T23" fmla="*/ 2147483646 h 31"/>
                    <a:gd name="T24" fmla="*/ 2147483646 w 33"/>
                    <a:gd name="T25" fmla="*/ 2147483646 h 31"/>
                    <a:gd name="T26" fmla="*/ 2147483646 w 33"/>
                    <a:gd name="T27" fmla="*/ 2147483646 h 31"/>
                    <a:gd name="T28" fmla="*/ 2147483646 w 33"/>
                    <a:gd name="T29" fmla="*/ 2147483646 h 31"/>
                    <a:gd name="T30" fmla="*/ 2147483646 w 33"/>
                    <a:gd name="T31" fmla="*/ 2147483646 h 3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33"/>
                    <a:gd name="T49" fmla="*/ 0 h 31"/>
                    <a:gd name="T50" fmla="*/ 33 w 33"/>
                    <a:gd name="T51" fmla="*/ 31 h 3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33" h="31">
                      <a:moveTo>
                        <a:pt x="33" y="31"/>
                      </a:moveTo>
                      <a:lnTo>
                        <a:pt x="33" y="0"/>
                      </a:lnTo>
                      <a:lnTo>
                        <a:pt x="27" y="0"/>
                      </a:lnTo>
                      <a:lnTo>
                        <a:pt x="22" y="2"/>
                      </a:lnTo>
                      <a:lnTo>
                        <a:pt x="16" y="5"/>
                      </a:lnTo>
                      <a:lnTo>
                        <a:pt x="11" y="8"/>
                      </a:lnTo>
                      <a:lnTo>
                        <a:pt x="6" y="12"/>
                      </a:lnTo>
                      <a:lnTo>
                        <a:pt x="3" y="16"/>
                      </a:lnTo>
                      <a:lnTo>
                        <a:pt x="1" y="21"/>
                      </a:lnTo>
                      <a:lnTo>
                        <a:pt x="0" y="25"/>
                      </a:lnTo>
                      <a:lnTo>
                        <a:pt x="1" y="27"/>
                      </a:lnTo>
                      <a:lnTo>
                        <a:pt x="3" y="29"/>
                      </a:lnTo>
                      <a:lnTo>
                        <a:pt x="6" y="30"/>
                      </a:lnTo>
                      <a:lnTo>
                        <a:pt x="11" y="30"/>
                      </a:lnTo>
                      <a:lnTo>
                        <a:pt x="22" y="31"/>
                      </a:lnTo>
                      <a:lnTo>
                        <a:pt x="33" y="3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9" name="Freeform 189">
                  <a:extLst>
                    <a:ext uri="{FF2B5EF4-FFF2-40B4-BE49-F238E27FC236}">
                      <a16:creationId xmlns:a16="http://schemas.microsoft.com/office/drawing/2014/main" xmlns="" id="{6C92B4DE-5DD2-4CA8-AB6C-C0A297095EF5}"/>
                    </a:ext>
                  </a:extLst>
                </p:cNvPr>
                <p:cNvSpPr>
                  <a:spLocks/>
                </p:cNvSpPr>
                <p:nvPr>
                  <p:custDataLst>
                    <p:tags r:id="rId116"/>
                  </p:custDataLst>
                </p:nvPr>
              </p:nvSpPr>
              <p:spPr bwMode="auto">
                <a:xfrm>
                  <a:off x="7404100" y="4003675"/>
                  <a:ext cx="3175" cy="9525"/>
                </a:xfrm>
                <a:custGeom>
                  <a:avLst/>
                  <a:gdLst>
                    <a:gd name="T0" fmla="*/ 0 w 13"/>
                    <a:gd name="T1" fmla="*/ 2147483646 h 19"/>
                    <a:gd name="T2" fmla="*/ 2147483646 w 13"/>
                    <a:gd name="T3" fmla="*/ 2147483646 h 19"/>
                    <a:gd name="T4" fmla="*/ 2147483646 w 13"/>
                    <a:gd name="T5" fmla="*/ 2147483646 h 19"/>
                    <a:gd name="T6" fmla="*/ 2147483646 w 13"/>
                    <a:gd name="T7" fmla="*/ 2147483646 h 19"/>
                    <a:gd name="T8" fmla="*/ 2147483646 w 13"/>
                    <a:gd name="T9" fmla="*/ 2147483646 h 19"/>
                    <a:gd name="T10" fmla="*/ 2147483646 w 13"/>
                    <a:gd name="T11" fmla="*/ 2147483646 h 19"/>
                    <a:gd name="T12" fmla="*/ 2147483646 w 13"/>
                    <a:gd name="T13" fmla="*/ 0 h 19"/>
                    <a:gd name="T14" fmla="*/ 0 w 13"/>
                    <a:gd name="T15" fmla="*/ 2147483646 h 1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"/>
                    <a:gd name="T25" fmla="*/ 0 h 19"/>
                    <a:gd name="T26" fmla="*/ 13 w 13"/>
                    <a:gd name="T27" fmla="*/ 19 h 1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" h="19">
                      <a:moveTo>
                        <a:pt x="0" y="19"/>
                      </a:moveTo>
                      <a:lnTo>
                        <a:pt x="2" y="18"/>
                      </a:lnTo>
                      <a:lnTo>
                        <a:pt x="5" y="17"/>
                      </a:lnTo>
                      <a:lnTo>
                        <a:pt x="7" y="15"/>
                      </a:lnTo>
                      <a:lnTo>
                        <a:pt x="8" y="12"/>
                      </a:lnTo>
                      <a:lnTo>
                        <a:pt x="12" y="6"/>
                      </a:lnTo>
                      <a:lnTo>
                        <a:pt x="13" y="0"/>
                      </a:lnTo>
                      <a:lnTo>
                        <a:pt x="0" y="1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0" name="Freeform 190">
                  <a:extLst>
                    <a:ext uri="{FF2B5EF4-FFF2-40B4-BE49-F238E27FC236}">
                      <a16:creationId xmlns:a16="http://schemas.microsoft.com/office/drawing/2014/main" xmlns="" id="{D418E4C4-6300-4994-A546-E8E904C3DD68}"/>
                    </a:ext>
                  </a:extLst>
                </p:cNvPr>
                <p:cNvSpPr>
                  <a:spLocks/>
                </p:cNvSpPr>
                <p:nvPr>
                  <p:custDataLst>
                    <p:tags r:id="rId117"/>
                  </p:custDataLst>
                </p:nvPr>
              </p:nvSpPr>
              <p:spPr bwMode="auto">
                <a:xfrm>
                  <a:off x="7243763" y="4006850"/>
                  <a:ext cx="36512" cy="22225"/>
                </a:xfrm>
                <a:custGeom>
                  <a:avLst/>
                  <a:gdLst>
                    <a:gd name="T0" fmla="*/ 2147483646 w 87"/>
                    <a:gd name="T1" fmla="*/ 2147483646 h 42"/>
                    <a:gd name="T2" fmla="*/ 2147483646 w 87"/>
                    <a:gd name="T3" fmla="*/ 2147483646 h 42"/>
                    <a:gd name="T4" fmla="*/ 2147483646 w 87"/>
                    <a:gd name="T5" fmla="*/ 2147483646 h 42"/>
                    <a:gd name="T6" fmla="*/ 2147483646 w 87"/>
                    <a:gd name="T7" fmla="*/ 2147483646 h 42"/>
                    <a:gd name="T8" fmla="*/ 2147483646 w 87"/>
                    <a:gd name="T9" fmla="*/ 2147483646 h 42"/>
                    <a:gd name="T10" fmla="*/ 2147483646 w 87"/>
                    <a:gd name="T11" fmla="*/ 2147483646 h 42"/>
                    <a:gd name="T12" fmla="*/ 2147483646 w 87"/>
                    <a:gd name="T13" fmla="*/ 2147483646 h 42"/>
                    <a:gd name="T14" fmla="*/ 2147483646 w 87"/>
                    <a:gd name="T15" fmla="*/ 2147483646 h 42"/>
                    <a:gd name="T16" fmla="*/ 2147483646 w 87"/>
                    <a:gd name="T17" fmla="*/ 2147483646 h 42"/>
                    <a:gd name="T18" fmla="*/ 2147483646 w 87"/>
                    <a:gd name="T19" fmla="*/ 2147483646 h 42"/>
                    <a:gd name="T20" fmla="*/ 2147483646 w 87"/>
                    <a:gd name="T21" fmla="*/ 2147483646 h 42"/>
                    <a:gd name="T22" fmla="*/ 2147483646 w 87"/>
                    <a:gd name="T23" fmla="*/ 2147483646 h 42"/>
                    <a:gd name="T24" fmla="*/ 2147483646 w 87"/>
                    <a:gd name="T25" fmla="*/ 0 h 42"/>
                    <a:gd name="T26" fmla="*/ 2147483646 w 87"/>
                    <a:gd name="T27" fmla="*/ 0 h 42"/>
                    <a:gd name="T28" fmla="*/ 2147483646 w 87"/>
                    <a:gd name="T29" fmla="*/ 0 h 42"/>
                    <a:gd name="T30" fmla="*/ 2147483646 w 87"/>
                    <a:gd name="T31" fmla="*/ 0 h 42"/>
                    <a:gd name="T32" fmla="*/ 2147483646 w 87"/>
                    <a:gd name="T33" fmla="*/ 2147483646 h 42"/>
                    <a:gd name="T34" fmla="*/ 2147483646 w 87"/>
                    <a:gd name="T35" fmla="*/ 2147483646 h 42"/>
                    <a:gd name="T36" fmla="*/ 2147483646 w 87"/>
                    <a:gd name="T37" fmla="*/ 2147483646 h 42"/>
                    <a:gd name="T38" fmla="*/ 2147483646 w 87"/>
                    <a:gd name="T39" fmla="*/ 2147483646 h 42"/>
                    <a:gd name="T40" fmla="*/ 0 w 87"/>
                    <a:gd name="T41" fmla="*/ 2147483646 h 42"/>
                    <a:gd name="T42" fmla="*/ 2147483646 w 87"/>
                    <a:gd name="T43" fmla="*/ 2147483646 h 42"/>
                    <a:gd name="T44" fmla="*/ 2147483646 w 87"/>
                    <a:gd name="T45" fmla="*/ 2147483646 h 42"/>
                    <a:gd name="T46" fmla="*/ 2147483646 w 87"/>
                    <a:gd name="T47" fmla="*/ 2147483646 h 42"/>
                    <a:gd name="T48" fmla="*/ 2147483646 w 87"/>
                    <a:gd name="T49" fmla="*/ 2147483646 h 4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87"/>
                    <a:gd name="T76" fmla="*/ 0 h 42"/>
                    <a:gd name="T77" fmla="*/ 87 w 87"/>
                    <a:gd name="T78" fmla="*/ 42 h 42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87" h="42">
                      <a:moveTo>
                        <a:pt x="54" y="42"/>
                      </a:moveTo>
                      <a:lnTo>
                        <a:pt x="59" y="42"/>
                      </a:lnTo>
                      <a:lnTo>
                        <a:pt x="64" y="41"/>
                      </a:lnTo>
                      <a:lnTo>
                        <a:pt x="68" y="40"/>
                      </a:lnTo>
                      <a:lnTo>
                        <a:pt x="71" y="38"/>
                      </a:lnTo>
                      <a:lnTo>
                        <a:pt x="75" y="34"/>
                      </a:lnTo>
                      <a:lnTo>
                        <a:pt x="78" y="28"/>
                      </a:lnTo>
                      <a:lnTo>
                        <a:pt x="79" y="22"/>
                      </a:lnTo>
                      <a:lnTo>
                        <a:pt x="80" y="16"/>
                      </a:lnTo>
                      <a:lnTo>
                        <a:pt x="82" y="11"/>
                      </a:lnTo>
                      <a:lnTo>
                        <a:pt x="87" y="6"/>
                      </a:lnTo>
                      <a:lnTo>
                        <a:pt x="77" y="2"/>
                      </a:lnTo>
                      <a:lnTo>
                        <a:pt x="67" y="0"/>
                      </a:lnTo>
                      <a:lnTo>
                        <a:pt x="57" y="0"/>
                      </a:lnTo>
                      <a:lnTo>
                        <a:pt x="47" y="0"/>
                      </a:lnTo>
                      <a:lnTo>
                        <a:pt x="40" y="0"/>
                      </a:lnTo>
                      <a:lnTo>
                        <a:pt x="32" y="2"/>
                      </a:lnTo>
                      <a:lnTo>
                        <a:pt x="25" y="4"/>
                      </a:lnTo>
                      <a:lnTo>
                        <a:pt x="19" y="6"/>
                      </a:lnTo>
                      <a:lnTo>
                        <a:pt x="8" y="12"/>
                      </a:lnTo>
                      <a:lnTo>
                        <a:pt x="0" y="18"/>
                      </a:lnTo>
                      <a:lnTo>
                        <a:pt x="11" y="24"/>
                      </a:lnTo>
                      <a:lnTo>
                        <a:pt x="27" y="32"/>
                      </a:lnTo>
                      <a:lnTo>
                        <a:pt x="43" y="39"/>
                      </a:lnTo>
                      <a:lnTo>
                        <a:pt x="54" y="4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1" name="Freeform 191">
                  <a:extLst>
                    <a:ext uri="{FF2B5EF4-FFF2-40B4-BE49-F238E27FC236}">
                      <a16:creationId xmlns:a16="http://schemas.microsoft.com/office/drawing/2014/main" xmlns="" id="{FC7BF8FB-0E4C-4217-A03C-51B6262DCAF0}"/>
                    </a:ext>
                  </a:extLst>
                </p:cNvPr>
                <p:cNvSpPr>
                  <a:spLocks/>
                </p:cNvSpPr>
                <p:nvPr>
                  <p:custDataLst>
                    <p:tags r:id="rId118"/>
                  </p:custDataLst>
                </p:nvPr>
              </p:nvSpPr>
              <p:spPr bwMode="auto">
                <a:xfrm>
                  <a:off x="7488238" y="4470400"/>
                  <a:ext cx="1587" cy="14288"/>
                </a:xfrm>
                <a:custGeom>
                  <a:avLst/>
                  <a:gdLst>
                    <a:gd name="T0" fmla="*/ 0 w 7"/>
                    <a:gd name="T1" fmla="*/ 0 h 31"/>
                    <a:gd name="T2" fmla="*/ 2147483646 w 7"/>
                    <a:gd name="T3" fmla="*/ 0 h 31"/>
                    <a:gd name="T4" fmla="*/ 2147483646 w 7"/>
                    <a:gd name="T5" fmla="*/ 2147483646 h 31"/>
                    <a:gd name="T6" fmla="*/ 0 w 7"/>
                    <a:gd name="T7" fmla="*/ 2147483646 h 31"/>
                    <a:gd name="T8" fmla="*/ 0 w 7"/>
                    <a:gd name="T9" fmla="*/ 0 h 3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31"/>
                    <a:gd name="T17" fmla="*/ 7 w 7"/>
                    <a:gd name="T18" fmla="*/ 31 h 3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31">
                      <a:moveTo>
                        <a:pt x="0" y="0"/>
                      </a:moveTo>
                      <a:lnTo>
                        <a:pt x="7" y="0"/>
                      </a:lnTo>
                      <a:lnTo>
                        <a:pt x="7" y="18"/>
                      </a:lnTo>
                      <a:lnTo>
                        <a:pt x="0" y="3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2" name="Freeform 192">
                  <a:extLst>
                    <a:ext uri="{FF2B5EF4-FFF2-40B4-BE49-F238E27FC236}">
                      <a16:creationId xmlns:a16="http://schemas.microsoft.com/office/drawing/2014/main" xmlns="" id="{22C68EC0-2EB1-45FF-95EC-2CB2A789E252}"/>
                    </a:ext>
                  </a:extLst>
                </p:cNvPr>
                <p:cNvSpPr>
                  <a:spLocks/>
                </p:cNvSpPr>
                <p:nvPr>
                  <p:custDataLst>
                    <p:tags r:id="rId119"/>
                  </p:custDataLst>
                </p:nvPr>
              </p:nvSpPr>
              <p:spPr bwMode="auto">
                <a:xfrm>
                  <a:off x="6724650" y="3976688"/>
                  <a:ext cx="1019175" cy="908050"/>
                </a:xfrm>
                <a:custGeom>
                  <a:avLst/>
                  <a:gdLst>
                    <a:gd name="T0" fmla="*/ 2147483646 w 2332"/>
                    <a:gd name="T1" fmla="*/ 2147483646 h 1731"/>
                    <a:gd name="T2" fmla="*/ 2147483646 w 2332"/>
                    <a:gd name="T3" fmla="*/ 2147483646 h 1731"/>
                    <a:gd name="T4" fmla="*/ 2147483646 w 2332"/>
                    <a:gd name="T5" fmla="*/ 2147483646 h 1731"/>
                    <a:gd name="T6" fmla="*/ 2147483646 w 2332"/>
                    <a:gd name="T7" fmla="*/ 2147483646 h 1731"/>
                    <a:gd name="T8" fmla="*/ 2147483646 w 2332"/>
                    <a:gd name="T9" fmla="*/ 2147483646 h 1731"/>
                    <a:gd name="T10" fmla="*/ 2147483646 w 2332"/>
                    <a:gd name="T11" fmla="*/ 2147483646 h 1731"/>
                    <a:gd name="T12" fmla="*/ 2147483646 w 2332"/>
                    <a:gd name="T13" fmla="*/ 2147483646 h 1731"/>
                    <a:gd name="T14" fmla="*/ 2147483646 w 2332"/>
                    <a:gd name="T15" fmla="*/ 2147483646 h 1731"/>
                    <a:gd name="T16" fmla="*/ 2147483646 w 2332"/>
                    <a:gd name="T17" fmla="*/ 2147483646 h 1731"/>
                    <a:gd name="T18" fmla="*/ 2147483646 w 2332"/>
                    <a:gd name="T19" fmla="*/ 2147483646 h 1731"/>
                    <a:gd name="T20" fmla="*/ 2147483646 w 2332"/>
                    <a:gd name="T21" fmla="*/ 2147483646 h 1731"/>
                    <a:gd name="T22" fmla="*/ 2147483646 w 2332"/>
                    <a:gd name="T23" fmla="*/ 2147483646 h 1731"/>
                    <a:gd name="T24" fmla="*/ 2147483646 w 2332"/>
                    <a:gd name="T25" fmla="*/ 2147483646 h 1731"/>
                    <a:gd name="T26" fmla="*/ 2147483646 w 2332"/>
                    <a:gd name="T27" fmla="*/ 2147483646 h 1731"/>
                    <a:gd name="T28" fmla="*/ 2147483646 w 2332"/>
                    <a:gd name="T29" fmla="*/ 2147483646 h 1731"/>
                    <a:gd name="T30" fmla="*/ 2147483646 w 2332"/>
                    <a:gd name="T31" fmla="*/ 2147483646 h 1731"/>
                    <a:gd name="T32" fmla="*/ 2147483646 w 2332"/>
                    <a:gd name="T33" fmla="*/ 2147483646 h 1731"/>
                    <a:gd name="T34" fmla="*/ 2147483646 w 2332"/>
                    <a:gd name="T35" fmla="*/ 2147483646 h 1731"/>
                    <a:gd name="T36" fmla="*/ 2147483646 w 2332"/>
                    <a:gd name="T37" fmla="*/ 2147483646 h 1731"/>
                    <a:gd name="T38" fmla="*/ 2147483646 w 2332"/>
                    <a:gd name="T39" fmla="*/ 2147483646 h 1731"/>
                    <a:gd name="T40" fmla="*/ 2147483646 w 2332"/>
                    <a:gd name="T41" fmla="*/ 2147483646 h 1731"/>
                    <a:gd name="T42" fmla="*/ 2147483646 w 2332"/>
                    <a:gd name="T43" fmla="*/ 2147483646 h 1731"/>
                    <a:gd name="T44" fmla="*/ 2147483646 w 2332"/>
                    <a:gd name="T45" fmla="*/ 2147483646 h 1731"/>
                    <a:gd name="T46" fmla="*/ 2147483646 w 2332"/>
                    <a:gd name="T47" fmla="*/ 2147483646 h 1731"/>
                    <a:gd name="T48" fmla="*/ 2147483646 w 2332"/>
                    <a:gd name="T49" fmla="*/ 2147483646 h 1731"/>
                    <a:gd name="T50" fmla="*/ 2147483646 w 2332"/>
                    <a:gd name="T51" fmla="*/ 2147483646 h 1731"/>
                    <a:gd name="T52" fmla="*/ 2147483646 w 2332"/>
                    <a:gd name="T53" fmla="*/ 2147483646 h 1731"/>
                    <a:gd name="T54" fmla="*/ 2147483646 w 2332"/>
                    <a:gd name="T55" fmla="*/ 2147483646 h 1731"/>
                    <a:gd name="T56" fmla="*/ 2147483646 w 2332"/>
                    <a:gd name="T57" fmla="*/ 2147483646 h 1731"/>
                    <a:gd name="T58" fmla="*/ 2147483646 w 2332"/>
                    <a:gd name="T59" fmla="*/ 2147483646 h 1731"/>
                    <a:gd name="T60" fmla="*/ 2147483646 w 2332"/>
                    <a:gd name="T61" fmla="*/ 2147483646 h 1731"/>
                    <a:gd name="T62" fmla="*/ 2147483646 w 2332"/>
                    <a:gd name="T63" fmla="*/ 2147483646 h 1731"/>
                    <a:gd name="T64" fmla="*/ 2147483646 w 2332"/>
                    <a:gd name="T65" fmla="*/ 2147483646 h 1731"/>
                    <a:gd name="T66" fmla="*/ 2147483646 w 2332"/>
                    <a:gd name="T67" fmla="*/ 2147483646 h 1731"/>
                    <a:gd name="T68" fmla="*/ 2147483646 w 2332"/>
                    <a:gd name="T69" fmla="*/ 2147483646 h 1731"/>
                    <a:gd name="T70" fmla="*/ 2147483646 w 2332"/>
                    <a:gd name="T71" fmla="*/ 2147483646 h 1731"/>
                    <a:gd name="T72" fmla="*/ 2147483646 w 2332"/>
                    <a:gd name="T73" fmla="*/ 2147483646 h 1731"/>
                    <a:gd name="T74" fmla="*/ 2147483646 w 2332"/>
                    <a:gd name="T75" fmla="*/ 2147483646 h 1731"/>
                    <a:gd name="T76" fmla="*/ 2147483646 w 2332"/>
                    <a:gd name="T77" fmla="*/ 2147483646 h 1731"/>
                    <a:gd name="T78" fmla="*/ 2147483646 w 2332"/>
                    <a:gd name="T79" fmla="*/ 2147483646 h 1731"/>
                    <a:gd name="T80" fmla="*/ 2147483646 w 2332"/>
                    <a:gd name="T81" fmla="*/ 2147483646 h 1731"/>
                    <a:gd name="T82" fmla="*/ 2147483646 w 2332"/>
                    <a:gd name="T83" fmla="*/ 2147483646 h 1731"/>
                    <a:gd name="T84" fmla="*/ 2147483646 w 2332"/>
                    <a:gd name="T85" fmla="*/ 2147483646 h 1731"/>
                    <a:gd name="T86" fmla="*/ 2147483646 w 2332"/>
                    <a:gd name="T87" fmla="*/ 2147483646 h 1731"/>
                    <a:gd name="T88" fmla="*/ 2147483646 w 2332"/>
                    <a:gd name="T89" fmla="*/ 2147483646 h 1731"/>
                    <a:gd name="T90" fmla="*/ 2147483646 w 2332"/>
                    <a:gd name="T91" fmla="*/ 2147483646 h 1731"/>
                    <a:gd name="T92" fmla="*/ 2147483646 w 2332"/>
                    <a:gd name="T93" fmla="*/ 2147483646 h 1731"/>
                    <a:gd name="T94" fmla="*/ 2147483646 w 2332"/>
                    <a:gd name="T95" fmla="*/ 2147483646 h 1731"/>
                    <a:gd name="T96" fmla="*/ 2147483646 w 2332"/>
                    <a:gd name="T97" fmla="*/ 2147483646 h 1731"/>
                    <a:gd name="T98" fmla="*/ 2147483646 w 2332"/>
                    <a:gd name="T99" fmla="*/ 2147483646 h 1731"/>
                    <a:gd name="T100" fmla="*/ 2147483646 w 2332"/>
                    <a:gd name="T101" fmla="*/ 2147483646 h 1731"/>
                    <a:gd name="T102" fmla="*/ 2147483646 w 2332"/>
                    <a:gd name="T103" fmla="*/ 2147483646 h 1731"/>
                    <a:gd name="T104" fmla="*/ 2147483646 w 2332"/>
                    <a:gd name="T105" fmla="*/ 2147483646 h 1731"/>
                    <a:gd name="T106" fmla="*/ 2147483646 w 2332"/>
                    <a:gd name="T107" fmla="*/ 2147483646 h 1731"/>
                    <a:gd name="T108" fmla="*/ 2147483646 w 2332"/>
                    <a:gd name="T109" fmla="*/ 2147483646 h 1731"/>
                    <a:gd name="T110" fmla="*/ 2147483646 w 2332"/>
                    <a:gd name="T111" fmla="*/ 2147483646 h 1731"/>
                    <a:gd name="T112" fmla="*/ 2147483646 w 2332"/>
                    <a:gd name="T113" fmla="*/ 2147483646 h 1731"/>
                    <a:gd name="T114" fmla="*/ 2147483646 w 2332"/>
                    <a:gd name="T115" fmla="*/ 2147483646 h 1731"/>
                    <a:gd name="T116" fmla="*/ 2147483646 w 2332"/>
                    <a:gd name="T117" fmla="*/ 2147483646 h 1731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332"/>
                    <a:gd name="T178" fmla="*/ 0 h 1731"/>
                    <a:gd name="T179" fmla="*/ 2332 w 2332"/>
                    <a:gd name="T180" fmla="*/ 1731 h 1731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332" h="1731">
                      <a:moveTo>
                        <a:pt x="153" y="721"/>
                      </a:moveTo>
                      <a:lnTo>
                        <a:pt x="156" y="727"/>
                      </a:lnTo>
                      <a:lnTo>
                        <a:pt x="159" y="732"/>
                      </a:lnTo>
                      <a:lnTo>
                        <a:pt x="162" y="735"/>
                      </a:lnTo>
                      <a:lnTo>
                        <a:pt x="167" y="738"/>
                      </a:lnTo>
                      <a:lnTo>
                        <a:pt x="173" y="744"/>
                      </a:lnTo>
                      <a:lnTo>
                        <a:pt x="180" y="751"/>
                      </a:lnTo>
                      <a:lnTo>
                        <a:pt x="189" y="744"/>
                      </a:lnTo>
                      <a:lnTo>
                        <a:pt x="195" y="737"/>
                      </a:lnTo>
                      <a:lnTo>
                        <a:pt x="201" y="729"/>
                      </a:lnTo>
                      <a:lnTo>
                        <a:pt x="205" y="722"/>
                      </a:lnTo>
                      <a:lnTo>
                        <a:pt x="210" y="714"/>
                      </a:lnTo>
                      <a:lnTo>
                        <a:pt x="214" y="707"/>
                      </a:lnTo>
                      <a:lnTo>
                        <a:pt x="219" y="701"/>
                      </a:lnTo>
                      <a:lnTo>
                        <a:pt x="226" y="696"/>
                      </a:lnTo>
                      <a:lnTo>
                        <a:pt x="234" y="690"/>
                      </a:lnTo>
                      <a:lnTo>
                        <a:pt x="241" y="685"/>
                      </a:lnTo>
                      <a:lnTo>
                        <a:pt x="249" y="680"/>
                      </a:lnTo>
                      <a:lnTo>
                        <a:pt x="258" y="677"/>
                      </a:lnTo>
                      <a:lnTo>
                        <a:pt x="274" y="672"/>
                      </a:lnTo>
                      <a:lnTo>
                        <a:pt x="290" y="667"/>
                      </a:lnTo>
                      <a:lnTo>
                        <a:pt x="297" y="665"/>
                      </a:lnTo>
                      <a:lnTo>
                        <a:pt x="305" y="661"/>
                      </a:lnTo>
                      <a:lnTo>
                        <a:pt x="312" y="658"/>
                      </a:lnTo>
                      <a:lnTo>
                        <a:pt x="318" y="654"/>
                      </a:lnTo>
                      <a:lnTo>
                        <a:pt x="325" y="649"/>
                      </a:lnTo>
                      <a:lnTo>
                        <a:pt x="330" y="644"/>
                      </a:lnTo>
                      <a:lnTo>
                        <a:pt x="335" y="637"/>
                      </a:lnTo>
                      <a:lnTo>
                        <a:pt x="339" y="628"/>
                      </a:lnTo>
                      <a:lnTo>
                        <a:pt x="360" y="631"/>
                      </a:lnTo>
                      <a:lnTo>
                        <a:pt x="370" y="631"/>
                      </a:lnTo>
                      <a:lnTo>
                        <a:pt x="375" y="629"/>
                      </a:lnTo>
                      <a:lnTo>
                        <a:pt x="385" y="628"/>
                      </a:lnTo>
                      <a:lnTo>
                        <a:pt x="393" y="628"/>
                      </a:lnTo>
                      <a:lnTo>
                        <a:pt x="400" y="627"/>
                      </a:lnTo>
                      <a:lnTo>
                        <a:pt x="405" y="624"/>
                      </a:lnTo>
                      <a:lnTo>
                        <a:pt x="412" y="622"/>
                      </a:lnTo>
                      <a:lnTo>
                        <a:pt x="423" y="615"/>
                      </a:lnTo>
                      <a:lnTo>
                        <a:pt x="435" y="606"/>
                      </a:lnTo>
                      <a:lnTo>
                        <a:pt x="447" y="598"/>
                      </a:lnTo>
                      <a:lnTo>
                        <a:pt x="461" y="592"/>
                      </a:lnTo>
                      <a:lnTo>
                        <a:pt x="469" y="589"/>
                      </a:lnTo>
                      <a:lnTo>
                        <a:pt x="478" y="587"/>
                      </a:lnTo>
                      <a:lnTo>
                        <a:pt x="487" y="585"/>
                      </a:lnTo>
                      <a:lnTo>
                        <a:pt x="498" y="585"/>
                      </a:lnTo>
                      <a:lnTo>
                        <a:pt x="520" y="585"/>
                      </a:lnTo>
                      <a:lnTo>
                        <a:pt x="544" y="584"/>
                      </a:lnTo>
                      <a:lnTo>
                        <a:pt x="558" y="584"/>
                      </a:lnTo>
                      <a:lnTo>
                        <a:pt x="570" y="582"/>
                      </a:lnTo>
                      <a:lnTo>
                        <a:pt x="581" y="581"/>
                      </a:lnTo>
                      <a:lnTo>
                        <a:pt x="592" y="579"/>
                      </a:lnTo>
                      <a:lnTo>
                        <a:pt x="605" y="570"/>
                      </a:lnTo>
                      <a:lnTo>
                        <a:pt x="619" y="558"/>
                      </a:lnTo>
                      <a:lnTo>
                        <a:pt x="635" y="542"/>
                      </a:lnTo>
                      <a:lnTo>
                        <a:pt x="650" y="525"/>
                      </a:lnTo>
                      <a:lnTo>
                        <a:pt x="664" y="508"/>
                      </a:lnTo>
                      <a:lnTo>
                        <a:pt x="677" y="490"/>
                      </a:lnTo>
                      <a:lnTo>
                        <a:pt x="688" y="475"/>
                      </a:lnTo>
                      <a:lnTo>
                        <a:pt x="698" y="462"/>
                      </a:lnTo>
                      <a:lnTo>
                        <a:pt x="695" y="461"/>
                      </a:lnTo>
                      <a:lnTo>
                        <a:pt x="693" y="459"/>
                      </a:lnTo>
                      <a:lnTo>
                        <a:pt x="691" y="456"/>
                      </a:lnTo>
                      <a:lnTo>
                        <a:pt x="688" y="452"/>
                      </a:lnTo>
                      <a:lnTo>
                        <a:pt x="683" y="444"/>
                      </a:lnTo>
                      <a:lnTo>
                        <a:pt x="677" y="437"/>
                      </a:lnTo>
                      <a:lnTo>
                        <a:pt x="688" y="432"/>
                      </a:lnTo>
                      <a:lnTo>
                        <a:pt x="697" y="426"/>
                      </a:lnTo>
                      <a:lnTo>
                        <a:pt x="705" y="419"/>
                      </a:lnTo>
                      <a:lnTo>
                        <a:pt x="710" y="413"/>
                      </a:lnTo>
                      <a:lnTo>
                        <a:pt x="716" y="406"/>
                      </a:lnTo>
                      <a:lnTo>
                        <a:pt x="721" y="399"/>
                      </a:lnTo>
                      <a:lnTo>
                        <a:pt x="729" y="393"/>
                      </a:lnTo>
                      <a:lnTo>
                        <a:pt x="738" y="388"/>
                      </a:lnTo>
                      <a:lnTo>
                        <a:pt x="739" y="399"/>
                      </a:lnTo>
                      <a:lnTo>
                        <a:pt x="741" y="409"/>
                      </a:lnTo>
                      <a:lnTo>
                        <a:pt x="744" y="418"/>
                      </a:lnTo>
                      <a:lnTo>
                        <a:pt x="749" y="425"/>
                      </a:lnTo>
                      <a:lnTo>
                        <a:pt x="758" y="439"/>
                      </a:lnTo>
                      <a:lnTo>
                        <a:pt x="764" y="450"/>
                      </a:lnTo>
                      <a:lnTo>
                        <a:pt x="768" y="437"/>
                      </a:lnTo>
                      <a:lnTo>
                        <a:pt x="770" y="428"/>
                      </a:lnTo>
                      <a:lnTo>
                        <a:pt x="771" y="418"/>
                      </a:lnTo>
                      <a:lnTo>
                        <a:pt x="771" y="406"/>
                      </a:lnTo>
                      <a:lnTo>
                        <a:pt x="775" y="402"/>
                      </a:lnTo>
                      <a:lnTo>
                        <a:pt x="776" y="397"/>
                      </a:lnTo>
                      <a:lnTo>
                        <a:pt x="777" y="391"/>
                      </a:lnTo>
                      <a:lnTo>
                        <a:pt x="777" y="385"/>
                      </a:lnTo>
                      <a:lnTo>
                        <a:pt x="777" y="379"/>
                      </a:lnTo>
                      <a:lnTo>
                        <a:pt x="778" y="373"/>
                      </a:lnTo>
                      <a:lnTo>
                        <a:pt x="781" y="368"/>
                      </a:lnTo>
                      <a:lnTo>
                        <a:pt x="784" y="363"/>
                      </a:lnTo>
                      <a:lnTo>
                        <a:pt x="787" y="370"/>
                      </a:lnTo>
                      <a:lnTo>
                        <a:pt x="790" y="381"/>
                      </a:lnTo>
                      <a:lnTo>
                        <a:pt x="838" y="381"/>
                      </a:lnTo>
                      <a:lnTo>
                        <a:pt x="833" y="369"/>
                      </a:lnTo>
                      <a:lnTo>
                        <a:pt x="832" y="358"/>
                      </a:lnTo>
                      <a:lnTo>
                        <a:pt x="831" y="349"/>
                      </a:lnTo>
                      <a:lnTo>
                        <a:pt x="832" y="341"/>
                      </a:lnTo>
                      <a:lnTo>
                        <a:pt x="835" y="327"/>
                      </a:lnTo>
                      <a:lnTo>
                        <a:pt x="838" y="314"/>
                      </a:lnTo>
                      <a:lnTo>
                        <a:pt x="852" y="315"/>
                      </a:lnTo>
                      <a:lnTo>
                        <a:pt x="860" y="316"/>
                      </a:lnTo>
                      <a:lnTo>
                        <a:pt x="863" y="316"/>
                      </a:lnTo>
                      <a:lnTo>
                        <a:pt x="866" y="316"/>
                      </a:lnTo>
                      <a:lnTo>
                        <a:pt x="871" y="315"/>
                      </a:lnTo>
                      <a:lnTo>
                        <a:pt x="877" y="314"/>
                      </a:lnTo>
                      <a:lnTo>
                        <a:pt x="885" y="295"/>
                      </a:lnTo>
                      <a:lnTo>
                        <a:pt x="891" y="281"/>
                      </a:lnTo>
                      <a:lnTo>
                        <a:pt x="898" y="268"/>
                      </a:lnTo>
                      <a:lnTo>
                        <a:pt x="910" y="252"/>
                      </a:lnTo>
                      <a:lnTo>
                        <a:pt x="916" y="255"/>
                      </a:lnTo>
                      <a:lnTo>
                        <a:pt x="921" y="256"/>
                      </a:lnTo>
                      <a:lnTo>
                        <a:pt x="925" y="256"/>
                      </a:lnTo>
                      <a:lnTo>
                        <a:pt x="930" y="255"/>
                      </a:lnTo>
                      <a:lnTo>
                        <a:pt x="933" y="253"/>
                      </a:lnTo>
                      <a:lnTo>
                        <a:pt x="935" y="250"/>
                      </a:lnTo>
                      <a:lnTo>
                        <a:pt x="939" y="246"/>
                      </a:lnTo>
                      <a:lnTo>
                        <a:pt x="940" y="242"/>
                      </a:lnTo>
                      <a:lnTo>
                        <a:pt x="946" y="224"/>
                      </a:lnTo>
                      <a:lnTo>
                        <a:pt x="951" y="209"/>
                      </a:lnTo>
                      <a:lnTo>
                        <a:pt x="957" y="212"/>
                      </a:lnTo>
                      <a:lnTo>
                        <a:pt x="965" y="214"/>
                      </a:lnTo>
                      <a:lnTo>
                        <a:pt x="973" y="215"/>
                      </a:lnTo>
                      <a:lnTo>
                        <a:pt x="980" y="214"/>
                      </a:lnTo>
                      <a:lnTo>
                        <a:pt x="989" y="214"/>
                      </a:lnTo>
                      <a:lnTo>
                        <a:pt x="998" y="213"/>
                      </a:lnTo>
                      <a:lnTo>
                        <a:pt x="1007" y="213"/>
                      </a:lnTo>
                      <a:lnTo>
                        <a:pt x="1017" y="215"/>
                      </a:lnTo>
                      <a:lnTo>
                        <a:pt x="1022" y="219"/>
                      </a:lnTo>
                      <a:lnTo>
                        <a:pt x="1027" y="223"/>
                      </a:lnTo>
                      <a:lnTo>
                        <a:pt x="1031" y="227"/>
                      </a:lnTo>
                      <a:lnTo>
                        <a:pt x="1033" y="232"/>
                      </a:lnTo>
                      <a:lnTo>
                        <a:pt x="1037" y="244"/>
                      </a:lnTo>
                      <a:lnTo>
                        <a:pt x="1040" y="257"/>
                      </a:lnTo>
                      <a:lnTo>
                        <a:pt x="1043" y="269"/>
                      </a:lnTo>
                      <a:lnTo>
                        <a:pt x="1046" y="280"/>
                      </a:lnTo>
                      <a:lnTo>
                        <a:pt x="1050" y="284"/>
                      </a:lnTo>
                      <a:lnTo>
                        <a:pt x="1053" y="287"/>
                      </a:lnTo>
                      <a:lnTo>
                        <a:pt x="1057" y="289"/>
                      </a:lnTo>
                      <a:lnTo>
                        <a:pt x="1063" y="290"/>
                      </a:lnTo>
                      <a:lnTo>
                        <a:pt x="1069" y="289"/>
                      </a:lnTo>
                      <a:lnTo>
                        <a:pt x="1076" y="286"/>
                      </a:lnTo>
                      <a:lnTo>
                        <a:pt x="1078" y="284"/>
                      </a:lnTo>
                      <a:lnTo>
                        <a:pt x="1081" y="282"/>
                      </a:lnTo>
                      <a:lnTo>
                        <a:pt x="1083" y="280"/>
                      </a:lnTo>
                      <a:lnTo>
                        <a:pt x="1084" y="277"/>
                      </a:lnTo>
                      <a:lnTo>
                        <a:pt x="1088" y="279"/>
                      </a:lnTo>
                      <a:lnTo>
                        <a:pt x="1092" y="280"/>
                      </a:lnTo>
                      <a:lnTo>
                        <a:pt x="1096" y="280"/>
                      </a:lnTo>
                      <a:lnTo>
                        <a:pt x="1099" y="280"/>
                      </a:lnTo>
                      <a:lnTo>
                        <a:pt x="1104" y="278"/>
                      </a:lnTo>
                      <a:lnTo>
                        <a:pt x="1110" y="277"/>
                      </a:lnTo>
                      <a:lnTo>
                        <a:pt x="1120" y="277"/>
                      </a:lnTo>
                      <a:lnTo>
                        <a:pt x="1128" y="276"/>
                      </a:lnTo>
                      <a:lnTo>
                        <a:pt x="1133" y="274"/>
                      </a:lnTo>
                      <a:lnTo>
                        <a:pt x="1135" y="270"/>
                      </a:lnTo>
                      <a:lnTo>
                        <a:pt x="1136" y="261"/>
                      </a:lnTo>
                      <a:lnTo>
                        <a:pt x="1136" y="246"/>
                      </a:lnTo>
                      <a:lnTo>
                        <a:pt x="1136" y="240"/>
                      </a:lnTo>
                      <a:lnTo>
                        <a:pt x="1137" y="234"/>
                      </a:lnTo>
                      <a:lnTo>
                        <a:pt x="1140" y="228"/>
                      </a:lnTo>
                      <a:lnTo>
                        <a:pt x="1143" y="223"/>
                      </a:lnTo>
                      <a:lnTo>
                        <a:pt x="1148" y="212"/>
                      </a:lnTo>
                      <a:lnTo>
                        <a:pt x="1156" y="204"/>
                      </a:lnTo>
                      <a:lnTo>
                        <a:pt x="1164" y="195"/>
                      </a:lnTo>
                      <a:lnTo>
                        <a:pt x="1170" y="186"/>
                      </a:lnTo>
                      <a:lnTo>
                        <a:pt x="1173" y="182"/>
                      </a:lnTo>
                      <a:lnTo>
                        <a:pt x="1175" y="177"/>
                      </a:lnTo>
                      <a:lnTo>
                        <a:pt x="1176" y="172"/>
                      </a:lnTo>
                      <a:lnTo>
                        <a:pt x="1176" y="167"/>
                      </a:lnTo>
                      <a:lnTo>
                        <a:pt x="1189" y="154"/>
                      </a:lnTo>
                      <a:lnTo>
                        <a:pt x="1201" y="146"/>
                      </a:lnTo>
                      <a:lnTo>
                        <a:pt x="1213" y="139"/>
                      </a:lnTo>
                      <a:lnTo>
                        <a:pt x="1225" y="134"/>
                      </a:lnTo>
                      <a:lnTo>
                        <a:pt x="1237" y="131"/>
                      </a:lnTo>
                      <a:lnTo>
                        <a:pt x="1248" y="128"/>
                      </a:lnTo>
                      <a:lnTo>
                        <a:pt x="1259" y="127"/>
                      </a:lnTo>
                      <a:lnTo>
                        <a:pt x="1270" y="126"/>
                      </a:lnTo>
                      <a:lnTo>
                        <a:pt x="1289" y="125"/>
                      </a:lnTo>
                      <a:lnTo>
                        <a:pt x="1305" y="123"/>
                      </a:lnTo>
                      <a:lnTo>
                        <a:pt x="1313" y="121"/>
                      </a:lnTo>
                      <a:lnTo>
                        <a:pt x="1320" y="117"/>
                      </a:lnTo>
                      <a:lnTo>
                        <a:pt x="1324" y="112"/>
                      </a:lnTo>
                      <a:lnTo>
                        <a:pt x="1328" y="104"/>
                      </a:lnTo>
                      <a:lnTo>
                        <a:pt x="1322" y="94"/>
                      </a:lnTo>
                      <a:lnTo>
                        <a:pt x="1314" y="86"/>
                      </a:lnTo>
                      <a:lnTo>
                        <a:pt x="1308" y="80"/>
                      </a:lnTo>
                      <a:lnTo>
                        <a:pt x="1301" y="75"/>
                      </a:lnTo>
                      <a:lnTo>
                        <a:pt x="1297" y="69"/>
                      </a:lnTo>
                      <a:lnTo>
                        <a:pt x="1292" y="64"/>
                      </a:lnTo>
                      <a:lnTo>
                        <a:pt x="1290" y="58"/>
                      </a:lnTo>
                      <a:lnTo>
                        <a:pt x="1289" y="49"/>
                      </a:lnTo>
                      <a:lnTo>
                        <a:pt x="1305" y="48"/>
                      </a:lnTo>
                      <a:lnTo>
                        <a:pt x="1322" y="45"/>
                      </a:lnTo>
                      <a:lnTo>
                        <a:pt x="1336" y="41"/>
                      </a:lnTo>
                      <a:lnTo>
                        <a:pt x="1349" y="36"/>
                      </a:lnTo>
                      <a:lnTo>
                        <a:pt x="1352" y="46"/>
                      </a:lnTo>
                      <a:lnTo>
                        <a:pt x="1356" y="56"/>
                      </a:lnTo>
                      <a:lnTo>
                        <a:pt x="1360" y="64"/>
                      </a:lnTo>
                      <a:lnTo>
                        <a:pt x="1366" y="72"/>
                      </a:lnTo>
                      <a:lnTo>
                        <a:pt x="1372" y="78"/>
                      </a:lnTo>
                      <a:lnTo>
                        <a:pt x="1379" y="84"/>
                      </a:lnTo>
                      <a:lnTo>
                        <a:pt x="1387" y="90"/>
                      </a:lnTo>
                      <a:lnTo>
                        <a:pt x="1394" y="94"/>
                      </a:lnTo>
                      <a:lnTo>
                        <a:pt x="1403" y="98"/>
                      </a:lnTo>
                      <a:lnTo>
                        <a:pt x="1412" y="101"/>
                      </a:lnTo>
                      <a:lnTo>
                        <a:pt x="1422" y="104"/>
                      </a:lnTo>
                      <a:lnTo>
                        <a:pt x="1432" y="107"/>
                      </a:lnTo>
                      <a:lnTo>
                        <a:pt x="1443" y="109"/>
                      </a:lnTo>
                      <a:lnTo>
                        <a:pt x="1453" y="110"/>
                      </a:lnTo>
                      <a:lnTo>
                        <a:pt x="1464" y="111"/>
                      </a:lnTo>
                      <a:lnTo>
                        <a:pt x="1476" y="111"/>
                      </a:lnTo>
                      <a:lnTo>
                        <a:pt x="1481" y="110"/>
                      </a:lnTo>
                      <a:lnTo>
                        <a:pt x="1489" y="108"/>
                      </a:lnTo>
                      <a:lnTo>
                        <a:pt x="1499" y="105"/>
                      </a:lnTo>
                      <a:lnTo>
                        <a:pt x="1509" y="104"/>
                      </a:lnTo>
                      <a:lnTo>
                        <a:pt x="1514" y="109"/>
                      </a:lnTo>
                      <a:lnTo>
                        <a:pt x="1523" y="113"/>
                      </a:lnTo>
                      <a:lnTo>
                        <a:pt x="1532" y="116"/>
                      </a:lnTo>
                      <a:lnTo>
                        <a:pt x="1541" y="117"/>
                      </a:lnTo>
                      <a:lnTo>
                        <a:pt x="1544" y="117"/>
                      </a:lnTo>
                      <a:lnTo>
                        <a:pt x="1547" y="115"/>
                      </a:lnTo>
                      <a:lnTo>
                        <a:pt x="1549" y="113"/>
                      </a:lnTo>
                      <a:lnTo>
                        <a:pt x="1551" y="110"/>
                      </a:lnTo>
                      <a:lnTo>
                        <a:pt x="1557" y="103"/>
                      </a:lnTo>
                      <a:lnTo>
                        <a:pt x="1561" y="98"/>
                      </a:lnTo>
                      <a:lnTo>
                        <a:pt x="1561" y="135"/>
                      </a:lnTo>
                      <a:lnTo>
                        <a:pt x="1556" y="146"/>
                      </a:lnTo>
                      <a:lnTo>
                        <a:pt x="1545" y="163"/>
                      </a:lnTo>
                      <a:lnTo>
                        <a:pt x="1530" y="183"/>
                      </a:lnTo>
                      <a:lnTo>
                        <a:pt x="1513" y="205"/>
                      </a:lnTo>
                      <a:lnTo>
                        <a:pt x="1495" y="228"/>
                      </a:lnTo>
                      <a:lnTo>
                        <a:pt x="1479" y="247"/>
                      </a:lnTo>
                      <a:lnTo>
                        <a:pt x="1465" y="262"/>
                      </a:lnTo>
                      <a:lnTo>
                        <a:pt x="1455" y="270"/>
                      </a:lnTo>
                      <a:lnTo>
                        <a:pt x="1464" y="275"/>
                      </a:lnTo>
                      <a:lnTo>
                        <a:pt x="1470" y="278"/>
                      </a:lnTo>
                      <a:lnTo>
                        <a:pt x="1474" y="282"/>
                      </a:lnTo>
                      <a:lnTo>
                        <a:pt x="1479" y="286"/>
                      </a:lnTo>
                      <a:lnTo>
                        <a:pt x="1485" y="294"/>
                      </a:lnTo>
                      <a:lnTo>
                        <a:pt x="1489" y="302"/>
                      </a:lnTo>
                      <a:lnTo>
                        <a:pt x="1492" y="310"/>
                      </a:lnTo>
                      <a:lnTo>
                        <a:pt x="1495" y="317"/>
                      </a:lnTo>
                      <a:lnTo>
                        <a:pt x="1498" y="321"/>
                      </a:lnTo>
                      <a:lnTo>
                        <a:pt x="1500" y="325"/>
                      </a:lnTo>
                      <a:lnTo>
                        <a:pt x="1504" y="328"/>
                      </a:lnTo>
                      <a:lnTo>
                        <a:pt x="1509" y="333"/>
                      </a:lnTo>
                      <a:lnTo>
                        <a:pt x="1514" y="336"/>
                      </a:lnTo>
                      <a:lnTo>
                        <a:pt x="1520" y="338"/>
                      </a:lnTo>
                      <a:lnTo>
                        <a:pt x="1525" y="339"/>
                      </a:lnTo>
                      <a:lnTo>
                        <a:pt x="1532" y="338"/>
                      </a:lnTo>
                      <a:lnTo>
                        <a:pt x="1538" y="338"/>
                      </a:lnTo>
                      <a:lnTo>
                        <a:pt x="1544" y="337"/>
                      </a:lnTo>
                      <a:lnTo>
                        <a:pt x="1549" y="337"/>
                      </a:lnTo>
                      <a:lnTo>
                        <a:pt x="1555" y="339"/>
                      </a:lnTo>
                      <a:lnTo>
                        <a:pt x="1560" y="340"/>
                      </a:lnTo>
                      <a:lnTo>
                        <a:pt x="1566" y="342"/>
                      </a:lnTo>
                      <a:lnTo>
                        <a:pt x="1570" y="345"/>
                      </a:lnTo>
                      <a:lnTo>
                        <a:pt x="1574" y="347"/>
                      </a:lnTo>
                      <a:lnTo>
                        <a:pt x="1582" y="354"/>
                      </a:lnTo>
                      <a:lnTo>
                        <a:pt x="1588" y="361"/>
                      </a:lnTo>
                      <a:lnTo>
                        <a:pt x="1594" y="368"/>
                      </a:lnTo>
                      <a:lnTo>
                        <a:pt x="1602" y="376"/>
                      </a:lnTo>
                      <a:lnTo>
                        <a:pt x="1605" y="379"/>
                      </a:lnTo>
                      <a:lnTo>
                        <a:pt x="1611" y="382"/>
                      </a:lnTo>
                      <a:lnTo>
                        <a:pt x="1615" y="386"/>
                      </a:lnTo>
                      <a:lnTo>
                        <a:pt x="1622" y="388"/>
                      </a:lnTo>
                      <a:lnTo>
                        <a:pt x="1629" y="391"/>
                      </a:lnTo>
                      <a:lnTo>
                        <a:pt x="1637" y="394"/>
                      </a:lnTo>
                      <a:lnTo>
                        <a:pt x="1644" y="398"/>
                      </a:lnTo>
                      <a:lnTo>
                        <a:pt x="1649" y="403"/>
                      </a:lnTo>
                      <a:lnTo>
                        <a:pt x="1659" y="413"/>
                      </a:lnTo>
                      <a:lnTo>
                        <a:pt x="1668" y="423"/>
                      </a:lnTo>
                      <a:lnTo>
                        <a:pt x="1677" y="433"/>
                      </a:lnTo>
                      <a:lnTo>
                        <a:pt x="1686" y="442"/>
                      </a:lnTo>
                      <a:lnTo>
                        <a:pt x="1692" y="445"/>
                      </a:lnTo>
                      <a:lnTo>
                        <a:pt x="1698" y="448"/>
                      </a:lnTo>
                      <a:lnTo>
                        <a:pt x="1706" y="449"/>
                      </a:lnTo>
                      <a:lnTo>
                        <a:pt x="1714" y="450"/>
                      </a:lnTo>
                      <a:lnTo>
                        <a:pt x="1719" y="449"/>
                      </a:lnTo>
                      <a:lnTo>
                        <a:pt x="1724" y="448"/>
                      </a:lnTo>
                      <a:lnTo>
                        <a:pt x="1729" y="446"/>
                      </a:lnTo>
                      <a:lnTo>
                        <a:pt x="1735" y="444"/>
                      </a:lnTo>
                      <a:lnTo>
                        <a:pt x="1745" y="435"/>
                      </a:lnTo>
                      <a:lnTo>
                        <a:pt x="1754" y="425"/>
                      </a:lnTo>
                      <a:lnTo>
                        <a:pt x="1764" y="413"/>
                      </a:lnTo>
                      <a:lnTo>
                        <a:pt x="1773" y="400"/>
                      </a:lnTo>
                      <a:lnTo>
                        <a:pt x="1782" y="385"/>
                      </a:lnTo>
                      <a:lnTo>
                        <a:pt x="1791" y="368"/>
                      </a:lnTo>
                      <a:lnTo>
                        <a:pt x="1798" y="351"/>
                      </a:lnTo>
                      <a:lnTo>
                        <a:pt x="1805" y="334"/>
                      </a:lnTo>
                      <a:lnTo>
                        <a:pt x="1812" y="316"/>
                      </a:lnTo>
                      <a:lnTo>
                        <a:pt x="1817" y="299"/>
                      </a:lnTo>
                      <a:lnTo>
                        <a:pt x="1821" y="283"/>
                      </a:lnTo>
                      <a:lnTo>
                        <a:pt x="1825" y="266"/>
                      </a:lnTo>
                      <a:lnTo>
                        <a:pt x="1827" y="252"/>
                      </a:lnTo>
                      <a:lnTo>
                        <a:pt x="1827" y="240"/>
                      </a:lnTo>
                      <a:lnTo>
                        <a:pt x="1828" y="223"/>
                      </a:lnTo>
                      <a:lnTo>
                        <a:pt x="1830" y="205"/>
                      </a:lnTo>
                      <a:lnTo>
                        <a:pt x="1834" y="189"/>
                      </a:lnTo>
                      <a:lnTo>
                        <a:pt x="1839" y="174"/>
                      </a:lnTo>
                      <a:lnTo>
                        <a:pt x="1845" y="159"/>
                      </a:lnTo>
                      <a:lnTo>
                        <a:pt x="1850" y="145"/>
                      </a:lnTo>
                      <a:lnTo>
                        <a:pt x="1857" y="131"/>
                      </a:lnTo>
                      <a:lnTo>
                        <a:pt x="1863" y="118"/>
                      </a:lnTo>
                      <a:lnTo>
                        <a:pt x="1877" y="90"/>
                      </a:lnTo>
                      <a:lnTo>
                        <a:pt x="1888" y="63"/>
                      </a:lnTo>
                      <a:lnTo>
                        <a:pt x="1894" y="47"/>
                      </a:lnTo>
                      <a:lnTo>
                        <a:pt x="1897" y="32"/>
                      </a:lnTo>
                      <a:lnTo>
                        <a:pt x="1899" y="17"/>
                      </a:lnTo>
                      <a:lnTo>
                        <a:pt x="1901" y="0"/>
                      </a:lnTo>
                      <a:lnTo>
                        <a:pt x="1904" y="10"/>
                      </a:lnTo>
                      <a:lnTo>
                        <a:pt x="1909" y="21"/>
                      </a:lnTo>
                      <a:lnTo>
                        <a:pt x="1917" y="32"/>
                      </a:lnTo>
                      <a:lnTo>
                        <a:pt x="1925" y="43"/>
                      </a:lnTo>
                      <a:lnTo>
                        <a:pt x="1932" y="55"/>
                      </a:lnTo>
                      <a:lnTo>
                        <a:pt x="1940" y="63"/>
                      </a:lnTo>
                      <a:lnTo>
                        <a:pt x="1948" y="70"/>
                      </a:lnTo>
                      <a:lnTo>
                        <a:pt x="1953" y="74"/>
                      </a:lnTo>
                      <a:lnTo>
                        <a:pt x="1952" y="76"/>
                      </a:lnTo>
                      <a:lnTo>
                        <a:pt x="1950" y="77"/>
                      </a:lnTo>
                      <a:lnTo>
                        <a:pt x="1947" y="78"/>
                      </a:lnTo>
                      <a:lnTo>
                        <a:pt x="1943" y="79"/>
                      </a:lnTo>
                      <a:lnTo>
                        <a:pt x="1937" y="80"/>
                      </a:lnTo>
                      <a:lnTo>
                        <a:pt x="1933" y="80"/>
                      </a:lnTo>
                      <a:lnTo>
                        <a:pt x="1935" y="90"/>
                      </a:lnTo>
                      <a:lnTo>
                        <a:pt x="1937" y="98"/>
                      </a:lnTo>
                      <a:lnTo>
                        <a:pt x="1940" y="104"/>
                      </a:lnTo>
                      <a:lnTo>
                        <a:pt x="1943" y="110"/>
                      </a:lnTo>
                      <a:lnTo>
                        <a:pt x="1947" y="115"/>
                      </a:lnTo>
                      <a:lnTo>
                        <a:pt x="1950" y="121"/>
                      </a:lnTo>
                      <a:lnTo>
                        <a:pt x="1952" y="127"/>
                      </a:lnTo>
                      <a:lnTo>
                        <a:pt x="1953" y="135"/>
                      </a:lnTo>
                      <a:lnTo>
                        <a:pt x="1953" y="144"/>
                      </a:lnTo>
                      <a:lnTo>
                        <a:pt x="1951" y="152"/>
                      </a:lnTo>
                      <a:lnTo>
                        <a:pt x="1949" y="160"/>
                      </a:lnTo>
                      <a:lnTo>
                        <a:pt x="1947" y="169"/>
                      </a:lnTo>
                      <a:lnTo>
                        <a:pt x="1944" y="176"/>
                      </a:lnTo>
                      <a:lnTo>
                        <a:pt x="1942" y="183"/>
                      </a:lnTo>
                      <a:lnTo>
                        <a:pt x="1941" y="190"/>
                      </a:lnTo>
                      <a:lnTo>
                        <a:pt x="1940" y="197"/>
                      </a:lnTo>
                      <a:lnTo>
                        <a:pt x="1940" y="201"/>
                      </a:lnTo>
                      <a:lnTo>
                        <a:pt x="1941" y="206"/>
                      </a:lnTo>
                      <a:lnTo>
                        <a:pt x="1942" y="210"/>
                      </a:lnTo>
                      <a:lnTo>
                        <a:pt x="1944" y="214"/>
                      </a:lnTo>
                      <a:lnTo>
                        <a:pt x="1950" y="222"/>
                      </a:lnTo>
                      <a:lnTo>
                        <a:pt x="1955" y="228"/>
                      </a:lnTo>
                      <a:lnTo>
                        <a:pt x="1963" y="233"/>
                      </a:lnTo>
                      <a:lnTo>
                        <a:pt x="1971" y="237"/>
                      </a:lnTo>
                      <a:lnTo>
                        <a:pt x="1978" y="239"/>
                      </a:lnTo>
                      <a:lnTo>
                        <a:pt x="1986" y="240"/>
                      </a:lnTo>
                      <a:lnTo>
                        <a:pt x="1987" y="244"/>
                      </a:lnTo>
                      <a:lnTo>
                        <a:pt x="1989" y="248"/>
                      </a:lnTo>
                      <a:lnTo>
                        <a:pt x="1993" y="251"/>
                      </a:lnTo>
                      <a:lnTo>
                        <a:pt x="1997" y="254"/>
                      </a:lnTo>
                      <a:lnTo>
                        <a:pt x="2006" y="257"/>
                      </a:lnTo>
                      <a:lnTo>
                        <a:pt x="2014" y="258"/>
                      </a:lnTo>
                      <a:lnTo>
                        <a:pt x="2014" y="278"/>
                      </a:lnTo>
                      <a:lnTo>
                        <a:pt x="2015" y="297"/>
                      </a:lnTo>
                      <a:lnTo>
                        <a:pt x="2017" y="314"/>
                      </a:lnTo>
                      <a:lnTo>
                        <a:pt x="2019" y="332"/>
                      </a:lnTo>
                      <a:lnTo>
                        <a:pt x="2026" y="365"/>
                      </a:lnTo>
                      <a:lnTo>
                        <a:pt x="2033" y="398"/>
                      </a:lnTo>
                      <a:lnTo>
                        <a:pt x="2040" y="429"/>
                      </a:lnTo>
                      <a:lnTo>
                        <a:pt x="2047" y="461"/>
                      </a:lnTo>
                      <a:lnTo>
                        <a:pt x="2050" y="476"/>
                      </a:lnTo>
                      <a:lnTo>
                        <a:pt x="2051" y="491"/>
                      </a:lnTo>
                      <a:lnTo>
                        <a:pt x="2053" y="508"/>
                      </a:lnTo>
                      <a:lnTo>
                        <a:pt x="2053" y="523"/>
                      </a:lnTo>
                      <a:lnTo>
                        <a:pt x="2053" y="526"/>
                      </a:lnTo>
                      <a:lnTo>
                        <a:pt x="2054" y="528"/>
                      </a:lnTo>
                      <a:lnTo>
                        <a:pt x="2056" y="529"/>
                      </a:lnTo>
                      <a:lnTo>
                        <a:pt x="2060" y="531"/>
                      </a:lnTo>
                      <a:lnTo>
                        <a:pt x="2066" y="533"/>
                      </a:lnTo>
                      <a:lnTo>
                        <a:pt x="2074" y="536"/>
                      </a:lnTo>
                      <a:lnTo>
                        <a:pt x="2082" y="538"/>
                      </a:lnTo>
                      <a:lnTo>
                        <a:pt x="2089" y="540"/>
                      </a:lnTo>
                      <a:lnTo>
                        <a:pt x="2096" y="544"/>
                      </a:lnTo>
                      <a:lnTo>
                        <a:pt x="2099" y="548"/>
                      </a:lnTo>
                      <a:lnTo>
                        <a:pt x="2108" y="562"/>
                      </a:lnTo>
                      <a:lnTo>
                        <a:pt x="2116" y="574"/>
                      </a:lnTo>
                      <a:lnTo>
                        <a:pt x="2120" y="578"/>
                      </a:lnTo>
                      <a:lnTo>
                        <a:pt x="2123" y="582"/>
                      </a:lnTo>
                      <a:lnTo>
                        <a:pt x="2128" y="584"/>
                      </a:lnTo>
                      <a:lnTo>
                        <a:pt x="2133" y="585"/>
                      </a:lnTo>
                      <a:lnTo>
                        <a:pt x="2134" y="596"/>
                      </a:lnTo>
                      <a:lnTo>
                        <a:pt x="2139" y="615"/>
                      </a:lnTo>
                      <a:lnTo>
                        <a:pt x="2146" y="637"/>
                      </a:lnTo>
                      <a:lnTo>
                        <a:pt x="2154" y="661"/>
                      </a:lnTo>
                      <a:lnTo>
                        <a:pt x="2163" y="686"/>
                      </a:lnTo>
                      <a:lnTo>
                        <a:pt x="2172" y="707"/>
                      </a:lnTo>
                      <a:lnTo>
                        <a:pt x="2179" y="724"/>
                      </a:lnTo>
                      <a:lnTo>
                        <a:pt x="2186" y="733"/>
                      </a:lnTo>
                      <a:lnTo>
                        <a:pt x="2188" y="735"/>
                      </a:lnTo>
                      <a:lnTo>
                        <a:pt x="2194" y="737"/>
                      </a:lnTo>
                      <a:lnTo>
                        <a:pt x="2201" y="738"/>
                      </a:lnTo>
                      <a:lnTo>
                        <a:pt x="2211" y="739"/>
                      </a:lnTo>
                      <a:lnTo>
                        <a:pt x="2231" y="742"/>
                      </a:lnTo>
                      <a:lnTo>
                        <a:pt x="2245" y="745"/>
                      </a:lnTo>
                      <a:lnTo>
                        <a:pt x="2242" y="756"/>
                      </a:lnTo>
                      <a:lnTo>
                        <a:pt x="2238" y="762"/>
                      </a:lnTo>
                      <a:lnTo>
                        <a:pt x="2231" y="766"/>
                      </a:lnTo>
                      <a:lnTo>
                        <a:pt x="2219" y="769"/>
                      </a:lnTo>
                      <a:lnTo>
                        <a:pt x="2223" y="781"/>
                      </a:lnTo>
                      <a:lnTo>
                        <a:pt x="2228" y="790"/>
                      </a:lnTo>
                      <a:lnTo>
                        <a:pt x="2233" y="800"/>
                      </a:lnTo>
                      <a:lnTo>
                        <a:pt x="2239" y="809"/>
                      </a:lnTo>
                      <a:lnTo>
                        <a:pt x="2251" y="827"/>
                      </a:lnTo>
                      <a:lnTo>
                        <a:pt x="2263" y="846"/>
                      </a:lnTo>
                      <a:lnTo>
                        <a:pt x="2289" y="879"/>
                      </a:lnTo>
                      <a:lnTo>
                        <a:pt x="2312" y="912"/>
                      </a:lnTo>
                      <a:lnTo>
                        <a:pt x="2318" y="907"/>
                      </a:lnTo>
                      <a:lnTo>
                        <a:pt x="2324" y="902"/>
                      </a:lnTo>
                      <a:lnTo>
                        <a:pt x="2328" y="899"/>
                      </a:lnTo>
                      <a:lnTo>
                        <a:pt x="2330" y="896"/>
                      </a:lnTo>
                      <a:lnTo>
                        <a:pt x="2332" y="892"/>
                      </a:lnTo>
                      <a:lnTo>
                        <a:pt x="2332" y="887"/>
                      </a:lnTo>
                      <a:lnTo>
                        <a:pt x="2332" y="896"/>
                      </a:lnTo>
                      <a:lnTo>
                        <a:pt x="2332" y="903"/>
                      </a:lnTo>
                      <a:lnTo>
                        <a:pt x="2332" y="910"/>
                      </a:lnTo>
                      <a:lnTo>
                        <a:pt x="2332" y="918"/>
                      </a:lnTo>
                      <a:lnTo>
                        <a:pt x="2293" y="1010"/>
                      </a:lnTo>
                      <a:lnTo>
                        <a:pt x="2295" y="1024"/>
                      </a:lnTo>
                      <a:lnTo>
                        <a:pt x="2296" y="1038"/>
                      </a:lnTo>
                      <a:lnTo>
                        <a:pt x="2295" y="1051"/>
                      </a:lnTo>
                      <a:lnTo>
                        <a:pt x="2291" y="1066"/>
                      </a:lnTo>
                      <a:lnTo>
                        <a:pt x="2288" y="1079"/>
                      </a:lnTo>
                      <a:lnTo>
                        <a:pt x="2283" y="1092"/>
                      </a:lnTo>
                      <a:lnTo>
                        <a:pt x="2276" y="1105"/>
                      </a:lnTo>
                      <a:lnTo>
                        <a:pt x="2269" y="1118"/>
                      </a:lnTo>
                      <a:lnTo>
                        <a:pt x="2253" y="1143"/>
                      </a:lnTo>
                      <a:lnTo>
                        <a:pt x="2237" y="1167"/>
                      </a:lnTo>
                      <a:lnTo>
                        <a:pt x="2220" y="1188"/>
                      </a:lnTo>
                      <a:lnTo>
                        <a:pt x="2206" y="1207"/>
                      </a:lnTo>
                      <a:lnTo>
                        <a:pt x="2188" y="1233"/>
                      </a:lnTo>
                      <a:lnTo>
                        <a:pt x="2172" y="1260"/>
                      </a:lnTo>
                      <a:lnTo>
                        <a:pt x="2153" y="1289"/>
                      </a:lnTo>
                      <a:lnTo>
                        <a:pt x="2133" y="1317"/>
                      </a:lnTo>
                      <a:lnTo>
                        <a:pt x="2123" y="1329"/>
                      </a:lnTo>
                      <a:lnTo>
                        <a:pt x="2111" y="1342"/>
                      </a:lnTo>
                      <a:lnTo>
                        <a:pt x="2100" y="1352"/>
                      </a:lnTo>
                      <a:lnTo>
                        <a:pt x="2087" y="1362"/>
                      </a:lnTo>
                      <a:lnTo>
                        <a:pt x="2081" y="1366"/>
                      </a:lnTo>
                      <a:lnTo>
                        <a:pt x="2074" y="1369"/>
                      </a:lnTo>
                      <a:lnTo>
                        <a:pt x="2066" y="1372"/>
                      </a:lnTo>
                      <a:lnTo>
                        <a:pt x="2059" y="1375"/>
                      </a:lnTo>
                      <a:lnTo>
                        <a:pt x="2051" y="1377"/>
                      </a:lnTo>
                      <a:lnTo>
                        <a:pt x="2043" y="1378"/>
                      </a:lnTo>
                      <a:lnTo>
                        <a:pt x="2036" y="1379"/>
                      </a:lnTo>
                      <a:lnTo>
                        <a:pt x="2027" y="1380"/>
                      </a:lnTo>
                      <a:lnTo>
                        <a:pt x="2026" y="1393"/>
                      </a:lnTo>
                      <a:lnTo>
                        <a:pt x="2022" y="1404"/>
                      </a:lnTo>
                      <a:lnTo>
                        <a:pt x="2018" y="1414"/>
                      </a:lnTo>
                      <a:lnTo>
                        <a:pt x="2013" y="1423"/>
                      </a:lnTo>
                      <a:lnTo>
                        <a:pt x="2005" y="1432"/>
                      </a:lnTo>
                      <a:lnTo>
                        <a:pt x="1997" y="1440"/>
                      </a:lnTo>
                      <a:lnTo>
                        <a:pt x="1988" y="1449"/>
                      </a:lnTo>
                      <a:lnTo>
                        <a:pt x="1978" y="1456"/>
                      </a:lnTo>
                      <a:lnTo>
                        <a:pt x="1958" y="1470"/>
                      </a:lnTo>
                      <a:lnTo>
                        <a:pt x="1937" y="1483"/>
                      </a:lnTo>
                      <a:lnTo>
                        <a:pt x="1917" y="1495"/>
                      </a:lnTo>
                      <a:lnTo>
                        <a:pt x="1901" y="1510"/>
                      </a:lnTo>
                      <a:lnTo>
                        <a:pt x="1885" y="1525"/>
                      </a:lnTo>
                      <a:lnTo>
                        <a:pt x="1873" y="1539"/>
                      </a:lnTo>
                      <a:lnTo>
                        <a:pt x="1864" y="1553"/>
                      </a:lnTo>
                      <a:lnTo>
                        <a:pt x="1857" y="1565"/>
                      </a:lnTo>
                      <a:lnTo>
                        <a:pt x="1848" y="1578"/>
                      </a:lnTo>
                      <a:lnTo>
                        <a:pt x="1838" y="1591"/>
                      </a:lnTo>
                      <a:lnTo>
                        <a:pt x="1825" y="1604"/>
                      </a:lnTo>
                      <a:lnTo>
                        <a:pt x="1807" y="1621"/>
                      </a:lnTo>
                      <a:lnTo>
                        <a:pt x="1801" y="1630"/>
                      </a:lnTo>
                      <a:lnTo>
                        <a:pt x="1796" y="1639"/>
                      </a:lnTo>
                      <a:lnTo>
                        <a:pt x="1793" y="1648"/>
                      </a:lnTo>
                      <a:lnTo>
                        <a:pt x="1790" y="1657"/>
                      </a:lnTo>
                      <a:lnTo>
                        <a:pt x="1786" y="1665"/>
                      </a:lnTo>
                      <a:lnTo>
                        <a:pt x="1782" y="1671"/>
                      </a:lnTo>
                      <a:lnTo>
                        <a:pt x="1780" y="1673"/>
                      </a:lnTo>
                      <a:lnTo>
                        <a:pt x="1776" y="1675"/>
                      </a:lnTo>
                      <a:lnTo>
                        <a:pt x="1772" y="1676"/>
                      </a:lnTo>
                      <a:lnTo>
                        <a:pt x="1768" y="1676"/>
                      </a:lnTo>
                      <a:lnTo>
                        <a:pt x="1749" y="1676"/>
                      </a:lnTo>
                      <a:lnTo>
                        <a:pt x="1733" y="1676"/>
                      </a:lnTo>
                      <a:lnTo>
                        <a:pt x="1718" y="1676"/>
                      </a:lnTo>
                      <a:lnTo>
                        <a:pt x="1707" y="1676"/>
                      </a:lnTo>
                      <a:lnTo>
                        <a:pt x="1702" y="1676"/>
                      </a:lnTo>
                      <a:lnTo>
                        <a:pt x="1695" y="1678"/>
                      </a:lnTo>
                      <a:lnTo>
                        <a:pt x="1689" y="1680"/>
                      </a:lnTo>
                      <a:lnTo>
                        <a:pt x="1682" y="1683"/>
                      </a:lnTo>
                      <a:lnTo>
                        <a:pt x="1668" y="1690"/>
                      </a:lnTo>
                      <a:lnTo>
                        <a:pt x="1652" y="1699"/>
                      </a:lnTo>
                      <a:lnTo>
                        <a:pt x="1634" y="1708"/>
                      </a:lnTo>
                      <a:lnTo>
                        <a:pt x="1613" y="1717"/>
                      </a:lnTo>
                      <a:lnTo>
                        <a:pt x="1602" y="1722"/>
                      </a:lnTo>
                      <a:lnTo>
                        <a:pt x="1589" y="1726"/>
                      </a:lnTo>
                      <a:lnTo>
                        <a:pt x="1576" y="1729"/>
                      </a:lnTo>
                      <a:lnTo>
                        <a:pt x="1561" y="1731"/>
                      </a:lnTo>
                      <a:lnTo>
                        <a:pt x="1558" y="1725"/>
                      </a:lnTo>
                      <a:lnTo>
                        <a:pt x="1555" y="1718"/>
                      </a:lnTo>
                      <a:lnTo>
                        <a:pt x="1548" y="1718"/>
                      </a:lnTo>
                      <a:lnTo>
                        <a:pt x="1541" y="1717"/>
                      </a:lnTo>
                      <a:lnTo>
                        <a:pt x="1536" y="1715"/>
                      </a:lnTo>
                      <a:lnTo>
                        <a:pt x="1532" y="1713"/>
                      </a:lnTo>
                      <a:lnTo>
                        <a:pt x="1528" y="1711"/>
                      </a:lnTo>
                      <a:lnTo>
                        <a:pt x="1525" y="1708"/>
                      </a:lnTo>
                      <a:lnTo>
                        <a:pt x="1522" y="1705"/>
                      </a:lnTo>
                      <a:lnTo>
                        <a:pt x="1520" y="1701"/>
                      </a:lnTo>
                      <a:lnTo>
                        <a:pt x="1517" y="1693"/>
                      </a:lnTo>
                      <a:lnTo>
                        <a:pt x="1515" y="1685"/>
                      </a:lnTo>
                      <a:lnTo>
                        <a:pt x="1515" y="1677"/>
                      </a:lnTo>
                      <a:lnTo>
                        <a:pt x="1515" y="1670"/>
                      </a:lnTo>
                      <a:lnTo>
                        <a:pt x="1489" y="1690"/>
                      </a:lnTo>
                      <a:lnTo>
                        <a:pt x="1462" y="1709"/>
                      </a:lnTo>
                      <a:lnTo>
                        <a:pt x="1449" y="1718"/>
                      </a:lnTo>
                      <a:lnTo>
                        <a:pt x="1437" y="1725"/>
                      </a:lnTo>
                      <a:lnTo>
                        <a:pt x="1432" y="1728"/>
                      </a:lnTo>
                      <a:lnTo>
                        <a:pt x="1426" y="1730"/>
                      </a:lnTo>
                      <a:lnTo>
                        <a:pt x="1421" y="1731"/>
                      </a:lnTo>
                      <a:lnTo>
                        <a:pt x="1415" y="1731"/>
                      </a:lnTo>
                      <a:lnTo>
                        <a:pt x="1413" y="1731"/>
                      </a:lnTo>
                      <a:lnTo>
                        <a:pt x="1410" y="1729"/>
                      </a:lnTo>
                      <a:lnTo>
                        <a:pt x="1406" y="1727"/>
                      </a:lnTo>
                      <a:lnTo>
                        <a:pt x="1403" y="1725"/>
                      </a:lnTo>
                      <a:lnTo>
                        <a:pt x="1400" y="1722"/>
                      </a:lnTo>
                      <a:lnTo>
                        <a:pt x="1398" y="1718"/>
                      </a:lnTo>
                      <a:lnTo>
                        <a:pt x="1395" y="1715"/>
                      </a:lnTo>
                      <a:lnTo>
                        <a:pt x="1395" y="1712"/>
                      </a:lnTo>
                      <a:lnTo>
                        <a:pt x="1372" y="1711"/>
                      </a:lnTo>
                      <a:lnTo>
                        <a:pt x="1349" y="1709"/>
                      </a:lnTo>
                      <a:lnTo>
                        <a:pt x="1338" y="1707"/>
                      </a:lnTo>
                      <a:lnTo>
                        <a:pt x="1327" y="1704"/>
                      </a:lnTo>
                      <a:lnTo>
                        <a:pt x="1316" y="1701"/>
                      </a:lnTo>
                      <a:lnTo>
                        <a:pt x="1307" y="1697"/>
                      </a:lnTo>
                      <a:lnTo>
                        <a:pt x="1297" y="1693"/>
                      </a:lnTo>
                      <a:lnTo>
                        <a:pt x="1289" y="1688"/>
                      </a:lnTo>
                      <a:lnTo>
                        <a:pt x="1281" y="1683"/>
                      </a:lnTo>
                      <a:lnTo>
                        <a:pt x="1275" y="1677"/>
                      </a:lnTo>
                      <a:lnTo>
                        <a:pt x="1269" y="1670"/>
                      </a:lnTo>
                      <a:lnTo>
                        <a:pt x="1266" y="1662"/>
                      </a:lnTo>
                      <a:lnTo>
                        <a:pt x="1264" y="1653"/>
                      </a:lnTo>
                      <a:lnTo>
                        <a:pt x="1263" y="1645"/>
                      </a:lnTo>
                      <a:lnTo>
                        <a:pt x="1263" y="1639"/>
                      </a:lnTo>
                      <a:lnTo>
                        <a:pt x="1264" y="1635"/>
                      </a:lnTo>
                      <a:lnTo>
                        <a:pt x="1266" y="1631"/>
                      </a:lnTo>
                      <a:lnTo>
                        <a:pt x="1268" y="1627"/>
                      </a:lnTo>
                      <a:lnTo>
                        <a:pt x="1272" y="1620"/>
                      </a:lnTo>
                      <a:lnTo>
                        <a:pt x="1279" y="1614"/>
                      </a:lnTo>
                      <a:lnTo>
                        <a:pt x="1286" y="1609"/>
                      </a:lnTo>
                      <a:lnTo>
                        <a:pt x="1290" y="1601"/>
                      </a:lnTo>
                      <a:lnTo>
                        <a:pt x="1292" y="1597"/>
                      </a:lnTo>
                      <a:lnTo>
                        <a:pt x="1294" y="1593"/>
                      </a:lnTo>
                      <a:lnTo>
                        <a:pt x="1296" y="1589"/>
                      </a:lnTo>
                      <a:lnTo>
                        <a:pt x="1296" y="1583"/>
                      </a:lnTo>
                      <a:lnTo>
                        <a:pt x="1296" y="1546"/>
                      </a:lnTo>
                      <a:lnTo>
                        <a:pt x="1309" y="1528"/>
                      </a:lnTo>
                      <a:lnTo>
                        <a:pt x="1309" y="1522"/>
                      </a:lnTo>
                      <a:lnTo>
                        <a:pt x="1256" y="1522"/>
                      </a:lnTo>
                      <a:lnTo>
                        <a:pt x="1249" y="1534"/>
                      </a:lnTo>
                      <a:lnTo>
                        <a:pt x="1255" y="1525"/>
                      </a:lnTo>
                      <a:lnTo>
                        <a:pt x="1263" y="1516"/>
                      </a:lnTo>
                      <a:lnTo>
                        <a:pt x="1269" y="1509"/>
                      </a:lnTo>
                      <a:lnTo>
                        <a:pt x="1276" y="1504"/>
                      </a:lnTo>
                      <a:lnTo>
                        <a:pt x="1276" y="1460"/>
                      </a:lnTo>
                      <a:lnTo>
                        <a:pt x="1270" y="1462"/>
                      </a:lnTo>
                      <a:lnTo>
                        <a:pt x="1265" y="1464"/>
                      </a:lnTo>
                      <a:lnTo>
                        <a:pt x="1260" y="1466"/>
                      </a:lnTo>
                      <a:lnTo>
                        <a:pt x="1256" y="1469"/>
                      </a:lnTo>
                      <a:lnTo>
                        <a:pt x="1249" y="1475"/>
                      </a:lnTo>
                      <a:lnTo>
                        <a:pt x="1243" y="1481"/>
                      </a:lnTo>
                      <a:lnTo>
                        <a:pt x="1237" y="1488"/>
                      </a:lnTo>
                      <a:lnTo>
                        <a:pt x="1232" y="1494"/>
                      </a:lnTo>
                      <a:lnTo>
                        <a:pt x="1229" y="1498"/>
                      </a:lnTo>
                      <a:lnTo>
                        <a:pt x="1225" y="1500"/>
                      </a:lnTo>
                      <a:lnTo>
                        <a:pt x="1221" y="1502"/>
                      </a:lnTo>
                      <a:lnTo>
                        <a:pt x="1216" y="1504"/>
                      </a:lnTo>
                      <a:lnTo>
                        <a:pt x="1189" y="1504"/>
                      </a:lnTo>
                      <a:lnTo>
                        <a:pt x="1222" y="1472"/>
                      </a:lnTo>
                      <a:lnTo>
                        <a:pt x="1252" y="1442"/>
                      </a:lnTo>
                      <a:lnTo>
                        <a:pt x="1280" y="1411"/>
                      </a:lnTo>
                      <a:lnTo>
                        <a:pt x="1309" y="1380"/>
                      </a:lnTo>
                      <a:lnTo>
                        <a:pt x="1305" y="1378"/>
                      </a:lnTo>
                      <a:lnTo>
                        <a:pt x="1301" y="1377"/>
                      </a:lnTo>
                      <a:lnTo>
                        <a:pt x="1298" y="1376"/>
                      </a:lnTo>
                      <a:lnTo>
                        <a:pt x="1294" y="1376"/>
                      </a:lnTo>
                      <a:lnTo>
                        <a:pt x="1287" y="1378"/>
                      </a:lnTo>
                      <a:lnTo>
                        <a:pt x="1280" y="1382"/>
                      </a:lnTo>
                      <a:lnTo>
                        <a:pt x="1267" y="1392"/>
                      </a:lnTo>
                      <a:lnTo>
                        <a:pt x="1256" y="1399"/>
                      </a:lnTo>
                      <a:lnTo>
                        <a:pt x="1230" y="1418"/>
                      </a:lnTo>
                      <a:lnTo>
                        <a:pt x="1185" y="1450"/>
                      </a:lnTo>
                      <a:lnTo>
                        <a:pt x="1142" y="1478"/>
                      </a:lnTo>
                      <a:lnTo>
                        <a:pt x="1123" y="1490"/>
                      </a:lnTo>
                      <a:lnTo>
                        <a:pt x="1123" y="1380"/>
                      </a:lnTo>
                      <a:lnTo>
                        <a:pt x="1113" y="1379"/>
                      </a:lnTo>
                      <a:lnTo>
                        <a:pt x="1106" y="1377"/>
                      </a:lnTo>
                      <a:lnTo>
                        <a:pt x="1099" y="1375"/>
                      </a:lnTo>
                      <a:lnTo>
                        <a:pt x="1093" y="1371"/>
                      </a:lnTo>
                      <a:lnTo>
                        <a:pt x="1090" y="1367"/>
                      </a:lnTo>
                      <a:lnTo>
                        <a:pt x="1088" y="1362"/>
                      </a:lnTo>
                      <a:lnTo>
                        <a:pt x="1088" y="1356"/>
                      </a:lnTo>
                      <a:lnTo>
                        <a:pt x="1090" y="1349"/>
                      </a:lnTo>
                      <a:lnTo>
                        <a:pt x="1078" y="1338"/>
                      </a:lnTo>
                      <a:lnTo>
                        <a:pt x="1064" y="1325"/>
                      </a:lnTo>
                      <a:lnTo>
                        <a:pt x="1047" y="1314"/>
                      </a:lnTo>
                      <a:lnTo>
                        <a:pt x="1030" y="1304"/>
                      </a:lnTo>
                      <a:lnTo>
                        <a:pt x="1020" y="1299"/>
                      </a:lnTo>
                      <a:lnTo>
                        <a:pt x="1011" y="1295"/>
                      </a:lnTo>
                      <a:lnTo>
                        <a:pt x="1001" y="1291"/>
                      </a:lnTo>
                      <a:lnTo>
                        <a:pt x="990" y="1288"/>
                      </a:lnTo>
                      <a:lnTo>
                        <a:pt x="980" y="1285"/>
                      </a:lnTo>
                      <a:lnTo>
                        <a:pt x="971" y="1283"/>
                      </a:lnTo>
                      <a:lnTo>
                        <a:pt x="961" y="1282"/>
                      </a:lnTo>
                      <a:lnTo>
                        <a:pt x="951" y="1282"/>
                      </a:lnTo>
                      <a:lnTo>
                        <a:pt x="941" y="1283"/>
                      </a:lnTo>
                      <a:lnTo>
                        <a:pt x="931" y="1285"/>
                      </a:lnTo>
                      <a:lnTo>
                        <a:pt x="923" y="1289"/>
                      </a:lnTo>
                      <a:lnTo>
                        <a:pt x="917" y="1294"/>
                      </a:lnTo>
                      <a:lnTo>
                        <a:pt x="831" y="1294"/>
                      </a:lnTo>
                      <a:lnTo>
                        <a:pt x="819" y="1301"/>
                      </a:lnTo>
                      <a:lnTo>
                        <a:pt x="807" y="1307"/>
                      </a:lnTo>
                      <a:lnTo>
                        <a:pt x="796" y="1312"/>
                      </a:lnTo>
                      <a:lnTo>
                        <a:pt x="785" y="1316"/>
                      </a:lnTo>
                      <a:lnTo>
                        <a:pt x="775" y="1319"/>
                      </a:lnTo>
                      <a:lnTo>
                        <a:pt x="764" y="1321"/>
                      </a:lnTo>
                      <a:lnTo>
                        <a:pt x="754" y="1323"/>
                      </a:lnTo>
                      <a:lnTo>
                        <a:pt x="745" y="1324"/>
                      </a:lnTo>
                      <a:lnTo>
                        <a:pt x="726" y="1326"/>
                      </a:lnTo>
                      <a:lnTo>
                        <a:pt x="706" y="1328"/>
                      </a:lnTo>
                      <a:lnTo>
                        <a:pt x="686" y="1332"/>
                      </a:lnTo>
                      <a:lnTo>
                        <a:pt x="664" y="1337"/>
                      </a:lnTo>
                      <a:lnTo>
                        <a:pt x="636" y="1345"/>
                      </a:lnTo>
                      <a:lnTo>
                        <a:pt x="596" y="1356"/>
                      </a:lnTo>
                      <a:lnTo>
                        <a:pt x="577" y="1362"/>
                      </a:lnTo>
                      <a:lnTo>
                        <a:pt x="560" y="1369"/>
                      </a:lnTo>
                      <a:lnTo>
                        <a:pt x="547" y="1374"/>
                      </a:lnTo>
                      <a:lnTo>
                        <a:pt x="538" y="1380"/>
                      </a:lnTo>
                      <a:lnTo>
                        <a:pt x="521" y="1402"/>
                      </a:lnTo>
                      <a:lnTo>
                        <a:pt x="507" y="1419"/>
                      </a:lnTo>
                      <a:lnTo>
                        <a:pt x="501" y="1426"/>
                      </a:lnTo>
                      <a:lnTo>
                        <a:pt x="493" y="1431"/>
                      </a:lnTo>
                      <a:lnTo>
                        <a:pt x="488" y="1433"/>
                      </a:lnTo>
                      <a:lnTo>
                        <a:pt x="483" y="1434"/>
                      </a:lnTo>
                      <a:lnTo>
                        <a:pt x="478" y="1435"/>
                      </a:lnTo>
                      <a:lnTo>
                        <a:pt x="472" y="1435"/>
                      </a:lnTo>
                      <a:lnTo>
                        <a:pt x="306" y="1435"/>
                      </a:lnTo>
                      <a:lnTo>
                        <a:pt x="291" y="1439"/>
                      </a:lnTo>
                      <a:lnTo>
                        <a:pt x="277" y="1444"/>
                      </a:lnTo>
                      <a:lnTo>
                        <a:pt x="265" y="1448"/>
                      </a:lnTo>
                      <a:lnTo>
                        <a:pt x="254" y="1453"/>
                      </a:lnTo>
                      <a:lnTo>
                        <a:pt x="233" y="1463"/>
                      </a:lnTo>
                      <a:lnTo>
                        <a:pt x="214" y="1473"/>
                      </a:lnTo>
                      <a:lnTo>
                        <a:pt x="204" y="1478"/>
                      </a:lnTo>
                      <a:lnTo>
                        <a:pt x="193" y="1482"/>
                      </a:lnTo>
                      <a:lnTo>
                        <a:pt x="182" y="1486"/>
                      </a:lnTo>
                      <a:lnTo>
                        <a:pt x="170" y="1490"/>
                      </a:lnTo>
                      <a:lnTo>
                        <a:pt x="157" y="1493"/>
                      </a:lnTo>
                      <a:lnTo>
                        <a:pt x="142" y="1495"/>
                      </a:lnTo>
                      <a:lnTo>
                        <a:pt x="125" y="1496"/>
                      </a:lnTo>
                      <a:lnTo>
                        <a:pt x="106" y="1496"/>
                      </a:lnTo>
                      <a:lnTo>
                        <a:pt x="95" y="1496"/>
                      </a:lnTo>
                      <a:lnTo>
                        <a:pt x="84" y="1495"/>
                      </a:lnTo>
                      <a:lnTo>
                        <a:pt x="75" y="1494"/>
                      </a:lnTo>
                      <a:lnTo>
                        <a:pt x="65" y="1492"/>
                      </a:lnTo>
                      <a:lnTo>
                        <a:pt x="55" y="1490"/>
                      </a:lnTo>
                      <a:lnTo>
                        <a:pt x="46" y="1487"/>
                      </a:lnTo>
                      <a:lnTo>
                        <a:pt x="38" y="1483"/>
                      </a:lnTo>
                      <a:lnTo>
                        <a:pt x="31" y="1479"/>
                      </a:lnTo>
                      <a:lnTo>
                        <a:pt x="24" y="1475"/>
                      </a:lnTo>
                      <a:lnTo>
                        <a:pt x="19" y="1470"/>
                      </a:lnTo>
                      <a:lnTo>
                        <a:pt x="13" y="1464"/>
                      </a:lnTo>
                      <a:lnTo>
                        <a:pt x="9" y="1458"/>
                      </a:lnTo>
                      <a:lnTo>
                        <a:pt x="4" y="1452"/>
                      </a:lnTo>
                      <a:lnTo>
                        <a:pt x="2" y="1445"/>
                      </a:lnTo>
                      <a:lnTo>
                        <a:pt x="1" y="1437"/>
                      </a:lnTo>
                      <a:lnTo>
                        <a:pt x="0" y="1429"/>
                      </a:lnTo>
                      <a:lnTo>
                        <a:pt x="1" y="1426"/>
                      </a:lnTo>
                      <a:lnTo>
                        <a:pt x="2" y="1423"/>
                      </a:lnTo>
                      <a:lnTo>
                        <a:pt x="4" y="1421"/>
                      </a:lnTo>
                      <a:lnTo>
                        <a:pt x="6" y="1418"/>
                      </a:lnTo>
                      <a:lnTo>
                        <a:pt x="13" y="1415"/>
                      </a:lnTo>
                      <a:lnTo>
                        <a:pt x="22" y="1413"/>
                      </a:lnTo>
                      <a:lnTo>
                        <a:pt x="39" y="1411"/>
                      </a:lnTo>
                      <a:lnTo>
                        <a:pt x="54" y="1411"/>
                      </a:lnTo>
                      <a:lnTo>
                        <a:pt x="58" y="1408"/>
                      </a:lnTo>
                      <a:lnTo>
                        <a:pt x="64" y="1404"/>
                      </a:lnTo>
                      <a:lnTo>
                        <a:pt x="68" y="1399"/>
                      </a:lnTo>
                      <a:lnTo>
                        <a:pt x="72" y="1393"/>
                      </a:lnTo>
                      <a:lnTo>
                        <a:pt x="82" y="1378"/>
                      </a:lnTo>
                      <a:lnTo>
                        <a:pt x="90" y="1361"/>
                      </a:lnTo>
                      <a:lnTo>
                        <a:pt x="97" y="1344"/>
                      </a:lnTo>
                      <a:lnTo>
                        <a:pt x="102" y="1325"/>
                      </a:lnTo>
                      <a:lnTo>
                        <a:pt x="105" y="1309"/>
                      </a:lnTo>
                      <a:lnTo>
                        <a:pt x="106" y="1294"/>
                      </a:lnTo>
                      <a:lnTo>
                        <a:pt x="106" y="1288"/>
                      </a:lnTo>
                      <a:lnTo>
                        <a:pt x="105" y="1284"/>
                      </a:lnTo>
                      <a:lnTo>
                        <a:pt x="103" y="1279"/>
                      </a:lnTo>
                      <a:lnTo>
                        <a:pt x="101" y="1275"/>
                      </a:lnTo>
                      <a:lnTo>
                        <a:pt x="95" y="1267"/>
                      </a:lnTo>
                      <a:lnTo>
                        <a:pt x="90" y="1260"/>
                      </a:lnTo>
                      <a:lnTo>
                        <a:pt x="83" y="1254"/>
                      </a:lnTo>
                      <a:lnTo>
                        <a:pt x="79" y="1248"/>
                      </a:lnTo>
                      <a:lnTo>
                        <a:pt x="77" y="1244"/>
                      </a:lnTo>
                      <a:lnTo>
                        <a:pt x="75" y="1241"/>
                      </a:lnTo>
                      <a:lnTo>
                        <a:pt x="73" y="1237"/>
                      </a:lnTo>
                      <a:lnTo>
                        <a:pt x="73" y="1232"/>
                      </a:lnTo>
                      <a:lnTo>
                        <a:pt x="73" y="1225"/>
                      </a:lnTo>
                      <a:lnTo>
                        <a:pt x="75" y="1218"/>
                      </a:lnTo>
                      <a:lnTo>
                        <a:pt x="77" y="1212"/>
                      </a:lnTo>
                      <a:lnTo>
                        <a:pt x="79" y="1207"/>
                      </a:lnTo>
                      <a:lnTo>
                        <a:pt x="86" y="1200"/>
                      </a:lnTo>
                      <a:lnTo>
                        <a:pt x="93" y="1193"/>
                      </a:lnTo>
                      <a:lnTo>
                        <a:pt x="101" y="1188"/>
                      </a:lnTo>
                      <a:lnTo>
                        <a:pt x="106" y="1182"/>
                      </a:lnTo>
                      <a:lnTo>
                        <a:pt x="110" y="1179"/>
                      </a:lnTo>
                      <a:lnTo>
                        <a:pt x="112" y="1175"/>
                      </a:lnTo>
                      <a:lnTo>
                        <a:pt x="113" y="1170"/>
                      </a:lnTo>
                      <a:lnTo>
                        <a:pt x="113" y="1165"/>
                      </a:lnTo>
                      <a:lnTo>
                        <a:pt x="113" y="1150"/>
                      </a:lnTo>
                      <a:lnTo>
                        <a:pt x="111" y="1137"/>
                      </a:lnTo>
                      <a:lnTo>
                        <a:pt x="109" y="1123"/>
                      </a:lnTo>
                      <a:lnTo>
                        <a:pt x="105" y="1110"/>
                      </a:lnTo>
                      <a:lnTo>
                        <a:pt x="98" y="1082"/>
                      </a:lnTo>
                      <a:lnTo>
                        <a:pt x="88" y="1056"/>
                      </a:lnTo>
                      <a:lnTo>
                        <a:pt x="78" y="1030"/>
                      </a:lnTo>
                      <a:lnTo>
                        <a:pt x="68" y="1006"/>
                      </a:lnTo>
                      <a:lnTo>
                        <a:pt x="59" y="982"/>
                      </a:lnTo>
                      <a:lnTo>
                        <a:pt x="54" y="961"/>
                      </a:lnTo>
                      <a:lnTo>
                        <a:pt x="54" y="930"/>
                      </a:lnTo>
                      <a:lnTo>
                        <a:pt x="58" y="943"/>
                      </a:lnTo>
                      <a:lnTo>
                        <a:pt x="64" y="954"/>
                      </a:lnTo>
                      <a:lnTo>
                        <a:pt x="71" y="964"/>
                      </a:lnTo>
                      <a:lnTo>
                        <a:pt x="80" y="973"/>
                      </a:lnTo>
                      <a:lnTo>
                        <a:pt x="80" y="949"/>
                      </a:lnTo>
                      <a:lnTo>
                        <a:pt x="80" y="954"/>
                      </a:lnTo>
                      <a:lnTo>
                        <a:pt x="82" y="958"/>
                      </a:lnTo>
                      <a:lnTo>
                        <a:pt x="84" y="962"/>
                      </a:lnTo>
                      <a:lnTo>
                        <a:pt x="88" y="966"/>
                      </a:lnTo>
                      <a:lnTo>
                        <a:pt x="92" y="969"/>
                      </a:lnTo>
                      <a:lnTo>
                        <a:pt x="97" y="971"/>
                      </a:lnTo>
                      <a:lnTo>
                        <a:pt x="102" y="973"/>
                      </a:lnTo>
                      <a:lnTo>
                        <a:pt x="106" y="973"/>
                      </a:lnTo>
                      <a:lnTo>
                        <a:pt x="113" y="964"/>
                      </a:lnTo>
                      <a:lnTo>
                        <a:pt x="122" y="955"/>
                      </a:lnTo>
                      <a:lnTo>
                        <a:pt x="126" y="951"/>
                      </a:lnTo>
                      <a:lnTo>
                        <a:pt x="129" y="946"/>
                      </a:lnTo>
                      <a:lnTo>
                        <a:pt x="132" y="940"/>
                      </a:lnTo>
                      <a:lnTo>
                        <a:pt x="133" y="936"/>
                      </a:lnTo>
                      <a:lnTo>
                        <a:pt x="132" y="923"/>
                      </a:lnTo>
                      <a:lnTo>
                        <a:pt x="128" y="913"/>
                      </a:lnTo>
                      <a:lnTo>
                        <a:pt x="125" y="903"/>
                      </a:lnTo>
                      <a:lnTo>
                        <a:pt x="120" y="895"/>
                      </a:lnTo>
                      <a:lnTo>
                        <a:pt x="115" y="887"/>
                      </a:lnTo>
                      <a:lnTo>
                        <a:pt x="111" y="879"/>
                      </a:lnTo>
                      <a:lnTo>
                        <a:pt x="107" y="871"/>
                      </a:lnTo>
                      <a:lnTo>
                        <a:pt x="106" y="862"/>
                      </a:lnTo>
                      <a:lnTo>
                        <a:pt x="107" y="855"/>
                      </a:lnTo>
                      <a:lnTo>
                        <a:pt x="111" y="847"/>
                      </a:lnTo>
                      <a:lnTo>
                        <a:pt x="115" y="839"/>
                      </a:lnTo>
                      <a:lnTo>
                        <a:pt x="121" y="831"/>
                      </a:lnTo>
                      <a:lnTo>
                        <a:pt x="126" y="823"/>
                      </a:lnTo>
                      <a:lnTo>
                        <a:pt x="132" y="818"/>
                      </a:lnTo>
                      <a:lnTo>
                        <a:pt x="136" y="814"/>
                      </a:lnTo>
                      <a:lnTo>
                        <a:pt x="139" y="813"/>
                      </a:lnTo>
                      <a:lnTo>
                        <a:pt x="139" y="807"/>
                      </a:lnTo>
                      <a:lnTo>
                        <a:pt x="140" y="800"/>
                      </a:lnTo>
                      <a:lnTo>
                        <a:pt x="143" y="792"/>
                      </a:lnTo>
                      <a:lnTo>
                        <a:pt x="146" y="783"/>
                      </a:lnTo>
                      <a:lnTo>
                        <a:pt x="147" y="765"/>
                      </a:lnTo>
                      <a:lnTo>
                        <a:pt x="149" y="751"/>
                      </a:lnTo>
                      <a:lnTo>
                        <a:pt x="151" y="737"/>
                      </a:lnTo>
                      <a:lnTo>
                        <a:pt x="153" y="72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3" name="Freeform 193">
                  <a:extLst>
                    <a:ext uri="{FF2B5EF4-FFF2-40B4-BE49-F238E27FC236}">
                      <a16:creationId xmlns:a16="http://schemas.microsoft.com/office/drawing/2014/main" xmlns="" id="{6F54D8A3-93CD-4080-84A3-4BEE119EF3B9}"/>
                    </a:ext>
                  </a:extLst>
                </p:cNvPr>
                <p:cNvSpPr>
                  <a:spLocks/>
                </p:cNvSpPr>
                <p:nvPr>
                  <p:custDataLst>
                    <p:tags r:id="rId120"/>
                  </p:custDataLst>
                </p:nvPr>
              </p:nvSpPr>
              <p:spPr bwMode="auto">
                <a:xfrm>
                  <a:off x="1211263" y="2643188"/>
                  <a:ext cx="668337" cy="581025"/>
                </a:xfrm>
                <a:custGeom>
                  <a:avLst/>
                  <a:gdLst>
                    <a:gd name="T0" fmla="*/ 2147483646 w 1535"/>
                    <a:gd name="T1" fmla="*/ 2147483646 h 1109"/>
                    <a:gd name="T2" fmla="*/ 2147483646 w 1535"/>
                    <a:gd name="T3" fmla="*/ 2147483646 h 1109"/>
                    <a:gd name="T4" fmla="*/ 2147483646 w 1535"/>
                    <a:gd name="T5" fmla="*/ 2147483646 h 1109"/>
                    <a:gd name="T6" fmla="*/ 2147483646 w 1535"/>
                    <a:gd name="T7" fmla="*/ 2147483646 h 1109"/>
                    <a:gd name="T8" fmla="*/ 2147483646 w 1535"/>
                    <a:gd name="T9" fmla="*/ 2147483646 h 1109"/>
                    <a:gd name="T10" fmla="*/ 2147483646 w 1535"/>
                    <a:gd name="T11" fmla="*/ 2147483646 h 1109"/>
                    <a:gd name="T12" fmla="*/ 2147483646 w 1535"/>
                    <a:gd name="T13" fmla="*/ 2147483646 h 1109"/>
                    <a:gd name="T14" fmla="*/ 2147483646 w 1535"/>
                    <a:gd name="T15" fmla="*/ 2147483646 h 1109"/>
                    <a:gd name="T16" fmla="*/ 2147483646 w 1535"/>
                    <a:gd name="T17" fmla="*/ 2147483646 h 1109"/>
                    <a:gd name="T18" fmla="*/ 2147483646 w 1535"/>
                    <a:gd name="T19" fmla="*/ 2147483646 h 1109"/>
                    <a:gd name="T20" fmla="*/ 2147483646 w 1535"/>
                    <a:gd name="T21" fmla="*/ 2147483646 h 1109"/>
                    <a:gd name="T22" fmla="*/ 2147483646 w 1535"/>
                    <a:gd name="T23" fmla="*/ 2147483646 h 1109"/>
                    <a:gd name="T24" fmla="*/ 2147483646 w 1535"/>
                    <a:gd name="T25" fmla="*/ 2147483646 h 1109"/>
                    <a:gd name="T26" fmla="*/ 2147483646 w 1535"/>
                    <a:gd name="T27" fmla="*/ 2147483646 h 1109"/>
                    <a:gd name="T28" fmla="*/ 2147483646 w 1535"/>
                    <a:gd name="T29" fmla="*/ 2147483646 h 1109"/>
                    <a:gd name="T30" fmla="*/ 2147483646 w 1535"/>
                    <a:gd name="T31" fmla="*/ 2147483646 h 1109"/>
                    <a:gd name="T32" fmla="*/ 2147483646 w 1535"/>
                    <a:gd name="T33" fmla="*/ 2147483646 h 1109"/>
                    <a:gd name="T34" fmla="*/ 2147483646 w 1535"/>
                    <a:gd name="T35" fmla="*/ 2147483646 h 1109"/>
                    <a:gd name="T36" fmla="*/ 2147483646 w 1535"/>
                    <a:gd name="T37" fmla="*/ 2147483646 h 1109"/>
                    <a:gd name="T38" fmla="*/ 2147483646 w 1535"/>
                    <a:gd name="T39" fmla="*/ 2147483646 h 1109"/>
                    <a:gd name="T40" fmla="*/ 2147483646 w 1535"/>
                    <a:gd name="T41" fmla="*/ 2147483646 h 1109"/>
                    <a:gd name="T42" fmla="*/ 2147483646 w 1535"/>
                    <a:gd name="T43" fmla="*/ 2147483646 h 1109"/>
                    <a:gd name="T44" fmla="*/ 2147483646 w 1535"/>
                    <a:gd name="T45" fmla="*/ 2147483646 h 1109"/>
                    <a:gd name="T46" fmla="*/ 2147483646 w 1535"/>
                    <a:gd name="T47" fmla="*/ 2147483646 h 1109"/>
                    <a:gd name="T48" fmla="*/ 2147483646 w 1535"/>
                    <a:gd name="T49" fmla="*/ 2147483646 h 1109"/>
                    <a:gd name="T50" fmla="*/ 2147483646 w 1535"/>
                    <a:gd name="T51" fmla="*/ 2147483646 h 1109"/>
                    <a:gd name="T52" fmla="*/ 2147483646 w 1535"/>
                    <a:gd name="T53" fmla="*/ 2147483646 h 1109"/>
                    <a:gd name="T54" fmla="*/ 2147483646 w 1535"/>
                    <a:gd name="T55" fmla="*/ 2147483646 h 1109"/>
                    <a:gd name="T56" fmla="*/ 2147483646 w 1535"/>
                    <a:gd name="T57" fmla="*/ 2147483646 h 1109"/>
                    <a:gd name="T58" fmla="*/ 2147483646 w 1535"/>
                    <a:gd name="T59" fmla="*/ 2147483646 h 1109"/>
                    <a:gd name="T60" fmla="*/ 2147483646 w 1535"/>
                    <a:gd name="T61" fmla="*/ 2147483646 h 1109"/>
                    <a:gd name="T62" fmla="*/ 2147483646 w 1535"/>
                    <a:gd name="T63" fmla="*/ 2147483646 h 1109"/>
                    <a:gd name="T64" fmla="*/ 2147483646 w 1535"/>
                    <a:gd name="T65" fmla="*/ 2147483646 h 1109"/>
                    <a:gd name="T66" fmla="*/ 2147483646 w 1535"/>
                    <a:gd name="T67" fmla="*/ 2147483646 h 1109"/>
                    <a:gd name="T68" fmla="*/ 2147483646 w 1535"/>
                    <a:gd name="T69" fmla="*/ 2147483646 h 1109"/>
                    <a:gd name="T70" fmla="*/ 2147483646 w 1535"/>
                    <a:gd name="T71" fmla="*/ 2147483646 h 1109"/>
                    <a:gd name="T72" fmla="*/ 2147483646 w 1535"/>
                    <a:gd name="T73" fmla="*/ 2147483646 h 1109"/>
                    <a:gd name="T74" fmla="*/ 2147483646 w 1535"/>
                    <a:gd name="T75" fmla="*/ 2147483646 h 1109"/>
                    <a:gd name="T76" fmla="*/ 2147483646 w 1535"/>
                    <a:gd name="T77" fmla="*/ 2147483646 h 1109"/>
                    <a:gd name="T78" fmla="*/ 2147483646 w 1535"/>
                    <a:gd name="T79" fmla="*/ 2147483646 h 1109"/>
                    <a:gd name="T80" fmla="*/ 2147483646 w 1535"/>
                    <a:gd name="T81" fmla="*/ 2147483646 h 1109"/>
                    <a:gd name="T82" fmla="*/ 2147483646 w 1535"/>
                    <a:gd name="T83" fmla="*/ 2147483646 h 1109"/>
                    <a:gd name="T84" fmla="*/ 2147483646 w 1535"/>
                    <a:gd name="T85" fmla="*/ 2147483646 h 1109"/>
                    <a:gd name="T86" fmla="*/ 2147483646 w 1535"/>
                    <a:gd name="T87" fmla="*/ 2147483646 h 1109"/>
                    <a:gd name="T88" fmla="*/ 2147483646 w 1535"/>
                    <a:gd name="T89" fmla="*/ 2147483646 h 1109"/>
                    <a:gd name="T90" fmla="*/ 2147483646 w 1535"/>
                    <a:gd name="T91" fmla="*/ 2147483646 h 1109"/>
                    <a:gd name="T92" fmla="*/ 2147483646 w 1535"/>
                    <a:gd name="T93" fmla="*/ 2147483646 h 1109"/>
                    <a:gd name="T94" fmla="*/ 2147483646 w 1535"/>
                    <a:gd name="T95" fmla="*/ 2147483646 h 1109"/>
                    <a:gd name="T96" fmla="*/ 2147483646 w 1535"/>
                    <a:gd name="T97" fmla="*/ 2147483646 h 1109"/>
                    <a:gd name="T98" fmla="*/ 2147483646 w 1535"/>
                    <a:gd name="T99" fmla="*/ 2147483646 h 1109"/>
                    <a:gd name="T100" fmla="*/ 2147483646 w 1535"/>
                    <a:gd name="T101" fmla="*/ 2147483646 h 1109"/>
                    <a:gd name="T102" fmla="*/ 2147483646 w 1535"/>
                    <a:gd name="T103" fmla="*/ 2147483646 h 1109"/>
                    <a:gd name="T104" fmla="*/ 2147483646 w 1535"/>
                    <a:gd name="T105" fmla="*/ 2147483646 h 1109"/>
                    <a:gd name="T106" fmla="*/ 2147483646 w 1535"/>
                    <a:gd name="T107" fmla="*/ 2147483646 h 1109"/>
                    <a:gd name="T108" fmla="*/ 2147483646 w 1535"/>
                    <a:gd name="T109" fmla="*/ 2147483646 h 1109"/>
                    <a:gd name="T110" fmla="*/ 2147483646 w 1535"/>
                    <a:gd name="T111" fmla="*/ 2147483646 h 1109"/>
                    <a:gd name="T112" fmla="*/ 2147483646 w 1535"/>
                    <a:gd name="T113" fmla="*/ 2147483646 h 1109"/>
                    <a:gd name="T114" fmla="*/ 2147483646 w 1535"/>
                    <a:gd name="T115" fmla="*/ 2147483646 h 1109"/>
                    <a:gd name="T116" fmla="*/ 2147483646 w 1535"/>
                    <a:gd name="T117" fmla="*/ 2147483646 h 1109"/>
                    <a:gd name="T118" fmla="*/ 2147483646 w 1535"/>
                    <a:gd name="T119" fmla="*/ 2147483646 h 1109"/>
                    <a:gd name="T120" fmla="*/ 2147483646 w 1535"/>
                    <a:gd name="T121" fmla="*/ 2147483646 h 1109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535"/>
                    <a:gd name="T184" fmla="*/ 0 h 1109"/>
                    <a:gd name="T185" fmla="*/ 1535 w 1535"/>
                    <a:gd name="T186" fmla="*/ 1109 h 1109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535" h="1109">
                      <a:moveTo>
                        <a:pt x="1336" y="888"/>
                      </a:moveTo>
                      <a:lnTo>
                        <a:pt x="1319" y="891"/>
                      </a:lnTo>
                      <a:lnTo>
                        <a:pt x="1287" y="901"/>
                      </a:lnTo>
                      <a:lnTo>
                        <a:pt x="1270" y="907"/>
                      </a:lnTo>
                      <a:lnTo>
                        <a:pt x="1256" y="913"/>
                      </a:lnTo>
                      <a:lnTo>
                        <a:pt x="1251" y="916"/>
                      </a:lnTo>
                      <a:lnTo>
                        <a:pt x="1246" y="919"/>
                      </a:lnTo>
                      <a:lnTo>
                        <a:pt x="1244" y="922"/>
                      </a:lnTo>
                      <a:lnTo>
                        <a:pt x="1243" y="925"/>
                      </a:lnTo>
                      <a:lnTo>
                        <a:pt x="1243" y="929"/>
                      </a:lnTo>
                      <a:lnTo>
                        <a:pt x="1244" y="933"/>
                      </a:lnTo>
                      <a:lnTo>
                        <a:pt x="1246" y="937"/>
                      </a:lnTo>
                      <a:lnTo>
                        <a:pt x="1248" y="940"/>
                      </a:lnTo>
                      <a:lnTo>
                        <a:pt x="1255" y="946"/>
                      </a:lnTo>
                      <a:lnTo>
                        <a:pt x="1263" y="951"/>
                      </a:lnTo>
                      <a:lnTo>
                        <a:pt x="1282" y="961"/>
                      </a:lnTo>
                      <a:lnTo>
                        <a:pt x="1302" y="973"/>
                      </a:lnTo>
                      <a:lnTo>
                        <a:pt x="1299" y="982"/>
                      </a:lnTo>
                      <a:lnTo>
                        <a:pt x="1294" y="988"/>
                      </a:lnTo>
                      <a:lnTo>
                        <a:pt x="1289" y="993"/>
                      </a:lnTo>
                      <a:lnTo>
                        <a:pt x="1282" y="996"/>
                      </a:lnTo>
                      <a:lnTo>
                        <a:pt x="1275" y="998"/>
                      </a:lnTo>
                      <a:lnTo>
                        <a:pt x="1267" y="999"/>
                      </a:lnTo>
                      <a:lnTo>
                        <a:pt x="1258" y="999"/>
                      </a:lnTo>
                      <a:lnTo>
                        <a:pt x="1251" y="999"/>
                      </a:lnTo>
                      <a:lnTo>
                        <a:pt x="1234" y="999"/>
                      </a:lnTo>
                      <a:lnTo>
                        <a:pt x="1220" y="999"/>
                      </a:lnTo>
                      <a:lnTo>
                        <a:pt x="1213" y="1000"/>
                      </a:lnTo>
                      <a:lnTo>
                        <a:pt x="1209" y="1002"/>
                      </a:lnTo>
                      <a:lnTo>
                        <a:pt x="1204" y="1006"/>
                      </a:lnTo>
                      <a:lnTo>
                        <a:pt x="1203" y="1011"/>
                      </a:lnTo>
                      <a:lnTo>
                        <a:pt x="1193" y="1036"/>
                      </a:lnTo>
                      <a:lnTo>
                        <a:pt x="1185" y="1058"/>
                      </a:lnTo>
                      <a:lnTo>
                        <a:pt x="1181" y="1069"/>
                      </a:lnTo>
                      <a:lnTo>
                        <a:pt x="1178" y="1080"/>
                      </a:lnTo>
                      <a:lnTo>
                        <a:pt x="1177" y="1095"/>
                      </a:lnTo>
                      <a:lnTo>
                        <a:pt x="1176" y="1109"/>
                      </a:lnTo>
                      <a:lnTo>
                        <a:pt x="1165" y="1100"/>
                      </a:lnTo>
                      <a:lnTo>
                        <a:pt x="1153" y="1091"/>
                      </a:lnTo>
                      <a:lnTo>
                        <a:pt x="1141" y="1081"/>
                      </a:lnTo>
                      <a:lnTo>
                        <a:pt x="1130" y="1072"/>
                      </a:lnTo>
                      <a:lnTo>
                        <a:pt x="1112" y="1051"/>
                      </a:lnTo>
                      <a:lnTo>
                        <a:pt x="1090" y="1026"/>
                      </a:lnTo>
                      <a:lnTo>
                        <a:pt x="1078" y="1015"/>
                      </a:lnTo>
                      <a:lnTo>
                        <a:pt x="1065" y="1006"/>
                      </a:lnTo>
                      <a:lnTo>
                        <a:pt x="1058" y="1003"/>
                      </a:lnTo>
                      <a:lnTo>
                        <a:pt x="1052" y="1001"/>
                      </a:lnTo>
                      <a:lnTo>
                        <a:pt x="1044" y="999"/>
                      </a:lnTo>
                      <a:lnTo>
                        <a:pt x="1036" y="998"/>
                      </a:lnTo>
                      <a:lnTo>
                        <a:pt x="1028" y="999"/>
                      </a:lnTo>
                      <a:lnTo>
                        <a:pt x="1019" y="1000"/>
                      </a:lnTo>
                      <a:lnTo>
                        <a:pt x="1011" y="1002"/>
                      </a:lnTo>
                      <a:lnTo>
                        <a:pt x="1006" y="1005"/>
                      </a:lnTo>
                      <a:lnTo>
                        <a:pt x="994" y="1012"/>
                      </a:lnTo>
                      <a:lnTo>
                        <a:pt x="984" y="1020"/>
                      </a:lnTo>
                      <a:lnTo>
                        <a:pt x="974" y="1027"/>
                      </a:lnTo>
                      <a:lnTo>
                        <a:pt x="962" y="1035"/>
                      </a:lnTo>
                      <a:lnTo>
                        <a:pt x="955" y="1038"/>
                      </a:lnTo>
                      <a:lnTo>
                        <a:pt x="949" y="1040"/>
                      </a:lnTo>
                      <a:lnTo>
                        <a:pt x="940" y="1041"/>
                      </a:lnTo>
                      <a:lnTo>
                        <a:pt x="930" y="1042"/>
                      </a:lnTo>
                      <a:lnTo>
                        <a:pt x="922" y="1041"/>
                      </a:lnTo>
                      <a:lnTo>
                        <a:pt x="913" y="1039"/>
                      </a:lnTo>
                      <a:lnTo>
                        <a:pt x="902" y="1037"/>
                      </a:lnTo>
                      <a:lnTo>
                        <a:pt x="891" y="1032"/>
                      </a:lnTo>
                      <a:lnTo>
                        <a:pt x="868" y="1023"/>
                      </a:lnTo>
                      <a:lnTo>
                        <a:pt x="845" y="1011"/>
                      </a:lnTo>
                      <a:lnTo>
                        <a:pt x="823" y="999"/>
                      </a:lnTo>
                      <a:lnTo>
                        <a:pt x="805" y="987"/>
                      </a:lnTo>
                      <a:lnTo>
                        <a:pt x="797" y="982"/>
                      </a:lnTo>
                      <a:lnTo>
                        <a:pt x="790" y="976"/>
                      </a:lnTo>
                      <a:lnTo>
                        <a:pt x="786" y="971"/>
                      </a:lnTo>
                      <a:lnTo>
                        <a:pt x="784" y="967"/>
                      </a:lnTo>
                      <a:lnTo>
                        <a:pt x="731" y="973"/>
                      </a:lnTo>
                      <a:lnTo>
                        <a:pt x="714" y="962"/>
                      </a:lnTo>
                      <a:lnTo>
                        <a:pt x="697" y="953"/>
                      </a:lnTo>
                      <a:lnTo>
                        <a:pt x="680" y="945"/>
                      </a:lnTo>
                      <a:lnTo>
                        <a:pt x="658" y="937"/>
                      </a:lnTo>
                      <a:lnTo>
                        <a:pt x="653" y="932"/>
                      </a:lnTo>
                      <a:lnTo>
                        <a:pt x="650" y="925"/>
                      </a:lnTo>
                      <a:lnTo>
                        <a:pt x="648" y="917"/>
                      </a:lnTo>
                      <a:lnTo>
                        <a:pt x="644" y="910"/>
                      </a:lnTo>
                      <a:lnTo>
                        <a:pt x="642" y="904"/>
                      </a:lnTo>
                      <a:lnTo>
                        <a:pt x="639" y="898"/>
                      </a:lnTo>
                      <a:lnTo>
                        <a:pt x="638" y="896"/>
                      </a:lnTo>
                      <a:lnTo>
                        <a:pt x="636" y="895"/>
                      </a:lnTo>
                      <a:lnTo>
                        <a:pt x="633" y="894"/>
                      </a:lnTo>
                      <a:lnTo>
                        <a:pt x="631" y="894"/>
                      </a:lnTo>
                      <a:lnTo>
                        <a:pt x="607" y="887"/>
                      </a:lnTo>
                      <a:lnTo>
                        <a:pt x="588" y="883"/>
                      </a:lnTo>
                      <a:lnTo>
                        <a:pt x="575" y="882"/>
                      </a:lnTo>
                      <a:lnTo>
                        <a:pt x="565" y="880"/>
                      </a:lnTo>
                      <a:lnTo>
                        <a:pt x="561" y="879"/>
                      </a:lnTo>
                      <a:lnTo>
                        <a:pt x="558" y="877"/>
                      </a:lnTo>
                      <a:lnTo>
                        <a:pt x="554" y="874"/>
                      </a:lnTo>
                      <a:lnTo>
                        <a:pt x="551" y="870"/>
                      </a:lnTo>
                      <a:lnTo>
                        <a:pt x="546" y="857"/>
                      </a:lnTo>
                      <a:lnTo>
                        <a:pt x="538" y="838"/>
                      </a:lnTo>
                      <a:lnTo>
                        <a:pt x="537" y="835"/>
                      </a:lnTo>
                      <a:lnTo>
                        <a:pt x="535" y="833"/>
                      </a:lnTo>
                      <a:lnTo>
                        <a:pt x="532" y="831"/>
                      </a:lnTo>
                      <a:lnTo>
                        <a:pt x="530" y="829"/>
                      </a:lnTo>
                      <a:lnTo>
                        <a:pt x="524" y="828"/>
                      </a:lnTo>
                      <a:lnTo>
                        <a:pt x="517" y="828"/>
                      </a:lnTo>
                      <a:lnTo>
                        <a:pt x="509" y="828"/>
                      </a:lnTo>
                      <a:lnTo>
                        <a:pt x="501" y="828"/>
                      </a:lnTo>
                      <a:lnTo>
                        <a:pt x="493" y="828"/>
                      </a:lnTo>
                      <a:lnTo>
                        <a:pt x="485" y="826"/>
                      </a:lnTo>
                      <a:lnTo>
                        <a:pt x="480" y="822"/>
                      </a:lnTo>
                      <a:lnTo>
                        <a:pt x="472" y="816"/>
                      </a:lnTo>
                      <a:lnTo>
                        <a:pt x="464" y="806"/>
                      </a:lnTo>
                      <a:lnTo>
                        <a:pt x="457" y="796"/>
                      </a:lnTo>
                      <a:lnTo>
                        <a:pt x="450" y="784"/>
                      </a:lnTo>
                      <a:lnTo>
                        <a:pt x="445" y="773"/>
                      </a:lnTo>
                      <a:lnTo>
                        <a:pt x="442" y="768"/>
                      </a:lnTo>
                      <a:lnTo>
                        <a:pt x="440" y="762"/>
                      </a:lnTo>
                      <a:lnTo>
                        <a:pt x="439" y="757"/>
                      </a:lnTo>
                      <a:lnTo>
                        <a:pt x="439" y="751"/>
                      </a:lnTo>
                      <a:lnTo>
                        <a:pt x="439" y="747"/>
                      </a:lnTo>
                      <a:lnTo>
                        <a:pt x="440" y="743"/>
                      </a:lnTo>
                      <a:lnTo>
                        <a:pt x="441" y="739"/>
                      </a:lnTo>
                      <a:lnTo>
                        <a:pt x="443" y="735"/>
                      </a:lnTo>
                      <a:lnTo>
                        <a:pt x="449" y="728"/>
                      </a:lnTo>
                      <a:lnTo>
                        <a:pt x="456" y="720"/>
                      </a:lnTo>
                      <a:lnTo>
                        <a:pt x="461" y="713"/>
                      </a:lnTo>
                      <a:lnTo>
                        <a:pt x="467" y="705"/>
                      </a:lnTo>
                      <a:lnTo>
                        <a:pt x="469" y="700"/>
                      </a:lnTo>
                      <a:lnTo>
                        <a:pt x="471" y="694"/>
                      </a:lnTo>
                      <a:lnTo>
                        <a:pt x="472" y="689"/>
                      </a:lnTo>
                      <a:lnTo>
                        <a:pt x="472" y="684"/>
                      </a:lnTo>
                      <a:lnTo>
                        <a:pt x="471" y="664"/>
                      </a:lnTo>
                      <a:lnTo>
                        <a:pt x="468" y="647"/>
                      </a:lnTo>
                      <a:lnTo>
                        <a:pt x="463" y="630"/>
                      </a:lnTo>
                      <a:lnTo>
                        <a:pt x="457" y="615"/>
                      </a:lnTo>
                      <a:lnTo>
                        <a:pt x="450" y="601"/>
                      </a:lnTo>
                      <a:lnTo>
                        <a:pt x="441" y="589"/>
                      </a:lnTo>
                      <a:lnTo>
                        <a:pt x="431" y="576"/>
                      </a:lnTo>
                      <a:lnTo>
                        <a:pt x="423" y="565"/>
                      </a:lnTo>
                      <a:lnTo>
                        <a:pt x="402" y="543"/>
                      </a:lnTo>
                      <a:lnTo>
                        <a:pt x="382" y="520"/>
                      </a:lnTo>
                      <a:lnTo>
                        <a:pt x="373" y="509"/>
                      </a:lnTo>
                      <a:lnTo>
                        <a:pt x="366" y="496"/>
                      </a:lnTo>
                      <a:lnTo>
                        <a:pt x="358" y="483"/>
                      </a:lnTo>
                      <a:lnTo>
                        <a:pt x="352" y="468"/>
                      </a:lnTo>
                      <a:lnTo>
                        <a:pt x="350" y="464"/>
                      </a:lnTo>
                      <a:lnTo>
                        <a:pt x="348" y="460"/>
                      </a:lnTo>
                      <a:lnTo>
                        <a:pt x="345" y="456"/>
                      </a:lnTo>
                      <a:lnTo>
                        <a:pt x="341" y="453"/>
                      </a:lnTo>
                      <a:lnTo>
                        <a:pt x="333" y="447"/>
                      </a:lnTo>
                      <a:lnTo>
                        <a:pt x="324" y="441"/>
                      </a:lnTo>
                      <a:lnTo>
                        <a:pt x="314" y="435"/>
                      </a:lnTo>
                      <a:lnTo>
                        <a:pt x="306" y="429"/>
                      </a:lnTo>
                      <a:lnTo>
                        <a:pt x="304" y="426"/>
                      </a:lnTo>
                      <a:lnTo>
                        <a:pt x="301" y="422"/>
                      </a:lnTo>
                      <a:lnTo>
                        <a:pt x="300" y="417"/>
                      </a:lnTo>
                      <a:lnTo>
                        <a:pt x="300" y="413"/>
                      </a:lnTo>
                      <a:lnTo>
                        <a:pt x="306" y="404"/>
                      </a:lnTo>
                      <a:lnTo>
                        <a:pt x="313" y="394"/>
                      </a:lnTo>
                      <a:lnTo>
                        <a:pt x="306" y="391"/>
                      </a:lnTo>
                      <a:lnTo>
                        <a:pt x="300" y="388"/>
                      </a:lnTo>
                      <a:lnTo>
                        <a:pt x="297" y="380"/>
                      </a:lnTo>
                      <a:lnTo>
                        <a:pt x="293" y="369"/>
                      </a:lnTo>
                      <a:lnTo>
                        <a:pt x="286" y="356"/>
                      </a:lnTo>
                      <a:lnTo>
                        <a:pt x="279" y="344"/>
                      </a:lnTo>
                      <a:lnTo>
                        <a:pt x="262" y="321"/>
                      </a:lnTo>
                      <a:lnTo>
                        <a:pt x="252" y="308"/>
                      </a:lnTo>
                      <a:lnTo>
                        <a:pt x="245" y="291"/>
                      </a:lnTo>
                      <a:lnTo>
                        <a:pt x="238" y="278"/>
                      </a:lnTo>
                      <a:lnTo>
                        <a:pt x="230" y="267"/>
                      </a:lnTo>
                      <a:lnTo>
                        <a:pt x="224" y="258"/>
                      </a:lnTo>
                      <a:lnTo>
                        <a:pt x="217" y="248"/>
                      </a:lnTo>
                      <a:lnTo>
                        <a:pt x="211" y="239"/>
                      </a:lnTo>
                      <a:lnTo>
                        <a:pt x="205" y="228"/>
                      </a:lnTo>
                      <a:lnTo>
                        <a:pt x="200" y="216"/>
                      </a:lnTo>
                      <a:lnTo>
                        <a:pt x="193" y="195"/>
                      </a:lnTo>
                      <a:lnTo>
                        <a:pt x="187" y="176"/>
                      </a:lnTo>
                      <a:lnTo>
                        <a:pt x="182" y="158"/>
                      </a:lnTo>
                      <a:lnTo>
                        <a:pt x="178" y="140"/>
                      </a:lnTo>
                      <a:lnTo>
                        <a:pt x="171" y="107"/>
                      </a:lnTo>
                      <a:lnTo>
                        <a:pt x="167" y="74"/>
                      </a:lnTo>
                      <a:lnTo>
                        <a:pt x="155" y="74"/>
                      </a:lnTo>
                      <a:lnTo>
                        <a:pt x="146" y="73"/>
                      </a:lnTo>
                      <a:lnTo>
                        <a:pt x="138" y="71"/>
                      </a:lnTo>
                      <a:lnTo>
                        <a:pt x="132" y="69"/>
                      </a:lnTo>
                      <a:lnTo>
                        <a:pt x="120" y="64"/>
                      </a:lnTo>
                      <a:lnTo>
                        <a:pt x="106" y="56"/>
                      </a:lnTo>
                      <a:lnTo>
                        <a:pt x="97" y="74"/>
                      </a:lnTo>
                      <a:lnTo>
                        <a:pt x="89" y="94"/>
                      </a:lnTo>
                      <a:lnTo>
                        <a:pt x="84" y="104"/>
                      </a:lnTo>
                      <a:lnTo>
                        <a:pt x="82" y="114"/>
                      </a:lnTo>
                      <a:lnTo>
                        <a:pt x="80" y="124"/>
                      </a:lnTo>
                      <a:lnTo>
                        <a:pt x="80" y="135"/>
                      </a:lnTo>
                      <a:lnTo>
                        <a:pt x="81" y="148"/>
                      </a:lnTo>
                      <a:lnTo>
                        <a:pt x="83" y="160"/>
                      </a:lnTo>
                      <a:lnTo>
                        <a:pt x="87" y="171"/>
                      </a:lnTo>
                      <a:lnTo>
                        <a:pt x="90" y="182"/>
                      </a:lnTo>
                      <a:lnTo>
                        <a:pt x="101" y="203"/>
                      </a:lnTo>
                      <a:lnTo>
                        <a:pt x="113" y="222"/>
                      </a:lnTo>
                      <a:lnTo>
                        <a:pt x="125" y="241"/>
                      </a:lnTo>
                      <a:lnTo>
                        <a:pt x="136" y="263"/>
                      </a:lnTo>
                      <a:lnTo>
                        <a:pt x="140" y="273"/>
                      </a:lnTo>
                      <a:lnTo>
                        <a:pt x="144" y="284"/>
                      </a:lnTo>
                      <a:lnTo>
                        <a:pt x="146" y="296"/>
                      </a:lnTo>
                      <a:lnTo>
                        <a:pt x="146" y="308"/>
                      </a:lnTo>
                      <a:lnTo>
                        <a:pt x="147" y="314"/>
                      </a:lnTo>
                      <a:lnTo>
                        <a:pt x="148" y="320"/>
                      </a:lnTo>
                      <a:lnTo>
                        <a:pt x="150" y="326"/>
                      </a:lnTo>
                      <a:lnTo>
                        <a:pt x="154" y="332"/>
                      </a:lnTo>
                      <a:lnTo>
                        <a:pt x="161" y="344"/>
                      </a:lnTo>
                      <a:lnTo>
                        <a:pt x="170" y="355"/>
                      </a:lnTo>
                      <a:lnTo>
                        <a:pt x="178" y="366"/>
                      </a:lnTo>
                      <a:lnTo>
                        <a:pt x="185" y="375"/>
                      </a:lnTo>
                      <a:lnTo>
                        <a:pt x="191" y="383"/>
                      </a:lnTo>
                      <a:lnTo>
                        <a:pt x="193" y="388"/>
                      </a:lnTo>
                      <a:lnTo>
                        <a:pt x="195" y="395"/>
                      </a:lnTo>
                      <a:lnTo>
                        <a:pt x="196" y="402"/>
                      </a:lnTo>
                      <a:lnTo>
                        <a:pt x="196" y="409"/>
                      </a:lnTo>
                      <a:lnTo>
                        <a:pt x="198" y="415"/>
                      </a:lnTo>
                      <a:lnTo>
                        <a:pt x="196" y="429"/>
                      </a:lnTo>
                      <a:lnTo>
                        <a:pt x="195" y="441"/>
                      </a:lnTo>
                      <a:lnTo>
                        <a:pt x="195" y="446"/>
                      </a:lnTo>
                      <a:lnTo>
                        <a:pt x="195" y="452"/>
                      </a:lnTo>
                      <a:lnTo>
                        <a:pt x="196" y="456"/>
                      </a:lnTo>
                      <a:lnTo>
                        <a:pt x="198" y="461"/>
                      </a:lnTo>
                      <a:lnTo>
                        <a:pt x="200" y="465"/>
                      </a:lnTo>
                      <a:lnTo>
                        <a:pt x="203" y="469"/>
                      </a:lnTo>
                      <a:lnTo>
                        <a:pt x="207" y="472"/>
                      </a:lnTo>
                      <a:lnTo>
                        <a:pt x="213" y="474"/>
                      </a:lnTo>
                      <a:lnTo>
                        <a:pt x="211" y="483"/>
                      </a:lnTo>
                      <a:lnTo>
                        <a:pt x="210" y="489"/>
                      </a:lnTo>
                      <a:lnTo>
                        <a:pt x="210" y="495"/>
                      </a:lnTo>
                      <a:lnTo>
                        <a:pt x="211" y="499"/>
                      </a:lnTo>
                      <a:lnTo>
                        <a:pt x="212" y="509"/>
                      </a:lnTo>
                      <a:lnTo>
                        <a:pt x="213" y="524"/>
                      </a:lnTo>
                      <a:lnTo>
                        <a:pt x="221" y="525"/>
                      </a:lnTo>
                      <a:lnTo>
                        <a:pt x="228" y="528"/>
                      </a:lnTo>
                      <a:lnTo>
                        <a:pt x="236" y="533"/>
                      </a:lnTo>
                      <a:lnTo>
                        <a:pt x="244" y="539"/>
                      </a:lnTo>
                      <a:lnTo>
                        <a:pt x="250" y="546"/>
                      </a:lnTo>
                      <a:lnTo>
                        <a:pt x="255" y="553"/>
                      </a:lnTo>
                      <a:lnTo>
                        <a:pt x="258" y="560"/>
                      </a:lnTo>
                      <a:lnTo>
                        <a:pt x="259" y="567"/>
                      </a:lnTo>
                      <a:lnTo>
                        <a:pt x="259" y="571"/>
                      </a:lnTo>
                      <a:lnTo>
                        <a:pt x="258" y="575"/>
                      </a:lnTo>
                      <a:lnTo>
                        <a:pt x="257" y="579"/>
                      </a:lnTo>
                      <a:lnTo>
                        <a:pt x="255" y="583"/>
                      </a:lnTo>
                      <a:lnTo>
                        <a:pt x="250" y="590"/>
                      </a:lnTo>
                      <a:lnTo>
                        <a:pt x="245" y="596"/>
                      </a:lnTo>
                      <a:lnTo>
                        <a:pt x="232" y="604"/>
                      </a:lnTo>
                      <a:lnTo>
                        <a:pt x="219" y="610"/>
                      </a:lnTo>
                      <a:lnTo>
                        <a:pt x="216" y="603"/>
                      </a:lnTo>
                      <a:lnTo>
                        <a:pt x="214" y="596"/>
                      </a:lnTo>
                      <a:lnTo>
                        <a:pt x="213" y="587"/>
                      </a:lnTo>
                      <a:lnTo>
                        <a:pt x="213" y="580"/>
                      </a:lnTo>
                      <a:lnTo>
                        <a:pt x="213" y="573"/>
                      </a:lnTo>
                      <a:lnTo>
                        <a:pt x="212" y="566"/>
                      </a:lnTo>
                      <a:lnTo>
                        <a:pt x="210" y="560"/>
                      </a:lnTo>
                      <a:lnTo>
                        <a:pt x="206" y="555"/>
                      </a:lnTo>
                      <a:lnTo>
                        <a:pt x="203" y="550"/>
                      </a:lnTo>
                      <a:lnTo>
                        <a:pt x="199" y="546"/>
                      </a:lnTo>
                      <a:lnTo>
                        <a:pt x="193" y="542"/>
                      </a:lnTo>
                      <a:lnTo>
                        <a:pt x="188" y="537"/>
                      </a:lnTo>
                      <a:lnTo>
                        <a:pt x="173" y="528"/>
                      </a:lnTo>
                      <a:lnTo>
                        <a:pt x="158" y="519"/>
                      </a:lnTo>
                      <a:lnTo>
                        <a:pt x="144" y="510"/>
                      </a:lnTo>
                      <a:lnTo>
                        <a:pt x="132" y="499"/>
                      </a:lnTo>
                      <a:lnTo>
                        <a:pt x="126" y="494"/>
                      </a:lnTo>
                      <a:lnTo>
                        <a:pt x="123" y="488"/>
                      </a:lnTo>
                      <a:lnTo>
                        <a:pt x="121" y="482"/>
                      </a:lnTo>
                      <a:lnTo>
                        <a:pt x="120" y="474"/>
                      </a:lnTo>
                      <a:lnTo>
                        <a:pt x="121" y="468"/>
                      </a:lnTo>
                      <a:lnTo>
                        <a:pt x="124" y="461"/>
                      </a:lnTo>
                      <a:lnTo>
                        <a:pt x="128" y="456"/>
                      </a:lnTo>
                      <a:lnTo>
                        <a:pt x="133" y="450"/>
                      </a:lnTo>
                      <a:lnTo>
                        <a:pt x="138" y="444"/>
                      </a:lnTo>
                      <a:lnTo>
                        <a:pt x="143" y="438"/>
                      </a:lnTo>
                      <a:lnTo>
                        <a:pt x="145" y="432"/>
                      </a:lnTo>
                      <a:lnTo>
                        <a:pt x="146" y="426"/>
                      </a:lnTo>
                      <a:lnTo>
                        <a:pt x="146" y="420"/>
                      </a:lnTo>
                      <a:lnTo>
                        <a:pt x="145" y="415"/>
                      </a:lnTo>
                      <a:lnTo>
                        <a:pt x="144" y="411"/>
                      </a:lnTo>
                      <a:lnTo>
                        <a:pt x="142" y="406"/>
                      </a:lnTo>
                      <a:lnTo>
                        <a:pt x="136" y="399"/>
                      </a:lnTo>
                      <a:lnTo>
                        <a:pt x="128" y="391"/>
                      </a:lnTo>
                      <a:lnTo>
                        <a:pt x="120" y="385"/>
                      </a:lnTo>
                      <a:lnTo>
                        <a:pt x="111" y="378"/>
                      </a:lnTo>
                      <a:lnTo>
                        <a:pt x="100" y="372"/>
                      </a:lnTo>
                      <a:lnTo>
                        <a:pt x="89" y="366"/>
                      </a:lnTo>
                      <a:lnTo>
                        <a:pt x="78" y="359"/>
                      </a:lnTo>
                      <a:lnTo>
                        <a:pt x="68" y="353"/>
                      </a:lnTo>
                      <a:lnTo>
                        <a:pt x="57" y="347"/>
                      </a:lnTo>
                      <a:lnTo>
                        <a:pt x="48" y="339"/>
                      </a:lnTo>
                      <a:lnTo>
                        <a:pt x="41" y="332"/>
                      </a:lnTo>
                      <a:lnTo>
                        <a:pt x="34" y="323"/>
                      </a:lnTo>
                      <a:lnTo>
                        <a:pt x="32" y="318"/>
                      </a:lnTo>
                      <a:lnTo>
                        <a:pt x="30" y="313"/>
                      </a:lnTo>
                      <a:lnTo>
                        <a:pt x="27" y="307"/>
                      </a:lnTo>
                      <a:lnTo>
                        <a:pt x="27" y="302"/>
                      </a:lnTo>
                      <a:lnTo>
                        <a:pt x="34" y="302"/>
                      </a:lnTo>
                      <a:lnTo>
                        <a:pt x="41" y="301"/>
                      </a:lnTo>
                      <a:lnTo>
                        <a:pt x="46" y="300"/>
                      </a:lnTo>
                      <a:lnTo>
                        <a:pt x="50" y="298"/>
                      </a:lnTo>
                      <a:lnTo>
                        <a:pt x="55" y="297"/>
                      </a:lnTo>
                      <a:lnTo>
                        <a:pt x="59" y="294"/>
                      </a:lnTo>
                      <a:lnTo>
                        <a:pt x="62" y="292"/>
                      </a:lnTo>
                      <a:lnTo>
                        <a:pt x="65" y="289"/>
                      </a:lnTo>
                      <a:lnTo>
                        <a:pt x="69" y="282"/>
                      </a:lnTo>
                      <a:lnTo>
                        <a:pt x="71" y="274"/>
                      </a:lnTo>
                      <a:lnTo>
                        <a:pt x="73" y="264"/>
                      </a:lnTo>
                      <a:lnTo>
                        <a:pt x="73" y="252"/>
                      </a:lnTo>
                      <a:lnTo>
                        <a:pt x="73" y="247"/>
                      </a:lnTo>
                      <a:lnTo>
                        <a:pt x="72" y="242"/>
                      </a:lnTo>
                      <a:lnTo>
                        <a:pt x="71" y="237"/>
                      </a:lnTo>
                      <a:lnTo>
                        <a:pt x="69" y="233"/>
                      </a:lnTo>
                      <a:lnTo>
                        <a:pt x="64" y="225"/>
                      </a:lnTo>
                      <a:lnTo>
                        <a:pt x="58" y="217"/>
                      </a:lnTo>
                      <a:lnTo>
                        <a:pt x="43" y="205"/>
                      </a:lnTo>
                      <a:lnTo>
                        <a:pt x="27" y="191"/>
                      </a:lnTo>
                      <a:lnTo>
                        <a:pt x="19" y="176"/>
                      </a:lnTo>
                      <a:lnTo>
                        <a:pt x="13" y="163"/>
                      </a:lnTo>
                      <a:lnTo>
                        <a:pt x="10" y="151"/>
                      </a:lnTo>
                      <a:lnTo>
                        <a:pt x="9" y="139"/>
                      </a:lnTo>
                      <a:lnTo>
                        <a:pt x="8" y="128"/>
                      </a:lnTo>
                      <a:lnTo>
                        <a:pt x="6" y="117"/>
                      </a:lnTo>
                      <a:lnTo>
                        <a:pt x="4" y="106"/>
                      </a:lnTo>
                      <a:lnTo>
                        <a:pt x="0" y="93"/>
                      </a:lnTo>
                      <a:lnTo>
                        <a:pt x="0" y="50"/>
                      </a:lnTo>
                      <a:lnTo>
                        <a:pt x="1" y="36"/>
                      </a:lnTo>
                      <a:lnTo>
                        <a:pt x="3" y="22"/>
                      </a:lnTo>
                      <a:lnTo>
                        <a:pt x="5" y="10"/>
                      </a:lnTo>
                      <a:lnTo>
                        <a:pt x="6" y="0"/>
                      </a:lnTo>
                      <a:lnTo>
                        <a:pt x="23" y="4"/>
                      </a:lnTo>
                      <a:lnTo>
                        <a:pt x="38" y="5"/>
                      </a:lnTo>
                      <a:lnTo>
                        <a:pt x="53" y="6"/>
                      </a:lnTo>
                      <a:lnTo>
                        <a:pt x="66" y="5"/>
                      </a:lnTo>
                      <a:lnTo>
                        <a:pt x="92" y="2"/>
                      </a:lnTo>
                      <a:lnTo>
                        <a:pt x="120" y="0"/>
                      </a:lnTo>
                      <a:lnTo>
                        <a:pt x="140" y="1"/>
                      </a:lnTo>
                      <a:lnTo>
                        <a:pt x="159" y="4"/>
                      </a:lnTo>
                      <a:lnTo>
                        <a:pt x="178" y="7"/>
                      </a:lnTo>
                      <a:lnTo>
                        <a:pt x="194" y="13"/>
                      </a:lnTo>
                      <a:lnTo>
                        <a:pt x="211" y="18"/>
                      </a:lnTo>
                      <a:lnTo>
                        <a:pt x="226" y="25"/>
                      </a:lnTo>
                      <a:lnTo>
                        <a:pt x="243" y="33"/>
                      </a:lnTo>
                      <a:lnTo>
                        <a:pt x="258" y="41"/>
                      </a:lnTo>
                      <a:lnTo>
                        <a:pt x="273" y="48"/>
                      </a:lnTo>
                      <a:lnTo>
                        <a:pt x="290" y="55"/>
                      </a:lnTo>
                      <a:lnTo>
                        <a:pt x="306" y="62"/>
                      </a:lnTo>
                      <a:lnTo>
                        <a:pt x="324" y="68"/>
                      </a:lnTo>
                      <a:lnTo>
                        <a:pt x="342" y="73"/>
                      </a:lnTo>
                      <a:lnTo>
                        <a:pt x="361" y="76"/>
                      </a:lnTo>
                      <a:lnTo>
                        <a:pt x="383" y="79"/>
                      </a:lnTo>
                      <a:lnTo>
                        <a:pt x="405" y="80"/>
                      </a:lnTo>
                      <a:lnTo>
                        <a:pt x="419" y="79"/>
                      </a:lnTo>
                      <a:lnTo>
                        <a:pt x="432" y="78"/>
                      </a:lnTo>
                      <a:lnTo>
                        <a:pt x="443" y="77"/>
                      </a:lnTo>
                      <a:lnTo>
                        <a:pt x="452" y="74"/>
                      </a:lnTo>
                      <a:lnTo>
                        <a:pt x="470" y="68"/>
                      </a:lnTo>
                      <a:lnTo>
                        <a:pt x="484" y="62"/>
                      </a:lnTo>
                      <a:lnTo>
                        <a:pt x="498" y="55"/>
                      </a:lnTo>
                      <a:lnTo>
                        <a:pt x="515" y="49"/>
                      </a:lnTo>
                      <a:lnTo>
                        <a:pt x="524" y="47"/>
                      </a:lnTo>
                      <a:lnTo>
                        <a:pt x="534" y="45"/>
                      </a:lnTo>
                      <a:lnTo>
                        <a:pt x="546" y="44"/>
                      </a:lnTo>
                      <a:lnTo>
                        <a:pt x="559" y="44"/>
                      </a:lnTo>
                      <a:lnTo>
                        <a:pt x="569" y="44"/>
                      </a:lnTo>
                      <a:lnTo>
                        <a:pt x="577" y="46"/>
                      </a:lnTo>
                      <a:lnTo>
                        <a:pt x="585" y="50"/>
                      </a:lnTo>
                      <a:lnTo>
                        <a:pt x="593" y="54"/>
                      </a:lnTo>
                      <a:lnTo>
                        <a:pt x="598" y="59"/>
                      </a:lnTo>
                      <a:lnTo>
                        <a:pt x="603" y="65"/>
                      </a:lnTo>
                      <a:lnTo>
                        <a:pt x="607" y="71"/>
                      </a:lnTo>
                      <a:lnTo>
                        <a:pt x="610" y="77"/>
                      </a:lnTo>
                      <a:lnTo>
                        <a:pt x="617" y="90"/>
                      </a:lnTo>
                      <a:lnTo>
                        <a:pt x="622" y="101"/>
                      </a:lnTo>
                      <a:lnTo>
                        <a:pt x="626" y="105"/>
                      </a:lnTo>
                      <a:lnTo>
                        <a:pt x="629" y="108"/>
                      </a:lnTo>
                      <a:lnTo>
                        <a:pt x="633" y="110"/>
                      </a:lnTo>
                      <a:lnTo>
                        <a:pt x="638" y="111"/>
                      </a:lnTo>
                      <a:lnTo>
                        <a:pt x="642" y="121"/>
                      </a:lnTo>
                      <a:lnTo>
                        <a:pt x="649" y="134"/>
                      </a:lnTo>
                      <a:lnTo>
                        <a:pt x="658" y="151"/>
                      </a:lnTo>
                      <a:lnTo>
                        <a:pt x="667" y="169"/>
                      </a:lnTo>
                      <a:lnTo>
                        <a:pt x="678" y="186"/>
                      </a:lnTo>
                      <a:lnTo>
                        <a:pt x="689" y="202"/>
                      </a:lnTo>
                      <a:lnTo>
                        <a:pt x="695" y="209"/>
                      </a:lnTo>
                      <a:lnTo>
                        <a:pt x="700" y="215"/>
                      </a:lnTo>
                      <a:lnTo>
                        <a:pt x="706" y="219"/>
                      </a:lnTo>
                      <a:lnTo>
                        <a:pt x="711" y="222"/>
                      </a:lnTo>
                      <a:lnTo>
                        <a:pt x="738" y="222"/>
                      </a:lnTo>
                      <a:lnTo>
                        <a:pt x="738" y="217"/>
                      </a:lnTo>
                      <a:lnTo>
                        <a:pt x="739" y="211"/>
                      </a:lnTo>
                      <a:lnTo>
                        <a:pt x="741" y="206"/>
                      </a:lnTo>
                      <a:lnTo>
                        <a:pt x="743" y="202"/>
                      </a:lnTo>
                      <a:lnTo>
                        <a:pt x="747" y="196"/>
                      </a:lnTo>
                      <a:lnTo>
                        <a:pt x="750" y="192"/>
                      </a:lnTo>
                      <a:lnTo>
                        <a:pt x="754" y="189"/>
                      </a:lnTo>
                      <a:lnTo>
                        <a:pt x="759" y="185"/>
                      </a:lnTo>
                      <a:lnTo>
                        <a:pt x="768" y="180"/>
                      </a:lnTo>
                      <a:lnTo>
                        <a:pt x="779" y="176"/>
                      </a:lnTo>
                      <a:lnTo>
                        <a:pt x="792" y="173"/>
                      </a:lnTo>
                      <a:lnTo>
                        <a:pt x="805" y="173"/>
                      </a:lnTo>
                      <a:lnTo>
                        <a:pt x="810" y="173"/>
                      </a:lnTo>
                      <a:lnTo>
                        <a:pt x="816" y="174"/>
                      </a:lnTo>
                      <a:lnTo>
                        <a:pt x="822" y="176"/>
                      </a:lnTo>
                      <a:lnTo>
                        <a:pt x="828" y="178"/>
                      </a:lnTo>
                      <a:lnTo>
                        <a:pt x="833" y="181"/>
                      </a:lnTo>
                      <a:lnTo>
                        <a:pt x="838" y="185"/>
                      </a:lnTo>
                      <a:lnTo>
                        <a:pt x="843" y="189"/>
                      </a:lnTo>
                      <a:lnTo>
                        <a:pt x="848" y="193"/>
                      </a:lnTo>
                      <a:lnTo>
                        <a:pt x="856" y="205"/>
                      </a:lnTo>
                      <a:lnTo>
                        <a:pt x="865" y="217"/>
                      </a:lnTo>
                      <a:lnTo>
                        <a:pt x="872" y="230"/>
                      </a:lnTo>
                      <a:lnTo>
                        <a:pt x="879" y="244"/>
                      </a:lnTo>
                      <a:lnTo>
                        <a:pt x="885" y="260"/>
                      </a:lnTo>
                      <a:lnTo>
                        <a:pt x="889" y="275"/>
                      </a:lnTo>
                      <a:lnTo>
                        <a:pt x="894" y="290"/>
                      </a:lnTo>
                      <a:lnTo>
                        <a:pt x="898" y="305"/>
                      </a:lnTo>
                      <a:lnTo>
                        <a:pt x="900" y="320"/>
                      </a:lnTo>
                      <a:lnTo>
                        <a:pt x="902" y="334"/>
                      </a:lnTo>
                      <a:lnTo>
                        <a:pt x="904" y="346"/>
                      </a:lnTo>
                      <a:lnTo>
                        <a:pt x="904" y="357"/>
                      </a:lnTo>
                      <a:lnTo>
                        <a:pt x="905" y="362"/>
                      </a:lnTo>
                      <a:lnTo>
                        <a:pt x="906" y="367"/>
                      </a:lnTo>
                      <a:lnTo>
                        <a:pt x="908" y="372"/>
                      </a:lnTo>
                      <a:lnTo>
                        <a:pt x="910" y="376"/>
                      </a:lnTo>
                      <a:lnTo>
                        <a:pt x="918" y="384"/>
                      </a:lnTo>
                      <a:lnTo>
                        <a:pt x="928" y="391"/>
                      </a:lnTo>
                      <a:lnTo>
                        <a:pt x="939" y="398"/>
                      </a:lnTo>
                      <a:lnTo>
                        <a:pt x="952" y="402"/>
                      </a:lnTo>
                      <a:lnTo>
                        <a:pt x="957" y="404"/>
                      </a:lnTo>
                      <a:lnTo>
                        <a:pt x="964" y="405"/>
                      </a:lnTo>
                      <a:lnTo>
                        <a:pt x="971" y="406"/>
                      </a:lnTo>
                      <a:lnTo>
                        <a:pt x="977" y="407"/>
                      </a:lnTo>
                      <a:lnTo>
                        <a:pt x="977" y="394"/>
                      </a:lnTo>
                      <a:lnTo>
                        <a:pt x="976" y="414"/>
                      </a:lnTo>
                      <a:lnTo>
                        <a:pt x="975" y="430"/>
                      </a:lnTo>
                      <a:lnTo>
                        <a:pt x="974" y="437"/>
                      </a:lnTo>
                      <a:lnTo>
                        <a:pt x="974" y="443"/>
                      </a:lnTo>
                      <a:lnTo>
                        <a:pt x="975" y="449"/>
                      </a:lnTo>
                      <a:lnTo>
                        <a:pt x="977" y="456"/>
                      </a:lnTo>
                      <a:lnTo>
                        <a:pt x="971" y="457"/>
                      </a:lnTo>
                      <a:lnTo>
                        <a:pt x="964" y="458"/>
                      </a:lnTo>
                      <a:lnTo>
                        <a:pt x="958" y="461"/>
                      </a:lnTo>
                      <a:lnTo>
                        <a:pt x="953" y="464"/>
                      </a:lnTo>
                      <a:lnTo>
                        <a:pt x="949" y="467"/>
                      </a:lnTo>
                      <a:lnTo>
                        <a:pt x="944" y="471"/>
                      </a:lnTo>
                      <a:lnTo>
                        <a:pt x="940" y="475"/>
                      </a:lnTo>
                      <a:lnTo>
                        <a:pt x="936" y="481"/>
                      </a:lnTo>
                      <a:lnTo>
                        <a:pt x="931" y="492"/>
                      </a:lnTo>
                      <a:lnTo>
                        <a:pt x="926" y="504"/>
                      </a:lnTo>
                      <a:lnTo>
                        <a:pt x="922" y="517"/>
                      </a:lnTo>
                      <a:lnTo>
                        <a:pt x="920" y="531"/>
                      </a:lnTo>
                      <a:lnTo>
                        <a:pt x="918" y="546"/>
                      </a:lnTo>
                      <a:lnTo>
                        <a:pt x="917" y="561"/>
                      </a:lnTo>
                      <a:lnTo>
                        <a:pt x="917" y="575"/>
                      </a:lnTo>
                      <a:lnTo>
                        <a:pt x="917" y="590"/>
                      </a:lnTo>
                      <a:lnTo>
                        <a:pt x="917" y="615"/>
                      </a:lnTo>
                      <a:lnTo>
                        <a:pt x="917" y="634"/>
                      </a:lnTo>
                      <a:lnTo>
                        <a:pt x="917" y="654"/>
                      </a:lnTo>
                      <a:lnTo>
                        <a:pt x="918" y="685"/>
                      </a:lnTo>
                      <a:lnTo>
                        <a:pt x="919" y="702"/>
                      </a:lnTo>
                      <a:lnTo>
                        <a:pt x="920" y="717"/>
                      </a:lnTo>
                      <a:lnTo>
                        <a:pt x="921" y="730"/>
                      </a:lnTo>
                      <a:lnTo>
                        <a:pt x="923" y="739"/>
                      </a:lnTo>
                      <a:lnTo>
                        <a:pt x="933" y="758"/>
                      </a:lnTo>
                      <a:lnTo>
                        <a:pt x="947" y="780"/>
                      </a:lnTo>
                      <a:lnTo>
                        <a:pt x="956" y="791"/>
                      </a:lnTo>
                      <a:lnTo>
                        <a:pt x="965" y="803"/>
                      </a:lnTo>
                      <a:lnTo>
                        <a:pt x="975" y="816"/>
                      </a:lnTo>
                      <a:lnTo>
                        <a:pt x="985" y="827"/>
                      </a:lnTo>
                      <a:lnTo>
                        <a:pt x="996" y="838"/>
                      </a:lnTo>
                      <a:lnTo>
                        <a:pt x="1007" y="848"/>
                      </a:lnTo>
                      <a:lnTo>
                        <a:pt x="1019" y="857"/>
                      </a:lnTo>
                      <a:lnTo>
                        <a:pt x="1030" y="865"/>
                      </a:lnTo>
                      <a:lnTo>
                        <a:pt x="1042" y="872"/>
                      </a:lnTo>
                      <a:lnTo>
                        <a:pt x="1054" y="877"/>
                      </a:lnTo>
                      <a:lnTo>
                        <a:pt x="1065" y="880"/>
                      </a:lnTo>
                      <a:lnTo>
                        <a:pt x="1077" y="881"/>
                      </a:lnTo>
                      <a:lnTo>
                        <a:pt x="1090" y="877"/>
                      </a:lnTo>
                      <a:lnTo>
                        <a:pt x="1114" y="865"/>
                      </a:lnTo>
                      <a:lnTo>
                        <a:pt x="1126" y="860"/>
                      </a:lnTo>
                      <a:lnTo>
                        <a:pt x="1140" y="855"/>
                      </a:lnTo>
                      <a:lnTo>
                        <a:pt x="1149" y="852"/>
                      </a:lnTo>
                      <a:lnTo>
                        <a:pt x="1156" y="850"/>
                      </a:lnTo>
                      <a:lnTo>
                        <a:pt x="1166" y="849"/>
                      </a:lnTo>
                      <a:lnTo>
                        <a:pt x="1178" y="849"/>
                      </a:lnTo>
                      <a:lnTo>
                        <a:pt x="1192" y="851"/>
                      </a:lnTo>
                      <a:lnTo>
                        <a:pt x="1208" y="852"/>
                      </a:lnTo>
                      <a:lnTo>
                        <a:pt x="1222" y="854"/>
                      </a:lnTo>
                      <a:lnTo>
                        <a:pt x="1235" y="854"/>
                      </a:lnTo>
                      <a:lnTo>
                        <a:pt x="1240" y="854"/>
                      </a:lnTo>
                      <a:lnTo>
                        <a:pt x="1244" y="853"/>
                      </a:lnTo>
                      <a:lnTo>
                        <a:pt x="1247" y="852"/>
                      </a:lnTo>
                      <a:lnTo>
                        <a:pt x="1249" y="850"/>
                      </a:lnTo>
                      <a:lnTo>
                        <a:pt x="1257" y="842"/>
                      </a:lnTo>
                      <a:lnTo>
                        <a:pt x="1264" y="834"/>
                      </a:lnTo>
                      <a:lnTo>
                        <a:pt x="1269" y="826"/>
                      </a:lnTo>
                      <a:lnTo>
                        <a:pt x="1274" y="818"/>
                      </a:lnTo>
                      <a:lnTo>
                        <a:pt x="1280" y="801"/>
                      </a:lnTo>
                      <a:lnTo>
                        <a:pt x="1285" y="785"/>
                      </a:lnTo>
                      <a:lnTo>
                        <a:pt x="1288" y="768"/>
                      </a:lnTo>
                      <a:lnTo>
                        <a:pt x="1292" y="750"/>
                      </a:lnTo>
                      <a:lnTo>
                        <a:pt x="1296" y="742"/>
                      </a:lnTo>
                      <a:lnTo>
                        <a:pt x="1299" y="733"/>
                      </a:lnTo>
                      <a:lnTo>
                        <a:pt x="1303" y="724"/>
                      </a:lnTo>
                      <a:lnTo>
                        <a:pt x="1309" y="715"/>
                      </a:lnTo>
                      <a:lnTo>
                        <a:pt x="1311" y="712"/>
                      </a:lnTo>
                      <a:lnTo>
                        <a:pt x="1313" y="709"/>
                      </a:lnTo>
                      <a:lnTo>
                        <a:pt x="1315" y="706"/>
                      </a:lnTo>
                      <a:lnTo>
                        <a:pt x="1319" y="703"/>
                      </a:lnTo>
                      <a:lnTo>
                        <a:pt x="1326" y="697"/>
                      </a:lnTo>
                      <a:lnTo>
                        <a:pt x="1336" y="693"/>
                      </a:lnTo>
                      <a:lnTo>
                        <a:pt x="1347" y="690"/>
                      </a:lnTo>
                      <a:lnTo>
                        <a:pt x="1359" y="687"/>
                      </a:lnTo>
                      <a:lnTo>
                        <a:pt x="1373" y="684"/>
                      </a:lnTo>
                      <a:lnTo>
                        <a:pt x="1387" y="682"/>
                      </a:lnTo>
                      <a:lnTo>
                        <a:pt x="1416" y="680"/>
                      </a:lnTo>
                      <a:lnTo>
                        <a:pt x="1446" y="678"/>
                      </a:lnTo>
                      <a:lnTo>
                        <a:pt x="1472" y="678"/>
                      </a:lnTo>
                      <a:lnTo>
                        <a:pt x="1495" y="678"/>
                      </a:lnTo>
                      <a:lnTo>
                        <a:pt x="1506" y="678"/>
                      </a:lnTo>
                      <a:lnTo>
                        <a:pt x="1522" y="678"/>
                      </a:lnTo>
                      <a:lnTo>
                        <a:pt x="1524" y="684"/>
                      </a:lnTo>
                      <a:lnTo>
                        <a:pt x="1528" y="693"/>
                      </a:lnTo>
                      <a:lnTo>
                        <a:pt x="1533" y="703"/>
                      </a:lnTo>
                      <a:lnTo>
                        <a:pt x="1535" y="709"/>
                      </a:lnTo>
                      <a:lnTo>
                        <a:pt x="1526" y="714"/>
                      </a:lnTo>
                      <a:lnTo>
                        <a:pt x="1515" y="720"/>
                      </a:lnTo>
                      <a:lnTo>
                        <a:pt x="1510" y="724"/>
                      </a:lnTo>
                      <a:lnTo>
                        <a:pt x="1503" y="729"/>
                      </a:lnTo>
                      <a:lnTo>
                        <a:pt x="1498" y="735"/>
                      </a:lnTo>
                      <a:lnTo>
                        <a:pt x="1492" y="741"/>
                      </a:lnTo>
                      <a:lnTo>
                        <a:pt x="1487" y="748"/>
                      </a:lnTo>
                      <a:lnTo>
                        <a:pt x="1481" y="758"/>
                      </a:lnTo>
                      <a:lnTo>
                        <a:pt x="1477" y="767"/>
                      </a:lnTo>
                      <a:lnTo>
                        <a:pt x="1473" y="778"/>
                      </a:lnTo>
                      <a:lnTo>
                        <a:pt x="1470" y="791"/>
                      </a:lnTo>
                      <a:lnTo>
                        <a:pt x="1469" y="804"/>
                      </a:lnTo>
                      <a:lnTo>
                        <a:pt x="1468" y="821"/>
                      </a:lnTo>
                      <a:lnTo>
                        <a:pt x="1469" y="838"/>
                      </a:lnTo>
                      <a:lnTo>
                        <a:pt x="1455" y="854"/>
                      </a:lnTo>
                      <a:lnTo>
                        <a:pt x="1444" y="868"/>
                      </a:lnTo>
                      <a:lnTo>
                        <a:pt x="1435" y="878"/>
                      </a:lnTo>
                      <a:lnTo>
                        <a:pt x="1428" y="888"/>
                      </a:lnTo>
                      <a:lnTo>
                        <a:pt x="1414" y="888"/>
                      </a:lnTo>
                      <a:lnTo>
                        <a:pt x="1401" y="888"/>
                      </a:lnTo>
                      <a:lnTo>
                        <a:pt x="1387" y="888"/>
                      </a:lnTo>
                      <a:lnTo>
                        <a:pt x="1369" y="888"/>
                      </a:lnTo>
                      <a:lnTo>
                        <a:pt x="1367" y="888"/>
                      </a:lnTo>
                      <a:lnTo>
                        <a:pt x="1359" y="888"/>
                      </a:lnTo>
                      <a:lnTo>
                        <a:pt x="1349" y="888"/>
                      </a:lnTo>
                      <a:lnTo>
                        <a:pt x="1336" y="88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4" name="Freeform 194">
                  <a:extLst>
                    <a:ext uri="{FF2B5EF4-FFF2-40B4-BE49-F238E27FC236}">
                      <a16:creationId xmlns:a16="http://schemas.microsoft.com/office/drawing/2014/main" xmlns="" id="{454D4681-38E7-4026-91BA-B8C4CD442025}"/>
                    </a:ext>
                  </a:extLst>
                </p:cNvPr>
                <p:cNvSpPr>
                  <a:spLocks/>
                </p:cNvSpPr>
                <p:nvPr>
                  <p:custDataLst>
                    <p:tags r:id="rId121"/>
                  </p:custDataLst>
                </p:nvPr>
              </p:nvSpPr>
              <p:spPr bwMode="auto">
                <a:xfrm>
                  <a:off x="2486025" y="4283075"/>
                  <a:ext cx="211138" cy="265113"/>
                </a:xfrm>
                <a:custGeom>
                  <a:avLst/>
                  <a:gdLst>
                    <a:gd name="T0" fmla="*/ 2147483646 w 486"/>
                    <a:gd name="T1" fmla="*/ 2147483646 h 505"/>
                    <a:gd name="T2" fmla="*/ 2147483646 w 486"/>
                    <a:gd name="T3" fmla="*/ 2147483646 h 505"/>
                    <a:gd name="T4" fmla="*/ 2147483646 w 486"/>
                    <a:gd name="T5" fmla="*/ 2147483646 h 505"/>
                    <a:gd name="T6" fmla="*/ 2147483646 w 486"/>
                    <a:gd name="T7" fmla="*/ 2147483646 h 505"/>
                    <a:gd name="T8" fmla="*/ 2147483646 w 486"/>
                    <a:gd name="T9" fmla="*/ 2147483646 h 505"/>
                    <a:gd name="T10" fmla="*/ 2147483646 w 486"/>
                    <a:gd name="T11" fmla="*/ 2147483646 h 505"/>
                    <a:gd name="T12" fmla="*/ 2147483646 w 486"/>
                    <a:gd name="T13" fmla="*/ 2147483646 h 505"/>
                    <a:gd name="T14" fmla="*/ 2147483646 w 486"/>
                    <a:gd name="T15" fmla="*/ 2147483646 h 505"/>
                    <a:gd name="T16" fmla="*/ 2147483646 w 486"/>
                    <a:gd name="T17" fmla="*/ 2147483646 h 505"/>
                    <a:gd name="T18" fmla="*/ 2147483646 w 486"/>
                    <a:gd name="T19" fmla="*/ 2147483646 h 505"/>
                    <a:gd name="T20" fmla="*/ 2147483646 w 486"/>
                    <a:gd name="T21" fmla="*/ 2147483646 h 505"/>
                    <a:gd name="T22" fmla="*/ 2147483646 w 486"/>
                    <a:gd name="T23" fmla="*/ 2147483646 h 505"/>
                    <a:gd name="T24" fmla="*/ 2147483646 w 486"/>
                    <a:gd name="T25" fmla="*/ 2147483646 h 505"/>
                    <a:gd name="T26" fmla="*/ 2147483646 w 486"/>
                    <a:gd name="T27" fmla="*/ 2147483646 h 505"/>
                    <a:gd name="T28" fmla="*/ 2147483646 w 486"/>
                    <a:gd name="T29" fmla="*/ 2147483646 h 505"/>
                    <a:gd name="T30" fmla="*/ 2147483646 w 486"/>
                    <a:gd name="T31" fmla="*/ 2147483646 h 505"/>
                    <a:gd name="T32" fmla="*/ 2147483646 w 486"/>
                    <a:gd name="T33" fmla="*/ 2147483646 h 505"/>
                    <a:gd name="T34" fmla="*/ 2147483646 w 486"/>
                    <a:gd name="T35" fmla="*/ 2147483646 h 505"/>
                    <a:gd name="T36" fmla="*/ 2147483646 w 486"/>
                    <a:gd name="T37" fmla="*/ 2147483646 h 505"/>
                    <a:gd name="T38" fmla="*/ 2147483646 w 486"/>
                    <a:gd name="T39" fmla="*/ 2147483646 h 505"/>
                    <a:gd name="T40" fmla="*/ 2147483646 w 486"/>
                    <a:gd name="T41" fmla="*/ 2147483646 h 505"/>
                    <a:gd name="T42" fmla="*/ 2147483646 w 486"/>
                    <a:gd name="T43" fmla="*/ 2147483646 h 505"/>
                    <a:gd name="T44" fmla="*/ 2147483646 w 486"/>
                    <a:gd name="T45" fmla="*/ 2147483646 h 505"/>
                    <a:gd name="T46" fmla="*/ 2147483646 w 486"/>
                    <a:gd name="T47" fmla="*/ 2147483646 h 505"/>
                    <a:gd name="T48" fmla="*/ 2147483646 w 486"/>
                    <a:gd name="T49" fmla="*/ 2147483646 h 505"/>
                    <a:gd name="T50" fmla="*/ 2147483646 w 486"/>
                    <a:gd name="T51" fmla="*/ 2147483646 h 505"/>
                    <a:gd name="T52" fmla="*/ 2147483646 w 486"/>
                    <a:gd name="T53" fmla="*/ 2147483646 h 505"/>
                    <a:gd name="T54" fmla="*/ 2147483646 w 486"/>
                    <a:gd name="T55" fmla="*/ 2147483646 h 505"/>
                    <a:gd name="T56" fmla="*/ 2147483646 w 486"/>
                    <a:gd name="T57" fmla="*/ 2147483646 h 505"/>
                    <a:gd name="T58" fmla="*/ 2147483646 w 486"/>
                    <a:gd name="T59" fmla="*/ 2147483646 h 505"/>
                    <a:gd name="T60" fmla="*/ 2147483646 w 486"/>
                    <a:gd name="T61" fmla="*/ 2147483646 h 505"/>
                    <a:gd name="T62" fmla="*/ 2147483646 w 486"/>
                    <a:gd name="T63" fmla="*/ 2147483646 h 505"/>
                    <a:gd name="T64" fmla="*/ 2147483646 w 486"/>
                    <a:gd name="T65" fmla="*/ 2147483646 h 505"/>
                    <a:gd name="T66" fmla="*/ 2147483646 w 486"/>
                    <a:gd name="T67" fmla="*/ 2147483646 h 505"/>
                    <a:gd name="T68" fmla="*/ 2147483646 w 486"/>
                    <a:gd name="T69" fmla="*/ 2147483646 h 505"/>
                    <a:gd name="T70" fmla="*/ 2147483646 w 486"/>
                    <a:gd name="T71" fmla="*/ 2147483646 h 505"/>
                    <a:gd name="T72" fmla="*/ 2147483646 w 486"/>
                    <a:gd name="T73" fmla="*/ 2147483646 h 505"/>
                    <a:gd name="T74" fmla="*/ 2147483646 w 486"/>
                    <a:gd name="T75" fmla="*/ 2147483646 h 505"/>
                    <a:gd name="T76" fmla="*/ 2147483646 w 486"/>
                    <a:gd name="T77" fmla="*/ 2147483646 h 505"/>
                    <a:gd name="T78" fmla="*/ 2147483646 w 486"/>
                    <a:gd name="T79" fmla="*/ 2147483646 h 505"/>
                    <a:gd name="T80" fmla="*/ 2147483646 w 486"/>
                    <a:gd name="T81" fmla="*/ 2147483646 h 505"/>
                    <a:gd name="T82" fmla="*/ 2147483646 w 486"/>
                    <a:gd name="T83" fmla="*/ 2147483646 h 505"/>
                    <a:gd name="T84" fmla="*/ 2147483646 w 486"/>
                    <a:gd name="T85" fmla="*/ 2147483646 h 505"/>
                    <a:gd name="T86" fmla="*/ 2147483646 w 486"/>
                    <a:gd name="T87" fmla="*/ 2147483646 h 505"/>
                    <a:gd name="T88" fmla="*/ 2147483646 w 486"/>
                    <a:gd name="T89" fmla="*/ 2147483646 h 505"/>
                    <a:gd name="T90" fmla="*/ 2147483646 w 486"/>
                    <a:gd name="T91" fmla="*/ 2147483646 h 505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486"/>
                    <a:gd name="T139" fmla="*/ 0 h 505"/>
                    <a:gd name="T140" fmla="*/ 486 w 486"/>
                    <a:gd name="T141" fmla="*/ 505 h 505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486" h="505">
                      <a:moveTo>
                        <a:pt x="0" y="166"/>
                      </a:moveTo>
                      <a:lnTo>
                        <a:pt x="7" y="171"/>
                      </a:lnTo>
                      <a:lnTo>
                        <a:pt x="14" y="176"/>
                      </a:lnTo>
                      <a:lnTo>
                        <a:pt x="19" y="181"/>
                      </a:lnTo>
                      <a:lnTo>
                        <a:pt x="24" y="186"/>
                      </a:lnTo>
                      <a:lnTo>
                        <a:pt x="31" y="198"/>
                      </a:lnTo>
                      <a:lnTo>
                        <a:pt x="39" y="210"/>
                      </a:lnTo>
                      <a:lnTo>
                        <a:pt x="44" y="221"/>
                      </a:lnTo>
                      <a:lnTo>
                        <a:pt x="51" y="232"/>
                      </a:lnTo>
                      <a:lnTo>
                        <a:pt x="58" y="242"/>
                      </a:lnTo>
                      <a:lnTo>
                        <a:pt x="66" y="253"/>
                      </a:lnTo>
                      <a:lnTo>
                        <a:pt x="82" y="266"/>
                      </a:lnTo>
                      <a:lnTo>
                        <a:pt x="96" y="276"/>
                      </a:lnTo>
                      <a:lnTo>
                        <a:pt x="111" y="285"/>
                      </a:lnTo>
                      <a:lnTo>
                        <a:pt x="126" y="293"/>
                      </a:lnTo>
                      <a:lnTo>
                        <a:pt x="140" y="299"/>
                      </a:lnTo>
                      <a:lnTo>
                        <a:pt x="155" y="305"/>
                      </a:lnTo>
                      <a:lnTo>
                        <a:pt x="170" y="310"/>
                      </a:lnTo>
                      <a:lnTo>
                        <a:pt x="185" y="314"/>
                      </a:lnTo>
                      <a:lnTo>
                        <a:pt x="215" y="321"/>
                      </a:lnTo>
                      <a:lnTo>
                        <a:pt x="246" y="328"/>
                      </a:lnTo>
                      <a:lnTo>
                        <a:pt x="262" y="332"/>
                      </a:lnTo>
                      <a:lnTo>
                        <a:pt x="278" y="338"/>
                      </a:lnTo>
                      <a:lnTo>
                        <a:pt x="295" y="344"/>
                      </a:lnTo>
                      <a:lnTo>
                        <a:pt x="312" y="351"/>
                      </a:lnTo>
                      <a:lnTo>
                        <a:pt x="307" y="367"/>
                      </a:lnTo>
                      <a:lnTo>
                        <a:pt x="299" y="381"/>
                      </a:lnTo>
                      <a:lnTo>
                        <a:pt x="291" y="394"/>
                      </a:lnTo>
                      <a:lnTo>
                        <a:pt x="284" y="406"/>
                      </a:lnTo>
                      <a:lnTo>
                        <a:pt x="277" y="418"/>
                      </a:lnTo>
                      <a:lnTo>
                        <a:pt x="272" y="430"/>
                      </a:lnTo>
                      <a:lnTo>
                        <a:pt x="269" y="436"/>
                      </a:lnTo>
                      <a:lnTo>
                        <a:pt x="267" y="443"/>
                      </a:lnTo>
                      <a:lnTo>
                        <a:pt x="266" y="449"/>
                      </a:lnTo>
                      <a:lnTo>
                        <a:pt x="266" y="456"/>
                      </a:lnTo>
                      <a:lnTo>
                        <a:pt x="266" y="463"/>
                      </a:lnTo>
                      <a:lnTo>
                        <a:pt x="269" y="471"/>
                      </a:lnTo>
                      <a:lnTo>
                        <a:pt x="273" y="477"/>
                      </a:lnTo>
                      <a:lnTo>
                        <a:pt x="278" y="482"/>
                      </a:lnTo>
                      <a:lnTo>
                        <a:pt x="284" y="487"/>
                      </a:lnTo>
                      <a:lnTo>
                        <a:pt x="291" y="491"/>
                      </a:lnTo>
                      <a:lnTo>
                        <a:pt x="299" y="494"/>
                      </a:lnTo>
                      <a:lnTo>
                        <a:pt x="308" y="497"/>
                      </a:lnTo>
                      <a:lnTo>
                        <a:pt x="325" y="501"/>
                      </a:lnTo>
                      <a:lnTo>
                        <a:pt x="344" y="504"/>
                      </a:lnTo>
                      <a:lnTo>
                        <a:pt x="363" y="505"/>
                      </a:lnTo>
                      <a:lnTo>
                        <a:pt x="379" y="505"/>
                      </a:lnTo>
                      <a:lnTo>
                        <a:pt x="387" y="504"/>
                      </a:lnTo>
                      <a:lnTo>
                        <a:pt x="396" y="502"/>
                      </a:lnTo>
                      <a:lnTo>
                        <a:pt x="406" y="499"/>
                      </a:lnTo>
                      <a:lnTo>
                        <a:pt x="415" y="494"/>
                      </a:lnTo>
                      <a:lnTo>
                        <a:pt x="426" y="488"/>
                      </a:lnTo>
                      <a:lnTo>
                        <a:pt x="436" y="482"/>
                      </a:lnTo>
                      <a:lnTo>
                        <a:pt x="446" y="474"/>
                      </a:lnTo>
                      <a:lnTo>
                        <a:pt x="456" y="465"/>
                      </a:lnTo>
                      <a:lnTo>
                        <a:pt x="465" y="456"/>
                      </a:lnTo>
                      <a:lnTo>
                        <a:pt x="473" y="447"/>
                      </a:lnTo>
                      <a:lnTo>
                        <a:pt x="478" y="437"/>
                      </a:lnTo>
                      <a:lnTo>
                        <a:pt x="482" y="428"/>
                      </a:lnTo>
                      <a:lnTo>
                        <a:pt x="485" y="418"/>
                      </a:lnTo>
                      <a:lnTo>
                        <a:pt x="486" y="407"/>
                      </a:lnTo>
                      <a:lnTo>
                        <a:pt x="485" y="402"/>
                      </a:lnTo>
                      <a:lnTo>
                        <a:pt x="484" y="397"/>
                      </a:lnTo>
                      <a:lnTo>
                        <a:pt x="481" y="393"/>
                      </a:lnTo>
                      <a:lnTo>
                        <a:pt x="478" y="388"/>
                      </a:lnTo>
                      <a:lnTo>
                        <a:pt x="478" y="358"/>
                      </a:lnTo>
                      <a:lnTo>
                        <a:pt x="475" y="345"/>
                      </a:lnTo>
                      <a:lnTo>
                        <a:pt x="473" y="331"/>
                      </a:lnTo>
                      <a:lnTo>
                        <a:pt x="471" y="316"/>
                      </a:lnTo>
                      <a:lnTo>
                        <a:pt x="470" y="299"/>
                      </a:lnTo>
                      <a:lnTo>
                        <a:pt x="468" y="284"/>
                      </a:lnTo>
                      <a:lnTo>
                        <a:pt x="465" y="270"/>
                      </a:lnTo>
                      <a:lnTo>
                        <a:pt x="463" y="263"/>
                      </a:lnTo>
                      <a:lnTo>
                        <a:pt x="461" y="257"/>
                      </a:lnTo>
                      <a:lnTo>
                        <a:pt x="456" y="252"/>
                      </a:lnTo>
                      <a:lnTo>
                        <a:pt x="452" y="247"/>
                      </a:lnTo>
                      <a:lnTo>
                        <a:pt x="446" y="242"/>
                      </a:lnTo>
                      <a:lnTo>
                        <a:pt x="439" y="239"/>
                      </a:lnTo>
                      <a:lnTo>
                        <a:pt x="431" y="236"/>
                      </a:lnTo>
                      <a:lnTo>
                        <a:pt x="422" y="234"/>
                      </a:lnTo>
                      <a:lnTo>
                        <a:pt x="413" y="232"/>
                      </a:lnTo>
                      <a:lnTo>
                        <a:pt x="406" y="229"/>
                      </a:lnTo>
                      <a:lnTo>
                        <a:pt x="398" y="226"/>
                      </a:lnTo>
                      <a:lnTo>
                        <a:pt x="392" y="222"/>
                      </a:lnTo>
                      <a:lnTo>
                        <a:pt x="386" y="216"/>
                      </a:lnTo>
                      <a:lnTo>
                        <a:pt x="378" y="212"/>
                      </a:lnTo>
                      <a:lnTo>
                        <a:pt x="370" y="207"/>
                      </a:lnTo>
                      <a:lnTo>
                        <a:pt x="363" y="203"/>
                      </a:lnTo>
                      <a:lnTo>
                        <a:pt x="346" y="196"/>
                      </a:lnTo>
                      <a:lnTo>
                        <a:pt x="330" y="188"/>
                      </a:lnTo>
                      <a:lnTo>
                        <a:pt x="313" y="182"/>
                      </a:lnTo>
                      <a:lnTo>
                        <a:pt x="298" y="176"/>
                      </a:lnTo>
                      <a:lnTo>
                        <a:pt x="290" y="172"/>
                      </a:lnTo>
                      <a:lnTo>
                        <a:pt x="284" y="169"/>
                      </a:lnTo>
                      <a:lnTo>
                        <a:pt x="278" y="165"/>
                      </a:lnTo>
                      <a:lnTo>
                        <a:pt x="273" y="160"/>
                      </a:lnTo>
                      <a:lnTo>
                        <a:pt x="269" y="158"/>
                      </a:lnTo>
                      <a:lnTo>
                        <a:pt x="266" y="154"/>
                      </a:lnTo>
                      <a:lnTo>
                        <a:pt x="264" y="151"/>
                      </a:lnTo>
                      <a:lnTo>
                        <a:pt x="263" y="146"/>
                      </a:lnTo>
                      <a:lnTo>
                        <a:pt x="262" y="136"/>
                      </a:lnTo>
                      <a:lnTo>
                        <a:pt x="261" y="125"/>
                      </a:lnTo>
                      <a:lnTo>
                        <a:pt x="261" y="113"/>
                      </a:lnTo>
                      <a:lnTo>
                        <a:pt x="262" y="101"/>
                      </a:lnTo>
                      <a:lnTo>
                        <a:pt x="261" y="90"/>
                      </a:lnTo>
                      <a:lnTo>
                        <a:pt x="260" y="81"/>
                      </a:lnTo>
                      <a:lnTo>
                        <a:pt x="258" y="75"/>
                      </a:lnTo>
                      <a:lnTo>
                        <a:pt x="255" y="71"/>
                      </a:lnTo>
                      <a:lnTo>
                        <a:pt x="251" y="67"/>
                      </a:lnTo>
                      <a:lnTo>
                        <a:pt x="246" y="61"/>
                      </a:lnTo>
                      <a:lnTo>
                        <a:pt x="241" y="55"/>
                      </a:lnTo>
                      <a:lnTo>
                        <a:pt x="237" y="47"/>
                      </a:lnTo>
                      <a:lnTo>
                        <a:pt x="235" y="43"/>
                      </a:lnTo>
                      <a:lnTo>
                        <a:pt x="234" y="37"/>
                      </a:lnTo>
                      <a:lnTo>
                        <a:pt x="233" y="32"/>
                      </a:lnTo>
                      <a:lnTo>
                        <a:pt x="233" y="25"/>
                      </a:lnTo>
                      <a:lnTo>
                        <a:pt x="199" y="12"/>
                      </a:lnTo>
                      <a:lnTo>
                        <a:pt x="195" y="12"/>
                      </a:lnTo>
                      <a:lnTo>
                        <a:pt x="190" y="10"/>
                      </a:lnTo>
                      <a:lnTo>
                        <a:pt x="186" y="8"/>
                      </a:lnTo>
                      <a:lnTo>
                        <a:pt x="182" y="6"/>
                      </a:lnTo>
                      <a:lnTo>
                        <a:pt x="177" y="4"/>
                      </a:lnTo>
                      <a:lnTo>
                        <a:pt x="173" y="2"/>
                      </a:lnTo>
                      <a:lnTo>
                        <a:pt x="166" y="0"/>
                      </a:lnTo>
                      <a:lnTo>
                        <a:pt x="160" y="0"/>
                      </a:lnTo>
                      <a:lnTo>
                        <a:pt x="139" y="1"/>
                      </a:lnTo>
                      <a:lnTo>
                        <a:pt x="116" y="2"/>
                      </a:lnTo>
                      <a:lnTo>
                        <a:pt x="92" y="6"/>
                      </a:lnTo>
                      <a:lnTo>
                        <a:pt x="70" y="11"/>
                      </a:lnTo>
                      <a:lnTo>
                        <a:pt x="60" y="14"/>
                      </a:lnTo>
                      <a:lnTo>
                        <a:pt x="50" y="17"/>
                      </a:lnTo>
                      <a:lnTo>
                        <a:pt x="42" y="21"/>
                      </a:lnTo>
                      <a:lnTo>
                        <a:pt x="34" y="27"/>
                      </a:lnTo>
                      <a:lnTo>
                        <a:pt x="28" y="31"/>
                      </a:lnTo>
                      <a:lnTo>
                        <a:pt x="24" y="37"/>
                      </a:lnTo>
                      <a:lnTo>
                        <a:pt x="21" y="43"/>
                      </a:lnTo>
                      <a:lnTo>
                        <a:pt x="20" y="49"/>
                      </a:lnTo>
                      <a:lnTo>
                        <a:pt x="20" y="64"/>
                      </a:lnTo>
                      <a:lnTo>
                        <a:pt x="20" y="74"/>
                      </a:lnTo>
                      <a:lnTo>
                        <a:pt x="0" y="16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5" name="Freeform 195">
                  <a:extLst>
                    <a:ext uri="{FF2B5EF4-FFF2-40B4-BE49-F238E27FC236}">
                      <a16:creationId xmlns:a16="http://schemas.microsoft.com/office/drawing/2014/main" xmlns="" id="{4F37E535-908F-4798-B5B6-8C610AFE7E15}"/>
                    </a:ext>
                  </a:extLst>
                </p:cNvPr>
                <p:cNvSpPr>
                  <a:spLocks/>
                </p:cNvSpPr>
                <p:nvPr>
                  <p:custDataLst>
                    <p:tags r:id="rId122"/>
                  </p:custDataLst>
                </p:nvPr>
              </p:nvSpPr>
              <p:spPr bwMode="auto">
                <a:xfrm>
                  <a:off x="2655888" y="3487738"/>
                  <a:ext cx="73025" cy="109537"/>
                </a:xfrm>
                <a:custGeom>
                  <a:avLst/>
                  <a:gdLst>
                    <a:gd name="T0" fmla="*/ 2147483646 w 166"/>
                    <a:gd name="T1" fmla="*/ 2147483646 h 208"/>
                    <a:gd name="T2" fmla="*/ 2147483646 w 166"/>
                    <a:gd name="T3" fmla="*/ 2147483646 h 208"/>
                    <a:gd name="T4" fmla="*/ 2147483646 w 166"/>
                    <a:gd name="T5" fmla="*/ 2147483646 h 208"/>
                    <a:gd name="T6" fmla="*/ 2147483646 w 166"/>
                    <a:gd name="T7" fmla="*/ 2147483646 h 208"/>
                    <a:gd name="T8" fmla="*/ 2147483646 w 166"/>
                    <a:gd name="T9" fmla="*/ 2147483646 h 208"/>
                    <a:gd name="T10" fmla="*/ 2147483646 w 166"/>
                    <a:gd name="T11" fmla="*/ 2147483646 h 208"/>
                    <a:gd name="T12" fmla="*/ 2147483646 w 166"/>
                    <a:gd name="T13" fmla="*/ 2147483646 h 208"/>
                    <a:gd name="T14" fmla="*/ 2147483646 w 166"/>
                    <a:gd name="T15" fmla="*/ 2147483646 h 208"/>
                    <a:gd name="T16" fmla="*/ 2147483646 w 166"/>
                    <a:gd name="T17" fmla="*/ 2147483646 h 208"/>
                    <a:gd name="T18" fmla="*/ 2147483646 w 166"/>
                    <a:gd name="T19" fmla="*/ 2147483646 h 208"/>
                    <a:gd name="T20" fmla="*/ 2147483646 w 166"/>
                    <a:gd name="T21" fmla="*/ 2147483646 h 208"/>
                    <a:gd name="T22" fmla="*/ 2147483646 w 166"/>
                    <a:gd name="T23" fmla="*/ 2147483646 h 208"/>
                    <a:gd name="T24" fmla="*/ 2147483646 w 166"/>
                    <a:gd name="T25" fmla="*/ 2147483646 h 208"/>
                    <a:gd name="T26" fmla="*/ 2147483646 w 166"/>
                    <a:gd name="T27" fmla="*/ 2147483646 h 208"/>
                    <a:gd name="T28" fmla="*/ 2147483646 w 166"/>
                    <a:gd name="T29" fmla="*/ 2147483646 h 208"/>
                    <a:gd name="T30" fmla="*/ 2147483646 w 166"/>
                    <a:gd name="T31" fmla="*/ 2147483646 h 208"/>
                    <a:gd name="T32" fmla="*/ 2147483646 w 166"/>
                    <a:gd name="T33" fmla="*/ 2147483646 h 208"/>
                    <a:gd name="T34" fmla="*/ 2147483646 w 166"/>
                    <a:gd name="T35" fmla="*/ 2147483646 h 208"/>
                    <a:gd name="T36" fmla="*/ 2147483646 w 166"/>
                    <a:gd name="T37" fmla="*/ 2147483646 h 208"/>
                    <a:gd name="T38" fmla="*/ 2147483646 w 166"/>
                    <a:gd name="T39" fmla="*/ 2147483646 h 208"/>
                    <a:gd name="T40" fmla="*/ 2147483646 w 166"/>
                    <a:gd name="T41" fmla="*/ 2147483646 h 208"/>
                    <a:gd name="T42" fmla="*/ 2147483646 w 166"/>
                    <a:gd name="T43" fmla="*/ 2147483646 h 208"/>
                    <a:gd name="T44" fmla="*/ 2147483646 w 166"/>
                    <a:gd name="T45" fmla="*/ 2147483646 h 208"/>
                    <a:gd name="T46" fmla="*/ 2147483646 w 166"/>
                    <a:gd name="T47" fmla="*/ 2147483646 h 208"/>
                    <a:gd name="T48" fmla="*/ 2147483646 w 166"/>
                    <a:gd name="T49" fmla="*/ 2147483646 h 208"/>
                    <a:gd name="T50" fmla="*/ 2147483646 w 166"/>
                    <a:gd name="T51" fmla="*/ 2147483646 h 208"/>
                    <a:gd name="T52" fmla="*/ 2147483646 w 166"/>
                    <a:gd name="T53" fmla="*/ 2147483646 h 208"/>
                    <a:gd name="T54" fmla="*/ 2147483646 w 166"/>
                    <a:gd name="T55" fmla="*/ 0 h 208"/>
                    <a:gd name="T56" fmla="*/ 2147483646 w 166"/>
                    <a:gd name="T57" fmla="*/ 2147483646 h 208"/>
                    <a:gd name="T58" fmla="*/ 2147483646 w 166"/>
                    <a:gd name="T59" fmla="*/ 2147483646 h 208"/>
                    <a:gd name="T60" fmla="*/ 2147483646 w 166"/>
                    <a:gd name="T61" fmla="*/ 2147483646 h 208"/>
                    <a:gd name="T62" fmla="*/ 2147483646 w 166"/>
                    <a:gd name="T63" fmla="*/ 2147483646 h 208"/>
                    <a:gd name="T64" fmla="*/ 2147483646 w 166"/>
                    <a:gd name="T65" fmla="*/ 2147483646 h 208"/>
                    <a:gd name="T66" fmla="*/ 2147483646 w 166"/>
                    <a:gd name="T67" fmla="*/ 2147483646 h 208"/>
                    <a:gd name="T68" fmla="*/ 2147483646 w 166"/>
                    <a:gd name="T69" fmla="*/ 2147483646 h 208"/>
                    <a:gd name="T70" fmla="*/ 0 w 166"/>
                    <a:gd name="T71" fmla="*/ 2147483646 h 208"/>
                    <a:gd name="T72" fmla="*/ 0 w 166"/>
                    <a:gd name="T73" fmla="*/ 2147483646 h 208"/>
                    <a:gd name="T74" fmla="*/ 2147483646 w 166"/>
                    <a:gd name="T75" fmla="*/ 2147483646 h 208"/>
                    <a:gd name="T76" fmla="*/ 2147483646 w 166"/>
                    <a:gd name="T77" fmla="*/ 2147483646 h 208"/>
                    <a:gd name="T78" fmla="*/ 2147483646 w 166"/>
                    <a:gd name="T79" fmla="*/ 2147483646 h 208"/>
                    <a:gd name="T80" fmla="*/ 2147483646 w 166"/>
                    <a:gd name="T81" fmla="*/ 2147483646 h 208"/>
                    <a:gd name="T82" fmla="*/ 2147483646 w 166"/>
                    <a:gd name="T83" fmla="*/ 2147483646 h 208"/>
                    <a:gd name="T84" fmla="*/ 2147483646 w 166"/>
                    <a:gd name="T85" fmla="*/ 2147483646 h 208"/>
                    <a:gd name="T86" fmla="*/ 2147483646 w 166"/>
                    <a:gd name="T87" fmla="*/ 2147483646 h 208"/>
                    <a:gd name="T88" fmla="*/ 2147483646 w 166"/>
                    <a:gd name="T89" fmla="*/ 2147483646 h 208"/>
                    <a:gd name="T90" fmla="*/ 2147483646 w 166"/>
                    <a:gd name="T91" fmla="*/ 2147483646 h 208"/>
                    <a:gd name="T92" fmla="*/ 2147483646 w 166"/>
                    <a:gd name="T93" fmla="*/ 2147483646 h 208"/>
                    <a:gd name="T94" fmla="*/ 2147483646 w 166"/>
                    <a:gd name="T95" fmla="*/ 2147483646 h 208"/>
                    <a:gd name="T96" fmla="*/ 2147483646 w 166"/>
                    <a:gd name="T97" fmla="*/ 2147483646 h 208"/>
                    <a:gd name="T98" fmla="*/ 2147483646 w 166"/>
                    <a:gd name="T99" fmla="*/ 2147483646 h 208"/>
                    <a:gd name="T100" fmla="*/ 2147483646 w 166"/>
                    <a:gd name="T101" fmla="*/ 2147483646 h 208"/>
                    <a:gd name="T102" fmla="*/ 2147483646 w 166"/>
                    <a:gd name="T103" fmla="*/ 2147483646 h 208"/>
                    <a:gd name="T104" fmla="*/ 2147483646 w 166"/>
                    <a:gd name="T105" fmla="*/ 2147483646 h 208"/>
                    <a:gd name="T106" fmla="*/ 2147483646 w 166"/>
                    <a:gd name="T107" fmla="*/ 2147483646 h 208"/>
                    <a:gd name="T108" fmla="*/ 2147483646 w 166"/>
                    <a:gd name="T109" fmla="*/ 2147483646 h 208"/>
                    <a:gd name="T110" fmla="*/ 2147483646 w 166"/>
                    <a:gd name="T111" fmla="*/ 2147483646 h 208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166"/>
                    <a:gd name="T169" fmla="*/ 0 h 208"/>
                    <a:gd name="T170" fmla="*/ 166 w 166"/>
                    <a:gd name="T171" fmla="*/ 208 h 208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166" h="208">
                      <a:moveTo>
                        <a:pt x="7" y="183"/>
                      </a:moveTo>
                      <a:lnTo>
                        <a:pt x="79" y="208"/>
                      </a:lnTo>
                      <a:lnTo>
                        <a:pt x="85" y="207"/>
                      </a:lnTo>
                      <a:lnTo>
                        <a:pt x="90" y="204"/>
                      </a:lnTo>
                      <a:lnTo>
                        <a:pt x="97" y="198"/>
                      </a:lnTo>
                      <a:lnTo>
                        <a:pt x="104" y="192"/>
                      </a:lnTo>
                      <a:lnTo>
                        <a:pt x="117" y="176"/>
                      </a:lnTo>
                      <a:lnTo>
                        <a:pt x="130" y="158"/>
                      </a:lnTo>
                      <a:lnTo>
                        <a:pt x="154" y="122"/>
                      </a:lnTo>
                      <a:lnTo>
                        <a:pt x="166" y="103"/>
                      </a:lnTo>
                      <a:lnTo>
                        <a:pt x="144" y="94"/>
                      </a:lnTo>
                      <a:lnTo>
                        <a:pt x="126" y="84"/>
                      </a:lnTo>
                      <a:lnTo>
                        <a:pt x="108" y="74"/>
                      </a:lnTo>
                      <a:lnTo>
                        <a:pt x="93" y="64"/>
                      </a:lnTo>
                      <a:lnTo>
                        <a:pt x="86" y="58"/>
                      </a:lnTo>
                      <a:lnTo>
                        <a:pt x="81" y="53"/>
                      </a:lnTo>
                      <a:lnTo>
                        <a:pt x="75" y="47"/>
                      </a:lnTo>
                      <a:lnTo>
                        <a:pt x="71" y="40"/>
                      </a:lnTo>
                      <a:lnTo>
                        <a:pt x="67" y="33"/>
                      </a:lnTo>
                      <a:lnTo>
                        <a:pt x="64" y="26"/>
                      </a:lnTo>
                      <a:lnTo>
                        <a:pt x="62" y="18"/>
                      </a:lnTo>
                      <a:lnTo>
                        <a:pt x="60" y="11"/>
                      </a:lnTo>
                      <a:lnTo>
                        <a:pt x="50" y="10"/>
                      </a:lnTo>
                      <a:lnTo>
                        <a:pt x="43" y="8"/>
                      </a:lnTo>
                      <a:lnTo>
                        <a:pt x="40" y="5"/>
                      </a:lnTo>
                      <a:lnTo>
                        <a:pt x="39" y="3"/>
                      </a:lnTo>
                      <a:lnTo>
                        <a:pt x="38" y="1"/>
                      </a:lnTo>
                      <a:lnTo>
                        <a:pt x="36" y="0"/>
                      </a:lnTo>
                      <a:lnTo>
                        <a:pt x="32" y="1"/>
                      </a:lnTo>
                      <a:lnTo>
                        <a:pt x="27" y="5"/>
                      </a:lnTo>
                      <a:lnTo>
                        <a:pt x="20" y="11"/>
                      </a:lnTo>
                      <a:lnTo>
                        <a:pt x="11" y="22"/>
                      </a:lnTo>
                      <a:lnTo>
                        <a:pt x="7" y="29"/>
                      </a:lnTo>
                      <a:lnTo>
                        <a:pt x="4" y="37"/>
                      </a:lnTo>
                      <a:lnTo>
                        <a:pt x="2" y="45"/>
                      </a:lnTo>
                      <a:lnTo>
                        <a:pt x="0" y="54"/>
                      </a:lnTo>
                      <a:lnTo>
                        <a:pt x="0" y="60"/>
                      </a:lnTo>
                      <a:lnTo>
                        <a:pt x="2" y="65"/>
                      </a:lnTo>
                      <a:lnTo>
                        <a:pt x="3" y="70"/>
                      </a:lnTo>
                      <a:lnTo>
                        <a:pt x="5" y="76"/>
                      </a:lnTo>
                      <a:lnTo>
                        <a:pt x="10" y="86"/>
                      </a:lnTo>
                      <a:lnTo>
                        <a:pt x="17" y="98"/>
                      </a:lnTo>
                      <a:lnTo>
                        <a:pt x="22" y="109"/>
                      </a:lnTo>
                      <a:lnTo>
                        <a:pt x="28" y="120"/>
                      </a:lnTo>
                      <a:lnTo>
                        <a:pt x="30" y="126"/>
                      </a:lnTo>
                      <a:lnTo>
                        <a:pt x="32" y="133"/>
                      </a:lnTo>
                      <a:lnTo>
                        <a:pt x="33" y="139"/>
                      </a:lnTo>
                      <a:lnTo>
                        <a:pt x="33" y="147"/>
                      </a:lnTo>
                      <a:lnTo>
                        <a:pt x="32" y="153"/>
                      </a:lnTo>
                      <a:lnTo>
                        <a:pt x="31" y="159"/>
                      </a:lnTo>
                      <a:lnTo>
                        <a:pt x="28" y="165"/>
                      </a:lnTo>
                      <a:lnTo>
                        <a:pt x="25" y="169"/>
                      </a:lnTo>
                      <a:lnTo>
                        <a:pt x="21" y="174"/>
                      </a:lnTo>
                      <a:lnTo>
                        <a:pt x="17" y="177"/>
                      </a:lnTo>
                      <a:lnTo>
                        <a:pt x="11" y="180"/>
                      </a:lnTo>
                      <a:lnTo>
                        <a:pt x="7" y="18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6" name="Freeform 196">
                  <a:extLst>
                    <a:ext uri="{FF2B5EF4-FFF2-40B4-BE49-F238E27FC236}">
                      <a16:creationId xmlns:a16="http://schemas.microsoft.com/office/drawing/2014/main" xmlns="" id="{91A591E8-B49B-47BC-9447-3E57C3237178}"/>
                    </a:ext>
                  </a:extLst>
                </p:cNvPr>
                <p:cNvSpPr>
                  <a:spLocks/>
                </p:cNvSpPr>
                <p:nvPr>
                  <p:custDataLst>
                    <p:tags r:id="rId123"/>
                  </p:custDataLst>
                </p:nvPr>
              </p:nvSpPr>
              <p:spPr bwMode="auto">
                <a:xfrm>
                  <a:off x="2170113" y="3046413"/>
                  <a:ext cx="69850" cy="58737"/>
                </a:xfrm>
                <a:custGeom>
                  <a:avLst/>
                  <a:gdLst>
                    <a:gd name="T0" fmla="*/ 2147483646 w 164"/>
                    <a:gd name="T1" fmla="*/ 2147483646 h 104"/>
                    <a:gd name="T2" fmla="*/ 2147483646 w 164"/>
                    <a:gd name="T3" fmla="*/ 2147483646 h 104"/>
                    <a:gd name="T4" fmla="*/ 2147483646 w 164"/>
                    <a:gd name="T5" fmla="*/ 2147483646 h 104"/>
                    <a:gd name="T6" fmla="*/ 2147483646 w 164"/>
                    <a:gd name="T7" fmla="*/ 2147483646 h 104"/>
                    <a:gd name="T8" fmla="*/ 2147483646 w 164"/>
                    <a:gd name="T9" fmla="*/ 2147483646 h 104"/>
                    <a:gd name="T10" fmla="*/ 2147483646 w 164"/>
                    <a:gd name="T11" fmla="*/ 2147483646 h 104"/>
                    <a:gd name="T12" fmla="*/ 2147483646 w 164"/>
                    <a:gd name="T13" fmla="*/ 2147483646 h 104"/>
                    <a:gd name="T14" fmla="*/ 2147483646 w 164"/>
                    <a:gd name="T15" fmla="*/ 2147483646 h 104"/>
                    <a:gd name="T16" fmla="*/ 2147483646 w 164"/>
                    <a:gd name="T17" fmla="*/ 2147483646 h 104"/>
                    <a:gd name="T18" fmla="*/ 2147483646 w 164"/>
                    <a:gd name="T19" fmla="*/ 2147483646 h 104"/>
                    <a:gd name="T20" fmla="*/ 2147483646 w 164"/>
                    <a:gd name="T21" fmla="*/ 2147483646 h 104"/>
                    <a:gd name="T22" fmla="*/ 2147483646 w 164"/>
                    <a:gd name="T23" fmla="*/ 2147483646 h 104"/>
                    <a:gd name="T24" fmla="*/ 2147483646 w 164"/>
                    <a:gd name="T25" fmla="*/ 2147483646 h 104"/>
                    <a:gd name="T26" fmla="*/ 2147483646 w 164"/>
                    <a:gd name="T27" fmla="*/ 2147483646 h 104"/>
                    <a:gd name="T28" fmla="*/ 2147483646 w 164"/>
                    <a:gd name="T29" fmla="*/ 2147483646 h 104"/>
                    <a:gd name="T30" fmla="*/ 2147483646 w 164"/>
                    <a:gd name="T31" fmla="*/ 2147483646 h 104"/>
                    <a:gd name="T32" fmla="*/ 2147483646 w 164"/>
                    <a:gd name="T33" fmla="*/ 2147483646 h 104"/>
                    <a:gd name="T34" fmla="*/ 0 w 164"/>
                    <a:gd name="T35" fmla="*/ 2147483646 h 104"/>
                    <a:gd name="T36" fmla="*/ 0 w 164"/>
                    <a:gd name="T37" fmla="*/ 2147483646 h 104"/>
                    <a:gd name="T38" fmla="*/ 0 w 164"/>
                    <a:gd name="T39" fmla="*/ 2147483646 h 104"/>
                    <a:gd name="T40" fmla="*/ 2147483646 w 164"/>
                    <a:gd name="T41" fmla="*/ 2147483646 h 104"/>
                    <a:gd name="T42" fmla="*/ 2147483646 w 164"/>
                    <a:gd name="T43" fmla="*/ 2147483646 h 104"/>
                    <a:gd name="T44" fmla="*/ 2147483646 w 164"/>
                    <a:gd name="T45" fmla="*/ 2147483646 h 104"/>
                    <a:gd name="T46" fmla="*/ 2147483646 w 164"/>
                    <a:gd name="T47" fmla="*/ 2147483646 h 104"/>
                    <a:gd name="T48" fmla="*/ 2147483646 w 164"/>
                    <a:gd name="T49" fmla="*/ 2147483646 h 104"/>
                    <a:gd name="T50" fmla="*/ 2147483646 w 164"/>
                    <a:gd name="T51" fmla="*/ 2147483646 h 104"/>
                    <a:gd name="T52" fmla="*/ 2147483646 w 164"/>
                    <a:gd name="T53" fmla="*/ 2147483646 h 104"/>
                    <a:gd name="T54" fmla="*/ 2147483646 w 164"/>
                    <a:gd name="T55" fmla="*/ 2147483646 h 104"/>
                    <a:gd name="T56" fmla="*/ 2147483646 w 164"/>
                    <a:gd name="T57" fmla="*/ 2147483646 h 104"/>
                    <a:gd name="T58" fmla="*/ 2147483646 w 164"/>
                    <a:gd name="T59" fmla="*/ 2147483646 h 104"/>
                    <a:gd name="T60" fmla="*/ 2147483646 w 164"/>
                    <a:gd name="T61" fmla="*/ 2147483646 h 104"/>
                    <a:gd name="T62" fmla="*/ 2147483646 w 164"/>
                    <a:gd name="T63" fmla="*/ 2147483646 h 104"/>
                    <a:gd name="T64" fmla="*/ 2147483646 w 164"/>
                    <a:gd name="T65" fmla="*/ 2147483646 h 104"/>
                    <a:gd name="T66" fmla="*/ 2147483646 w 164"/>
                    <a:gd name="T67" fmla="*/ 2147483646 h 104"/>
                    <a:gd name="T68" fmla="*/ 2147483646 w 164"/>
                    <a:gd name="T69" fmla="*/ 2147483646 h 104"/>
                    <a:gd name="T70" fmla="*/ 2147483646 w 164"/>
                    <a:gd name="T71" fmla="*/ 2147483646 h 104"/>
                    <a:gd name="T72" fmla="*/ 2147483646 w 164"/>
                    <a:gd name="T73" fmla="*/ 2147483646 h 104"/>
                    <a:gd name="T74" fmla="*/ 2147483646 w 164"/>
                    <a:gd name="T75" fmla="*/ 2147483646 h 104"/>
                    <a:gd name="T76" fmla="*/ 2147483646 w 164"/>
                    <a:gd name="T77" fmla="*/ 2147483646 h 104"/>
                    <a:gd name="T78" fmla="*/ 2147483646 w 164"/>
                    <a:gd name="T79" fmla="*/ 2147483646 h 104"/>
                    <a:gd name="T80" fmla="*/ 2147483646 w 164"/>
                    <a:gd name="T81" fmla="*/ 0 h 104"/>
                    <a:gd name="T82" fmla="*/ 2147483646 w 164"/>
                    <a:gd name="T83" fmla="*/ 0 h 104"/>
                    <a:gd name="T84" fmla="*/ 2147483646 w 164"/>
                    <a:gd name="T85" fmla="*/ 2147483646 h 104"/>
                    <a:gd name="T86" fmla="*/ 2147483646 w 164"/>
                    <a:gd name="T87" fmla="*/ 2147483646 h 104"/>
                    <a:gd name="T88" fmla="*/ 2147483646 w 164"/>
                    <a:gd name="T89" fmla="*/ 2147483646 h 104"/>
                    <a:gd name="T90" fmla="*/ 2147483646 w 164"/>
                    <a:gd name="T91" fmla="*/ 2147483646 h 104"/>
                    <a:gd name="T92" fmla="*/ 2147483646 w 164"/>
                    <a:gd name="T93" fmla="*/ 2147483646 h 104"/>
                    <a:gd name="T94" fmla="*/ 2147483646 w 164"/>
                    <a:gd name="T95" fmla="*/ 2147483646 h 104"/>
                    <a:gd name="T96" fmla="*/ 2147483646 w 164"/>
                    <a:gd name="T97" fmla="*/ 2147483646 h 104"/>
                    <a:gd name="T98" fmla="*/ 2147483646 w 164"/>
                    <a:gd name="T99" fmla="*/ 2147483646 h 104"/>
                    <a:gd name="T100" fmla="*/ 2147483646 w 164"/>
                    <a:gd name="T101" fmla="*/ 2147483646 h 104"/>
                    <a:gd name="T102" fmla="*/ 2147483646 w 164"/>
                    <a:gd name="T103" fmla="*/ 2147483646 h 104"/>
                    <a:gd name="T104" fmla="*/ 2147483646 w 164"/>
                    <a:gd name="T105" fmla="*/ 2147483646 h 104"/>
                    <a:gd name="T106" fmla="*/ 2147483646 w 164"/>
                    <a:gd name="T107" fmla="*/ 2147483646 h 104"/>
                    <a:gd name="T108" fmla="*/ 2147483646 w 164"/>
                    <a:gd name="T109" fmla="*/ 2147483646 h 10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64"/>
                    <a:gd name="T166" fmla="*/ 0 h 104"/>
                    <a:gd name="T167" fmla="*/ 164 w 164"/>
                    <a:gd name="T168" fmla="*/ 104 h 10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64" h="104">
                      <a:moveTo>
                        <a:pt x="153" y="104"/>
                      </a:moveTo>
                      <a:lnTo>
                        <a:pt x="134" y="102"/>
                      </a:lnTo>
                      <a:lnTo>
                        <a:pt x="110" y="97"/>
                      </a:lnTo>
                      <a:lnTo>
                        <a:pt x="96" y="94"/>
                      </a:lnTo>
                      <a:lnTo>
                        <a:pt x="80" y="93"/>
                      </a:lnTo>
                      <a:lnTo>
                        <a:pt x="73" y="93"/>
                      </a:lnTo>
                      <a:lnTo>
                        <a:pt x="64" y="94"/>
                      </a:lnTo>
                      <a:lnTo>
                        <a:pt x="55" y="96"/>
                      </a:lnTo>
                      <a:lnTo>
                        <a:pt x="47" y="98"/>
                      </a:lnTo>
                      <a:lnTo>
                        <a:pt x="41" y="100"/>
                      </a:lnTo>
                      <a:lnTo>
                        <a:pt x="34" y="100"/>
                      </a:lnTo>
                      <a:lnTo>
                        <a:pt x="27" y="99"/>
                      </a:lnTo>
                      <a:lnTo>
                        <a:pt x="19" y="96"/>
                      </a:lnTo>
                      <a:lnTo>
                        <a:pt x="11" y="92"/>
                      </a:lnTo>
                      <a:lnTo>
                        <a:pt x="6" y="88"/>
                      </a:lnTo>
                      <a:lnTo>
                        <a:pt x="3" y="86"/>
                      </a:lnTo>
                      <a:lnTo>
                        <a:pt x="1" y="84"/>
                      </a:lnTo>
                      <a:lnTo>
                        <a:pt x="0" y="81"/>
                      </a:lnTo>
                      <a:lnTo>
                        <a:pt x="0" y="79"/>
                      </a:lnTo>
                      <a:lnTo>
                        <a:pt x="0" y="76"/>
                      </a:lnTo>
                      <a:lnTo>
                        <a:pt x="1" y="74"/>
                      </a:lnTo>
                      <a:lnTo>
                        <a:pt x="3" y="71"/>
                      </a:lnTo>
                      <a:lnTo>
                        <a:pt x="6" y="70"/>
                      </a:lnTo>
                      <a:lnTo>
                        <a:pt x="12" y="67"/>
                      </a:lnTo>
                      <a:lnTo>
                        <a:pt x="20" y="66"/>
                      </a:lnTo>
                      <a:lnTo>
                        <a:pt x="40" y="66"/>
                      </a:lnTo>
                      <a:lnTo>
                        <a:pt x="61" y="67"/>
                      </a:lnTo>
                      <a:lnTo>
                        <a:pt x="70" y="67"/>
                      </a:lnTo>
                      <a:lnTo>
                        <a:pt x="79" y="67"/>
                      </a:lnTo>
                      <a:lnTo>
                        <a:pt x="87" y="67"/>
                      </a:lnTo>
                      <a:lnTo>
                        <a:pt x="94" y="67"/>
                      </a:lnTo>
                      <a:lnTo>
                        <a:pt x="94" y="56"/>
                      </a:lnTo>
                      <a:lnTo>
                        <a:pt x="94" y="43"/>
                      </a:lnTo>
                      <a:lnTo>
                        <a:pt x="94" y="29"/>
                      </a:lnTo>
                      <a:lnTo>
                        <a:pt x="94" y="18"/>
                      </a:lnTo>
                      <a:lnTo>
                        <a:pt x="79" y="17"/>
                      </a:lnTo>
                      <a:lnTo>
                        <a:pt x="67" y="15"/>
                      </a:lnTo>
                      <a:lnTo>
                        <a:pt x="62" y="13"/>
                      </a:lnTo>
                      <a:lnTo>
                        <a:pt x="57" y="10"/>
                      </a:lnTo>
                      <a:lnTo>
                        <a:pt x="52" y="6"/>
                      </a:lnTo>
                      <a:lnTo>
                        <a:pt x="47" y="0"/>
                      </a:lnTo>
                      <a:lnTo>
                        <a:pt x="146" y="0"/>
                      </a:lnTo>
                      <a:lnTo>
                        <a:pt x="147" y="6"/>
                      </a:lnTo>
                      <a:lnTo>
                        <a:pt x="148" y="13"/>
                      </a:lnTo>
                      <a:lnTo>
                        <a:pt x="150" y="19"/>
                      </a:lnTo>
                      <a:lnTo>
                        <a:pt x="152" y="25"/>
                      </a:lnTo>
                      <a:lnTo>
                        <a:pt x="156" y="35"/>
                      </a:lnTo>
                      <a:lnTo>
                        <a:pt x="159" y="46"/>
                      </a:lnTo>
                      <a:lnTo>
                        <a:pt x="163" y="54"/>
                      </a:lnTo>
                      <a:lnTo>
                        <a:pt x="164" y="62"/>
                      </a:lnTo>
                      <a:lnTo>
                        <a:pt x="163" y="65"/>
                      </a:lnTo>
                      <a:lnTo>
                        <a:pt x="160" y="68"/>
                      </a:lnTo>
                      <a:lnTo>
                        <a:pt x="157" y="71"/>
                      </a:lnTo>
                      <a:lnTo>
                        <a:pt x="153" y="73"/>
                      </a:lnTo>
                      <a:lnTo>
                        <a:pt x="153" y="10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7" name="Freeform 197">
                  <a:extLst>
                    <a:ext uri="{FF2B5EF4-FFF2-40B4-BE49-F238E27FC236}">
                      <a16:creationId xmlns:a16="http://schemas.microsoft.com/office/drawing/2014/main" xmlns="" id="{EACA1068-1665-4871-8954-9F6D79CD2E76}"/>
                    </a:ext>
                  </a:extLst>
                </p:cNvPr>
                <p:cNvSpPr>
                  <a:spLocks/>
                </p:cNvSpPr>
                <p:nvPr>
                  <p:custDataLst>
                    <p:tags r:id="rId124"/>
                  </p:custDataLst>
                </p:nvPr>
              </p:nvSpPr>
              <p:spPr bwMode="auto">
                <a:xfrm>
                  <a:off x="2536825" y="5400675"/>
                  <a:ext cx="23813" cy="57150"/>
                </a:xfrm>
                <a:custGeom>
                  <a:avLst/>
                  <a:gdLst>
                    <a:gd name="T0" fmla="*/ 0 w 53"/>
                    <a:gd name="T1" fmla="*/ 2147483646 h 19"/>
                    <a:gd name="T2" fmla="*/ 2147483646 w 53"/>
                    <a:gd name="T3" fmla="*/ 2147483646 h 19"/>
                    <a:gd name="T4" fmla="*/ 2147483646 w 53"/>
                    <a:gd name="T5" fmla="*/ 2147483646 h 19"/>
                    <a:gd name="T6" fmla="*/ 2147483646 w 53"/>
                    <a:gd name="T7" fmla="*/ 2147483646 h 19"/>
                    <a:gd name="T8" fmla="*/ 2147483646 w 53"/>
                    <a:gd name="T9" fmla="*/ 2147483646 h 19"/>
                    <a:gd name="T10" fmla="*/ 2147483646 w 53"/>
                    <a:gd name="T11" fmla="*/ 2147483646 h 19"/>
                    <a:gd name="T12" fmla="*/ 2147483646 w 53"/>
                    <a:gd name="T13" fmla="*/ 2147483646 h 19"/>
                    <a:gd name="T14" fmla="*/ 2147483646 w 53"/>
                    <a:gd name="T15" fmla="*/ 2147483646 h 19"/>
                    <a:gd name="T16" fmla="*/ 2147483646 w 53"/>
                    <a:gd name="T17" fmla="*/ 2147483646 h 19"/>
                    <a:gd name="T18" fmla="*/ 2147483646 w 53"/>
                    <a:gd name="T19" fmla="*/ 2147483646 h 19"/>
                    <a:gd name="T20" fmla="*/ 2147483646 w 53"/>
                    <a:gd name="T21" fmla="*/ 2147483646 h 19"/>
                    <a:gd name="T22" fmla="*/ 2147483646 w 53"/>
                    <a:gd name="T23" fmla="*/ 2147483646 h 19"/>
                    <a:gd name="T24" fmla="*/ 2147483646 w 53"/>
                    <a:gd name="T25" fmla="*/ 0 h 19"/>
                    <a:gd name="T26" fmla="*/ 2147483646 w 53"/>
                    <a:gd name="T27" fmla="*/ 0 h 19"/>
                    <a:gd name="T28" fmla="*/ 2147483646 w 53"/>
                    <a:gd name="T29" fmla="*/ 2147483646 h 19"/>
                    <a:gd name="T30" fmla="*/ 2147483646 w 53"/>
                    <a:gd name="T31" fmla="*/ 2147483646 h 19"/>
                    <a:gd name="T32" fmla="*/ 0 w 53"/>
                    <a:gd name="T33" fmla="*/ 2147483646 h 1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53"/>
                    <a:gd name="T52" fmla="*/ 0 h 19"/>
                    <a:gd name="T53" fmla="*/ 53 w 53"/>
                    <a:gd name="T54" fmla="*/ 19 h 1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53" h="19">
                      <a:moveTo>
                        <a:pt x="0" y="8"/>
                      </a:moveTo>
                      <a:lnTo>
                        <a:pt x="7" y="13"/>
                      </a:lnTo>
                      <a:lnTo>
                        <a:pt x="14" y="17"/>
                      </a:lnTo>
                      <a:lnTo>
                        <a:pt x="22" y="19"/>
                      </a:lnTo>
                      <a:lnTo>
                        <a:pt x="29" y="19"/>
                      </a:lnTo>
                      <a:lnTo>
                        <a:pt x="35" y="18"/>
                      </a:lnTo>
                      <a:lnTo>
                        <a:pt x="42" y="15"/>
                      </a:lnTo>
                      <a:lnTo>
                        <a:pt x="47" y="12"/>
                      </a:lnTo>
                      <a:lnTo>
                        <a:pt x="53" y="8"/>
                      </a:lnTo>
                      <a:lnTo>
                        <a:pt x="47" y="5"/>
                      </a:lnTo>
                      <a:lnTo>
                        <a:pt x="42" y="2"/>
                      </a:lnTo>
                      <a:lnTo>
                        <a:pt x="35" y="1"/>
                      </a:lnTo>
                      <a:lnTo>
                        <a:pt x="29" y="0"/>
                      </a:lnTo>
                      <a:lnTo>
                        <a:pt x="22" y="0"/>
                      </a:lnTo>
                      <a:lnTo>
                        <a:pt x="14" y="1"/>
                      </a:lnTo>
                      <a:lnTo>
                        <a:pt x="7" y="3"/>
                      </a:lnTo>
                      <a:lnTo>
                        <a:pt x="0" y="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8" name="Freeform 198">
                  <a:extLst>
                    <a:ext uri="{FF2B5EF4-FFF2-40B4-BE49-F238E27FC236}">
                      <a16:creationId xmlns:a16="http://schemas.microsoft.com/office/drawing/2014/main" xmlns="" id="{40482B65-6E7A-49AD-8148-6FF5106DA695}"/>
                    </a:ext>
                  </a:extLst>
                </p:cNvPr>
                <p:cNvSpPr>
                  <a:spLocks/>
                </p:cNvSpPr>
                <p:nvPr>
                  <p:custDataLst>
                    <p:tags r:id="rId125"/>
                  </p:custDataLst>
                </p:nvPr>
              </p:nvSpPr>
              <p:spPr bwMode="auto">
                <a:xfrm>
                  <a:off x="2501900" y="5380038"/>
                  <a:ext cx="34925" cy="58737"/>
                </a:xfrm>
                <a:custGeom>
                  <a:avLst/>
                  <a:gdLst>
                    <a:gd name="T0" fmla="*/ 0 w 80"/>
                    <a:gd name="T1" fmla="*/ 0 h 18"/>
                    <a:gd name="T2" fmla="*/ 2147483646 w 80"/>
                    <a:gd name="T3" fmla="*/ 2147483646 h 18"/>
                    <a:gd name="T4" fmla="*/ 2147483646 w 80"/>
                    <a:gd name="T5" fmla="*/ 2147483646 h 18"/>
                    <a:gd name="T6" fmla="*/ 2147483646 w 80"/>
                    <a:gd name="T7" fmla="*/ 2147483646 h 18"/>
                    <a:gd name="T8" fmla="*/ 2147483646 w 80"/>
                    <a:gd name="T9" fmla="*/ 2147483646 h 18"/>
                    <a:gd name="T10" fmla="*/ 2147483646 w 80"/>
                    <a:gd name="T11" fmla="*/ 2147483646 h 18"/>
                    <a:gd name="T12" fmla="*/ 2147483646 w 80"/>
                    <a:gd name="T13" fmla="*/ 2147483646 h 18"/>
                    <a:gd name="T14" fmla="*/ 2147483646 w 80"/>
                    <a:gd name="T15" fmla="*/ 2147483646 h 18"/>
                    <a:gd name="T16" fmla="*/ 2147483646 w 80"/>
                    <a:gd name="T17" fmla="*/ 2147483646 h 18"/>
                    <a:gd name="T18" fmla="*/ 2147483646 w 80"/>
                    <a:gd name="T19" fmla="*/ 2147483646 h 18"/>
                    <a:gd name="T20" fmla="*/ 2147483646 w 80"/>
                    <a:gd name="T21" fmla="*/ 2147483646 h 18"/>
                    <a:gd name="T22" fmla="*/ 2147483646 w 80"/>
                    <a:gd name="T23" fmla="*/ 2147483646 h 18"/>
                    <a:gd name="T24" fmla="*/ 2147483646 w 80"/>
                    <a:gd name="T25" fmla="*/ 2147483646 h 18"/>
                    <a:gd name="T26" fmla="*/ 2147483646 w 80"/>
                    <a:gd name="T27" fmla="*/ 2147483646 h 18"/>
                    <a:gd name="T28" fmla="*/ 2147483646 w 80"/>
                    <a:gd name="T29" fmla="*/ 2147483646 h 18"/>
                    <a:gd name="T30" fmla="*/ 2147483646 w 80"/>
                    <a:gd name="T31" fmla="*/ 2147483646 h 18"/>
                    <a:gd name="T32" fmla="*/ 2147483646 w 80"/>
                    <a:gd name="T33" fmla="*/ 2147483646 h 18"/>
                    <a:gd name="T34" fmla="*/ 2147483646 w 80"/>
                    <a:gd name="T35" fmla="*/ 2147483646 h 18"/>
                    <a:gd name="T36" fmla="*/ 2147483646 w 80"/>
                    <a:gd name="T37" fmla="*/ 0 h 18"/>
                    <a:gd name="T38" fmla="*/ 0 w 80"/>
                    <a:gd name="T39" fmla="*/ 0 h 18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80"/>
                    <a:gd name="T61" fmla="*/ 0 h 18"/>
                    <a:gd name="T62" fmla="*/ 80 w 80"/>
                    <a:gd name="T63" fmla="*/ 18 h 18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80" h="18">
                      <a:moveTo>
                        <a:pt x="0" y="0"/>
                      </a:moveTo>
                      <a:lnTo>
                        <a:pt x="1" y="6"/>
                      </a:lnTo>
                      <a:lnTo>
                        <a:pt x="5" y="12"/>
                      </a:lnTo>
                      <a:lnTo>
                        <a:pt x="8" y="14"/>
                      </a:lnTo>
                      <a:lnTo>
                        <a:pt x="11" y="16"/>
                      </a:lnTo>
                      <a:lnTo>
                        <a:pt x="15" y="18"/>
                      </a:lnTo>
                      <a:lnTo>
                        <a:pt x="20" y="18"/>
                      </a:lnTo>
                      <a:lnTo>
                        <a:pt x="22" y="15"/>
                      </a:lnTo>
                      <a:lnTo>
                        <a:pt x="24" y="13"/>
                      </a:lnTo>
                      <a:lnTo>
                        <a:pt x="26" y="11"/>
                      </a:lnTo>
                      <a:lnTo>
                        <a:pt x="31" y="10"/>
                      </a:lnTo>
                      <a:lnTo>
                        <a:pt x="38" y="8"/>
                      </a:lnTo>
                      <a:lnTo>
                        <a:pt x="47" y="7"/>
                      </a:lnTo>
                      <a:lnTo>
                        <a:pt x="57" y="7"/>
                      </a:lnTo>
                      <a:lnTo>
                        <a:pt x="66" y="6"/>
                      </a:lnTo>
                      <a:lnTo>
                        <a:pt x="70" y="5"/>
                      </a:lnTo>
                      <a:lnTo>
                        <a:pt x="74" y="4"/>
                      </a:lnTo>
                      <a:lnTo>
                        <a:pt x="77" y="2"/>
                      </a:lnTo>
                      <a:lnTo>
                        <a:pt x="8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9" name="Freeform 199">
                  <a:extLst>
                    <a:ext uri="{FF2B5EF4-FFF2-40B4-BE49-F238E27FC236}">
                      <a16:creationId xmlns:a16="http://schemas.microsoft.com/office/drawing/2014/main" xmlns="" id="{D75B4441-6385-4C46-BD24-9347793AD28B}"/>
                    </a:ext>
                  </a:extLst>
                </p:cNvPr>
                <p:cNvSpPr>
                  <a:spLocks/>
                </p:cNvSpPr>
                <p:nvPr>
                  <p:custDataLst>
                    <p:tags r:id="rId126"/>
                  </p:custDataLst>
                </p:nvPr>
              </p:nvSpPr>
              <p:spPr bwMode="auto">
                <a:xfrm>
                  <a:off x="2501900" y="5359400"/>
                  <a:ext cx="22225" cy="60325"/>
                </a:xfrm>
                <a:custGeom>
                  <a:avLst/>
                  <a:gdLst>
                    <a:gd name="T0" fmla="*/ 2147483646 w 46"/>
                    <a:gd name="T1" fmla="*/ 0 h 27"/>
                    <a:gd name="T2" fmla="*/ 0 w 46"/>
                    <a:gd name="T3" fmla="*/ 2147483646 h 27"/>
                    <a:gd name="T4" fmla="*/ 2147483646 w 46"/>
                    <a:gd name="T5" fmla="*/ 2147483646 h 27"/>
                    <a:gd name="T6" fmla="*/ 2147483646 w 46"/>
                    <a:gd name="T7" fmla="*/ 2147483646 h 27"/>
                    <a:gd name="T8" fmla="*/ 2147483646 w 46"/>
                    <a:gd name="T9" fmla="*/ 2147483646 h 27"/>
                    <a:gd name="T10" fmla="*/ 2147483646 w 46"/>
                    <a:gd name="T11" fmla="*/ 2147483646 h 27"/>
                    <a:gd name="T12" fmla="*/ 2147483646 w 46"/>
                    <a:gd name="T13" fmla="*/ 2147483646 h 27"/>
                    <a:gd name="T14" fmla="*/ 2147483646 w 46"/>
                    <a:gd name="T15" fmla="*/ 2147483646 h 27"/>
                    <a:gd name="T16" fmla="*/ 2147483646 w 46"/>
                    <a:gd name="T17" fmla="*/ 2147483646 h 27"/>
                    <a:gd name="T18" fmla="*/ 2147483646 w 46"/>
                    <a:gd name="T19" fmla="*/ 2147483646 h 27"/>
                    <a:gd name="T20" fmla="*/ 2147483646 w 46"/>
                    <a:gd name="T21" fmla="*/ 2147483646 h 27"/>
                    <a:gd name="T22" fmla="*/ 2147483646 w 46"/>
                    <a:gd name="T23" fmla="*/ 2147483646 h 27"/>
                    <a:gd name="T24" fmla="*/ 2147483646 w 46"/>
                    <a:gd name="T25" fmla="*/ 2147483646 h 27"/>
                    <a:gd name="T26" fmla="*/ 2147483646 w 46"/>
                    <a:gd name="T27" fmla="*/ 0 h 2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46"/>
                    <a:gd name="T43" fmla="*/ 0 h 27"/>
                    <a:gd name="T44" fmla="*/ 46 w 46"/>
                    <a:gd name="T45" fmla="*/ 27 h 2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46" h="27">
                      <a:moveTo>
                        <a:pt x="20" y="0"/>
                      </a:moveTo>
                      <a:lnTo>
                        <a:pt x="0" y="18"/>
                      </a:lnTo>
                      <a:lnTo>
                        <a:pt x="9" y="22"/>
                      </a:lnTo>
                      <a:lnTo>
                        <a:pt x="16" y="25"/>
                      </a:lnTo>
                      <a:lnTo>
                        <a:pt x="23" y="27"/>
                      </a:lnTo>
                      <a:lnTo>
                        <a:pt x="29" y="27"/>
                      </a:lnTo>
                      <a:lnTo>
                        <a:pt x="33" y="27"/>
                      </a:lnTo>
                      <a:lnTo>
                        <a:pt x="37" y="25"/>
                      </a:lnTo>
                      <a:lnTo>
                        <a:pt x="42" y="22"/>
                      </a:lnTo>
                      <a:lnTo>
                        <a:pt x="46" y="18"/>
                      </a:lnTo>
                      <a:lnTo>
                        <a:pt x="41" y="16"/>
                      </a:lnTo>
                      <a:lnTo>
                        <a:pt x="33" y="11"/>
                      </a:lnTo>
                      <a:lnTo>
                        <a:pt x="26" y="5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0" name="Freeform 200">
                  <a:extLst>
                    <a:ext uri="{FF2B5EF4-FFF2-40B4-BE49-F238E27FC236}">
                      <a16:creationId xmlns:a16="http://schemas.microsoft.com/office/drawing/2014/main" xmlns="" id="{102585CF-1AEB-43FC-8493-9A9834C92652}"/>
                    </a:ext>
                  </a:extLst>
                </p:cNvPr>
                <p:cNvSpPr>
                  <a:spLocks/>
                </p:cNvSpPr>
                <p:nvPr>
                  <p:custDataLst>
                    <p:tags r:id="rId127"/>
                  </p:custDataLst>
                </p:nvPr>
              </p:nvSpPr>
              <p:spPr bwMode="auto">
                <a:xfrm>
                  <a:off x="2471738" y="5353050"/>
                  <a:ext cx="25400" cy="60325"/>
                </a:xfrm>
                <a:custGeom>
                  <a:avLst/>
                  <a:gdLst>
                    <a:gd name="T0" fmla="*/ 2147483646 w 54"/>
                    <a:gd name="T1" fmla="*/ 0 h 39"/>
                    <a:gd name="T2" fmla="*/ 2147483646 w 54"/>
                    <a:gd name="T3" fmla="*/ 2147483646 h 39"/>
                    <a:gd name="T4" fmla="*/ 2147483646 w 54"/>
                    <a:gd name="T5" fmla="*/ 2147483646 h 39"/>
                    <a:gd name="T6" fmla="*/ 2147483646 w 54"/>
                    <a:gd name="T7" fmla="*/ 2147483646 h 39"/>
                    <a:gd name="T8" fmla="*/ 2147483646 w 54"/>
                    <a:gd name="T9" fmla="*/ 2147483646 h 39"/>
                    <a:gd name="T10" fmla="*/ 2147483646 w 54"/>
                    <a:gd name="T11" fmla="*/ 2147483646 h 39"/>
                    <a:gd name="T12" fmla="*/ 0 w 54"/>
                    <a:gd name="T13" fmla="*/ 2147483646 h 39"/>
                    <a:gd name="T14" fmla="*/ 2147483646 w 54"/>
                    <a:gd name="T15" fmla="*/ 2147483646 h 39"/>
                    <a:gd name="T16" fmla="*/ 2147483646 w 54"/>
                    <a:gd name="T17" fmla="*/ 2147483646 h 39"/>
                    <a:gd name="T18" fmla="*/ 2147483646 w 54"/>
                    <a:gd name="T19" fmla="*/ 2147483646 h 39"/>
                    <a:gd name="T20" fmla="*/ 2147483646 w 54"/>
                    <a:gd name="T21" fmla="*/ 2147483646 h 39"/>
                    <a:gd name="T22" fmla="*/ 2147483646 w 54"/>
                    <a:gd name="T23" fmla="*/ 2147483646 h 39"/>
                    <a:gd name="T24" fmla="*/ 2147483646 w 54"/>
                    <a:gd name="T25" fmla="*/ 2147483646 h 39"/>
                    <a:gd name="T26" fmla="*/ 2147483646 w 54"/>
                    <a:gd name="T27" fmla="*/ 2147483646 h 39"/>
                    <a:gd name="T28" fmla="*/ 2147483646 w 54"/>
                    <a:gd name="T29" fmla="*/ 2147483646 h 39"/>
                    <a:gd name="T30" fmla="*/ 2147483646 w 54"/>
                    <a:gd name="T31" fmla="*/ 2147483646 h 39"/>
                    <a:gd name="T32" fmla="*/ 2147483646 w 54"/>
                    <a:gd name="T33" fmla="*/ 2147483646 h 39"/>
                    <a:gd name="T34" fmla="*/ 2147483646 w 54"/>
                    <a:gd name="T35" fmla="*/ 2147483646 h 39"/>
                    <a:gd name="T36" fmla="*/ 2147483646 w 54"/>
                    <a:gd name="T37" fmla="*/ 2147483646 h 39"/>
                    <a:gd name="T38" fmla="*/ 2147483646 w 54"/>
                    <a:gd name="T39" fmla="*/ 2147483646 h 39"/>
                    <a:gd name="T40" fmla="*/ 2147483646 w 54"/>
                    <a:gd name="T41" fmla="*/ 2147483646 h 39"/>
                    <a:gd name="T42" fmla="*/ 2147483646 w 54"/>
                    <a:gd name="T43" fmla="*/ 2147483646 h 39"/>
                    <a:gd name="T44" fmla="*/ 2147483646 w 54"/>
                    <a:gd name="T45" fmla="*/ 2147483646 h 39"/>
                    <a:gd name="T46" fmla="*/ 2147483646 w 54"/>
                    <a:gd name="T47" fmla="*/ 2147483646 h 39"/>
                    <a:gd name="T48" fmla="*/ 2147483646 w 54"/>
                    <a:gd name="T49" fmla="*/ 2147483646 h 39"/>
                    <a:gd name="T50" fmla="*/ 2147483646 w 54"/>
                    <a:gd name="T51" fmla="*/ 2147483646 h 39"/>
                    <a:gd name="T52" fmla="*/ 2147483646 w 54"/>
                    <a:gd name="T53" fmla="*/ 2147483646 h 39"/>
                    <a:gd name="T54" fmla="*/ 2147483646 w 54"/>
                    <a:gd name="T55" fmla="*/ 2147483646 h 39"/>
                    <a:gd name="T56" fmla="*/ 2147483646 w 54"/>
                    <a:gd name="T57" fmla="*/ 2147483646 h 39"/>
                    <a:gd name="T58" fmla="*/ 2147483646 w 54"/>
                    <a:gd name="T59" fmla="*/ 2147483646 h 39"/>
                    <a:gd name="T60" fmla="*/ 2147483646 w 54"/>
                    <a:gd name="T61" fmla="*/ 0 h 39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54"/>
                    <a:gd name="T94" fmla="*/ 0 h 39"/>
                    <a:gd name="T95" fmla="*/ 54 w 54"/>
                    <a:gd name="T96" fmla="*/ 39 h 39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54" h="39">
                      <a:moveTo>
                        <a:pt x="34" y="0"/>
                      </a:moveTo>
                      <a:lnTo>
                        <a:pt x="20" y="4"/>
                      </a:lnTo>
                      <a:lnTo>
                        <a:pt x="10" y="10"/>
                      </a:lnTo>
                      <a:lnTo>
                        <a:pt x="6" y="13"/>
                      </a:lnTo>
                      <a:lnTo>
                        <a:pt x="4" y="16"/>
                      </a:lnTo>
                      <a:lnTo>
                        <a:pt x="2" y="20"/>
                      </a:lnTo>
                      <a:lnTo>
                        <a:pt x="0" y="24"/>
                      </a:lnTo>
                      <a:lnTo>
                        <a:pt x="2" y="28"/>
                      </a:lnTo>
                      <a:lnTo>
                        <a:pt x="3" y="32"/>
                      </a:lnTo>
                      <a:lnTo>
                        <a:pt x="5" y="35"/>
                      </a:lnTo>
                      <a:lnTo>
                        <a:pt x="8" y="37"/>
                      </a:lnTo>
                      <a:lnTo>
                        <a:pt x="11" y="38"/>
                      </a:lnTo>
                      <a:lnTo>
                        <a:pt x="16" y="39"/>
                      </a:lnTo>
                      <a:lnTo>
                        <a:pt x="20" y="39"/>
                      </a:lnTo>
                      <a:lnTo>
                        <a:pt x="25" y="39"/>
                      </a:lnTo>
                      <a:lnTo>
                        <a:pt x="30" y="38"/>
                      </a:lnTo>
                      <a:lnTo>
                        <a:pt x="34" y="37"/>
                      </a:lnTo>
                      <a:lnTo>
                        <a:pt x="39" y="35"/>
                      </a:lnTo>
                      <a:lnTo>
                        <a:pt x="43" y="33"/>
                      </a:lnTo>
                      <a:lnTo>
                        <a:pt x="47" y="30"/>
                      </a:lnTo>
                      <a:lnTo>
                        <a:pt x="50" y="26"/>
                      </a:lnTo>
                      <a:lnTo>
                        <a:pt x="52" y="22"/>
                      </a:lnTo>
                      <a:lnTo>
                        <a:pt x="54" y="18"/>
                      </a:lnTo>
                      <a:lnTo>
                        <a:pt x="51" y="17"/>
                      </a:lnTo>
                      <a:lnTo>
                        <a:pt x="48" y="16"/>
                      </a:lnTo>
                      <a:lnTo>
                        <a:pt x="44" y="14"/>
                      </a:lnTo>
                      <a:lnTo>
                        <a:pt x="42" y="11"/>
                      </a:lnTo>
                      <a:lnTo>
                        <a:pt x="39" y="8"/>
                      </a:lnTo>
                      <a:lnTo>
                        <a:pt x="37" y="5"/>
                      </a:lnTo>
                      <a:lnTo>
                        <a:pt x="34" y="2"/>
                      </a:lnTo>
                      <a:lnTo>
                        <a:pt x="34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1" name="Freeform 201">
                  <a:extLst>
                    <a:ext uri="{FF2B5EF4-FFF2-40B4-BE49-F238E27FC236}">
                      <a16:creationId xmlns:a16="http://schemas.microsoft.com/office/drawing/2014/main" xmlns="" id="{5D7ADAB2-9AC0-471B-8E84-D66FF6E1B7BF}"/>
                    </a:ext>
                  </a:extLst>
                </p:cNvPr>
                <p:cNvSpPr>
                  <a:spLocks/>
                </p:cNvSpPr>
                <p:nvPr>
                  <p:custDataLst>
                    <p:tags r:id="rId128"/>
                  </p:custDataLst>
                </p:nvPr>
              </p:nvSpPr>
              <p:spPr bwMode="auto">
                <a:xfrm>
                  <a:off x="2446338" y="5343525"/>
                  <a:ext cx="28575" cy="58738"/>
                </a:xfrm>
                <a:custGeom>
                  <a:avLst/>
                  <a:gdLst>
                    <a:gd name="T0" fmla="*/ 0 w 60"/>
                    <a:gd name="T1" fmla="*/ 2147483646 h 15"/>
                    <a:gd name="T2" fmla="*/ 2147483646 w 60"/>
                    <a:gd name="T3" fmla="*/ 2147483646 h 15"/>
                    <a:gd name="T4" fmla="*/ 2147483646 w 60"/>
                    <a:gd name="T5" fmla="*/ 2147483646 h 15"/>
                    <a:gd name="T6" fmla="*/ 2147483646 w 60"/>
                    <a:gd name="T7" fmla="*/ 2147483646 h 15"/>
                    <a:gd name="T8" fmla="*/ 2147483646 w 60"/>
                    <a:gd name="T9" fmla="*/ 2147483646 h 15"/>
                    <a:gd name="T10" fmla="*/ 2147483646 w 60"/>
                    <a:gd name="T11" fmla="*/ 2147483646 h 15"/>
                    <a:gd name="T12" fmla="*/ 2147483646 w 60"/>
                    <a:gd name="T13" fmla="*/ 2147483646 h 15"/>
                    <a:gd name="T14" fmla="*/ 2147483646 w 60"/>
                    <a:gd name="T15" fmla="*/ 2147483646 h 15"/>
                    <a:gd name="T16" fmla="*/ 2147483646 w 60"/>
                    <a:gd name="T17" fmla="*/ 2147483646 h 15"/>
                    <a:gd name="T18" fmla="*/ 2147483646 w 60"/>
                    <a:gd name="T19" fmla="*/ 2147483646 h 15"/>
                    <a:gd name="T20" fmla="*/ 2147483646 w 60"/>
                    <a:gd name="T21" fmla="*/ 0 h 15"/>
                    <a:gd name="T22" fmla="*/ 2147483646 w 60"/>
                    <a:gd name="T23" fmla="*/ 0 h 15"/>
                    <a:gd name="T24" fmla="*/ 2147483646 w 60"/>
                    <a:gd name="T25" fmla="*/ 0 h 15"/>
                    <a:gd name="T26" fmla="*/ 2147483646 w 60"/>
                    <a:gd name="T27" fmla="*/ 0 h 15"/>
                    <a:gd name="T28" fmla="*/ 2147483646 w 60"/>
                    <a:gd name="T29" fmla="*/ 2147483646 h 15"/>
                    <a:gd name="T30" fmla="*/ 2147483646 w 60"/>
                    <a:gd name="T31" fmla="*/ 2147483646 h 15"/>
                    <a:gd name="T32" fmla="*/ 2147483646 w 60"/>
                    <a:gd name="T33" fmla="*/ 2147483646 h 15"/>
                    <a:gd name="T34" fmla="*/ 2147483646 w 60"/>
                    <a:gd name="T35" fmla="*/ 2147483646 h 15"/>
                    <a:gd name="T36" fmla="*/ 0 w 60"/>
                    <a:gd name="T37" fmla="*/ 2147483646 h 15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60"/>
                    <a:gd name="T58" fmla="*/ 0 h 15"/>
                    <a:gd name="T59" fmla="*/ 60 w 60"/>
                    <a:gd name="T60" fmla="*/ 15 h 15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60" h="15">
                      <a:moveTo>
                        <a:pt x="0" y="11"/>
                      </a:moveTo>
                      <a:lnTo>
                        <a:pt x="10" y="13"/>
                      </a:lnTo>
                      <a:lnTo>
                        <a:pt x="18" y="14"/>
                      </a:lnTo>
                      <a:lnTo>
                        <a:pt x="27" y="15"/>
                      </a:lnTo>
                      <a:lnTo>
                        <a:pt x="35" y="15"/>
                      </a:lnTo>
                      <a:lnTo>
                        <a:pt x="41" y="14"/>
                      </a:lnTo>
                      <a:lnTo>
                        <a:pt x="48" y="12"/>
                      </a:lnTo>
                      <a:lnTo>
                        <a:pt x="55" y="9"/>
                      </a:lnTo>
                      <a:lnTo>
                        <a:pt x="60" y="5"/>
                      </a:lnTo>
                      <a:lnTo>
                        <a:pt x="57" y="3"/>
                      </a:lnTo>
                      <a:lnTo>
                        <a:pt x="54" y="0"/>
                      </a:lnTo>
                      <a:lnTo>
                        <a:pt x="51" y="0"/>
                      </a:lnTo>
                      <a:lnTo>
                        <a:pt x="47" y="0"/>
                      </a:lnTo>
                      <a:lnTo>
                        <a:pt x="40" y="0"/>
                      </a:lnTo>
                      <a:lnTo>
                        <a:pt x="33" y="3"/>
                      </a:lnTo>
                      <a:lnTo>
                        <a:pt x="24" y="6"/>
                      </a:lnTo>
                      <a:lnTo>
                        <a:pt x="16" y="8"/>
                      </a:lnTo>
                      <a:lnTo>
                        <a:pt x="7" y="10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2" name="Freeform 202">
                  <a:extLst>
                    <a:ext uri="{FF2B5EF4-FFF2-40B4-BE49-F238E27FC236}">
                      <a16:creationId xmlns:a16="http://schemas.microsoft.com/office/drawing/2014/main" xmlns="" id="{B7092923-55F2-4A81-B3E6-B035ACED75AD}"/>
                    </a:ext>
                  </a:extLst>
                </p:cNvPr>
                <p:cNvSpPr>
                  <a:spLocks/>
                </p:cNvSpPr>
                <p:nvPr>
                  <p:custDataLst>
                    <p:tags r:id="rId129"/>
                  </p:custDataLst>
                </p:nvPr>
              </p:nvSpPr>
              <p:spPr bwMode="auto">
                <a:xfrm>
                  <a:off x="2422525" y="5330825"/>
                  <a:ext cx="33338" cy="57150"/>
                </a:xfrm>
                <a:custGeom>
                  <a:avLst/>
                  <a:gdLst>
                    <a:gd name="T0" fmla="*/ 2147483646 w 79"/>
                    <a:gd name="T1" fmla="*/ 0 h 32"/>
                    <a:gd name="T2" fmla="*/ 2147483646 w 79"/>
                    <a:gd name="T3" fmla="*/ 2147483646 h 32"/>
                    <a:gd name="T4" fmla="*/ 2147483646 w 79"/>
                    <a:gd name="T5" fmla="*/ 2147483646 h 32"/>
                    <a:gd name="T6" fmla="*/ 2147483646 w 79"/>
                    <a:gd name="T7" fmla="*/ 2147483646 h 32"/>
                    <a:gd name="T8" fmla="*/ 2147483646 w 79"/>
                    <a:gd name="T9" fmla="*/ 2147483646 h 32"/>
                    <a:gd name="T10" fmla="*/ 2147483646 w 79"/>
                    <a:gd name="T11" fmla="*/ 2147483646 h 32"/>
                    <a:gd name="T12" fmla="*/ 2147483646 w 79"/>
                    <a:gd name="T13" fmla="*/ 2147483646 h 32"/>
                    <a:gd name="T14" fmla="*/ 2147483646 w 79"/>
                    <a:gd name="T15" fmla="*/ 2147483646 h 32"/>
                    <a:gd name="T16" fmla="*/ 0 w 79"/>
                    <a:gd name="T17" fmla="*/ 2147483646 h 32"/>
                    <a:gd name="T18" fmla="*/ 2147483646 w 79"/>
                    <a:gd name="T19" fmla="*/ 2147483646 h 32"/>
                    <a:gd name="T20" fmla="*/ 2147483646 w 79"/>
                    <a:gd name="T21" fmla="*/ 2147483646 h 32"/>
                    <a:gd name="T22" fmla="*/ 2147483646 w 79"/>
                    <a:gd name="T23" fmla="*/ 2147483646 h 32"/>
                    <a:gd name="T24" fmla="*/ 2147483646 w 79"/>
                    <a:gd name="T25" fmla="*/ 2147483646 h 32"/>
                    <a:gd name="T26" fmla="*/ 2147483646 w 79"/>
                    <a:gd name="T27" fmla="*/ 2147483646 h 32"/>
                    <a:gd name="T28" fmla="*/ 2147483646 w 79"/>
                    <a:gd name="T29" fmla="*/ 2147483646 h 32"/>
                    <a:gd name="T30" fmla="*/ 2147483646 w 79"/>
                    <a:gd name="T31" fmla="*/ 2147483646 h 32"/>
                    <a:gd name="T32" fmla="*/ 2147483646 w 79"/>
                    <a:gd name="T33" fmla="*/ 2147483646 h 32"/>
                    <a:gd name="T34" fmla="*/ 2147483646 w 79"/>
                    <a:gd name="T35" fmla="*/ 2147483646 h 32"/>
                    <a:gd name="T36" fmla="*/ 2147483646 w 79"/>
                    <a:gd name="T37" fmla="*/ 2147483646 h 32"/>
                    <a:gd name="T38" fmla="*/ 2147483646 w 79"/>
                    <a:gd name="T39" fmla="*/ 2147483646 h 32"/>
                    <a:gd name="T40" fmla="*/ 2147483646 w 79"/>
                    <a:gd name="T41" fmla="*/ 2147483646 h 32"/>
                    <a:gd name="T42" fmla="*/ 2147483646 w 79"/>
                    <a:gd name="T43" fmla="*/ 2147483646 h 32"/>
                    <a:gd name="T44" fmla="*/ 2147483646 w 79"/>
                    <a:gd name="T45" fmla="*/ 2147483646 h 32"/>
                    <a:gd name="T46" fmla="*/ 2147483646 w 79"/>
                    <a:gd name="T47" fmla="*/ 2147483646 h 32"/>
                    <a:gd name="T48" fmla="*/ 2147483646 w 79"/>
                    <a:gd name="T49" fmla="*/ 0 h 3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9"/>
                    <a:gd name="T76" fmla="*/ 0 h 32"/>
                    <a:gd name="T77" fmla="*/ 79 w 79"/>
                    <a:gd name="T78" fmla="*/ 32 h 32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9" h="32">
                      <a:moveTo>
                        <a:pt x="40" y="0"/>
                      </a:moveTo>
                      <a:lnTo>
                        <a:pt x="34" y="1"/>
                      </a:lnTo>
                      <a:lnTo>
                        <a:pt x="30" y="2"/>
                      </a:lnTo>
                      <a:lnTo>
                        <a:pt x="25" y="4"/>
                      </a:lnTo>
                      <a:lnTo>
                        <a:pt x="20" y="6"/>
                      </a:lnTo>
                      <a:lnTo>
                        <a:pt x="15" y="9"/>
                      </a:lnTo>
                      <a:lnTo>
                        <a:pt x="10" y="11"/>
                      </a:lnTo>
                      <a:lnTo>
                        <a:pt x="5" y="12"/>
                      </a:lnTo>
                      <a:lnTo>
                        <a:pt x="0" y="13"/>
                      </a:lnTo>
                      <a:lnTo>
                        <a:pt x="5" y="21"/>
                      </a:lnTo>
                      <a:lnTo>
                        <a:pt x="10" y="26"/>
                      </a:lnTo>
                      <a:lnTo>
                        <a:pt x="12" y="29"/>
                      </a:lnTo>
                      <a:lnTo>
                        <a:pt x="15" y="31"/>
                      </a:lnTo>
                      <a:lnTo>
                        <a:pt x="18" y="31"/>
                      </a:lnTo>
                      <a:lnTo>
                        <a:pt x="20" y="32"/>
                      </a:lnTo>
                      <a:lnTo>
                        <a:pt x="27" y="31"/>
                      </a:lnTo>
                      <a:lnTo>
                        <a:pt x="34" y="30"/>
                      </a:lnTo>
                      <a:lnTo>
                        <a:pt x="41" y="27"/>
                      </a:lnTo>
                      <a:lnTo>
                        <a:pt x="48" y="24"/>
                      </a:lnTo>
                      <a:lnTo>
                        <a:pt x="62" y="18"/>
                      </a:lnTo>
                      <a:lnTo>
                        <a:pt x="79" y="13"/>
                      </a:lnTo>
                      <a:lnTo>
                        <a:pt x="67" y="6"/>
                      </a:lnTo>
                      <a:lnTo>
                        <a:pt x="58" y="2"/>
                      </a:lnTo>
                      <a:lnTo>
                        <a:pt x="49" y="1"/>
                      </a:lnTo>
                      <a:lnTo>
                        <a:pt x="4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3" name="Freeform 203">
                  <a:extLst>
                    <a:ext uri="{FF2B5EF4-FFF2-40B4-BE49-F238E27FC236}">
                      <a16:creationId xmlns:a16="http://schemas.microsoft.com/office/drawing/2014/main" xmlns="" id="{9FED6482-0635-4E9F-A243-537CE4899473}"/>
                    </a:ext>
                  </a:extLst>
                </p:cNvPr>
                <p:cNvSpPr>
                  <a:spLocks/>
                </p:cNvSpPr>
                <p:nvPr>
                  <p:custDataLst>
                    <p:tags r:id="rId130"/>
                  </p:custDataLst>
                </p:nvPr>
              </p:nvSpPr>
              <p:spPr bwMode="auto">
                <a:xfrm>
                  <a:off x="2416175" y="5311775"/>
                  <a:ext cx="30163" cy="57150"/>
                </a:xfrm>
                <a:custGeom>
                  <a:avLst/>
                  <a:gdLst>
                    <a:gd name="T0" fmla="*/ 2147483646 w 66"/>
                    <a:gd name="T1" fmla="*/ 0 h 19"/>
                    <a:gd name="T2" fmla="*/ 2147483646 w 66"/>
                    <a:gd name="T3" fmla="*/ 2147483646 h 19"/>
                    <a:gd name="T4" fmla="*/ 2147483646 w 66"/>
                    <a:gd name="T5" fmla="*/ 2147483646 h 19"/>
                    <a:gd name="T6" fmla="*/ 2147483646 w 66"/>
                    <a:gd name="T7" fmla="*/ 2147483646 h 19"/>
                    <a:gd name="T8" fmla="*/ 2147483646 w 66"/>
                    <a:gd name="T9" fmla="*/ 2147483646 h 19"/>
                    <a:gd name="T10" fmla="*/ 2147483646 w 66"/>
                    <a:gd name="T11" fmla="*/ 2147483646 h 19"/>
                    <a:gd name="T12" fmla="*/ 2147483646 w 66"/>
                    <a:gd name="T13" fmla="*/ 2147483646 h 19"/>
                    <a:gd name="T14" fmla="*/ 0 w 66"/>
                    <a:gd name="T15" fmla="*/ 2147483646 h 19"/>
                    <a:gd name="T16" fmla="*/ 0 w 66"/>
                    <a:gd name="T17" fmla="*/ 2147483646 h 19"/>
                    <a:gd name="T18" fmla="*/ 2147483646 w 66"/>
                    <a:gd name="T19" fmla="*/ 2147483646 h 19"/>
                    <a:gd name="T20" fmla="*/ 2147483646 w 66"/>
                    <a:gd name="T21" fmla="*/ 2147483646 h 19"/>
                    <a:gd name="T22" fmla="*/ 2147483646 w 66"/>
                    <a:gd name="T23" fmla="*/ 2147483646 h 19"/>
                    <a:gd name="T24" fmla="*/ 2147483646 w 66"/>
                    <a:gd name="T25" fmla="*/ 2147483646 h 19"/>
                    <a:gd name="T26" fmla="*/ 2147483646 w 66"/>
                    <a:gd name="T27" fmla="*/ 2147483646 h 19"/>
                    <a:gd name="T28" fmla="*/ 2147483646 w 66"/>
                    <a:gd name="T29" fmla="*/ 2147483646 h 19"/>
                    <a:gd name="T30" fmla="*/ 2147483646 w 66"/>
                    <a:gd name="T31" fmla="*/ 2147483646 h 19"/>
                    <a:gd name="T32" fmla="*/ 2147483646 w 66"/>
                    <a:gd name="T33" fmla="*/ 2147483646 h 19"/>
                    <a:gd name="T34" fmla="*/ 2147483646 w 66"/>
                    <a:gd name="T35" fmla="*/ 2147483646 h 19"/>
                    <a:gd name="T36" fmla="*/ 2147483646 w 66"/>
                    <a:gd name="T37" fmla="*/ 0 h 1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66"/>
                    <a:gd name="T58" fmla="*/ 0 h 19"/>
                    <a:gd name="T59" fmla="*/ 66 w 66"/>
                    <a:gd name="T60" fmla="*/ 19 h 1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66" h="19">
                      <a:moveTo>
                        <a:pt x="33" y="0"/>
                      </a:moveTo>
                      <a:lnTo>
                        <a:pt x="25" y="1"/>
                      </a:lnTo>
                      <a:lnTo>
                        <a:pt x="19" y="2"/>
                      </a:lnTo>
                      <a:lnTo>
                        <a:pt x="13" y="4"/>
                      </a:lnTo>
                      <a:lnTo>
                        <a:pt x="9" y="7"/>
                      </a:lnTo>
                      <a:lnTo>
                        <a:pt x="5" y="11"/>
                      </a:lnTo>
                      <a:lnTo>
                        <a:pt x="2" y="14"/>
                      </a:lnTo>
                      <a:lnTo>
                        <a:pt x="0" y="17"/>
                      </a:lnTo>
                      <a:lnTo>
                        <a:pt x="0" y="19"/>
                      </a:lnTo>
                      <a:lnTo>
                        <a:pt x="19" y="19"/>
                      </a:lnTo>
                      <a:lnTo>
                        <a:pt x="38" y="19"/>
                      </a:lnTo>
                      <a:lnTo>
                        <a:pt x="46" y="18"/>
                      </a:lnTo>
                      <a:lnTo>
                        <a:pt x="54" y="17"/>
                      </a:lnTo>
                      <a:lnTo>
                        <a:pt x="61" y="15"/>
                      </a:lnTo>
                      <a:lnTo>
                        <a:pt x="66" y="13"/>
                      </a:lnTo>
                      <a:lnTo>
                        <a:pt x="57" y="8"/>
                      </a:lnTo>
                      <a:lnTo>
                        <a:pt x="50" y="4"/>
                      </a:lnTo>
                      <a:lnTo>
                        <a:pt x="42" y="1"/>
                      </a:lnTo>
                      <a:lnTo>
                        <a:pt x="3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4" name="Freeform 204">
                  <a:extLst>
                    <a:ext uri="{FF2B5EF4-FFF2-40B4-BE49-F238E27FC236}">
                      <a16:creationId xmlns:a16="http://schemas.microsoft.com/office/drawing/2014/main" xmlns="" id="{84EED1F5-BB90-4083-A149-963131FFF2B3}"/>
                    </a:ext>
                  </a:extLst>
                </p:cNvPr>
                <p:cNvSpPr>
                  <a:spLocks/>
                </p:cNvSpPr>
                <p:nvPr>
                  <p:custDataLst>
                    <p:tags r:id="rId131"/>
                  </p:custDataLst>
                </p:nvPr>
              </p:nvSpPr>
              <p:spPr bwMode="auto">
                <a:xfrm>
                  <a:off x="2316163" y="5002213"/>
                  <a:ext cx="25400" cy="60325"/>
                </a:xfrm>
                <a:custGeom>
                  <a:avLst/>
                  <a:gdLst>
                    <a:gd name="T0" fmla="*/ 2147483646 w 53"/>
                    <a:gd name="T1" fmla="*/ 0 h 80"/>
                    <a:gd name="T2" fmla="*/ 2147483646 w 53"/>
                    <a:gd name="T3" fmla="*/ 2147483646 h 80"/>
                    <a:gd name="T4" fmla="*/ 2147483646 w 53"/>
                    <a:gd name="T5" fmla="*/ 2147483646 h 80"/>
                    <a:gd name="T6" fmla="*/ 2147483646 w 53"/>
                    <a:gd name="T7" fmla="*/ 2147483646 h 80"/>
                    <a:gd name="T8" fmla="*/ 2147483646 w 53"/>
                    <a:gd name="T9" fmla="*/ 2147483646 h 80"/>
                    <a:gd name="T10" fmla="*/ 0 w 53"/>
                    <a:gd name="T11" fmla="*/ 2147483646 h 80"/>
                    <a:gd name="T12" fmla="*/ 0 w 53"/>
                    <a:gd name="T13" fmla="*/ 2147483646 h 80"/>
                    <a:gd name="T14" fmla="*/ 0 w 53"/>
                    <a:gd name="T15" fmla="*/ 2147483646 h 80"/>
                    <a:gd name="T16" fmla="*/ 2147483646 w 53"/>
                    <a:gd name="T17" fmla="*/ 2147483646 h 80"/>
                    <a:gd name="T18" fmla="*/ 2147483646 w 53"/>
                    <a:gd name="T19" fmla="*/ 2147483646 h 80"/>
                    <a:gd name="T20" fmla="*/ 2147483646 w 53"/>
                    <a:gd name="T21" fmla="*/ 2147483646 h 80"/>
                    <a:gd name="T22" fmla="*/ 2147483646 w 53"/>
                    <a:gd name="T23" fmla="*/ 2147483646 h 80"/>
                    <a:gd name="T24" fmla="*/ 2147483646 w 53"/>
                    <a:gd name="T25" fmla="*/ 2147483646 h 80"/>
                    <a:gd name="T26" fmla="*/ 2147483646 w 53"/>
                    <a:gd name="T27" fmla="*/ 2147483646 h 80"/>
                    <a:gd name="T28" fmla="*/ 2147483646 w 53"/>
                    <a:gd name="T29" fmla="*/ 2147483646 h 80"/>
                    <a:gd name="T30" fmla="*/ 2147483646 w 53"/>
                    <a:gd name="T31" fmla="*/ 2147483646 h 80"/>
                    <a:gd name="T32" fmla="*/ 2147483646 w 53"/>
                    <a:gd name="T33" fmla="*/ 2147483646 h 80"/>
                    <a:gd name="T34" fmla="*/ 2147483646 w 53"/>
                    <a:gd name="T35" fmla="*/ 2147483646 h 80"/>
                    <a:gd name="T36" fmla="*/ 2147483646 w 53"/>
                    <a:gd name="T37" fmla="*/ 2147483646 h 80"/>
                    <a:gd name="T38" fmla="*/ 2147483646 w 53"/>
                    <a:gd name="T39" fmla="*/ 2147483646 h 80"/>
                    <a:gd name="T40" fmla="*/ 2147483646 w 53"/>
                    <a:gd name="T41" fmla="*/ 2147483646 h 80"/>
                    <a:gd name="T42" fmla="*/ 2147483646 w 53"/>
                    <a:gd name="T43" fmla="*/ 2147483646 h 80"/>
                    <a:gd name="T44" fmla="*/ 2147483646 w 53"/>
                    <a:gd name="T45" fmla="*/ 2147483646 h 80"/>
                    <a:gd name="T46" fmla="*/ 2147483646 w 53"/>
                    <a:gd name="T47" fmla="*/ 2147483646 h 80"/>
                    <a:gd name="T48" fmla="*/ 2147483646 w 53"/>
                    <a:gd name="T49" fmla="*/ 2147483646 h 80"/>
                    <a:gd name="T50" fmla="*/ 2147483646 w 53"/>
                    <a:gd name="T51" fmla="*/ 2147483646 h 80"/>
                    <a:gd name="T52" fmla="*/ 2147483646 w 53"/>
                    <a:gd name="T53" fmla="*/ 2147483646 h 80"/>
                    <a:gd name="T54" fmla="*/ 2147483646 w 53"/>
                    <a:gd name="T55" fmla="*/ 2147483646 h 80"/>
                    <a:gd name="T56" fmla="*/ 2147483646 w 53"/>
                    <a:gd name="T57" fmla="*/ 2147483646 h 80"/>
                    <a:gd name="T58" fmla="*/ 2147483646 w 53"/>
                    <a:gd name="T59" fmla="*/ 2147483646 h 80"/>
                    <a:gd name="T60" fmla="*/ 2147483646 w 53"/>
                    <a:gd name="T61" fmla="*/ 2147483646 h 80"/>
                    <a:gd name="T62" fmla="*/ 2147483646 w 53"/>
                    <a:gd name="T63" fmla="*/ 2147483646 h 80"/>
                    <a:gd name="T64" fmla="*/ 2147483646 w 53"/>
                    <a:gd name="T65" fmla="*/ 2147483646 h 80"/>
                    <a:gd name="T66" fmla="*/ 2147483646 w 53"/>
                    <a:gd name="T67" fmla="*/ 2147483646 h 80"/>
                    <a:gd name="T68" fmla="*/ 2147483646 w 53"/>
                    <a:gd name="T69" fmla="*/ 2147483646 h 80"/>
                    <a:gd name="T70" fmla="*/ 2147483646 w 53"/>
                    <a:gd name="T71" fmla="*/ 2147483646 h 80"/>
                    <a:gd name="T72" fmla="*/ 2147483646 w 53"/>
                    <a:gd name="T73" fmla="*/ 2147483646 h 80"/>
                    <a:gd name="T74" fmla="*/ 2147483646 w 53"/>
                    <a:gd name="T75" fmla="*/ 2147483646 h 80"/>
                    <a:gd name="T76" fmla="*/ 2147483646 w 53"/>
                    <a:gd name="T77" fmla="*/ 0 h 80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53"/>
                    <a:gd name="T118" fmla="*/ 0 h 80"/>
                    <a:gd name="T119" fmla="*/ 53 w 53"/>
                    <a:gd name="T120" fmla="*/ 80 h 80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53" h="80">
                      <a:moveTo>
                        <a:pt x="13" y="0"/>
                      </a:moveTo>
                      <a:lnTo>
                        <a:pt x="8" y="5"/>
                      </a:lnTo>
                      <a:lnTo>
                        <a:pt x="4" y="10"/>
                      </a:lnTo>
                      <a:lnTo>
                        <a:pt x="2" y="13"/>
                      </a:lnTo>
                      <a:lnTo>
                        <a:pt x="1" y="16"/>
                      </a:lnTo>
                      <a:lnTo>
                        <a:pt x="0" y="20"/>
                      </a:lnTo>
                      <a:lnTo>
                        <a:pt x="0" y="25"/>
                      </a:lnTo>
                      <a:lnTo>
                        <a:pt x="0" y="30"/>
                      </a:lnTo>
                      <a:lnTo>
                        <a:pt x="2" y="39"/>
                      </a:lnTo>
                      <a:lnTo>
                        <a:pt x="6" y="48"/>
                      </a:lnTo>
                      <a:lnTo>
                        <a:pt x="9" y="57"/>
                      </a:lnTo>
                      <a:lnTo>
                        <a:pt x="13" y="66"/>
                      </a:lnTo>
                      <a:lnTo>
                        <a:pt x="20" y="73"/>
                      </a:lnTo>
                      <a:lnTo>
                        <a:pt x="22" y="76"/>
                      </a:lnTo>
                      <a:lnTo>
                        <a:pt x="26" y="78"/>
                      </a:lnTo>
                      <a:lnTo>
                        <a:pt x="30" y="80"/>
                      </a:lnTo>
                      <a:lnTo>
                        <a:pt x="33" y="80"/>
                      </a:lnTo>
                      <a:lnTo>
                        <a:pt x="36" y="79"/>
                      </a:lnTo>
                      <a:lnTo>
                        <a:pt x="38" y="78"/>
                      </a:lnTo>
                      <a:lnTo>
                        <a:pt x="42" y="76"/>
                      </a:lnTo>
                      <a:lnTo>
                        <a:pt x="45" y="73"/>
                      </a:lnTo>
                      <a:lnTo>
                        <a:pt x="48" y="70"/>
                      </a:lnTo>
                      <a:lnTo>
                        <a:pt x="51" y="67"/>
                      </a:lnTo>
                      <a:lnTo>
                        <a:pt x="53" y="64"/>
                      </a:lnTo>
                      <a:lnTo>
                        <a:pt x="53" y="62"/>
                      </a:lnTo>
                      <a:lnTo>
                        <a:pt x="52" y="54"/>
                      </a:lnTo>
                      <a:lnTo>
                        <a:pt x="49" y="47"/>
                      </a:lnTo>
                      <a:lnTo>
                        <a:pt x="46" y="42"/>
                      </a:lnTo>
                      <a:lnTo>
                        <a:pt x="43" y="37"/>
                      </a:lnTo>
                      <a:lnTo>
                        <a:pt x="40" y="32"/>
                      </a:lnTo>
                      <a:lnTo>
                        <a:pt x="36" y="27"/>
                      </a:lnTo>
                      <a:lnTo>
                        <a:pt x="34" y="20"/>
                      </a:lnTo>
                      <a:lnTo>
                        <a:pt x="33" y="12"/>
                      </a:lnTo>
                      <a:lnTo>
                        <a:pt x="33" y="10"/>
                      </a:lnTo>
                      <a:lnTo>
                        <a:pt x="31" y="8"/>
                      </a:lnTo>
                      <a:lnTo>
                        <a:pt x="29" y="6"/>
                      </a:lnTo>
                      <a:lnTo>
                        <a:pt x="25" y="4"/>
                      </a:lnTo>
                      <a:lnTo>
                        <a:pt x="19" y="1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5" name="Freeform 205">
                  <a:extLst>
                    <a:ext uri="{FF2B5EF4-FFF2-40B4-BE49-F238E27FC236}">
                      <a16:creationId xmlns:a16="http://schemas.microsoft.com/office/drawing/2014/main" xmlns="" id="{F9521FB4-B06A-4395-B2B0-691B85BA925A}"/>
                    </a:ext>
                  </a:extLst>
                </p:cNvPr>
                <p:cNvSpPr>
                  <a:spLocks/>
                </p:cNvSpPr>
                <p:nvPr>
                  <p:custDataLst>
                    <p:tags r:id="rId132"/>
                  </p:custDataLst>
                </p:nvPr>
              </p:nvSpPr>
              <p:spPr bwMode="auto">
                <a:xfrm>
                  <a:off x="2346325" y="5097463"/>
                  <a:ext cx="17463" cy="53975"/>
                </a:xfrm>
                <a:custGeom>
                  <a:avLst/>
                  <a:gdLst>
                    <a:gd name="T0" fmla="*/ 0 w 41"/>
                    <a:gd name="T1" fmla="*/ 2147483646 h 43"/>
                    <a:gd name="T2" fmla="*/ 2147483646 w 41"/>
                    <a:gd name="T3" fmla="*/ 2147483646 h 43"/>
                    <a:gd name="T4" fmla="*/ 2147483646 w 41"/>
                    <a:gd name="T5" fmla="*/ 2147483646 h 43"/>
                    <a:gd name="T6" fmla="*/ 2147483646 w 41"/>
                    <a:gd name="T7" fmla="*/ 2147483646 h 43"/>
                    <a:gd name="T8" fmla="*/ 2147483646 w 41"/>
                    <a:gd name="T9" fmla="*/ 0 h 43"/>
                    <a:gd name="T10" fmla="*/ 2147483646 w 41"/>
                    <a:gd name="T11" fmla="*/ 2147483646 h 43"/>
                    <a:gd name="T12" fmla="*/ 2147483646 w 41"/>
                    <a:gd name="T13" fmla="*/ 2147483646 h 43"/>
                    <a:gd name="T14" fmla="*/ 2147483646 w 41"/>
                    <a:gd name="T15" fmla="*/ 2147483646 h 43"/>
                    <a:gd name="T16" fmla="*/ 2147483646 w 41"/>
                    <a:gd name="T17" fmla="*/ 2147483646 h 43"/>
                    <a:gd name="T18" fmla="*/ 2147483646 w 41"/>
                    <a:gd name="T19" fmla="*/ 2147483646 h 43"/>
                    <a:gd name="T20" fmla="*/ 2147483646 w 41"/>
                    <a:gd name="T21" fmla="*/ 2147483646 h 43"/>
                    <a:gd name="T22" fmla="*/ 2147483646 w 41"/>
                    <a:gd name="T23" fmla="*/ 2147483646 h 43"/>
                    <a:gd name="T24" fmla="*/ 0 w 41"/>
                    <a:gd name="T25" fmla="*/ 2147483646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1"/>
                    <a:gd name="T40" fmla="*/ 0 h 43"/>
                    <a:gd name="T41" fmla="*/ 41 w 41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1" h="43">
                      <a:moveTo>
                        <a:pt x="0" y="43"/>
                      </a:moveTo>
                      <a:lnTo>
                        <a:pt x="27" y="43"/>
                      </a:lnTo>
                      <a:lnTo>
                        <a:pt x="41" y="24"/>
                      </a:lnTo>
                      <a:lnTo>
                        <a:pt x="38" y="12"/>
                      </a:lnTo>
                      <a:lnTo>
                        <a:pt x="34" y="0"/>
                      </a:lnTo>
                      <a:lnTo>
                        <a:pt x="27" y="4"/>
                      </a:lnTo>
                      <a:lnTo>
                        <a:pt x="20" y="9"/>
                      </a:lnTo>
                      <a:lnTo>
                        <a:pt x="15" y="14"/>
                      </a:lnTo>
                      <a:lnTo>
                        <a:pt x="10" y="19"/>
                      </a:lnTo>
                      <a:lnTo>
                        <a:pt x="6" y="24"/>
                      </a:lnTo>
                      <a:lnTo>
                        <a:pt x="3" y="30"/>
                      </a:lnTo>
                      <a:lnTo>
                        <a:pt x="1" y="37"/>
                      </a:lnTo>
                      <a:lnTo>
                        <a:pt x="0" y="4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6" name="Freeform 206">
                  <a:extLst>
                    <a:ext uri="{FF2B5EF4-FFF2-40B4-BE49-F238E27FC236}">
                      <a16:creationId xmlns:a16="http://schemas.microsoft.com/office/drawing/2014/main" xmlns="" id="{F031966E-D056-4609-88A2-03152ED8FB06}"/>
                    </a:ext>
                  </a:extLst>
                </p:cNvPr>
                <p:cNvSpPr>
                  <a:spLocks/>
                </p:cNvSpPr>
                <p:nvPr>
                  <p:custDataLst>
                    <p:tags r:id="rId133"/>
                  </p:custDataLst>
                </p:nvPr>
              </p:nvSpPr>
              <p:spPr bwMode="auto">
                <a:xfrm>
                  <a:off x="2351088" y="5119688"/>
                  <a:ext cx="7937" cy="58737"/>
                </a:xfrm>
                <a:custGeom>
                  <a:avLst/>
                  <a:gdLst>
                    <a:gd name="T0" fmla="*/ 2147483646 w 20"/>
                    <a:gd name="T1" fmla="*/ 0 h 24"/>
                    <a:gd name="T2" fmla="*/ 0 w 20"/>
                    <a:gd name="T3" fmla="*/ 0 h 24"/>
                    <a:gd name="T4" fmla="*/ 2147483646 w 20"/>
                    <a:gd name="T5" fmla="*/ 2147483646 h 24"/>
                    <a:gd name="T6" fmla="*/ 2147483646 w 20"/>
                    <a:gd name="T7" fmla="*/ 2147483646 h 24"/>
                    <a:gd name="T8" fmla="*/ 2147483646 w 20"/>
                    <a:gd name="T9" fmla="*/ 2147483646 h 24"/>
                    <a:gd name="T10" fmla="*/ 2147483646 w 20"/>
                    <a:gd name="T11" fmla="*/ 2147483646 h 24"/>
                    <a:gd name="T12" fmla="*/ 2147483646 w 20"/>
                    <a:gd name="T13" fmla="*/ 2147483646 h 24"/>
                    <a:gd name="T14" fmla="*/ 2147483646 w 20"/>
                    <a:gd name="T15" fmla="*/ 2147483646 h 24"/>
                    <a:gd name="T16" fmla="*/ 2147483646 w 20"/>
                    <a:gd name="T17" fmla="*/ 2147483646 h 24"/>
                    <a:gd name="T18" fmla="*/ 2147483646 w 20"/>
                    <a:gd name="T19" fmla="*/ 2147483646 h 24"/>
                    <a:gd name="T20" fmla="*/ 2147483646 w 20"/>
                    <a:gd name="T21" fmla="*/ 0 h 2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"/>
                    <a:gd name="T34" fmla="*/ 0 h 24"/>
                    <a:gd name="T35" fmla="*/ 20 w 20"/>
                    <a:gd name="T36" fmla="*/ 24 h 2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" h="24">
                      <a:moveTo>
                        <a:pt x="20" y="0"/>
                      </a:moveTo>
                      <a:lnTo>
                        <a:pt x="0" y="0"/>
                      </a:lnTo>
                      <a:lnTo>
                        <a:pt x="1" y="5"/>
                      </a:lnTo>
                      <a:lnTo>
                        <a:pt x="2" y="9"/>
                      </a:lnTo>
                      <a:lnTo>
                        <a:pt x="4" y="13"/>
                      </a:lnTo>
                      <a:lnTo>
                        <a:pt x="7" y="17"/>
                      </a:lnTo>
                      <a:lnTo>
                        <a:pt x="10" y="20"/>
                      </a:lnTo>
                      <a:lnTo>
                        <a:pt x="14" y="22"/>
                      </a:lnTo>
                      <a:lnTo>
                        <a:pt x="17" y="24"/>
                      </a:lnTo>
                      <a:lnTo>
                        <a:pt x="20" y="24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7" name="Freeform 207">
                  <a:extLst>
                    <a:ext uri="{FF2B5EF4-FFF2-40B4-BE49-F238E27FC236}">
                      <a16:creationId xmlns:a16="http://schemas.microsoft.com/office/drawing/2014/main" xmlns="" id="{74DC0306-5E00-4AE8-B84D-511F6098E99D}"/>
                    </a:ext>
                  </a:extLst>
                </p:cNvPr>
                <p:cNvSpPr>
                  <a:spLocks/>
                </p:cNvSpPr>
                <p:nvPr>
                  <p:custDataLst>
                    <p:tags r:id="rId134"/>
                  </p:custDataLst>
                </p:nvPr>
              </p:nvSpPr>
              <p:spPr bwMode="auto">
                <a:xfrm>
                  <a:off x="2365375" y="5181600"/>
                  <a:ext cx="17463" cy="60325"/>
                </a:xfrm>
                <a:custGeom>
                  <a:avLst/>
                  <a:gdLst>
                    <a:gd name="T0" fmla="*/ 0 w 39"/>
                    <a:gd name="T1" fmla="*/ 2147483646 h 43"/>
                    <a:gd name="T2" fmla="*/ 2147483646 w 39"/>
                    <a:gd name="T3" fmla="*/ 2147483646 h 43"/>
                    <a:gd name="T4" fmla="*/ 2147483646 w 39"/>
                    <a:gd name="T5" fmla="*/ 2147483646 h 43"/>
                    <a:gd name="T6" fmla="*/ 2147483646 w 39"/>
                    <a:gd name="T7" fmla="*/ 2147483646 h 43"/>
                    <a:gd name="T8" fmla="*/ 2147483646 w 39"/>
                    <a:gd name="T9" fmla="*/ 2147483646 h 43"/>
                    <a:gd name="T10" fmla="*/ 2147483646 w 39"/>
                    <a:gd name="T11" fmla="*/ 2147483646 h 43"/>
                    <a:gd name="T12" fmla="*/ 2147483646 w 39"/>
                    <a:gd name="T13" fmla="*/ 2147483646 h 43"/>
                    <a:gd name="T14" fmla="*/ 2147483646 w 39"/>
                    <a:gd name="T15" fmla="*/ 2147483646 h 43"/>
                    <a:gd name="T16" fmla="*/ 2147483646 w 39"/>
                    <a:gd name="T17" fmla="*/ 2147483646 h 43"/>
                    <a:gd name="T18" fmla="*/ 2147483646 w 39"/>
                    <a:gd name="T19" fmla="*/ 2147483646 h 43"/>
                    <a:gd name="T20" fmla="*/ 2147483646 w 39"/>
                    <a:gd name="T21" fmla="*/ 2147483646 h 43"/>
                    <a:gd name="T22" fmla="*/ 2147483646 w 39"/>
                    <a:gd name="T23" fmla="*/ 2147483646 h 43"/>
                    <a:gd name="T24" fmla="*/ 2147483646 w 39"/>
                    <a:gd name="T25" fmla="*/ 0 h 43"/>
                    <a:gd name="T26" fmla="*/ 2147483646 w 39"/>
                    <a:gd name="T27" fmla="*/ 2147483646 h 43"/>
                    <a:gd name="T28" fmla="*/ 2147483646 w 39"/>
                    <a:gd name="T29" fmla="*/ 2147483646 h 43"/>
                    <a:gd name="T30" fmla="*/ 0 w 39"/>
                    <a:gd name="T31" fmla="*/ 2147483646 h 4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39"/>
                    <a:gd name="T49" fmla="*/ 0 h 43"/>
                    <a:gd name="T50" fmla="*/ 39 w 39"/>
                    <a:gd name="T51" fmla="*/ 43 h 43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39" h="43">
                      <a:moveTo>
                        <a:pt x="0" y="12"/>
                      </a:moveTo>
                      <a:lnTo>
                        <a:pt x="2" y="17"/>
                      </a:lnTo>
                      <a:lnTo>
                        <a:pt x="6" y="22"/>
                      </a:lnTo>
                      <a:lnTo>
                        <a:pt x="12" y="27"/>
                      </a:lnTo>
                      <a:lnTo>
                        <a:pt x="16" y="32"/>
                      </a:lnTo>
                      <a:lnTo>
                        <a:pt x="23" y="37"/>
                      </a:lnTo>
                      <a:lnTo>
                        <a:pt x="28" y="40"/>
                      </a:lnTo>
                      <a:lnTo>
                        <a:pt x="34" y="43"/>
                      </a:lnTo>
                      <a:lnTo>
                        <a:pt x="39" y="43"/>
                      </a:lnTo>
                      <a:lnTo>
                        <a:pt x="38" y="32"/>
                      </a:lnTo>
                      <a:lnTo>
                        <a:pt x="36" y="19"/>
                      </a:lnTo>
                      <a:lnTo>
                        <a:pt x="34" y="8"/>
                      </a:lnTo>
                      <a:lnTo>
                        <a:pt x="32" y="0"/>
                      </a:lnTo>
                      <a:lnTo>
                        <a:pt x="19" y="3"/>
                      </a:lnTo>
                      <a:lnTo>
                        <a:pt x="6" y="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8" name="Freeform 208">
                  <a:extLst>
                    <a:ext uri="{FF2B5EF4-FFF2-40B4-BE49-F238E27FC236}">
                      <a16:creationId xmlns:a16="http://schemas.microsoft.com/office/drawing/2014/main" xmlns="" id="{CBA51769-BDCA-4199-A543-2B485B08A522}"/>
                    </a:ext>
                  </a:extLst>
                </p:cNvPr>
                <p:cNvSpPr>
                  <a:spLocks/>
                </p:cNvSpPr>
                <p:nvPr>
                  <p:custDataLst>
                    <p:tags r:id="rId135"/>
                  </p:custDataLst>
                </p:nvPr>
              </p:nvSpPr>
              <p:spPr bwMode="auto">
                <a:xfrm>
                  <a:off x="2352675" y="5194300"/>
                  <a:ext cx="26988" cy="58738"/>
                </a:xfrm>
                <a:custGeom>
                  <a:avLst/>
                  <a:gdLst>
                    <a:gd name="T0" fmla="*/ 2147483646 w 55"/>
                    <a:gd name="T1" fmla="*/ 2147483646 h 62"/>
                    <a:gd name="T2" fmla="*/ 2147483646 w 55"/>
                    <a:gd name="T3" fmla="*/ 0 h 62"/>
                    <a:gd name="T4" fmla="*/ 2147483646 w 55"/>
                    <a:gd name="T5" fmla="*/ 2147483646 h 62"/>
                    <a:gd name="T6" fmla="*/ 2147483646 w 55"/>
                    <a:gd name="T7" fmla="*/ 2147483646 h 62"/>
                    <a:gd name="T8" fmla="*/ 0 w 55"/>
                    <a:gd name="T9" fmla="*/ 2147483646 h 62"/>
                    <a:gd name="T10" fmla="*/ 0 w 55"/>
                    <a:gd name="T11" fmla="*/ 2147483646 h 62"/>
                    <a:gd name="T12" fmla="*/ 2147483646 w 55"/>
                    <a:gd name="T13" fmla="*/ 2147483646 h 62"/>
                    <a:gd name="T14" fmla="*/ 2147483646 w 55"/>
                    <a:gd name="T15" fmla="*/ 2147483646 h 62"/>
                    <a:gd name="T16" fmla="*/ 2147483646 w 55"/>
                    <a:gd name="T17" fmla="*/ 2147483646 h 62"/>
                    <a:gd name="T18" fmla="*/ 2147483646 w 55"/>
                    <a:gd name="T19" fmla="*/ 2147483646 h 62"/>
                    <a:gd name="T20" fmla="*/ 2147483646 w 55"/>
                    <a:gd name="T21" fmla="*/ 2147483646 h 62"/>
                    <a:gd name="T22" fmla="*/ 2147483646 w 55"/>
                    <a:gd name="T23" fmla="*/ 2147483646 h 62"/>
                    <a:gd name="T24" fmla="*/ 2147483646 w 55"/>
                    <a:gd name="T25" fmla="*/ 2147483646 h 62"/>
                    <a:gd name="T26" fmla="*/ 2147483646 w 55"/>
                    <a:gd name="T27" fmla="*/ 2147483646 h 62"/>
                    <a:gd name="T28" fmla="*/ 2147483646 w 55"/>
                    <a:gd name="T29" fmla="*/ 2147483646 h 62"/>
                    <a:gd name="T30" fmla="*/ 2147483646 w 55"/>
                    <a:gd name="T31" fmla="*/ 2147483646 h 62"/>
                    <a:gd name="T32" fmla="*/ 2147483646 w 55"/>
                    <a:gd name="T33" fmla="*/ 2147483646 h 62"/>
                    <a:gd name="T34" fmla="*/ 2147483646 w 55"/>
                    <a:gd name="T35" fmla="*/ 2147483646 h 62"/>
                    <a:gd name="T36" fmla="*/ 2147483646 w 55"/>
                    <a:gd name="T37" fmla="*/ 2147483646 h 62"/>
                    <a:gd name="T38" fmla="*/ 2147483646 w 55"/>
                    <a:gd name="T39" fmla="*/ 2147483646 h 62"/>
                    <a:gd name="T40" fmla="*/ 2147483646 w 55"/>
                    <a:gd name="T41" fmla="*/ 2147483646 h 62"/>
                    <a:gd name="T42" fmla="*/ 2147483646 w 55"/>
                    <a:gd name="T43" fmla="*/ 2147483646 h 62"/>
                    <a:gd name="T44" fmla="*/ 2147483646 w 55"/>
                    <a:gd name="T45" fmla="*/ 2147483646 h 62"/>
                    <a:gd name="T46" fmla="*/ 2147483646 w 55"/>
                    <a:gd name="T47" fmla="*/ 2147483646 h 62"/>
                    <a:gd name="T48" fmla="*/ 2147483646 w 55"/>
                    <a:gd name="T49" fmla="*/ 2147483646 h 62"/>
                    <a:gd name="T50" fmla="*/ 2147483646 w 55"/>
                    <a:gd name="T51" fmla="*/ 2147483646 h 62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55"/>
                    <a:gd name="T79" fmla="*/ 0 h 62"/>
                    <a:gd name="T80" fmla="*/ 55 w 55"/>
                    <a:gd name="T81" fmla="*/ 62 h 62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55" h="62">
                      <a:moveTo>
                        <a:pt x="29" y="26"/>
                      </a:moveTo>
                      <a:lnTo>
                        <a:pt x="8" y="0"/>
                      </a:lnTo>
                      <a:lnTo>
                        <a:pt x="4" y="5"/>
                      </a:lnTo>
                      <a:lnTo>
                        <a:pt x="1" y="11"/>
                      </a:lnTo>
                      <a:lnTo>
                        <a:pt x="0" y="16"/>
                      </a:lnTo>
                      <a:lnTo>
                        <a:pt x="0" y="21"/>
                      </a:lnTo>
                      <a:lnTo>
                        <a:pt x="2" y="26"/>
                      </a:lnTo>
                      <a:lnTo>
                        <a:pt x="4" y="31"/>
                      </a:lnTo>
                      <a:lnTo>
                        <a:pt x="8" y="36"/>
                      </a:lnTo>
                      <a:lnTo>
                        <a:pt x="11" y="41"/>
                      </a:lnTo>
                      <a:lnTo>
                        <a:pt x="16" y="45"/>
                      </a:lnTo>
                      <a:lnTo>
                        <a:pt x="21" y="49"/>
                      </a:lnTo>
                      <a:lnTo>
                        <a:pt x="26" y="53"/>
                      </a:lnTo>
                      <a:lnTo>
                        <a:pt x="33" y="56"/>
                      </a:lnTo>
                      <a:lnTo>
                        <a:pt x="38" y="58"/>
                      </a:lnTo>
                      <a:lnTo>
                        <a:pt x="44" y="60"/>
                      </a:lnTo>
                      <a:lnTo>
                        <a:pt x="49" y="61"/>
                      </a:lnTo>
                      <a:lnTo>
                        <a:pt x="55" y="62"/>
                      </a:lnTo>
                      <a:lnTo>
                        <a:pt x="54" y="53"/>
                      </a:lnTo>
                      <a:lnTo>
                        <a:pt x="53" y="46"/>
                      </a:lnTo>
                      <a:lnTo>
                        <a:pt x="49" y="40"/>
                      </a:lnTo>
                      <a:lnTo>
                        <a:pt x="46" y="35"/>
                      </a:lnTo>
                      <a:lnTo>
                        <a:pt x="43" y="31"/>
                      </a:lnTo>
                      <a:lnTo>
                        <a:pt x="38" y="28"/>
                      </a:lnTo>
                      <a:lnTo>
                        <a:pt x="33" y="26"/>
                      </a:lnTo>
                      <a:lnTo>
                        <a:pt x="29" y="2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89" name="Freeform 209">
                  <a:extLst>
                    <a:ext uri="{FF2B5EF4-FFF2-40B4-BE49-F238E27FC236}">
                      <a16:creationId xmlns:a16="http://schemas.microsoft.com/office/drawing/2014/main" xmlns="" id="{A4951506-CC6C-40C9-9521-6E2DDF600D26}"/>
                    </a:ext>
                  </a:extLst>
                </p:cNvPr>
                <p:cNvSpPr>
                  <a:spLocks/>
                </p:cNvSpPr>
                <p:nvPr>
                  <p:custDataLst>
                    <p:tags r:id="rId136"/>
                  </p:custDataLst>
                </p:nvPr>
              </p:nvSpPr>
              <p:spPr bwMode="auto">
                <a:xfrm>
                  <a:off x="2382838" y="5227638"/>
                  <a:ext cx="11112" cy="58737"/>
                </a:xfrm>
                <a:custGeom>
                  <a:avLst/>
                  <a:gdLst>
                    <a:gd name="T0" fmla="*/ 2147483646 w 35"/>
                    <a:gd name="T1" fmla="*/ 2147483646 h 43"/>
                    <a:gd name="T2" fmla="*/ 2147483646 w 35"/>
                    <a:gd name="T3" fmla="*/ 0 h 43"/>
                    <a:gd name="T4" fmla="*/ 2147483646 w 35"/>
                    <a:gd name="T5" fmla="*/ 2147483646 h 43"/>
                    <a:gd name="T6" fmla="*/ 0 w 35"/>
                    <a:gd name="T7" fmla="*/ 2147483646 h 43"/>
                    <a:gd name="T8" fmla="*/ 2147483646 w 35"/>
                    <a:gd name="T9" fmla="*/ 2147483646 h 43"/>
                    <a:gd name="T10" fmla="*/ 2147483646 w 35"/>
                    <a:gd name="T11" fmla="*/ 2147483646 h 43"/>
                    <a:gd name="T12" fmla="*/ 2147483646 w 35"/>
                    <a:gd name="T13" fmla="*/ 2147483646 h 43"/>
                    <a:gd name="T14" fmla="*/ 2147483646 w 35"/>
                    <a:gd name="T15" fmla="*/ 2147483646 h 43"/>
                    <a:gd name="T16" fmla="*/ 2147483646 w 35"/>
                    <a:gd name="T17" fmla="*/ 2147483646 h 43"/>
                    <a:gd name="T18" fmla="*/ 2147483646 w 35"/>
                    <a:gd name="T19" fmla="*/ 2147483646 h 43"/>
                    <a:gd name="T20" fmla="*/ 2147483646 w 35"/>
                    <a:gd name="T21" fmla="*/ 2147483646 h 43"/>
                    <a:gd name="T22" fmla="*/ 2147483646 w 35"/>
                    <a:gd name="T23" fmla="*/ 2147483646 h 43"/>
                    <a:gd name="T24" fmla="*/ 2147483646 w 35"/>
                    <a:gd name="T25" fmla="*/ 2147483646 h 43"/>
                    <a:gd name="T26" fmla="*/ 2147483646 w 35"/>
                    <a:gd name="T27" fmla="*/ 2147483646 h 43"/>
                    <a:gd name="T28" fmla="*/ 2147483646 w 35"/>
                    <a:gd name="T29" fmla="*/ 2147483646 h 43"/>
                    <a:gd name="T30" fmla="*/ 2147483646 w 35"/>
                    <a:gd name="T31" fmla="*/ 2147483646 h 43"/>
                    <a:gd name="T32" fmla="*/ 2147483646 w 35"/>
                    <a:gd name="T33" fmla="*/ 2147483646 h 43"/>
                    <a:gd name="T34" fmla="*/ 2147483646 w 35"/>
                    <a:gd name="T35" fmla="*/ 2147483646 h 4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35"/>
                    <a:gd name="T55" fmla="*/ 0 h 43"/>
                    <a:gd name="T56" fmla="*/ 35 w 35"/>
                    <a:gd name="T57" fmla="*/ 43 h 43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35" h="43">
                      <a:moveTo>
                        <a:pt x="33" y="13"/>
                      </a:moveTo>
                      <a:lnTo>
                        <a:pt x="7" y="0"/>
                      </a:lnTo>
                      <a:lnTo>
                        <a:pt x="4" y="8"/>
                      </a:lnTo>
                      <a:lnTo>
                        <a:pt x="0" y="19"/>
                      </a:lnTo>
                      <a:lnTo>
                        <a:pt x="2" y="28"/>
                      </a:lnTo>
                      <a:lnTo>
                        <a:pt x="5" y="36"/>
                      </a:lnTo>
                      <a:lnTo>
                        <a:pt x="6" y="39"/>
                      </a:lnTo>
                      <a:lnTo>
                        <a:pt x="8" y="41"/>
                      </a:lnTo>
                      <a:lnTo>
                        <a:pt x="11" y="43"/>
                      </a:lnTo>
                      <a:lnTo>
                        <a:pt x="14" y="43"/>
                      </a:lnTo>
                      <a:lnTo>
                        <a:pt x="18" y="43"/>
                      </a:lnTo>
                      <a:lnTo>
                        <a:pt x="22" y="42"/>
                      </a:lnTo>
                      <a:lnTo>
                        <a:pt x="26" y="41"/>
                      </a:lnTo>
                      <a:lnTo>
                        <a:pt x="28" y="39"/>
                      </a:lnTo>
                      <a:lnTo>
                        <a:pt x="31" y="35"/>
                      </a:lnTo>
                      <a:lnTo>
                        <a:pt x="33" y="30"/>
                      </a:lnTo>
                      <a:lnTo>
                        <a:pt x="35" y="20"/>
                      </a:lnTo>
                      <a:lnTo>
                        <a:pt x="33" y="1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90" name="Freeform 210">
                  <a:extLst>
                    <a:ext uri="{FF2B5EF4-FFF2-40B4-BE49-F238E27FC236}">
                      <a16:creationId xmlns:a16="http://schemas.microsoft.com/office/drawing/2014/main" xmlns="" id="{D6DBC0A9-E690-42A6-8A5B-E35F7A66BD24}"/>
                    </a:ext>
                  </a:extLst>
                </p:cNvPr>
                <p:cNvSpPr>
                  <a:spLocks/>
                </p:cNvSpPr>
                <p:nvPr>
                  <p:custDataLst>
                    <p:tags r:id="rId137"/>
                  </p:custDataLst>
                </p:nvPr>
              </p:nvSpPr>
              <p:spPr bwMode="auto">
                <a:xfrm>
                  <a:off x="2379663" y="5260975"/>
                  <a:ext cx="20637" cy="55563"/>
                </a:xfrm>
                <a:custGeom>
                  <a:avLst/>
                  <a:gdLst>
                    <a:gd name="T0" fmla="*/ 2147483646 w 53"/>
                    <a:gd name="T1" fmla="*/ 0 h 21"/>
                    <a:gd name="T2" fmla="*/ 2147483646 w 53"/>
                    <a:gd name="T3" fmla="*/ 2147483646 h 21"/>
                    <a:gd name="T4" fmla="*/ 2147483646 w 53"/>
                    <a:gd name="T5" fmla="*/ 2147483646 h 21"/>
                    <a:gd name="T6" fmla="*/ 2147483646 w 53"/>
                    <a:gd name="T7" fmla="*/ 2147483646 h 21"/>
                    <a:gd name="T8" fmla="*/ 2147483646 w 53"/>
                    <a:gd name="T9" fmla="*/ 2147483646 h 21"/>
                    <a:gd name="T10" fmla="*/ 2147483646 w 53"/>
                    <a:gd name="T11" fmla="*/ 2147483646 h 21"/>
                    <a:gd name="T12" fmla="*/ 2147483646 w 53"/>
                    <a:gd name="T13" fmla="*/ 2147483646 h 21"/>
                    <a:gd name="T14" fmla="*/ 2147483646 w 53"/>
                    <a:gd name="T15" fmla="*/ 2147483646 h 21"/>
                    <a:gd name="T16" fmla="*/ 0 w 53"/>
                    <a:gd name="T17" fmla="*/ 2147483646 h 21"/>
                    <a:gd name="T18" fmla="*/ 2147483646 w 53"/>
                    <a:gd name="T19" fmla="*/ 2147483646 h 21"/>
                    <a:gd name="T20" fmla="*/ 2147483646 w 53"/>
                    <a:gd name="T21" fmla="*/ 2147483646 h 21"/>
                    <a:gd name="T22" fmla="*/ 2147483646 w 53"/>
                    <a:gd name="T23" fmla="*/ 2147483646 h 21"/>
                    <a:gd name="T24" fmla="*/ 2147483646 w 53"/>
                    <a:gd name="T25" fmla="*/ 2147483646 h 21"/>
                    <a:gd name="T26" fmla="*/ 2147483646 w 53"/>
                    <a:gd name="T27" fmla="*/ 2147483646 h 21"/>
                    <a:gd name="T28" fmla="*/ 2147483646 w 53"/>
                    <a:gd name="T29" fmla="*/ 2147483646 h 21"/>
                    <a:gd name="T30" fmla="*/ 2147483646 w 53"/>
                    <a:gd name="T31" fmla="*/ 0 h 2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53"/>
                    <a:gd name="T49" fmla="*/ 0 h 21"/>
                    <a:gd name="T50" fmla="*/ 53 w 53"/>
                    <a:gd name="T51" fmla="*/ 21 h 2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53" h="21">
                      <a:moveTo>
                        <a:pt x="53" y="0"/>
                      </a:moveTo>
                      <a:lnTo>
                        <a:pt x="41" y="1"/>
                      </a:lnTo>
                      <a:lnTo>
                        <a:pt x="32" y="2"/>
                      </a:lnTo>
                      <a:lnTo>
                        <a:pt x="25" y="5"/>
                      </a:lnTo>
                      <a:lnTo>
                        <a:pt x="21" y="7"/>
                      </a:lnTo>
                      <a:lnTo>
                        <a:pt x="17" y="10"/>
                      </a:lnTo>
                      <a:lnTo>
                        <a:pt x="13" y="13"/>
                      </a:lnTo>
                      <a:lnTo>
                        <a:pt x="8" y="16"/>
                      </a:lnTo>
                      <a:lnTo>
                        <a:pt x="0" y="18"/>
                      </a:lnTo>
                      <a:lnTo>
                        <a:pt x="5" y="20"/>
                      </a:lnTo>
                      <a:lnTo>
                        <a:pt x="11" y="21"/>
                      </a:lnTo>
                      <a:lnTo>
                        <a:pt x="17" y="21"/>
                      </a:lnTo>
                      <a:lnTo>
                        <a:pt x="24" y="21"/>
                      </a:lnTo>
                      <a:lnTo>
                        <a:pt x="38" y="19"/>
                      </a:lnTo>
                      <a:lnTo>
                        <a:pt x="53" y="18"/>
                      </a:lnTo>
                      <a:lnTo>
                        <a:pt x="5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91" name="Freeform 211">
                  <a:extLst>
                    <a:ext uri="{FF2B5EF4-FFF2-40B4-BE49-F238E27FC236}">
                      <a16:creationId xmlns:a16="http://schemas.microsoft.com/office/drawing/2014/main" xmlns="" id="{53ABDFE6-7D83-4815-AEFA-49F8BC9395D9}"/>
                    </a:ext>
                  </a:extLst>
                </p:cNvPr>
                <p:cNvSpPr>
                  <a:spLocks/>
                </p:cNvSpPr>
                <p:nvPr>
                  <p:custDataLst>
                    <p:tags r:id="rId138"/>
                  </p:custDataLst>
                </p:nvPr>
              </p:nvSpPr>
              <p:spPr bwMode="auto">
                <a:xfrm>
                  <a:off x="2403475" y="5275263"/>
                  <a:ext cx="17463" cy="57150"/>
                </a:xfrm>
                <a:custGeom>
                  <a:avLst/>
                  <a:gdLst>
                    <a:gd name="T0" fmla="*/ 2147483646 w 43"/>
                    <a:gd name="T1" fmla="*/ 0 h 38"/>
                    <a:gd name="T2" fmla="*/ 2147483646 w 43"/>
                    <a:gd name="T3" fmla="*/ 0 h 38"/>
                    <a:gd name="T4" fmla="*/ 2147483646 w 43"/>
                    <a:gd name="T5" fmla="*/ 0 h 38"/>
                    <a:gd name="T6" fmla="*/ 2147483646 w 43"/>
                    <a:gd name="T7" fmla="*/ 0 h 38"/>
                    <a:gd name="T8" fmla="*/ 0 w 43"/>
                    <a:gd name="T9" fmla="*/ 2147483646 h 38"/>
                    <a:gd name="T10" fmla="*/ 0 w 43"/>
                    <a:gd name="T11" fmla="*/ 2147483646 h 38"/>
                    <a:gd name="T12" fmla="*/ 0 w 43"/>
                    <a:gd name="T13" fmla="*/ 2147483646 h 38"/>
                    <a:gd name="T14" fmla="*/ 2147483646 w 43"/>
                    <a:gd name="T15" fmla="*/ 2147483646 h 38"/>
                    <a:gd name="T16" fmla="*/ 2147483646 w 43"/>
                    <a:gd name="T17" fmla="*/ 2147483646 h 38"/>
                    <a:gd name="T18" fmla="*/ 2147483646 w 43"/>
                    <a:gd name="T19" fmla="*/ 2147483646 h 38"/>
                    <a:gd name="T20" fmla="*/ 2147483646 w 43"/>
                    <a:gd name="T21" fmla="*/ 2147483646 h 38"/>
                    <a:gd name="T22" fmla="*/ 2147483646 w 43"/>
                    <a:gd name="T23" fmla="*/ 2147483646 h 38"/>
                    <a:gd name="T24" fmla="*/ 2147483646 w 43"/>
                    <a:gd name="T25" fmla="*/ 2147483646 h 38"/>
                    <a:gd name="T26" fmla="*/ 2147483646 w 43"/>
                    <a:gd name="T27" fmla="*/ 2147483646 h 38"/>
                    <a:gd name="T28" fmla="*/ 2147483646 w 43"/>
                    <a:gd name="T29" fmla="*/ 2147483646 h 38"/>
                    <a:gd name="T30" fmla="*/ 2147483646 w 43"/>
                    <a:gd name="T31" fmla="*/ 2147483646 h 38"/>
                    <a:gd name="T32" fmla="*/ 2147483646 w 43"/>
                    <a:gd name="T33" fmla="*/ 2147483646 h 38"/>
                    <a:gd name="T34" fmla="*/ 2147483646 w 43"/>
                    <a:gd name="T35" fmla="*/ 2147483646 h 38"/>
                    <a:gd name="T36" fmla="*/ 2147483646 w 43"/>
                    <a:gd name="T37" fmla="*/ 2147483646 h 38"/>
                    <a:gd name="T38" fmla="*/ 2147483646 w 43"/>
                    <a:gd name="T39" fmla="*/ 2147483646 h 38"/>
                    <a:gd name="T40" fmla="*/ 2147483646 w 43"/>
                    <a:gd name="T41" fmla="*/ 2147483646 h 38"/>
                    <a:gd name="T42" fmla="*/ 2147483646 w 43"/>
                    <a:gd name="T43" fmla="*/ 2147483646 h 38"/>
                    <a:gd name="T44" fmla="*/ 2147483646 w 43"/>
                    <a:gd name="T45" fmla="*/ 2147483646 h 38"/>
                    <a:gd name="T46" fmla="*/ 2147483646 w 43"/>
                    <a:gd name="T47" fmla="*/ 2147483646 h 38"/>
                    <a:gd name="T48" fmla="*/ 2147483646 w 43"/>
                    <a:gd name="T49" fmla="*/ 0 h 3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43"/>
                    <a:gd name="T76" fmla="*/ 0 h 38"/>
                    <a:gd name="T77" fmla="*/ 43 w 43"/>
                    <a:gd name="T78" fmla="*/ 38 h 3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43" h="38">
                      <a:moveTo>
                        <a:pt x="22" y="0"/>
                      </a:moveTo>
                      <a:lnTo>
                        <a:pt x="1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1" y="10"/>
                      </a:lnTo>
                      <a:lnTo>
                        <a:pt x="2" y="12"/>
                      </a:lnTo>
                      <a:lnTo>
                        <a:pt x="3" y="18"/>
                      </a:lnTo>
                      <a:lnTo>
                        <a:pt x="5" y="25"/>
                      </a:lnTo>
                      <a:lnTo>
                        <a:pt x="10" y="30"/>
                      </a:lnTo>
                      <a:lnTo>
                        <a:pt x="15" y="34"/>
                      </a:lnTo>
                      <a:lnTo>
                        <a:pt x="21" y="37"/>
                      </a:lnTo>
                      <a:lnTo>
                        <a:pt x="27" y="38"/>
                      </a:lnTo>
                      <a:lnTo>
                        <a:pt x="35" y="38"/>
                      </a:lnTo>
                      <a:lnTo>
                        <a:pt x="43" y="37"/>
                      </a:lnTo>
                      <a:lnTo>
                        <a:pt x="40" y="29"/>
                      </a:lnTo>
                      <a:lnTo>
                        <a:pt x="36" y="23"/>
                      </a:lnTo>
                      <a:lnTo>
                        <a:pt x="33" y="17"/>
                      </a:lnTo>
                      <a:lnTo>
                        <a:pt x="30" y="13"/>
                      </a:lnTo>
                      <a:lnTo>
                        <a:pt x="27" y="10"/>
                      </a:lnTo>
                      <a:lnTo>
                        <a:pt x="24" y="7"/>
                      </a:lnTo>
                      <a:lnTo>
                        <a:pt x="23" y="4"/>
                      </a:lnTo>
                      <a:lnTo>
                        <a:pt x="22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92" name="Freeform 212">
                  <a:extLst>
                    <a:ext uri="{FF2B5EF4-FFF2-40B4-BE49-F238E27FC236}">
                      <a16:creationId xmlns:a16="http://schemas.microsoft.com/office/drawing/2014/main" xmlns="" id="{36883CD6-E251-4561-AAA7-913BD7F375B2}"/>
                    </a:ext>
                  </a:extLst>
                </p:cNvPr>
                <p:cNvSpPr>
                  <a:spLocks/>
                </p:cNvSpPr>
                <p:nvPr>
                  <p:custDataLst>
                    <p:tags r:id="rId139"/>
                  </p:custDataLst>
                </p:nvPr>
              </p:nvSpPr>
              <p:spPr bwMode="auto">
                <a:xfrm>
                  <a:off x="2405063" y="5303838"/>
                  <a:ext cx="6350" cy="57150"/>
                </a:xfrm>
                <a:custGeom>
                  <a:avLst/>
                  <a:gdLst>
                    <a:gd name="T0" fmla="*/ 0 w 20"/>
                    <a:gd name="T1" fmla="*/ 0 h 5"/>
                    <a:gd name="T2" fmla="*/ 2147483646 w 20"/>
                    <a:gd name="T3" fmla="*/ 2147483646 h 5"/>
                    <a:gd name="T4" fmla="*/ 2147483646 w 20"/>
                    <a:gd name="T5" fmla="*/ 2147483646 h 5"/>
                    <a:gd name="T6" fmla="*/ 2147483646 w 20"/>
                    <a:gd name="T7" fmla="*/ 2147483646 h 5"/>
                    <a:gd name="T8" fmla="*/ 2147483646 w 20"/>
                    <a:gd name="T9" fmla="*/ 2147483646 h 5"/>
                    <a:gd name="T10" fmla="*/ 2147483646 w 20"/>
                    <a:gd name="T11" fmla="*/ 2147483646 h 5"/>
                    <a:gd name="T12" fmla="*/ 2147483646 w 20"/>
                    <a:gd name="T13" fmla="*/ 2147483646 h 5"/>
                    <a:gd name="T14" fmla="*/ 2147483646 w 20"/>
                    <a:gd name="T15" fmla="*/ 2147483646 h 5"/>
                    <a:gd name="T16" fmla="*/ 2147483646 w 20"/>
                    <a:gd name="T17" fmla="*/ 0 h 5"/>
                    <a:gd name="T18" fmla="*/ 0 w 20"/>
                    <a:gd name="T19" fmla="*/ 0 h 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0"/>
                    <a:gd name="T31" fmla="*/ 0 h 5"/>
                    <a:gd name="T32" fmla="*/ 20 w 20"/>
                    <a:gd name="T33" fmla="*/ 5 h 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0" h="5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2" y="3"/>
                      </a:lnTo>
                      <a:lnTo>
                        <a:pt x="4" y="4"/>
                      </a:lnTo>
                      <a:lnTo>
                        <a:pt x="7" y="5"/>
                      </a:lnTo>
                      <a:lnTo>
                        <a:pt x="11" y="4"/>
                      </a:lnTo>
                      <a:lnTo>
                        <a:pt x="14" y="3"/>
                      </a:lnTo>
                      <a:lnTo>
                        <a:pt x="17" y="2"/>
                      </a:lnTo>
                      <a:lnTo>
                        <a:pt x="2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93" name="Freeform 213">
                  <a:extLst>
                    <a:ext uri="{FF2B5EF4-FFF2-40B4-BE49-F238E27FC236}">
                      <a16:creationId xmlns:a16="http://schemas.microsoft.com/office/drawing/2014/main" xmlns="" id="{477369E0-1195-4049-B79D-D37E13041AC3}"/>
                    </a:ext>
                  </a:extLst>
                </p:cNvPr>
                <p:cNvSpPr>
                  <a:spLocks/>
                </p:cNvSpPr>
                <p:nvPr>
                  <p:custDataLst>
                    <p:tags r:id="rId140"/>
                  </p:custDataLst>
                </p:nvPr>
              </p:nvSpPr>
              <p:spPr bwMode="auto">
                <a:xfrm>
                  <a:off x="2479675" y="5373688"/>
                  <a:ext cx="34925" cy="57150"/>
                </a:xfrm>
                <a:custGeom>
                  <a:avLst/>
                  <a:gdLst>
                    <a:gd name="T0" fmla="*/ 2147483646 w 73"/>
                    <a:gd name="T1" fmla="*/ 0 h 22"/>
                    <a:gd name="T2" fmla="*/ 2147483646 w 73"/>
                    <a:gd name="T3" fmla="*/ 2147483646 h 22"/>
                    <a:gd name="T4" fmla="*/ 2147483646 w 73"/>
                    <a:gd name="T5" fmla="*/ 2147483646 h 22"/>
                    <a:gd name="T6" fmla="*/ 2147483646 w 73"/>
                    <a:gd name="T7" fmla="*/ 2147483646 h 22"/>
                    <a:gd name="T8" fmla="*/ 2147483646 w 73"/>
                    <a:gd name="T9" fmla="*/ 2147483646 h 22"/>
                    <a:gd name="T10" fmla="*/ 2147483646 w 73"/>
                    <a:gd name="T11" fmla="*/ 2147483646 h 22"/>
                    <a:gd name="T12" fmla="*/ 0 w 73"/>
                    <a:gd name="T13" fmla="*/ 2147483646 h 22"/>
                    <a:gd name="T14" fmla="*/ 2147483646 w 73"/>
                    <a:gd name="T15" fmla="*/ 2147483646 h 22"/>
                    <a:gd name="T16" fmla="*/ 2147483646 w 73"/>
                    <a:gd name="T17" fmla="*/ 2147483646 h 22"/>
                    <a:gd name="T18" fmla="*/ 2147483646 w 73"/>
                    <a:gd name="T19" fmla="*/ 2147483646 h 22"/>
                    <a:gd name="T20" fmla="*/ 2147483646 w 73"/>
                    <a:gd name="T21" fmla="*/ 2147483646 h 22"/>
                    <a:gd name="T22" fmla="*/ 2147483646 w 73"/>
                    <a:gd name="T23" fmla="*/ 2147483646 h 22"/>
                    <a:gd name="T24" fmla="*/ 2147483646 w 73"/>
                    <a:gd name="T25" fmla="*/ 2147483646 h 22"/>
                    <a:gd name="T26" fmla="*/ 2147483646 w 73"/>
                    <a:gd name="T27" fmla="*/ 2147483646 h 22"/>
                    <a:gd name="T28" fmla="*/ 2147483646 w 73"/>
                    <a:gd name="T29" fmla="*/ 2147483646 h 22"/>
                    <a:gd name="T30" fmla="*/ 2147483646 w 73"/>
                    <a:gd name="T31" fmla="*/ 2147483646 h 22"/>
                    <a:gd name="T32" fmla="*/ 2147483646 w 73"/>
                    <a:gd name="T33" fmla="*/ 2147483646 h 22"/>
                    <a:gd name="T34" fmla="*/ 2147483646 w 73"/>
                    <a:gd name="T35" fmla="*/ 2147483646 h 22"/>
                    <a:gd name="T36" fmla="*/ 2147483646 w 73"/>
                    <a:gd name="T37" fmla="*/ 0 h 2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73"/>
                    <a:gd name="T58" fmla="*/ 0 h 22"/>
                    <a:gd name="T59" fmla="*/ 73 w 73"/>
                    <a:gd name="T60" fmla="*/ 22 h 2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73" h="22">
                      <a:moveTo>
                        <a:pt x="40" y="0"/>
                      </a:moveTo>
                      <a:lnTo>
                        <a:pt x="32" y="1"/>
                      </a:lnTo>
                      <a:lnTo>
                        <a:pt x="26" y="2"/>
                      </a:lnTo>
                      <a:lnTo>
                        <a:pt x="20" y="5"/>
                      </a:lnTo>
                      <a:lnTo>
                        <a:pt x="15" y="8"/>
                      </a:lnTo>
                      <a:lnTo>
                        <a:pt x="6" y="14"/>
                      </a:lnTo>
                      <a:lnTo>
                        <a:pt x="0" y="19"/>
                      </a:lnTo>
                      <a:lnTo>
                        <a:pt x="20" y="20"/>
                      </a:lnTo>
                      <a:lnTo>
                        <a:pt x="39" y="22"/>
                      </a:lnTo>
                      <a:lnTo>
                        <a:pt x="49" y="22"/>
                      </a:lnTo>
                      <a:lnTo>
                        <a:pt x="57" y="22"/>
                      </a:lnTo>
                      <a:lnTo>
                        <a:pt x="65" y="21"/>
                      </a:lnTo>
                      <a:lnTo>
                        <a:pt x="73" y="19"/>
                      </a:lnTo>
                      <a:lnTo>
                        <a:pt x="64" y="14"/>
                      </a:lnTo>
                      <a:lnTo>
                        <a:pt x="56" y="8"/>
                      </a:lnTo>
                      <a:lnTo>
                        <a:pt x="53" y="5"/>
                      </a:lnTo>
                      <a:lnTo>
                        <a:pt x="49" y="2"/>
                      </a:lnTo>
                      <a:lnTo>
                        <a:pt x="44" y="1"/>
                      </a:lnTo>
                      <a:lnTo>
                        <a:pt x="4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94" name="Freeform 214">
                  <a:extLst>
                    <a:ext uri="{FF2B5EF4-FFF2-40B4-BE49-F238E27FC236}">
                      <a16:creationId xmlns:a16="http://schemas.microsoft.com/office/drawing/2014/main" xmlns="" id="{0DCD3B7C-86C6-474B-BCC3-A0C18AACCA28}"/>
                    </a:ext>
                  </a:extLst>
                </p:cNvPr>
                <p:cNvSpPr>
                  <a:spLocks/>
                </p:cNvSpPr>
                <p:nvPr>
                  <p:custDataLst>
                    <p:tags r:id="rId141"/>
                  </p:custDataLst>
                </p:nvPr>
              </p:nvSpPr>
              <p:spPr bwMode="auto">
                <a:xfrm>
                  <a:off x="2517775" y="5314950"/>
                  <a:ext cx="123825" cy="100013"/>
                </a:xfrm>
                <a:custGeom>
                  <a:avLst/>
                  <a:gdLst>
                    <a:gd name="T0" fmla="*/ 2147483646 w 281"/>
                    <a:gd name="T1" fmla="*/ 2147483646 h 193"/>
                    <a:gd name="T2" fmla="*/ 2147483646 w 281"/>
                    <a:gd name="T3" fmla="*/ 2147483646 h 193"/>
                    <a:gd name="T4" fmla="*/ 2147483646 w 281"/>
                    <a:gd name="T5" fmla="*/ 2147483646 h 193"/>
                    <a:gd name="T6" fmla="*/ 2147483646 w 281"/>
                    <a:gd name="T7" fmla="*/ 2147483646 h 193"/>
                    <a:gd name="T8" fmla="*/ 2147483646 w 281"/>
                    <a:gd name="T9" fmla="*/ 2147483646 h 193"/>
                    <a:gd name="T10" fmla="*/ 2147483646 w 281"/>
                    <a:gd name="T11" fmla="*/ 2147483646 h 193"/>
                    <a:gd name="T12" fmla="*/ 2147483646 w 281"/>
                    <a:gd name="T13" fmla="*/ 2147483646 h 193"/>
                    <a:gd name="T14" fmla="*/ 2147483646 w 281"/>
                    <a:gd name="T15" fmla="*/ 2147483646 h 193"/>
                    <a:gd name="T16" fmla="*/ 2147483646 w 281"/>
                    <a:gd name="T17" fmla="*/ 2147483646 h 193"/>
                    <a:gd name="T18" fmla="*/ 2147483646 w 281"/>
                    <a:gd name="T19" fmla="*/ 0 h 193"/>
                    <a:gd name="T20" fmla="*/ 2147483646 w 281"/>
                    <a:gd name="T21" fmla="*/ 2147483646 h 193"/>
                    <a:gd name="T22" fmla="*/ 2147483646 w 281"/>
                    <a:gd name="T23" fmla="*/ 2147483646 h 193"/>
                    <a:gd name="T24" fmla="*/ 2147483646 w 281"/>
                    <a:gd name="T25" fmla="*/ 2147483646 h 193"/>
                    <a:gd name="T26" fmla="*/ 0 w 281"/>
                    <a:gd name="T27" fmla="*/ 2147483646 h 193"/>
                    <a:gd name="T28" fmla="*/ 2147483646 w 281"/>
                    <a:gd name="T29" fmla="*/ 2147483646 h 193"/>
                    <a:gd name="T30" fmla="*/ 2147483646 w 281"/>
                    <a:gd name="T31" fmla="*/ 2147483646 h 193"/>
                    <a:gd name="T32" fmla="*/ 2147483646 w 281"/>
                    <a:gd name="T33" fmla="*/ 2147483646 h 193"/>
                    <a:gd name="T34" fmla="*/ 2147483646 w 281"/>
                    <a:gd name="T35" fmla="*/ 2147483646 h 193"/>
                    <a:gd name="T36" fmla="*/ 2147483646 w 281"/>
                    <a:gd name="T37" fmla="*/ 2147483646 h 193"/>
                    <a:gd name="T38" fmla="*/ 2147483646 w 281"/>
                    <a:gd name="T39" fmla="*/ 2147483646 h 193"/>
                    <a:gd name="T40" fmla="*/ 2147483646 w 281"/>
                    <a:gd name="T41" fmla="*/ 2147483646 h 193"/>
                    <a:gd name="T42" fmla="*/ 2147483646 w 281"/>
                    <a:gd name="T43" fmla="*/ 2147483646 h 193"/>
                    <a:gd name="T44" fmla="*/ 2147483646 w 281"/>
                    <a:gd name="T45" fmla="*/ 2147483646 h 193"/>
                    <a:gd name="T46" fmla="*/ 2147483646 w 281"/>
                    <a:gd name="T47" fmla="*/ 2147483646 h 193"/>
                    <a:gd name="T48" fmla="*/ 2147483646 w 281"/>
                    <a:gd name="T49" fmla="*/ 2147483646 h 193"/>
                    <a:gd name="T50" fmla="*/ 2147483646 w 281"/>
                    <a:gd name="T51" fmla="*/ 2147483646 h 193"/>
                    <a:gd name="T52" fmla="*/ 2147483646 w 281"/>
                    <a:gd name="T53" fmla="*/ 2147483646 h 193"/>
                    <a:gd name="T54" fmla="*/ 2147483646 w 281"/>
                    <a:gd name="T55" fmla="*/ 2147483646 h 193"/>
                    <a:gd name="T56" fmla="*/ 2147483646 w 281"/>
                    <a:gd name="T57" fmla="*/ 2147483646 h 193"/>
                    <a:gd name="T58" fmla="*/ 2147483646 w 281"/>
                    <a:gd name="T59" fmla="*/ 2147483646 h 193"/>
                    <a:gd name="T60" fmla="*/ 2147483646 w 281"/>
                    <a:gd name="T61" fmla="*/ 2147483646 h 193"/>
                    <a:gd name="T62" fmla="*/ 2147483646 w 281"/>
                    <a:gd name="T63" fmla="*/ 2147483646 h 193"/>
                    <a:gd name="T64" fmla="*/ 2147483646 w 281"/>
                    <a:gd name="T65" fmla="*/ 2147483646 h 193"/>
                    <a:gd name="T66" fmla="*/ 2147483646 w 281"/>
                    <a:gd name="T67" fmla="*/ 2147483646 h 193"/>
                    <a:gd name="T68" fmla="*/ 2147483646 w 281"/>
                    <a:gd name="T69" fmla="*/ 2147483646 h 193"/>
                    <a:gd name="T70" fmla="*/ 2147483646 w 281"/>
                    <a:gd name="T71" fmla="*/ 2147483646 h 193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81"/>
                    <a:gd name="T109" fmla="*/ 0 h 193"/>
                    <a:gd name="T110" fmla="*/ 281 w 281"/>
                    <a:gd name="T111" fmla="*/ 193 h 193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81" h="193">
                      <a:moveTo>
                        <a:pt x="275" y="167"/>
                      </a:moveTo>
                      <a:lnTo>
                        <a:pt x="235" y="168"/>
                      </a:lnTo>
                      <a:lnTo>
                        <a:pt x="202" y="171"/>
                      </a:lnTo>
                      <a:lnTo>
                        <a:pt x="188" y="171"/>
                      </a:lnTo>
                      <a:lnTo>
                        <a:pt x="175" y="169"/>
                      </a:lnTo>
                      <a:lnTo>
                        <a:pt x="168" y="168"/>
                      </a:lnTo>
                      <a:lnTo>
                        <a:pt x="162" y="166"/>
                      </a:lnTo>
                      <a:lnTo>
                        <a:pt x="155" y="164"/>
                      </a:lnTo>
                      <a:lnTo>
                        <a:pt x="149" y="161"/>
                      </a:lnTo>
                      <a:lnTo>
                        <a:pt x="130" y="135"/>
                      </a:lnTo>
                      <a:lnTo>
                        <a:pt x="108" y="103"/>
                      </a:lnTo>
                      <a:lnTo>
                        <a:pt x="104" y="94"/>
                      </a:lnTo>
                      <a:lnTo>
                        <a:pt x="98" y="84"/>
                      </a:lnTo>
                      <a:lnTo>
                        <a:pt x="94" y="74"/>
                      </a:lnTo>
                      <a:lnTo>
                        <a:pt x="90" y="63"/>
                      </a:lnTo>
                      <a:lnTo>
                        <a:pt x="87" y="51"/>
                      </a:lnTo>
                      <a:lnTo>
                        <a:pt x="85" y="39"/>
                      </a:lnTo>
                      <a:lnTo>
                        <a:pt x="83" y="27"/>
                      </a:lnTo>
                      <a:lnTo>
                        <a:pt x="83" y="13"/>
                      </a:lnTo>
                      <a:lnTo>
                        <a:pt x="43" y="0"/>
                      </a:lnTo>
                      <a:lnTo>
                        <a:pt x="30" y="50"/>
                      </a:lnTo>
                      <a:lnTo>
                        <a:pt x="28" y="52"/>
                      </a:lnTo>
                      <a:lnTo>
                        <a:pt x="23" y="56"/>
                      </a:lnTo>
                      <a:lnTo>
                        <a:pt x="18" y="61"/>
                      </a:lnTo>
                      <a:lnTo>
                        <a:pt x="11" y="65"/>
                      </a:lnTo>
                      <a:lnTo>
                        <a:pt x="6" y="69"/>
                      </a:lnTo>
                      <a:lnTo>
                        <a:pt x="1" y="72"/>
                      </a:lnTo>
                      <a:lnTo>
                        <a:pt x="0" y="73"/>
                      </a:lnTo>
                      <a:lnTo>
                        <a:pt x="0" y="74"/>
                      </a:lnTo>
                      <a:lnTo>
                        <a:pt x="1" y="75"/>
                      </a:lnTo>
                      <a:lnTo>
                        <a:pt x="3" y="75"/>
                      </a:lnTo>
                      <a:lnTo>
                        <a:pt x="9" y="81"/>
                      </a:lnTo>
                      <a:lnTo>
                        <a:pt x="23" y="96"/>
                      </a:lnTo>
                      <a:lnTo>
                        <a:pt x="37" y="111"/>
                      </a:lnTo>
                      <a:lnTo>
                        <a:pt x="43" y="118"/>
                      </a:lnTo>
                      <a:lnTo>
                        <a:pt x="45" y="122"/>
                      </a:lnTo>
                      <a:lnTo>
                        <a:pt x="49" y="126"/>
                      </a:lnTo>
                      <a:lnTo>
                        <a:pt x="53" y="129"/>
                      </a:lnTo>
                      <a:lnTo>
                        <a:pt x="57" y="132"/>
                      </a:lnTo>
                      <a:lnTo>
                        <a:pt x="62" y="134"/>
                      </a:lnTo>
                      <a:lnTo>
                        <a:pt x="66" y="135"/>
                      </a:lnTo>
                      <a:lnTo>
                        <a:pt x="71" y="136"/>
                      </a:lnTo>
                      <a:lnTo>
                        <a:pt x="76" y="136"/>
                      </a:lnTo>
                      <a:lnTo>
                        <a:pt x="76" y="141"/>
                      </a:lnTo>
                      <a:lnTo>
                        <a:pt x="77" y="145"/>
                      </a:lnTo>
                      <a:lnTo>
                        <a:pt x="79" y="148"/>
                      </a:lnTo>
                      <a:lnTo>
                        <a:pt x="82" y="150"/>
                      </a:lnTo>
                      <a:lnTo>
                        <a:pt x="86" y="153"/>
                      </a:lnTo>
                      <a:lnTo>
                        <a:pt x="93" y="154"/>
                      </a:lnTo>
                      <a:lnTo>
                        <a:pt x="99" y="154"/>
                      </a:lnTo>
                      <a:lnTo>
                        <a:pt x="104" y="156"/>
                      </a:lnTo>
                      <a:lnTo>
                        <a:pt x="106" y="157"/>
                      </a:lnTo>
                      <a:lnTo>
                        <a:pt x="108" y="160"/>
                      </a:lnTo>
                      <a:lnTo>
                        <a:pt x="109" y="163"/>
                      </a:lnTo>
                      <a:lnTo>
                        <a:pt x="109" y="167"/>
                      </a:lnTo>
                      <a:lnTo>
                        <a:pt x="109" y="179"/>
                      </a:lnTo>
                      <a:lnTo>
                        <a:pt x="111" y="187"/>
                      </a:lnTo>
                      <a:lnTo>
                        <a:pt x="111" y="189"/>
                      </a:lnTo>
                      <a:lnTo>
                        <a:pt x="113" y="191"/>
                      </a:lnTo>
                      <a:lnTo>
                        <a:pt x="115" y="193"/>
                      </a:lnTo>
                      <a:lnTo>
                        <a:pt x="117" y="193"/>
                      </a:lnTo>
                      <a:lnTo>
                        <a:pt x="129" y="193"/>
                      </a:lnTo>
                      <a:lnTo>
                        <a:pt x="149" y="192"/>
                      </a:lnTo>
                      <a:lnTo>
                        <a:pt x="164" y="191"/>
                      </a:lnTo>
                      <a:lnTo>
                        <a:pt x="174" y="190"/>
                      </a:lnTo>
                      <a:lnTo>
                        <a:pt x="180" y="189"/>
                      </a:lnTo>
                      <a:lnTo>
                        <a:pt x="186" y="187"/>
                      </a:lnTo>
                      <a:lnTo>
                        <a:pt x="192" y="186"/>
                      </a:lnTo>
                      <a:lnTo>
                        <a:pt x="200" y="187"/>
                      </a:lnTo>
                      <a:lnTo>
                        <a:pt x="212" y="188"/>
                      </a:lnTo>
                      <a:lnTo>
                        <a:pt x="229" y="192"/>
                      </a:lnTo>
                      <a:lnTo>
                        <a:pt x="281" y="167"/>
                      </a:lnTo>
                      <a:lnTo>
                        <a:pt x="275" y="16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95" name="Freeform 215">
                  <a:extLst>
                    <a:ext uri="{FF2B5EF4-FFF2-40B4-BE49-F238E27FC236}">
                      <a16:creationId xmlns:a16="http://schemas.microsoft.com/office/drawing/2014/main" xmlns="" id="{F6F1D5A9-8944-41AF-AA50-56291594D2F3}"/>
                    </a:ext>
                  </a:extLst>
                </p:cNvPr>
                <p:cNvSpPr>
                  <a:spLocks/>
                </p:cNvSpPr>
                <p:nvPr>
                  <p:custDataLst>
                    <p:tags r:id="rId142"/>
                  </p:custDataLst>
                </p:nvPr>
              </p:nvSpPr>
              <p:spPr bwMode="auto">
                <a:xfrm>
                  <a:off x="2070100" y="3081338"/>
                  <a:ext cx="52388" cy="58737"/>
                </a:xfrm>
                <a:custGeom>
                  <a:avLst/>
                  <a:gdLst>
                    <a:gd name="T0" fmla="*/ 0 w 120"/>
                    <a:gd name="T1" fmla="*/ 2147483646 h 56"/>
                    <a:gd name="T2" fmla="*/ 2147483646 w 120"/>
                    <a:gd name="T3" fmla="*/ 2147483646 h 56"/>
                    <a:gd name="T4" fmla="*/ 2147483646 w 120"/>
                    <a:gd name="T5" fmla="*/ 2147483646 h 56"/>
                    <a:gd name="T6" fmla="*/ 2147483646 w 120"/>
                    <a:gd name="T7" fmla="*/ 2147483646 h 56"/>
                    <a:gd name="T8" fmla="*/ 2147483646 w 120"/>
                    <a:gd name="T9" fmla="*/ 2147483646 h 56"/>
                    <a:gd name="T10" fmla="*/ 2147483646 w 120"/>
                    <a:gd name="T11" fmla="*/ 2147483646 h 56"/>
                    <a:gd name="T12" fmla="*/ 2147483646 w 120"/>
                    <a:gd name="T13" fmla="*/ 2147483646 h 56"/>
                    <a:gd name="T14" fmla="*/ 2147483646 w 120"/>
                    <a:gd name="T15" fmla="*/ 2147483646 h 56"/>
                    <a:gd name="T16" fmla="*/ 2147483646 w 120"/>
                    <a:gd name="T17" fmla="*/ 2147483646 h 56"/>
                    <a:gd name="T18" fmla="*/ 2147483646 w 120"/>
                    <a:gd name="T19" fmla="*/ 2147483646 h 56"/>
                    <a:gd name="T20" fmla="*/ 2147483646 w 120"/>
                    <a:gd name="T21" fmla="*/ 2147483646 h 56"/>
                    <a:gd name="T22" fmla="*/ 2147483646 w 120"/>
                    <a:gd name="T23" fmla="*/ 2147483646 h 56"/>
                    <a:gd name="T24" fmla="*/ 2147483646 w 120"/>
                    <a:gd name="T25" fmla="*/ 2147483646 h 56"/>
                    <a:gd name="T26" fmla="*/ 2147483646 w 120"/>
                    <a:gd name="T27" fmla="*/ 2147483646 h 56"/>
                    <a:gd name="T28" fmla="*/ 2147483646 w 120"/>
                    <a:gd name="T29" fmla="*/ 2147483646 h 56"/>
                    <a:gd name="T30" fmla="*/ 2147483646 w 120"/>
                    <a:gd name="T31" fmla="*/ 2147483646 h 56"/>
                    <a:gd name="T32" fmla="*/ 2147483646 w 120"/>
                    <a:gd name="T33" fmla="*/ 2147483646 h 56"/>
                    <a:gd name="T34" fmla="*/ 2147483646 w 120"/>
                    <a:gd name="T35" fmla="*/ 2147483646 h 56"/>
                    <a:gd name="T36" fmla="*/ 2147483646 w 120"/>
                    <a:gd name="T37" fmla="*/ 2147483646 h 56"/>
                    <a:gd name="T38" fmla="*/ 2147483646 w 120"/>
                    <a:gd name="T39" fmla="*/ 2147483646 h 56"/>
                    <a:gd name="T40" fmla="*/ 2147483646 w 120"/>
                    <a:gd name="T41" fmla="*/ 2147483646 h 56"/>
                    <a:gd name="T42" fmla="*/ 2147483646 w 120"/>
                    <a:gd name="T43" fmla="*/ 0 h 56"/>
                    <a:gd name="T44" fmla="*/ 2147483646 w 120"/>
                    <a:gd name="T45" fmla="*/ 2147483646 h 56"/>
                    <a:gd name="T46" fmla="*/ 2147483646 w 120"/>
                    <a:gd name="T47" fmla="*/ 2147483646 h 56"/>
                    <a:gd name="T48" fmla="*/ 2147483646 w 120"/>
                    <a:gd name="T49" fmla="*/ 2147483646 h 56"/>
                    <a:gd name="T50" fmla="*/ 2147483646 w 120"/>
                    <a:gd name="T51" fmla="*/ 2147483646 h 56"/>
                    <a:gd name="T52" fmla="*/ 2147483646 w 120"/>
                    <a:gd name="T53" fmla="*/ 2147483646 h 56"/>
                    <a:gd name="T54" fmla="*/ 2147483646 w 120"/>
                    <a:gd name="T55" fmla="*/ 2147483646 h 56"/>
                    <a:gd name="T56" fmla="*/ 2147483646 w 120"/>
                    <a:gd name="T57" fmla="*/ 2147483646 h 56"/>
                    <a:gd name="T58" fmla="*/ 0 w 120"/>
                    <a:gd name="T59" fmla="*/ 2147483646 h 5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20"/>
                    <a:gd name="T91" fmla="*/ 0 h 56"/>
                    <a:gd name="T92" fmla="*/ 120 w 120"/>
                    <a:gd name="T93" fmla="*/ 56 h 5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20" h="56">
                      <a:moveTo>
                        <a:pt x="0" y="18"/>
                      </a:moveTo>
                      <a:lnTo>
                        <a:pt x="4" y="26"/>
                      </a:lnTo>
                      <a:lnTo>
                        <a:pt x="10" y="33"/>
                      </a:lnTo>
                      <a:lnTo>
                        <a:pt x="15" y="37"/>
                      </a:lnTo>
                      <a:lnTo>
                        <a:pt x="21" y="41"/>
                      </a:lnTo>
                      <a:lnTo>
                        <a:pt x="27" y="44"/>
                      </a:lnTo>
                      <a:lnTo>
                        <a:pt x="35" y="46"/>
                      </a:lnTo>
                      <a:lnTo>
                        <a:pt x="43" y="48"/>
                      </a:lnTo>
                      <a:lnTo>
                        <a:pt x="51" y="49"/>
                      </a:lnTo>
                      <a:lnTo>
                        <a:pt x="67" y="50"/>
                      </a:lnTo>
                      <a:lnTo>
                        <a:pt x="85" y="51"/>
                      </a:lnTo>
                      <a:lnTo>
                        <a:pt x="102" y="52"/>
                      </a:lnTo>
                      <a:lnTo>
                        <a:pt x="120" y="56"/>
                      </a:lnTo>
                      <a:lnTo>
                        <a:pt x="120" y="37"/>
                      </a:lnTo>
                      <a:lnTo>
                        <a:pt x="111" y="34"/>
                      </a:lnTo>
                      <a:lnTo>
                        <a:pt x="102" y="30"/>
                      </a:lnTo>
                      <a:lnTo>
                        <a:pt x="94" y="24"/>
                      </a:lnTo>
                      <a:lnTo>
                        <a:pt x="88" y="18"/>
                      </a:lnTo>
                      <a:lnTo>
                        <a:pt x="81" y="13"/>
                      </a:lnTo>
                      <a:lnTo>
                        <a:pt x="75" y="7"/>
                      </a:lnTo>
                      <a:lnTo>
                        <a:pt x="67" y="3"/>
                      </a:lnTo>
                      <a:lnTo>
                        <a:pt x="60" y="0"/>
                      </a:lnTo>
                      <a:lnTo>
                        <a:pt x="55" y="1"/>
                      </a:lnTo>
                      <a:lnTo>
                        <a:pt x="48" y="3"/>
                      </a:lnTo>
                      <a:lnTo>
                        <a:pt x="41" y="6"/>
                      </a:lnTo>
                      <a:lnTo>
                        <a:pt x="33" y="9"/>
                      </a:lnTo>
                      <a:lnTo>
                        <a:pt x="24" y="13"/>
                      </a:lnTo>
                      <a:lnTo>
                        <a:pt x="16" y="15"/>
                      </a:lnTo>
                      <a:lnTo>
                        <a:pt x="8" y="18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96" name="Freeform 216">
                  <a:extLst>
                    <a:ext uri="{FF2B5EF4-FFF2-40B4-BE49-F238E27FC236}">
                      <a16:creationId xmlns:a16="http://schemas.microsoft.com/office/drawing/2014/main" xmlns="" id="{FB1A60AE-C2A9-4860-B71E-850339F82666}"/>
                    </a:ext>
                  </a:extLst>
                </p:cNvPr>
                <p:cNvSpPr>
                  <a:spLocks/>
                </p:cNvSpPr>
                <p:nvPr>
                  <p:custDataLst>
                    <p:tags r:id="rId143"/>
                  </p:custDataLst>
                </p:nvPr>
              </p:nvSpPr>
              <p:spPr bwMode="auto">
                <a:xfrm>
                  <a:off x="1927225" y="2943225"/>
                  <a:ext cx="250825" cy="109538"/>
                </a:xfrm>
                <a:custGeom>
                  <a:avLst/>
                  <a:gdLst>
                    <a:gd name="T0" fmla="*/ 2147483646 w 574"/>
                    <a:gd name="T1" fmla="*/ 2147483646 h 204"/>
                    <a:gd name="T2" fmla="*/ 2147483646 w 574"/>
                    <a:gd name="T3" fmla="*/ 2147483646 h 204"/>
                    <a:gd name="T4" fmla="*/ 2147483646 w 574"/>
                    <a:gd name="T5" fmla="*/ 2147483646 h 204"/>
                    <a:gd name="T6" fmla="*/ 2147483646 w 574"/>
                    <a:gd name="T7" fmla="*/ 2147483646 h 204"/>
                    <a:gd name="T8" fmla="*/ 2147483646 w 574"/>
                    <a:gd name="T9" fmla="*/ 2147483646 h 204"/>
                    <a:gd name="T10" fmla="*/ 2147483646 w 574"/>
                    <a:gd name="T11" fmla="*/ 2147483646 h 204"/>
                    <a:gd name="T12" fmla="*/ 2147483646 w 574"/>
                    <a:gd name="T13" fmla="*/ 2147483646 h 204"/>
                    <a:gd name="T14" fmla="*/ 0 w 574"/>
                    <a:gd name="T15" fmla="*/ 2147483646 h 204"/>
                    <a:gd name="T16" fmla="*/ 2147483646 w 574"/>
                    <a:gd name="T17" fmla="*/ 2147483646 h 204"/>
                    <a:gd name="T18" fmla="*/ 2147483646 w 574"/>
                    <a:gd name="T19" fmla="*/ 2147483646 h 204"/>
                    <a:gd name="T20" fmla="*/ 2147483646 w 574"/>
                    <a:gd name="T21" fmla="*/ 2147483646 h 204"/>
                    <a:gd name="T22" fmla="*/ 2147483646 w 574"/>
                    <a:gd name="T23" fmla="*/ 2147483646 h 204"/>
                    <a:gd name="T24" fmla="*/ 2147483646 w 574"/>
                    <a:gd name="T25" fmla="*/ 2147483646 h 204"/>
                    <a:gd name="T26" fmla="*/ 2147483646 w 574"/>
                    <a:gd name="T27" fmla="*/ 2147483646 h 204"/>
                    <a:gd name="T28" fmla="*/ 2147483646 w 574"/>
                    <a:gd name="T29" fmla="*/ 2147483646 h 204"/>
                    <a:gd name="T30" fmla="*/ 2147483646 w 574"/>
                    <a:gd name="T31" fmla="*/ 2147483646 h 204"/>
                    <a:gd name="T32" fmla="*/ 2147483646 w 574"/>
                    <a:gd name="T33" fmla="*/ 2147483646 h 204"/>
                    <a:gd name="T34" fmla="*/ 2147483646 w 574"/>
                    <a:gd name="T35" fmla="*/ 2147483646 h 204"/>
                    <a:gd name="T36" fmla="*/ 2147483646 w 574"/>
                    <a:gd name="T37" fmla="*/ 2147483646 h 204"/>
                    <a:gd name="T38" fmla="*/ 2147483646 w 574"/>
                    <a:gd name="T39" fmla="*/ 2147483646 h 204"/>
                    <a:gd name="T40" fmla="*/ 2147483646 w 574"/>
                    <a:gd name="T41" fmla="*/ 2147483646 h 204"/>
                    <a:gd name="T42" fmla="*/ 2147483646 w 574"/>
                    <a:gd name="T43" fmla="*/ 2147483646 h 204"/>
                    <a:gd name="T44" fmla="*/ 2147483646 w 574"/>
                    <a:gd name="T45" fmla="*/ 2147483646 h 204"/>
                    <a:gd name="T46" fmla="*/ 2147483646 w 574"/>
                    <a:gd name="T47" fmla="*/ 2147483646 h 204"/>
                    <a:gd name="T48" fmla="*/ 2147483646 w 574"/>
                    <a:gd name="T49" fmla="*/ 2147483646 h 204"/>
                    <a:gd name="T50" fmla="*/ 2147483646 w 574"/>
                    <a:gd name="T51" fmla="*/ 2147483646 h 204"/>
                    <a:gd name="T52" fmla="*/ 2147483646 w 574"/>
                    <a:gd name="T53" fmla="*/ 2147483646 h 204"/>
                    <a:gd name="T54" fmla="*/ 2147483646 w 574"/>
                    <a:gd name="T55" fmla="*/ 2147483646 h 204"/>
                    <a:gd name="T56" fmla="*/ 2147483646 w 574"/>
                    <a:gd name="T57" fmla="*/ 2147483646 h 204"/>
                    <a:gd name="T58" fmla="*/ 2147483646 w 574"/>
                    <a:gd name="T59" fmla="*/ 2147483646 h 204"/>
                    <a:gd name="T60" fmla="*/ 2147483646 w 574"/>
                    <a:gd name="T61" fmla="*/ 2147483646 h 204"/>
                    <a:gd name="T62" fmla="*/ 2147483646 w 574"/>
                    <a:gd name="T63" fmla="*/ 2147483646 h 204"/>
                    <a:gd name="T64" fmla="*/ 2147483646 w 574"/>
                    <a:gd name="T65" fmla="*/ 2147483646 h 204"/>
                    <a:gd name="T66" fmla="*/ 2147483646 w 574"/>
                    <a:gd name="T67" fmla="*/ 2147483646 h 204"/>
                    <a:gd name="T68" fmla="*/ 2147483646 w 574"/>
                    <a:gd name="T69" fmla="*/ 2147483646 h 204"/>
                    <a:gd name="T70" fmla="*/ 2147483646 w 574"/>
                    <a:gd name="T71" fmla="*/ 2147483646 h 204"/>
                    <a:gd name="T72" fmla="*/ 2147483646 w 574"/>
                    <a:gd name="T73" fmla="*/ 2147483646 h 204"/>
                    <a:gd name="T74" fmla="*/ 2147483646 w 574"/>
                    <a:gd name="T75" fmla="*/ 2147483646 h 204"/>
                    <a:gd name="T76" fmla="*/ 2147483646 w 574"/>
                    <a:gd name="T77" fmla="*/ 2147483646 h 204"/>
                    <a:gd name="T78" fmla="*/ 2147483646 w 574"/>
                    <a:gd name="T79" fmla="*/ 2147483646 h 204"/>
                    <a:gd name="T80" fmla="*/ 2147483646 w 574"/>
                    <a:gd name="T81" fmla="*/ 2147483646 h 204"/>
                    <a:gd name="T82" fmla="*/ 2147483646 w 574"/>
                    <a:gd name="T83" fmla="*/ 2147483646 h 204"/>
                    <a:gd name="T84" fmla="*/ 2147483646 w 574"/>
                    <a:gd name="T85" fmla="*/ 2147483646 h 204"/>
                    <a:gd name="T86" fmla="*/ 2147483646 w 574"/>
                    <a:gd name="T87" fmla="*/ 2147483646 h 204"/>
                    <a:gd name="T88" fmla="*/ 2147483646 w 574"/>
                    <a:gd name="T89" fmla="*/ 2147483646 h 204"/>
                    <a:gd name="T90" fmla="*/ 2147483646 w 574"/>
                    <a:gd name="T91" fmla="*/ 2147483646 h 204"/>
                    <a:gd name="T92" fmla="*/ 2147483646 w 574"/>
                    <a:gd name="T93" fmla="*/ 2147483646 h 204"/>
                    <a:gd name="T94" fmla="*/ 2147483646 w 574"/>
                    <a:gd name="T95" fmla="*/ 2147483646 h 204"/>
                    <a:gd name="T96" fmla="*/ 2147483646 w 574"/>
                    <a:gd name="T97" fmla="*/ 2147483646 h 204"/>
                    <a:gd name="T98" fmla="*/ 2147483646 w 574"/>
                    <a:gd name="T99" fmla="*/ 2147483646 h 204"/>
                    <a:gd name="T100" fmla="*/ 2147483646 w 574"/>
                    <a:gd name="T101" fmla="*/ 2147483646 h 204"/>
                    <a:gd name="T102" fmla="*/ 2147483646 w 574"/>
                    <a:gd name="T103" fmla="*/ 2147483646 h 204"/>
                    <a:gd name="T104" fmla="*/ 2147483646 w 574"/>
                    <a:gd name="T105" fmla="*/ 0 h 204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74"/>
                    <a:gd name="T160" fmla="*/ 0 h 204"/>
                    <a:gd name="T161" fmla="*/ 574 w 574"/>
                    <a:gd name="T162" fmla="*/ 204 h 204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74" h="204">
                      <a:moveTo>
                        <a:pt x="142" y="0"/>
                      </a:moveTo>
                      <a:lnTo>
                        <a:pt x="127" y="1"/>
                      </a:lnTo>
                      <a:lnTo>
                        <a:pt x="111" y="3"/>
                      </a:lnTo>
                      <a:lnTo>
                        <a:pt x="95" y="6"/>
                      </a:lnTo>
                      <a:lnTo>
                        <a:pt x="80" y="11"/>
                      </a:lnTo>
                      <a:lnTo>
                        <a:pt x="66" y="16"/>
                      </a:lnTo>
                      <a:lnTo>
                        <a:pt x="52" y="21"/>
                      </a:lnTo>
                      <a:lnTo>
                        <a:pt x="43" y="26"/>
                      </a:lnTo>
                      <a:lnTo>
                        <a:pt x="36" y="31"/>
                      </a:lnTo>
                      <a:lnTo>
                        <a:pt x="30" y="35"/>
                      </a:lnTo>
                      <a:lnTo>
                        <a:pt x="24" y="42"/>
                      </a:lnTo>
                      <a:lnTo>
                        <a:pt x="16" y="51"/>
                      </a:lnTo>
                      <a:lnTo>
                        <a:pt x="10" y="61"/>
                      </a:lnTo>
                      <a:lnTo>
                        <a:pt x="4" y="71"/>
                      </a:lnTo>
                      <a:lnTo>
                        <a:pt x="1" y="79"/>
                      </a:lnTo>
                      <a:lnTo>
                        <a:pt x="0" y="82"/>
                      </a:lnTo>
                      <a:lnTo>
                        <a:pt x="0" y="85"/>
                      </a:lnTo>
                      <a:lnTo>
                        <a:pt x="1" y="86"/>
                      </a:lnTo>
                      <a:lnTo>
                        <a:pt x="3" y="87"/>
                      </a:lnTo>
                      <a:lnTo>
                        <a:pt x="13" y="86"/>
                      </a:lnTo>
                      <a:lnTo>
                        <a:pt x="22" y="85"/>
                      </a:lnTo>
                      <a:lnTo>
                        <a:pt x="29" y="83"/>
                      </a:lnTo>
                      <a:lnTo>
                        <a:pt x="38" y="81"/>
                      </a:lnTo>
                      <a:lnTo>
                        <a:pt x="52" y="75"/>
                      </a:lnTo>
                      <a:lnTo>
                        <a:pt x="66" y="66"/>
                      </a:lnTo>
                      <a:lnTo>
                        <a:pt x="80" y="58"/>
                      </a:lnTo>
                      <a:lnTo>
                        <a:pt x="94" y="50"/>
                      </a:lnTo>
                      <a:lnTo>
                        <a:pt x="102" y="46"/>
                      </a:lnTo>
                      <a:lnTo>
                        <a:pt x="111" y="43"/>
                      </a:lnTo>
                      <a:lnTo>
                        <a:pt x="119" y="40"/>
                      </a:lnTo>
                      <a:lnTo>
                        <a:pt x="129" y="37"/>
                      </a:lnTo>
                      <a:lnTo>
                        <a:pt x="175" y="37"/>
                      </a:lnTo>
                      <a:lnTo>
                        <a:pt x="175" y="43"/>
                      </a:lnTo>
                      <a:lnTo>
                        <a:pt x="176" y="48"/>
                      </a:lnTo>
                      <a:lnTo>
                        <a:pt x="178" y="52"/>
                      </a:lnTo>
                      <a:lnTo>
                        <a:pt x="180" y="55"/>
                      </a:lnTo>
                      <a:lnTo>
                        <a:pt x="181" y="58"/>
                      </a:lnTo>
                      <a:lnTo>
                        <a:pt x="184" y="59"/>
                      </a:lnTo>
                      <a:lnTo>
                        <a:pt x="186" y="60"/>
                      </a:lnTo>
                      <a:lnTo>
                        <a:pt x="190" y="61"/>
                      </a:lnTo>
                      <a:lnTo>
                        <a:pt x="206" y="60"/>
                      </a:lnTo>
                      <a:lnTo>
                        <a:pt x="229" y="61"/>
                      </a:lnTo>
                      <a:lnTo>
                        <a:pt x="250" y="69"/>
                      </a:lnTo>
                      <a:lnTo>
                        <a:pt x="269" y="78"/>
                      </a:lnTo>
                      <a:lnTo>
                        <a:pt x="285" y="86"/>
                      </a:lnTo>
                      <a:lnTo>
                        <a:pt x="302" y="95"/>
                      </a:lnTo>
                      <a:lnTo>
                        <a:pt x="318" y="103"/>
                      </a:lnTo>
                      <a:lnTo>
                        <a:pt x="336" y="111"/>
                      </a:lnTo>
                      <a:lnTo>
                        <a:pt x="354" y="118"/>
                      </a:lnTo>
                      <a:lnTo>
                        <a:pt x="375" y="123"/>
                      </a:lnTo>
                      <a:lnTo>
                        <a:pt x="375" y="129"/>
                      </a:lnTo>
                      <a:lnTo>
                        <a:pt x="376" y="134"/>
                      </a:lnTo>
                      <a:lnTo>
                        <a:pt x="379" y="138"/>
                      </a:lnTo>
                      <a:lnTo>
                        <a:pt x="382" y="142"/>
                      </a:lnTo>
                      <a:lnTo>
                        <a:pt x="388" y="147"/>
                      </a:lnTo>
                      <a:lnTo>
                        <a:pt x="396" y="152"/>
                      </a:lnTo>
                      <a:lnTo>
                        <a:pt x="415" y="159"/>
                      </a:lnTo>
                      <a:lnTo>
                        <a:pt x="428" y="166"/>
                      </a:lnTo>
                      <a:lnTo>
                        <a:pt x="417" y="176"/>
                      </a:lnTo>
                      <a:lnTo>
                        <a:pt x="402" y="191"/>
                      </a:lnTo>
                      <a:lnTo>
                        <a:pt x="404" y="195"/>
                      </a:lnTo>
                      <a:lnTo>
                        <a:pt x="407" y="197"/>
                      </a:lnTo>
                      <a:lnTo>
                        <a:pt x="410" y="199"/>
                      </a:lnTo>
                      <a:lnTo>
                        <a:pt x="414" y="201"/>
                      </a:lnTo>
                      <a:lnTo>
                        <a:pt x="421" y="203"/>
                      </a:lnTo>
                      <a:lnTo>
                        <a:pt x="429" y="204"/>
                      </a:lnTo>
                      <a:lnTo>
                        <a:pt x="445" y="204"/>
                      </a:lnTo>
                      <a:lnTo>
                        <a:pt x="461" y="204"/>
                      </a:lnTo>
                      <a:lnTo>
                        <a:pt x="554" y="191"/>
                      </a:lnTo>
                      <a:lnTo>
                        <a:pt x="555" y="189"/>
                      </a:lnTo>
                      <a:lnTo>
                        <a:pt x="556" y="186"/>
                      </a:lnTo>
                      <a:lnTo>
                        <a:pt x="559" y="183"/>
                      </a:lnTo>
                      <a:lnTo>
                        <a:pt x="562" y="179"/>
                      </a:lnTo>
                      <a:lnTo>
                        <a:pt x="565" y="177"/>
                      </a:lnTo>
                      <a:lnTo>
                        <a:pt x="568" y="174"/>
                      </a:lnTo>
                      <a:lnTo>
                        <a:pt x="572" y="173"/>
                      </a:lnTo>
                      <a:lnTo>
                        <a:pt x="574" y="172"/>
                      </a:lnTo>
                      <a:lnTo>
                        <a:pt x="574" y="161"/>
                      </a:lnTo>
                      <a:lnTo>
                        <a:pt x="574" y="154"/>
                      </a:lnTo>
                      <a:lnTo>
                        <a:pt x="561" y="153"/>
                      </a:lnTo>
                      <a:lnTo>
                        <a:pt x="546" y="151"/>
                      </a:lnTo>
                      <a:lnTo>
                        <a:pt x="532" y="148"/>
                      </a:lnTo>
                      <a:lnTo>
                        <a:pt x="518" y="143"/>
                      </a:lnTo>
                      <a:lnTo>
                        <a:pt x="504" y="138"/>
                      </a:lnTo>
                      <a:lnTo>
                        <a:pt x="489" y="132"/>
                      </a:lnTo>
                      <a:lnTo>
                        <a:pt x="475" y="124"/>
                      </a:lnTo>
                      <a:lnTo>
                        <a:pt x="461" y="116"/>
                      </a:lnTo>
                      <a:lnTo>
                        <a:pt x="433" y="100"/>
                      </a:lnTo>
                      <a:lnTo>
                        <a:pt x="407" y="84"/>
                      </a:lnTo>
                      <a:lnTo>
                        <a:pt x="383" y="68"/>
                      </a:lnTo>
                      <a:lnTo>
                        <a:pt x="362" y="55"/>
                      </a:lnTo>
                      <a:lnTo>
                        <a:pt x="358" y="54"/>
                      </a:lnTo>
                      <a:lnTo>
                        <a:pt x="353" y="52"/>
                      </a:lnTo>
                      <a:lnTo>
                        <a:pt x="348" y="52"/>
                      </a:lnTo>
                      <a:lnTo>
                        <a:pt x="342" y="52"/>
                      </a:lnTo>
                      <a:lnTo>
                        <a:pt x="330" y="52"/>
                      </a:lnTo>
                      <a:lnTo>
                        <a:pt x="318" y="52"/>
                      </a:lnTo>
                      <a:lnTo>
                        <a:pt x="312" y="51"/>
                      </a:lnTo>
                      <a:lnTo>
                        <a:pt x="306" y="50"/>
                      </a:lnTo>
                      <a:lnTo>
                        <a:pt x="302" y="49"/>
                      </a:lnTo>
                      <a:lnTo>
                        <a:pt x="297" y="46"/>
                      </a:lnTo>
                      <a:lnTo>
                        <a:pt x="294" y="43"/>
                      </a:lnTo>
                      <a:lnTo>
                        <a:pt x="291" y="38"/>
                      </a:lnTo>
                      <a:lnTo>
                        <a:pt x="290" y="32"/>
                      </a:lnTo>
                      <a:lnTo>
                        <a:pt x="288" y="25"/>
                      </a:lnTo>
                      <a:lnTo>
                        <a:pt x="142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97" name="Freeform 217">
                  <a:extLst>
                    <a:ext uri="{FF2B5EF4-FFF2-40B4-BE49-F238E27FC236}">
                      <a16:creationId xmlns:a16="http://schemas.microsoft.com/office/drawing/2014/main" xmlns="" id="{7A8AD0BA-A741-4958-8C19-E7AEC4C5D042}"/>
                    </a:ext>
                  </a:extLst>
                </p:cNvPr>
                <p:cNvSpPr>
                  <a:spLocks/>
                </p:cNvSpPr>
                <p:nvPr>
                  <p:custDataLst>
                    <p:tags r:id="rId144"/>
                  </p:custDataLst>
                </p:nvPr>
              </p:nvSpPr>
              <p:spPr bwMode="auto">
                <a:xfrm>
                  <a:off x="2232025" y="3046413"/>
                  <a:ext cx="88900" cy="69850"/>
                </a:xfrm>
                <a:custGeom>
                  <a:avLst/>
                  <a:gdLst>
                    <a:gd name="T0" fmla="*/ 2147483646 w 207"/>
                    <a:gd name="T1" fmla="*/ 2147483646 h 129"/>
                    <a:gd name="T2" fmla="*/ 2147483646 w 207"/>
                    <a:gd name="T3" fmla="*/ 2147483646 h 129"/>
                    <a:gd name="T4" fmla="*/ 2147483646 w 207"/>
                    <a:gd name="T5" fmla="*/ 2147483646 h 129"/>
                    <a:gd name="T6" fmla="*/ 2147483646 w 207"/>
                    <a:gd name="T7" fmla="*/ 2147483646 h 129"/>
                    <a:gd name="T8" fmla="*/ 2147483646 w 207"/>
                    <a:gd name="T9" fmla="*/ 2147483646 h 129"/>
                    <a:gd name="T10" fmla="*/ 2147483646 w 207"/>
                    <a:gd name="T11" fmla="*/ 2147483646 h 129"/>
                    <a:gd name="T12" fmla="*/ 2147483646 w 207"/>
                    <a:gd name="T13" fmla="*/ 2147483646 h 129"/>
                    <a:gd name="T14" fmla="*/ 2147483646 w 207"/>
                    <a:gd name="T15" fmla="*/ 2147483646 h 129"/>
                    <a:gd name="T16" fmla="*/ 2147483646 w 207"/>
                    <a:gd name="T17" fmla="*/ 2147483646 h 129"/>
                    <a:gd name="T18" fmla="*/ 2147483646 w 207"/>
                    <a:gd name="T19" fmla="*/ 2147483646 h 129"/>
                    <a:gd name="T20" fmla="*/ 2147483646 w 207"/>
                    <a:gd name="T21" fmla="*/ 2147483646 h 129"/>
                    <a:gd name="T22" fmla="*/ 2147483646 w 207"/>
                    <a:gd name="T23" fmla="*/ 2147483646 h 129"/>
                    <a:gd name="T24" fmla="*/ 2147483646 w 207"/>
                    <a:gd name="T25" fmla="*/ 2147483646 h 129"/>
                    <a:gd name="T26" fmla="*/ 2147483646 w 207"/>
                    <a:gd name="T27" fmla="*/ 2147483646 h 129"/>
                    <a:gd name="T28" fmla="*/ 2147483646 w 207"/>
                    <a:gd name="T29" fmla="*/ 2147483646 h 129"/>
                    <a:gd name="T30" fmla="*/ 2147483646 w 207"/>
                    <a:gd name="T31" fmla="*/ 2147483646 h 129"/>
                    <a:gd name="T32" fmla="*/ 2147483646 w 207"/>
                    <a:gd name="T33" fmla="*/ 2147483646 h 129"/>
                    <a:gd name="T34" fmla="*/ 2147483646 w 207"/>
                    <a:gd name="T35" fmla="*/ 2147483646 h 129"/>
                    <a:gd name="T36" fmla="*/ 2147483646 w 207"/>
                    <a:gd name="T37" fmla="*/ 2147483646 h 129"/>
                    <a:gd name="T38" fmla="*/ 2147483646 w 207"/>
                    <a:gd name="T39" fmla="*/ 2147483646 h 129"/>
                    <a:gd name="T40" fmla="*/ 2147483646 w 207"/>
                    <a:gd name="T41" fmla="*/ 2147483646 h 129"/>
                    <a:gd name="T42" fmla="*/ 2147483646 w 207"/>
                    <a:gd name="T43" fmla="*/ 2147483646 h 129"/>
                    <a:gd name="T44" fmla="*/ 2147483646 w 207"/>
                    <a:gd name="T45" fmla="*/ 0 h 129"/>
                    <a:gd name="T46" fmla="*/ 0 w 207"/>
                    <a:gd name="T47" fmla="*/ 0 h 129"/>
                    <a:gd name="T48" fmla="*/ 2147483646 w 207"/>
                    <a:gd name="T49" fmla="*/ 2147483646 h 129"/>
                    <a:gd name="T50" fmla="*/ 2147483646 w 207"/>
                    <a:gd name="T51" fmla="*/ 2147483646 h 129"/>
                    <a:gd name="T52" fmla="*/ 2147483646 w 207"/>
                    <a:gd name="T53" fmla="*/ 2147483646 h 129"/>
                    <a:gd name="T54" fmla="*/ 2147483646 w 207"/>
                    <a:gd name="T55" fmla="*/ 2147483646 h 129"/>
                    <a:gd name="T56" fmla="*/ 2147483646 w 207"/>
                    <a:gd name="T57" fmla="*/ 2147483646 h 129"/>
                    <a:gd name="T58" fmla="*/ 2147483646 w 207"/>
                    <a:gd name="T59" fmla="*/ 2147483646 h 129"/>
                    <a:gd name="T60" fmla="*/ 2147483646 w 207"/>
                    <a:gd name="T61" fmla="*/ 2147483646 h 129"/>
                    <a:gd name="T62" fmla="*/ 2147483646 w 207"/>
                    <a:gd name="T63" fmla="*/ 2147483646 h 129"/>
                    <a:gd name="T64" fmla="*/ 2147483646 w 207"/>
                    <a:gd name="T65" fmla="*/ 2147483646 h 129"/>
                    <a:gd name="T66" fmla="*/ 2147483646 w 207"/>
                    <a:gd name="T67" fmla="*/ 2147483646 h 129"/>
                    <a:gd name="T68" fmla="*/ 2147483646 w 207"/>
                    <a:gd name="T69" fmla="*/ 2147483646 h 129"/>
                    <a:gd name="T70" fmla="*/ 2147483646 w 207"/>
                    <a:gd name="T71" fmla="*/ 2147483646 h 129"/>
                    <a:gd name="T72" fmla="*/ 0 w 207"/>
                    <a:gd name="T73" fmla="*/ 2147483646 h 129"/>
                    <a:gd name="T74" fmla="*/ 2147483646 w 207"/>
                    <a:gd name="T75" fmla="*/ 2147483646 h 129"/>
                    <a:gd name="T76" fmla="*/ 2147483646 w 207"/>
                    <a:gd name="T77" fmla="*/ 2147483646 h 129"/>
                    <a:gd name="T78" fmla="*/ 2147483646 w 207"/>
                    <a:gd name="T79" fmla="*/ 2147483646 h 129"/>
                    <a:gd name="T80" fmla="*/ 2147483646 w 207"/>
                    <a:gd name="T81" fmla="*/ 2147483646 h 129"/>
                    <a:gd name="T82" fmla="*/ 2147483646 w 207"/>
                    <a:gd name="T83" fmla="*/ 2147483646 h 129"/>
                    <a:gd name="T84" fmla="*/ 2147483646 w 207"/>
                    <a:gd name="T85" fmla="*/ 2147483646 h 12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07"/>
                    <a:gd name="T130" fmla="*/ 0 h 129"/>
                    <a:gd name="T131" fmla="*/ 207 w 207"/>
                    <a:gd name="T132" fmla="*/ 129 h 12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07" h="129">
                      <a:moveTo>
                        <a:pt x="41" y="129"/>
                      </a:moveTo>
                      <a:lnTo>
                        <a:pt x="50" y="121"/>
                      </a:lnTo>
                      <a:lnTo>
                        <a:pt x="60" y="115"/>
                      </a:lnTo>
                      <a:lnTo>
                        <a:pt x="70" y="110"/>
                      </a:lnTo>
                      <a:lnTo>
                        <a:pt x="81" y="105"/>
                      </a:lnTo>
                      <a:lnTo>
                        <a:pt x="105" y="99"/>
                      </a:lnTo>
                      <a:lnTo>
                        <a:pt x="129" y="92"/>
                      </a:lnTo>
                      <a:lnTo>
                        <a:pt x="152" y="87"/>
                      </a:lnTo>
                      <a:lnTo>
                        <a:pt x="173" y="81"/>
                      </a:lnTo>
                      <a:lnTo>
                        <a:pt x="182" y="77"/>
                      </a:lnTo>
                      <a:lnTo>
                        <a:pt x="191" y="73"/>
                      </a:lnTo>
                      <a:lnTo>
                        <a:pt x="200" y="67"/>
                      </a:lnTo>
                      <a:lnTo>
                        <a:pt x="207" y="61"/>
                      </a:lnTo>
                      <a:lnTo>
                        <a:pt x="198" y="54"/>
                      </a:lnTo>
                      <a:lnTo>
                        <a:pt x="188" y="47"/>
                      </a:lnTo>
                      <a:lnTo>
                        <a:pt x="179" y="42"/>
                      </a:lnTo>
                      <a:lnTo>
                        <a:pt x="169" y="36"/>
                      </a:lnTo>
                      <a:lnTo>
                        <a:pt x="150" y="29"/>
                      </a:lnTo>
                      <a:lnTo>
                        <a:pt x="129" y="23"/>
                      </a:lnTo>
                      <a:lnTo>
                        <a:pt x="107" y="18"/>
                      </a:lnTo>
                      <a:lnTo>
                        <a:pt x="85" y="13"/>
                      </a:lnTo>
                      <a:lnTo>
                        <a:pt x="63" y="7"/>
                      </a:lnTo>
                      <a:lnTo>
                        <a:pt x="41" y="0"/>
                      </a:lnTo>
                      <a:lnTo>
                        <a:pt x="0" y="0"/>
                      </a:lnTo>
                      <a:lnTo>
                        <a:pt x="1" y="6"/>
                      </a:lnTo>
                      <a:lnTo>
                        <a:pt x="2" y="13"/>
                      </a:lnTo>
                      <a:lnTo>
                        <a:pt x="4" y="19"/>
                      </a:lnTo>
                      <a:lnTo>
                        <a:pt x="6" y="25"/>
                      </a:lnTo>
                      <a:lnTo>
                        <a:pt x="10" y="35"/>
                      </a:lnTo>
                      <a:lnTo>
                        <a:pt x="13" y="46"/>
                      </a:lnTo>
                      <a:lnTo>
                        <a:pt x="17" y="54"/>
                      </a:lnTo>
                      <a:lnTo>
                        <a:pt x="18" y="62"/>
                      </a:lnTo>
                      <a:lnTo>
                        <a:pt x="17" y="65"/>
                      </a:lnTo>
                      <a:lnTo>
                        <a:pt x="14" y="68"/>
                      </a:lnTo>
                      <a:lnTo>
                        <a:pt x="11" y="71"/>
                      </a:lnTo>
                      <a:lnTo>
                        <a:pt x="7" y="73"/>
                      </a:lnTo>
                      <a:lnTo>
                        <a:pt x="0" y="104"/>
                      </a:lnTo>
                      <a:lnTo>
                        <a:pt x="4" y="106"/>
                      </a:lnTo>
                      <a:lnTo>
                        <a:pt x="13" y="110"/>
                      </a:lnTo>
                      <a:lnTo>
                        <a:pt x="19" y="113"/>
                      </a:lnTo>
                      <a:lnTo>
                        <a:pt x="25" y="117"/>
                      </a:lnTo>
                      <a:lnTo>
                        <a:pt x="33" y="122"/>
                      </a:lnTo>
                      <a:lnTo>
                        <a:pt x="41" y="12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98" name="Freeform 218">
                  <a:extLst>
                    <a:ext uri="{FF2B5EF4-FFF2-40B4-BE49-F238E27FC236}">
                      <a16:creationId xmlns:a16="http://schemas.microsoft.com/office/drawing/2014/main" xmlns="" id="{35D1B397-4155-4DF3-A291-BC887CDCBDC6}"/>
                    </a:ext>
                  </a:extLst>
                </p:cNvPr>
                <p:cNvSpPr>
                  <a:spLocks/>
                </p:cNvSpPr>
                <p:nvPr>
                  <p:custDataLst>
                    <p:tags r:id="rId145"/>
                  </p:custDataLst>
                </p:nvPr>
              </p:nvSpPr>
              <p:spPr bwMode="auto">
                <a:xfrm>
                  <a:off x="1800225" y="3106738"/>
                  <a:ext cx="33338" cy="84137"/>
                </a:xfrm>
                <a:custGeom>
                  <a:avLst/>
                  <a:gdLst>
                    <a:gd name="T0" fmla="*/ 2147483646 w 72"/>
                    <a:gd name="T1" fmla="*/ 0 h 154"/>
                    <a:gd name="T2" fmla="*/ 2147483646 w 72"/>
                    <a:gd name="T3" fmla="*/ 2147483646 h 154"/>
                    <a:gd name="T4" fmla="*/ 2147483646 w 72"/>
                    <a:gd name="T5" fmla="*/ 2147483646 h 154"/>
                    <a:gd name="T6" fmla="*/ 2147483646 w 72"/>
                    <a:gd name="T7" fmla="*/ 2147483646 h 154"/>
                    <a:gd name="T8" fmla="*/ 2147483646 w 72"/>
                    <a:gd name="T9" fmla="*/ 2147483646 h 154"/>
                    <a:gd name="T10" fmla="*/ 2147483646 w 72"/>
                    <a:gd name="T11" fmla="*/ 2147483646 h 154"/>
                    <a:gd name="T12" fmla="*/ 2147483646 w 72"/>
                    <a:gd name="T13" fmla="*/ 2147483646 h 154"/>
                    <a:gd name="T14" fmla="*/ 2147483646 w 72"/>
                    <a:gd name="T15" fmla="*/ 2147483646 h 154"/>
                    <a:gd name="T16" fmla="*/ 2147483646 w 72"/>
                    <a:gd name="T17" fmla="*/ 2147483646 h 154"/>
                    <a:gd name="T18" fmla="*/ 2147483646 w 72"/>
                    <a:gd name="T19" fmla="*/ 2147483646 h 154"/>
                    <a:gd name="T20" fmla="*/ 2147483646 w 72"/>
                    <a:gd name="T21" fmla="*/ 2147483646 h 154"/>
                    <a:gd name="T22" fmla="*/ 2147483646 w 72"/>
                    <a:gd name="T23" fmla="*/ 2147483646 h 154"/>
                    <a:gd name="T24" fmla="*/ 2147483646 w 72"/>
                    <a:gd name="T25" fmla="*/ 2147483646 h 154"/>
                    <a:gd name="T26" fmla="*/ 2147483646 w 72"/>
                    <a:gd name="T27" fmla="*/ 2147483646 h 154"/>
                    <a:gd name="T28" fmla="*/ 2147483646 w 72"/>
                    <a:gd name="T29" fmla="*/ 2147483646 h 154"/>
                    <a:gd name="T30" fmla="*/ 2147483646 w 72"/>
                    <a:gd name="T31" fmla="*/ 2147483646 h 154"/>
                    <a:gd name="T32" fmla="*/ 2147483646 w 72"/>
                    <a:gd name="T33" fmla="*/ 2147483646 h 154"/>
                    <a:gd name="T34" fmla="*/ 2147483646 w 72"/>
                    <a:gd name="T35" fmla="*/ 2147483646 h 154"/>
                    <a:gd name="T36" fmla="*/ 2147483646 w 72"/>
                    <a:gd name="T37" fmla="*/ 2147483646 h 154"/>
                    <a:gd name="T38" fmla="*/ 2147483646 w 72"/>
                    <a:gd name="T39" fmla="*/ 2147483646 h 154"/>
                    <a:gd name="T40" fmla="*/ 2147483646 w 72"/>
                    <a:gd name="T41" fmla="*/ 2147483646 h 154"/>
                    <a:gd name="T42" fmla="*/ 0 w 72"/>
                    <a:gd name="T43" fmla="*/ 2147483646 h 154"/>
                    <a:gd name="T44" fmla="*/ 2147483646 w 72"/>
                    <a:gd name="T45" fmla="*/ 2147483646 h 154"/>
                    <a:gd name="T46" fmla="*/ 2147483646 w 72"/>
                    <a:gd name="T47" fmla="*/ 2147483646 h 154"/>
                    <a:gd name="T48" fmla="*/ 2147483646 w 72"/>
                    <a:gd name="T49" fmla="*/ 2147483646 h 154"/>
                    <a:gd name="T50" fmla="*/ 2147483646 w 72"/>
                    <a:gd name="T51" fmla="*/ 2147483646 h 154"/>
                    <a:gd name="T52" fmla="*/ 2147483646 w 72"/>
                    <a:gd name="T53" fmla="*/ 2147483646 h 154"/>
                    <a:gd name="T54" fmla="*/ 2147483646 w 72"/>
                    <a:gd name="T55" fmla="*/ 2147483646 h 154"/>
                    <a:gd name="T56" fmla="*/ 2147483646 w 72"/>
                    <a:gd name="T57" fmla="*/ 0 h 154"/>
                    <a:gd name="T58" fmla="*/ 2147483646 w 72"/>
                    <a:gd name="T59" fmla="*/ 0 h 154"/>
                    <a:gd name="T60" fmla="*/ 2147483646 w 72"/>
                    <a:gd name="T61" fmla="*/ 0 h 154"/>
                    <a:gd name="T62" fmla="*/ 2147483646 w 72"/>
                    <a:gd name="T63" fmla="*/ 0 h 154"/>
                    <a:gd name="T64" fmla="*/ 2147483646 w 72"/>
                    <a:gd name="T65" fmla="*/ 0 h 15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72"/>
                    <a:gd name="T100" fmla="*/ 0 h 154"/>
                    <a:gd name="T101" fmla="*/ 72 w 72"/>
                    <a:gd name="T102" fmla="*/ 154 h 15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72" h="154">
                      <a:moveTo>
                        <a:pt x="72" y="0"/>
                      </a:moveTo>
                      <a:lnTo>
                        <a:pt x="69" y="4"/>
                      </a:lnTo>
                      <a:lnTo>
                        <a:pt x="67" y="9"/>
                      </a:lnTo>
                      <a:lnTo>
                        <a:pt x="66" y="13"/>
                      </a:lnTo>
                      <a:lnTo>
                        <a:pt x="66" y="18"/>
                      </a:lnTo>
                      <a:lnTo>
                        <a:pt x="66" y="27"/>
                      </a:lnTo>
                      <a:lnTo>
                        <a:pt x="66" y="37"/>
                      </a:lnTo>
                      <a:lnTo>
                        <a:pt x="69" y="43"/>
                      </a:lnTo>
                      <a:lnTo>
                        <a:pt x="71" y="50"/>
                      </a:lnTo>
                      <a:lnTo>
                        <a:pt x="71" y="57"/>
                      </a:lnTo>
                      <a:lnTo>
                        <a:pt x="71" y="65"/>
                      </a:lnTo>
                      <a:lnTo>
                        <a:pt x="69" y="73"/>
                      </a:lnTo>
                      <a:lnTo>
                        <a:pt x="67" y="82"/>
                      </a:lnTo>
                      <a:lnTo>
                        <a:pt x="65" y="91"/>
                      </a:lnTo>
                      <a:lnTo>
                        <a:pt x="61" y="100"/>
                      </a:lnTo>
                      <a:lnTo>
                        <a:pt x="53" y="116"/>
                      </a:lnTo>
                      <a:lnTo>
                        <a:pt x="44" y="131"/>
                      </a:lnTo>
                      <a:lnTo>
                        <a:pt x="34" y="144"/>
                      </a:lnTo>
                      <a:lnTo>
                        <a:pt x="26" y="154"/>
                      </a:lnTo>
                      <a:lnTo>
                        <a:pt x="26" y="141"/>
                      </a:lnTo>
                      <a:lnTo>
                        <a:pt x="15" y="144"/>
                      </a:lnTo>
                      <a:lnTo>
                        <a:pt x="0" y="148"/>
                      </a:lnTo>
                      <a:lnTo>
                        <a:pt x="3" y="129"/>
                      </a:lnTo>
                      <a:lnTo>
                        <a:pt x="8" y="105"/>
                      </a:lnTo>
                      <a:lnTo>
                        <a:pt x="9" y="92"/>
                      </a:lnTo>
                      <a:lnTo>
                        <a:pt x="12" y="77"/>
                      </a:lnTo>
                      <a:lnTo>
                        <a:pt x="15" y="63"/>
                      </a:lnTo>
                      <a:lnTo>
                        <a:pt x="20" y="49"/>
                      </a:lnTo>
                      <a:lnTo>
                        <a:pt x="20" y="0"/>
                      </a:lnTo>
                      <a:lnTo>
                        <a:pt x="25" y="0"/>
                      </a:lnTo>
                      <a:lnTo>
                        <a:pt x="38" y="0"/>
                      </a:lnTo>
                      <a:lnTo>
                        <a:pt x="56" y="0"/>
                      </a:lnTo>
                      <a:lnTo>
                        <a:pt x="72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99" name="Freeform 219">
                  <a:extLst>
                    <a:ext uri="{FF2B5EF4-FFF2-40B4-BE49-F238E27FC236}">
                      <a16:creationId xmlns:a16="http://schemas.microsoft.com/office/drawing/2014/main" xmlns="" id="{ACE72B9E-B152-4512-B8DB-254A503ABFE7}"/>
                    </a:ext>
                  </a:extLst>
                </p:cNvPr>
                <p:cNvSpPr>
                  <a:spLocks/>
                </p:cNvSpPr>
                <p:nvPr>
                  <p:custDataLst>
                    <p:tags r:id="rId146"/>
                  </p:custDataLst>
                </p:nvPr>
              </p:nvSpPr>
              <p:spPr bwMode="auto">
                <a:xfrm>
                  <a:off x="1720850" y="3106738"/>
                  <a:ext cx="93663" cy="146050"/>
                </a:xfrm>
                <a:custGeom>
                  <a:avLst/>
                  <a:gdLst>
                    <a:gd name="T0" fmla="*/ 2147483646 w 214"/>
                    <a:gd name="T1" fmla="*/ 2147483646 h 271"/>
                    <a:gd name="T2" fmla="*/ 2147483646 w 214"/>
                    <a:gd name="T3" fmla="*/ 2147483646 h 271"/>
                    <a:gd name="T4" fmla="*/ 2147483646 w 214"/>
                    <a:gd name="T5" fmla="*/ 2147483646 h 271"/>
                    <a:gd name="T6" fmla="*/ 2147483646 w 214"/>
                    <a:gd name="T7" fmla="*/ 2147483646 h 271"/>
                    <a:gd name="T8" fmla="*/ 2147483646 w 214"/>
                    <a:gd name="T9" fmla="*/ 2147483646 h 271"/>
                    <a:gd name="T10" fmla="*/ 2147483646 w 214"/>
                    <a:gd name="T11" fmla="*/ 2147483646 h 271"/>
                    <a:gd name="T12" fmla="*/ 2147483646 w 214"/>
                    <a:gd name="T13" fmla="*/ 2147483646 h 271"/>
                    <a:gd name="T14" fmla="*/ 2147483646 w 214"/>
                    <a:gd name="T15" fmla="*/ 2147483646 h 271"/>
                    <a:gd name="T16" fmla="*/ 2147483646 w 214"/>
                    <a:gd name="T17" fmla="*/ 2147483646 h 271"/>
                    <a:gd name="T18" fmla="*/ 2147483646 w 214"/>
                    <a:gd name="T19" fmla="*/ 2147483646 h 271"/>
                    <a:gd name="T20" fmla="*/ 2147483646 w 214"/>
                    <a:gd name="T21" fmla="*/ 2147483646 h 271"/>
                    <a:gd name="T22" fmla="*/ 2147483646 w 214"/>
                    <a:gd name="T23" fmla="*/ 2147483646 h 271"/>
                    <a:gd name="T24" fmla="*/ 2147483646 w 214"/>
                    <a:gd name="T25" fmla="*/ 2147483646 h 271"/>
                    <a:gd name="T26" fmla="*/ 2147483646 w 214"/>
                    <a:gd name="T27" fmla="*/ 2147483646 h 271"/>
                    <a:gd name="T28" fmla="*/ 2147483646 w 214"/>
                    <a:gd name="T29" fmla="*/ 2147483646 h 271"/>
                    <a:gd name="T30" fmla="*/ 2147483646 w 214"/>
                    <a:gd name="T31" fmla="*/ 2147483646 h 271"/>
                    <a:gd name="T32" fmla="*/ 2147483646 w 214"/>
                    <a:gd name="T33" fmla="*/ 2147483646 h 271"/>
                    <a:gd name="T34" fmla="*/ 2147483646 w 214"/>
                    <a:gd name="T35" fmla="*/ 2147483646 h 271"/>
                    <a:gd name="T36" fmla="*/ 2147483646 w 214"/>
                    <a:gd name="T37" fmla="*/ 0 h 271"/>
                    <a:gd name="T38" fmla="*/ 2147483646 w 214"/>
                    <a:gd name="T39" fmla="*/ 0 h 271"/>
                    <a:gd name="T40" fmla="*/ 2147483646 w 214"/>
                    <a:gd name="T41" fmla="*/ 2147483646 h 271"/>
                    <a:gd name="T42" fmla="*/ 2147483646 w 214"/>
                    <a:gd name="T43" fmla="*/ 2147483646 h 271"/>
                    <a:gd name="T44" fmla="*/ 2147483646 w 214"/>
                    <a:gd name="T45" fmla="*/ 2147483646 h 271"/>
                    <a:gd name="T46" fmla="*/ 2147483646 w 214"/>
                    <a:gd name="T47" fmla="*/ 2147483646 h 271"/>
                    <a:gd name="T48" fmla="*/ 2147483646 w 214"/>
                    <a:gd name="T49" fmla="*/ 2147483646 h 271"/>
                    <a:gd name="T50" fmla="*/ 2147483646 w 214"/>
                    <a:gd name="T51" fmla="*/ 2147483646 h 271"/>
                    <a:gd name="T52" fmla="*/ 2147483646 w 214"/>
                    <a:gd name="T53" fmla="*/ 2147483646 h 271"/>
                    <a:gd name="T54" fmla="*/ 2147483646 w 214"/>
                    <a:gd name="T55" fmla="*/ 2147483646 h 271"/>
                    <a:gd name="T56" fmla="*/ 2147483646 w 214"/>
                    <a:gd name="T57" fmla="*/ 2147483646 h 271"/>
                    <a:gd name="T58" fmla="*/ 2147483646 w 214"/>
                    <a:gd name="T59" fmla="*/ 2147483646 h 271"/>
                    <a:gd name="T60" fmla="*/ 2147483646 w 214"/>
                    <a:gd name="T61" fmla="*/ 2147483646 h 271"/>
                    <a:gd name="T62" fmla="*/ 2147483646 w 214"/>
                    <a:gd name="T63" fmla="*/ 2147483646 h 271"/>
                    <a:gd name="T64" fmla="*/ 2147483646 w 214"/>
                    <a:gd name="T65" fmla="*/ 2147483646 h 271"/>
                    <a:gd name="T66" fmla="*/ 2147483646 w 214"/>
                    <a:gd name="T67" fmla="*/ 2147483646 h 271"/>
                    <a:gd name="T68" fmla="*/ 2147483646 w 214"/>
                    <a:gd name="T69" fmla="*/ 2147483646 h 271"/>
                    <a:gd name="T70" fmla="*/ 0 w 214"/>
                    <a:gd name="T71" fmla="*/ 2147483646 h 271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14"/>
                    <a:gd name="T109" fmla="*/ 0 h 271"/>
                    <a:gd name="T110" fmla="*/ 214 w 214"/>
                    <a:gd name="T111" fmla="*/ 271 h 271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14" h="271">
                      <a:moveTo>
                        <a:pt x="7" y="221"/>
                      </a:moveTo>
                      <a:lnTo>
                        <a:pt x="8" y="207"/>
                      </a:lnTo>
                      <a:lnTo>
                        <a:pt x="9" y="192"/>
                      </a:lnTo>
                      <a:lnTo>
                        <a:pt x="12" y="181"/>
                      </a:lnTo>
                      <a:lnTo>
                        <a:pt x="16" y="170"/>
                      </a:lnTo>
                      <a:lnTo>
                        <a:pt x="24" y="148"/>
                      </a:lnTo>
                      <a:lnTo>
                        <a:pt x="34" y="123"/>
                      </a:lnTo>
                      <a:lnTo>
                        <a:pt x="35" y="118"/>
                      </a:lnTo>
                      <a:lnTo>
                        <a:pt x="40" y="114"/>
                      </a:lnTo>
                      <a:lnTo>
                        <a:pt x="44" y="112"/>
                      </a:lnTo>
                      <a:lnTo>
                        <a:pt x="51" y="111"/>
                      </a:lnTo>
                      <a:lnTo>
                        <a:pt x="65" y="111"/>
                      </a:lnTo>
                      <a:lnTo>
                        <a:pt x="82" y="111"/>
                      </a:lnTo>
                      <a:lnTo>
                        <a:pt x="89" y="111"/>
                      </a:lnTo>
                      <a:lnTo>
                        <a:pt x="98" y="111"/>
                      </a:lnTo>
                      <a:lnTo>
                        <a:pt x="106" y="110"/>
                      </a:lnTo>
                      <a:lnTo>
                        <a:pt x="113" y="108"/>
                      </a:lnTo>
                      <a:lnTo>
                        <a:pt x="120" y="105"/>
                      </a:lnTo>
                      <a:lnTo>
                        <a:pt x="125" y="100"/>
                      </a:lnTo>
                      <a:lnTo>
                        <a:pt x="130" y="94"/>
                      </a:lnTo>
                      <a:lnTo>
                        <a:pt x="133" y="85"/>
                      </a:lnTo>
                      <a:lnTo>
                        <a:pt x="113" y="73"/>
                      </a:lnTo>
                      <a:lnTo>
                        <a:pt x="94" y="63"/>
                      </a:lnTo>
                      <a:lnTo>
                        <a:pt x="86" y="58"/>
                      </a:lnTo>
                      <a:lnTo>
                        <a:pt x="79" y="52"/>
                      </a:lnTo>
                      <a:lnTo>
                        <a:pt x="77" y="49"/>
                      </a:lnTo>
                      <a:lnTo>
                        <a:pt x="75" y="45"/>
                      </a:lnTo>
                      <a:lnTo>
                        <a:pt x="74" y="41"/>
                      </a:lnTo>
                      <a:lnTo>
                        <a:pt x="74" y="37"/>
                      </a:lnTo>
                      <a:lnTo>
                        <a:pt x="75" y="34"/>
                      </a:lnTo>
                      <a:lnTo>
                        <a:pt x="77" y="31"/>
                      </a:lnTo>
                      <a:lnTo>
                        <a:pt x="82" y="28"/>
                      </a:lnTo>
                      <a:lnTo>
                        <a:pt x="87" y="25"/>
                      </a:lnTo>
                      <a:lnTo>
                        <a:pt x="101" y="19"/>
                      </a:lnTo>
                      <a:lnTo>
                        <a:pt x="118" y="13"/>
                      </a:lnTo>
                      <a:lnTo>
                        <a:pt x="150" y="3"/>
                      </a:lnTo>
                      <a:lnTo>
                        <a:pt x="167" y="0"/>
                      </a:lnTo>
                      <a:lnTo>
                        <a:pt x="180" y="0"/>
                      </a:lnTo>
                      <a:lnTo>
                        <a:pt x="190" y="0"/>
                      </a:lnTo>
                      <a:lnTo>
                        <a:pt x="198" y="0"/>
                      </a:lnTo>
                      <a:lnTo>
                        <a:pt x="200" y="0"/>
                      </a:lnTo>
                      <a:lnTo>
                        <a:pt x="207" y="49"/>
                      </a:lnTo>
                      <a:lnTo>
                        <a:pt x="202" y="63"/>
                      </a:lnTo>
                      <a:lnTo>
                        <a:pt x="199" y="77"/>
                      </a:lnTo>
                      <a:lnTo>
                        <a:pt x="196" y="92"/>
                      </a:lnTo>
                      <a:lnTo>
                        <a:pt x="195" y="105"/>
                      </a:lnTo>
                      <a:lnTo>
                        <a:pt x="190" y="129"/>
                      </a:lnTo>
                      <a:lnTo>
                        <a:pt x="187" y="148"/>
                      </a:lnTo>
                      <a:lnTo>
                        <a:pt x="202" y="151"/>
                      </a:lnTo>
                      <a:lnTo>
                        <a:pt x="213" y="154"/>
                      </a:lnTo>
                      <a:lnTo>
                        <a:pt x="214" y="158"/>
                      </a:lnTo>
                      <a:lnTo>
                        <a:pt x="214" y="166"/>
                      </a:lnTo>
                      <a:lnTo>
                        <a:pt x="213" y="170"/>
                      </a:lnTo>
                      <a:lnTo>
                        <a:pt x="210" y="174"/>
                      </a:lnTo>
                      <a:lnTo>
                        <a:pt x="209" y="176"/>
                      </a:lnTo>
                      <a:lnTo>
                        <a:pt x="207" y="177"/>
                      </a:lnTo>
                      <a:lnTo>
                        <a:pt x="203" y="178"/>
                      </a:lnTo>
                      <a:lnTo>
                        <a:pt x="200" y="178"/>
                      </a:lnTo>
                      <a:lnTo>
                        <a:pt x="197" y="187"/>
                      </a:lnTo>
                      <a:lnTo>
                        <a:pt x="192" y="196"/>
                      </a:lnTo>
                      <a:lnTo>
                        <a:pt x="188" y="205"/>
                      </a:lnTo>
                      <a:lnTo>
                        <a:pt x="181" y="214"/>
                      </a:lnTo>
                      <a:lnTo>
                        <a:pt x="169" y="229"/>
                      </a:lnTo>
                      <a:lnTo>
                        <a:pt x="155" y="243"/>
                      </a:lnTo>
                      <a:lnTo>
                        <a:pt x="131" y="263"/>
                      </a:lnTo>
                      <a:lnTo>
                        <a:pt x="120" y="271"/>
                      </a:lnTo>
                      <a:lnTo>
                        <a:pt x="103" y="266"/>
                      </a:lnTo>
                      <a:lnTo>
                        <a:pt x="87" y="261"/>
                      </a:lnTo>
                      <a:lnTo>
                        <a:pt x="71" y="254"/>
                      </a:lnTo>
                      <a:lnTo>
                        <a:pt x="55" y="248"/>
                      </a:lnTo>
                      <a:lnTo>
                        <a:pt x="27" y="235"/>
                      </a:lnTo>
                      <a:lnTo>
                        <a:pt x="0" y="221"/>
                      </a:lnTo>
                      <a:lnTo>
                        <a:pt x="7" y="22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00" name="Freeform 220">
                  <a:extLst>
                    <a:ext uri="{FF2B5EF4-FFF2-40B4-BE49-F238E27FC236}">
                      <a16:creationId xmlns:a16="http://schemas.microsoft.com/office/drawing/2014/main" xmlns="" id="{575CA8F0-F8AB-45B6-B5E5-1EDDCC784640}"/>
                    </a:ext>
                  </a:extLst>
                </p:cNvPr>
                <p:cNvSpPr>
                  <a:spLocks/>
                </p:cNvSpPr>
                <p:nvPr>
                  <p:custDataLst>
                    <p:tags r:id="rId147"/>
                  </p:custDataLst>
                </p:nvPr>
              </p:nvSpPr>
              <p:spPr bwMode="auto">
                <a:xfrm>
                  <a:off x="1768475" y="3217863"/>
                  <a:ext cx="71438" cy="57150"/>
                </a:xfrm>
                <a:custGeom>
                  <a:avLst/>
                  <a:gdLst>
                    <a:gd name="T0" fmla="*/ 2147483646 w 153"/>
                    <a:gd name="T1" fmla="*/ 0 h 80"/>
                    <a:gd name="T2" fmla="*/ 2147483646 w 153"/>
                    <a:gd name="T3" fmla="*/ 2147483646 h 80"/>
                    <a:gd name="T4" fmla="*/ 2147483646 w 153"/>
                    <a:gd name="T5" fmla="*/ 2147483646 h 80"/>
                    <a:gd name="T6" fmla="*/ 2147483646 w 153"/>
                    <a:gd name="T7" fmla="*/ 2147483646 h 80"/>
                    <a:gd name="T8" fmla="*/ 2147483646 w 153"/>
                    <a:gd name="T9" fmla="*/ 2147483646 h 80"/>
                    <a:gd name="T10" fmla="*/ 2147483646 w 153"/>
                    <a:gd name="T11" fmla="*/ 2147483646 h 80"/>
                    <a:gd name="T12" fmla="*/ 2147483646 w 153"/>
                    <a:gd name="T13" fmla="*/ 2147483646 h 80"/>
                    <a:gd name="T14" fmla="*/ 2147483646 w 153"/>
                    <a:gd name="T15" fmla="*/ 2147483646 h 80"/>
                    <a:gd name="T16" fmla="*/ 2147483646 w 153"/>
                    <a:gd name="T17" fmla="*/ 2147483646 h 80"/>
                    <a:gd name="T18" fmla="*/ 2147483646 w 153"/>
                    <a:gd name="T19" fmla="*/ 2147483646 h 80"/>
                    <a:gd name="T20" fmla="*/ 2147483646 w 153"/>
                    <a:gd name="T21" fmla="*/ 2147483646 h 80"/>
                    <a:gd name="T22" fmla="*/ 2147483646 w 153"/>
                    <a:gd name="T23" fmla="*/ 2147483646 h 80"/>
                    <a:gd name="T24" fmla="*/ 2147483646 w 153"/>
                    <a:gd name="T25" fmla="*/ 2147483646 h 80"/>
                    <a:gd name="T26" fmla="*/ 2147483646 w 153"/>
                    <a:gd name="T27" fmla="*/ 2147483646 h 80"/>
                    <a:gd name="T28" fmla="*/ 2147483646 w 153"/>
                    <a:gd name="T29" fmla="*/ 2147483646 h 80"/>
                    <a:gd name="T30" fmla="*/ 2147483646 w 153"/>
                    <a:gd name="T31" fmla="*/ 2147483646 h 80"/>
                    <a:gd name="T32" fmla="*/ 2147483646 w 153"/>
                    <a:gd name="T33" fmla="*/ 2147483646 h 80"/>
                    <a:gd name="T34" fmla="*/ 2147483646 w 153"/>
                    <a:gd name="T35" fmla="*/ 2147483646 h 80"/>
                    <a:gd name="T36" fmla="*/ 2147483646 w 153"/>
                    <a:gd name="T37" fmla="*/ 2147483646 h 80"/>
                    <a:gd name="T38" fmla="*/ 2147483646 w 153"/>
                    <a:gd name="T39" fmla="*/ 2147483646 h 80"/>
                    <a:gd name="T40" fmla="*/ 2147483646 w 153"/>
                    <a:gd name="T41" fmla="*/ 2147483646 h 80"/>
                    <a:gd name="T42" fmla="*/ 2147483646 w 153"/>
                    <a:gd name="T43" fmla="*/ 2147483646 h 80"/>
                    <a:gd name="T44" fmla="*/ 2147483646 w 153"/>
                    <a:gd name="T45" fmla="*/ 2147483646 h 80"/>
                    <a:gd name="T46" fmla="*/ 2147483646 w 153"/>
                    <a:gd name="T47" fmla="*/ 2147483646 h 80"/>
                    <a:gd name="T48" fmla="*/ 2147483646 w 153"/>
                    <a:gd name="T49" fmla="*/ 2147483646 h 80"/>
                    <a:gd name="T50" fmla="*/ 0 w 153"/>
                    <a:gd name="T51" fmla="*/ 2147483646 h 80"/>
                    <a:gd name="T52" fmla="*/ 2147483646 w 153"/>
                    <a:gd name="T53" fmla="*/ 2147483646 h 80"/>
                    <a:gd name="T54" fmla="*/ 2147483646 w 153"/>
                    <a:gd name="T55" fmla="*/ 2147483646 h 80"/>
                    <a:gd name="T56" fmla="*/ 2147483646 w 153"/>
                    <a:gd name="T57" fmla="*/ 2147483646 h 80"/>
                    <a:gd name="T58" fmla="*/ 2147483646 w 153"/>
                    <a:gd name="T59" fmla="*/ 2147483646 h 80"/>
                    <a:gd name="T60" fmla="*/ 2147483646 w 153"/>
                    <a:gd name="T61" fmla="*/ 2147483646 h 80"/>
                    <a:gd name="T62" fmla="*/ 2147483646 w 153"/>
                    <a:gd name="T63" fmla="*/ 2147483646 h 80"/>
                    <a:gd name="T64" fmla="*/ 2147483646 w 153"/>
                    <a:gd name="T65" fmla="*/ 0 h 80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53"/>
                    <a:gd name="T100" fmla="*/ 0 h 80"/>
                    <a:gd name="T101" fmla="*/ 153 w 153"/>
                    <a:gd name="T102" fmla="*/ 80 h 80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53" h="80">
                      <a:moveTo>
                        <a:pt x="60" y="0"/>
                      </a:moveTo>
                      <a:lnTo>
                        <a:pt x="83" y="14"/>
                      </a:lnTo>
                      <a:lnTo>
                        <a:pt x="104" y="24"/>
                      </a:lnTo>
                      <a:lnTo>
                        <a:pt x="115" y="28"/>
                      </a:lnTo>
                      <a:lnTo>
                        <a:pt x="126" y="31"/>
                      </a:lnTo>
                      <a:lnTo>
                        <a:pt x="133" y="32"/>
                      </a:lnTo>
                      <a:lnTo>
                        <a:pt x="139" y="32"/>
                      </a:lnTo>
                      <a:lnTo>
                        <a:pt x="146" y="31"/>
                      </a:lnTo>
                      <a:lnTo>
                        <a:pt x="153" y="30"/>
                      </a:lnTo>
                      <a:lnTo>
                        <a:pt x="153" y="56"/>
                      </a:lnTo>
                      <a:lnTo>
                        <a:pt x="149" y="60"/>
                      </a:lnTo>
                      <a:lnTo>
                        <a:pt x="145" y="65"/>
                      </a:lnTo>
                      <a:lnTo>
                        <a:pt x="138" y="69"/>
                      </a:lnTo>
                      <a:lnTo>
                        <a:pt x="132" y="72"/>
                      </a:lnTo>
                      <a:lnTo>
                        <a:pt x="125" y="75"/>
                      </a:lnTo>
                      <a:lnTo>
                        <a:pt x="119" y="78"/>
                      </a:lnTo>
                      <a:lnTo>
                        <a:pt x="112" y="79"/>
                      </a:lnTo>
                      <a:lnTo>
                        <a:pt x="106" y="80"/>
                      </a:lnTo>
                      <a:lnTo>
                        <a:pt x="90" y="74"/>
                      </a:lnTo>
                      <a:lnTo>
                        <a:pt x="76" y="71"/>
                      </a:lnTo>
                      <a:lnTo>
                        <a:pt x="63" y="69"/>
                      </a:lnTo>
                      <a:lnTo>
                        <a:pt x="50" y="69"/>
                      </a:lnTo>
                      <a:lnTo>
                        <a:pt x="39" y="68"/>
                      </a:lnTo>
                      <a:lnTo>
                        <a:pt x="27" y="67"/>
                      </a:lnTo>
                      <a:lnTo>
                        <a:pt x="14" y="65"/>
                      </a:lnTo>
                      <a:lnTo>
                        <a:pt x="0" y="62"/>
                      </a:lnTo>
                      <a:lnTo>
                        <a:pt x="7" y="58"/>
                      </a:lnTo>
                      <a:lnTo>
                        <a:pt x="23" y="45"/>
                      </a:lnTo>
                      <a:lnTo>
                        <a:pt x="34" y="37"/>
                      </a:lnTo>
                      <a:lnTo>
                        <a:pt x="45" y="28"/>
                      </a:lnTo>
                      <a:lnTo>
                        <a:pt x="56" y="17"/>
                      </a:lnTo>
                      <a:lnTo>
                        <a:pt x="67" y="6"/>
                      </a:lnTo>
                      <a:lnTo>
                        <a:pt x="6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01" name="Freeform 221">
                  <a:extLst>
                    <a:ext uri="{FF2B5EF4-FFF2-40B4-BE49-F238E27FC236}">
                      <a16:creationId xmlns:a16="http://schemas.microsoft.com/office/drawing/2014/main" xmlns="" id="{C7FED80B-700A-4E69-82E0-9E5A9A8BA32D}"/>
                    </a:ext>
                  </a:extLst>
                </p:cNvPr>
                <p:cNvSpPr>
                  <a:spLocks/>
                </p:cNvSpPr>
                <p:nvPr>
                  <p:custDataLst>
                    <p:tags r:id="rId148"/>
                  </p:custDataLst>
                </p:nvPr>
              </p:nvSpPr>
              <p:spPr bwMode="auto">
                <a:xfrm>
                  <a:off x="1800225" y="3179763"/>
                  <a:ext cx="142875" cy="87312"/>
                </a:xfrm>
                <a:custGeom>
                  <a:avLst/>
                  <a:gdLst>
                    <a:gd name="T0" fmla="*/ 0 w 332"/>
                    <a:gd name="T1" fmla="*/ 2147483646 h 169"/>
                    <a:gd name="T2" fmla="*/ 2147483646 w 332"/>
                    <a:gd name="T3" fmla="*/ 2147483646 h 169"/>
                    <a:gd name="T4" fmla="*/ 2147483646 w 332"/>
                    <a:gd name="T5" fmla="*/ 2147483646 h 169"/>
                    <a:gd name="T6" fmla="*/ 2147483646 w 332"/>
                    <a:gd name="T7" fmla="*/ 2147483646 h 169"/>
                    <a:gd name="T8" fmla="*/ 2147483646 w 332"/>
                    <a:gd name="T9" fmla="*/ 2147483646 h 169"/>
                    <a:gd name="T10" fmla="*/ 2147483646 w 332"/>
                    <a:gd name="T11" fmla="*/ 2147483646 h 169"/>
                    <a:gd name="T12" fmla="*/ 2147483646 w 332"/>
                    <a:gd name="T13" fmla="*/ 2147483646 h 169"/>
                    <a:gd name="T14" fmla="*/ 2147483646 w 332"/>
                    <a:gd name="T15" fmla="*/ 2147483646 h 169"/>
                    <a:gd name="T16" fmla="*/ 2147483646 w 332"/>
                    <a:gd name="T17" fmla="*/ 2147483646 h 169"/>
                    <a:gd name="T18" fmla="*/ 2147483646 w 332"/>
                    <a:gd name="T19" fmla="*/ 2147483646 h 169"/>
                    <a:gd name="T20" fmla="*/ 2147483646 w 332"/>
                    <a:gd name="T21" fmla="*/ 2147483646 h 169"/>
                    <a:gd name="T22" fmla="*/ 2147483646 w 332"/>
                    <a:gd name="T23" fmla="*/ 2147483646 h 169"/>
                    <a:gd name="T24" fmla="*/ 2147483646 w 332"/>
                    <a:gd name="T25" fmla="*/ 2147483646 h 169"/>
                    <a:gd name="T26" fmla="*/ 2147483646 w 332"/>
                    <a:gd name="T27" fmla="*/ 2147483646 h 169"/>
                    <a:gd name="T28" fmla="*/ 2147483646 w 332"/>
                    <a:gd name="T29" fmla="*/ 2147483646 h 169"/>
                    <a:gd name="T30" fmla="*/ 2147483646 w 332"/>
                    <a:gd name="T31" fmla="*/ 2147483646 h 169"/>
                    <a:gd name="T32" fmla="*/ 2147483646 w 332"/>
                    <a:gd name="T33" fmla="*/ 2147483646 h 169"/>
                    <a:gd name="T34" fmla="*/ 2147483646 w 332"/>
                    <a:gd name="T35" fmla="*/ 2147483646 h 169"/>
                    <a:gd name="T36" fmla="*/ 2147483646 w 332"/>
                    <a:gd name="T37" fmla="*/ 2147483646 h 169"/>
                    <a:gd name="T38" fmla="*/ 2147483646 w 332"/>
                    <a:gd name="T39" fmla="*/ 2147483646 h 169"/>
                    <a:gd name="T40" fmla="*/ 2147483646 w 332"/>
                    <a:gd name="T41" fmla="*/ 2147483646 h 169"/>
                    <a:gd name="T42" fmla="*/ 2147483646 w 332"/>
                    <a:gd name="T43" fmla="*/ 0 h 169"/>
                    <a:gd name="T44" fmla="*/ 2147483646 w 332"/>
                    <a:gd name="T45" fmla="*/ 2147483646 h 169"/>
                    <a:gd name="T46" fmla="*/ 2147483646 w 332"/>
                    <a:gd name="T47" fmla="*/ 2147483646 h 169"/>
                    <a:gd name="T48" fmla="*/ 2147483646 w 332"/>
                    <a:gd name="T49" fmla="*/ 2147483646 h 169"/>
                    <a:gd name="T50" fmla="*/ 2147483646 w 332"/>
                    <a:gd name="T51" fmla="*/ 2147483646 h 169"/>
                    <a:gd name="T52" fmla="*/ 2147483646 w 332"/>
                    <a:gd name="T53" fmla="*/ 2147483646 h 169"/>
                    <a:gd name="T54" fmla="*/ 2147483646 w 332"/>
                    <a:gd name="T55" fmla="*/ 2147483646 h 169"/>
                    <a:gd name="T56" fmla="*/ 2147483646 w 332"/>
                    <a:gd name="T57" fmla="*/ 2147483646 h 169"/>
                    <a:gd name="T58" fmla="*/ 2147483646 w 332"/>
                    <a:gd name="T59" fmla="*/ 2147483646 h 169"/>
                    <a:gd name="T60" fmla="*/ 2147483646 w 332"/>
                    <a:gd name="T61" fmla="*/ 2147483646 h 169"/>
                    <a:gd name="T62" fmla="*/ 2147483646 w 332"/>
                    <a:gd name="T63" fmla="*/ 2147483646 h 169"/>
                    <a:gd name="T64" fmla="*/ 2147483646 w 332"/>
                    <a:gd name="T65" fmla="*/ 2147483646 h 169"/>
                    <a:gd name="T66" fmla="*/ 2147483646 w 332"/>
                    <a:gd name="T67" fmla="*/ 2147483646 h 169"/>
                    <a:gd name="T68" fmla="*/ 2147483646 w 332"/>
                    <a:gd name="T69" fmla="*/ 2147483646 h 169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332"/>
                    <a:gd name="T106" fmla="*/ 0 h 169"/>
                    <a:gd name="T107" fmla="*/ 332 w 332"/>
                    <a:gd name="T108" fmla="*/ 169 h 169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332" h="169">
                      <a:moveTo>
                        <a:pt x="7" y="83"/>
                      </a:moveTo>
                      <a:lnTo>
                        <a:pt x="0" y="77"/>
                      </a:lnTo>
                      <a:lnTo>
                        <a:pt x="23" y="91"/>
                      </a:lnTo>
                      <a:lnTo>
                        <a:pt x="44" y="101"/>
                      </a:lnTo>
                      <a:lnTo>
                        <a:pt x="55" y="105"/>
                      </a:lnTo>
                      <a:lnTo>
                        <a:pt x="66" y="108"/>
                      </a:lnTo>
                      <a:lnTo>
                        <a:pt x="73" y="109"/>
                      </a:lnTo>
                      <a:lnTo>
                        <a:pt x="79" y="109"/>
                      </a:lnTo>
                      <a:lnTo>
                        <a:pt x="86" y="108"/>
                      </a:lnTo>
                      <a:lnTo>
                        <a:pt x="93" y="107"/>
                      </a:lnTo>
                      <a:lnTo>
                        <a:pt x="86" y="139"/>
                      </a:lnTo>
                      <a:lnTo>
                        <a:pt x="90" y="144"/>
                      </a:lnTo>
                      <a:lnTo>
                        <a:pt x="94" y="149"/>
                      </a:lnTo>
                      <a:lnTo>
                        <a:pt x="95" y="154"/>
                      </a:lnTo>
                      <a:lnTo>
                        <a:pt x="97" y="158"/>
                      </a:lnTo>
                      <a:lnTo>
                        <a:pt x="99" y="163"/>
                      </a:lnTo>
                      <a:lnTo>
                        <a:pt x="102" y="166"/>
                      </a:lnTo>
                      <a:lnTo>
                        <a:pt x="107" y="168"/>
                      </a:lnTo>
                      <a:lnTo>
                        <a:pt x="113" y="169"/>
                      </a:lnTo>
                      <a:lnTo>
                        <a:pt x="117" y="169"/>
                      </a:lnTo>
                      <a:lnTo>
                        <a:pt x="120" y="167"/>
                      </a:lnTo>
                      <a:lnTo>
                        <a:pt x="123" y="166"/>
                      </a:lnTo>
                      <a:lnTo>
                        <a:pt x="127" y="163"/>
                      </a:lnTo>
                      <a:lnTo>
                        <a:pt x="132" y="157"/>
                      </a:lnTo>
                      <a:lnTo>
                        <a:pt x="138" y="150"/>
                      </a:lnTo>
                      <a:lnTo>
                        <a:pt x="146" y="136"/>
                      </a:lnTo>
                      <a:lnTo>
                        <a:pt x="153" y="127"/>
                      </a:lnTo>
                      <a:lnTo>
                        <a:pt x="174" y="115"/>
                      </a:lnTo>
                      <a:lnTo>
                        <a:pt x="195" y="105"/>
                      </a:lnTo>
                      <a:lnTo>
                        <a:pt x="214" y="96"/>
                      </a:lnTo>
                      <a:lnTo>
                        <a:pt x="235" y="88"/>
                      </a:lnTo>
                      <a:lnTo>
                        <a:pt x="256" y="80"/>
                      </a:lnTo>
                      <a:lnTo>
                        <a:pt x="279" y="73"/>
                      </a:lnTo>
                      <a:lnTo>
                        <a:pt x="304" y="65"/>
                      </a:lnTo>
                      <a:lnTo>
                        <a:pt x="332" y="58"/>
                      </a:lnTo>
                      <a:lnTo>
                        <a:pt x="332" y="46"/>
                      </a:lnTo>
                      <a:lnTo>
                        <a:pt x="332" y="35"/>
                      </a:lnTo>
                      <a:lnTo>
                        <a:pt x="332" y="22"/>
                      </a:lnTo>
                      <a:lnTo>
                        <a:pt x="332" y="3"/>
                      </a:lnTo>
                      <a:lnTo>
                        <a:pt x="320" y="2"/>
                      </a:lnTo>
                      <a:lnTo>
                        <a:pt x="303" y="2"/>
                      </a:lnTo>
                      <a:lnTo>
                        <a:pt x="283" y="1"/>
                      </a:lnTo>
                      <a:lnTo>
                        <a:pt x="259" y="0"/>
                      </a:lnTo>
                      <a:lnTo>
                        <a:pt x="234" y="0"/>
                      </a:lnTo>
                      <a:lnTo>
                        <a:pt x="208" y="0"/>
                      </a:lnTo>
                      <a:lnTo>
                        <a:pt x="180" y="1"/>
                      </a:lnTo>
                      <a:lnTo>
                        <a:pt x="153" y="3"/>
                      </a:lnTo>
                      <a:lnTo>
                        <a:pt x="131" y="4"/>
                      </a:lnTo>
                      <a:lnTo>
                        <a:pt x="110" y="6"/>
                      </a:lnTo>
                      <a:lnTo>
                        <a:pt x="90" y="10"/>
                      </a:lnTo>
                      <a:lnTo>
                        <a:pt x="73" y="15"/>
                      </a:lnTo>
                      <a:lnTo>
                        <a:pt x="59" y="19"/>
                      </a:lnTo>
                      <a:lnTo>
                        <a:pt x="46" y="22"/>
                      </a:lnTo>
                      <a:lnTo>
                        <a:pt x="42" y="22"/>
                      </a:lnTo>
                      <a:lnTo>
                        <a:pt x="38" y="23"/>
                      </a:lnTo>
                      <a:lnTo>
                        <a:pt x="35" y="23"/>
                      </a:lnTo>
                      <a:lnTo>
                        <a:pt x="33" y="22"/>
                      </a:lnTo>
                      <a:lnTo>
                        <a:pt x="34" y="26"/>
                      </a:lnTo>
                      <a:lnTo>
                        <a:pt x="34" y="34"/>
                      </a:lnTo>
                      <a:lnTo>
                        <a:pt x="33" y="38"/>
                      </a:lnTo>
                      <a:lnTo>
                        <a:pt x="30" y="42"/>
                      </a:lnTo>
                      <a:lnTo>
                        <a:pt x="29" y="44"/>
                      </a:lnTo>
                      <a:lnTo>
                        <a:pt x="27" y="45"/>
                      </a:lnTo>
                      <a:lnTo>
                        <a:pt x="23" y="46"/>
                      </a:lnTo>
                      <a:lnTo>
                        <a:pt x="20" y="46"/>
                      </a:lnTo>
                      <a:lnTo>
                        <a:pt x="19" y="55"/>
                      </a:lnTo>
                      <a:lnTo>
                        <a:pt x="16" y="63"/>
                      </a:lnTo>
                      <a:lnTo>
                        <a:pt x="11" y="72"/>
                      </a:lnTo>
                      <a:lnTo>
                        <a:pt x="7" y="77"/>
                      </a:lnTo>
                      <a:lnTo>
                        <a:pt x="7" y="8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02" name="Freeform 222">
                  <a:extLst>
                    <a:ext uri="{FF2B5EF4-FFF2-40B4-BE49-F238E27FC236}">
                      <a16:creationId xmlns:a16="http://schemas.microsoft.com/office/drawing/2014/main" xmlns="" id="{B6C58E98-424E-4DF9-8C34-A335CAC76579}"/>
                    </a:ext>
                  </a:extLst>
                </p:cNvPr>
                <p:cNvSpPr>
                  <a:spLocks/>
                </p:cNvSpPr>
                <p:nvPr>
                  <p:custDataLst>
                    <p:tags r:id="rId149"/>
                  </p:custDataLst>
                </p:nvPr>
              </p:nvSpPr>
              <p:spPr bwMode="auto">
                <a:xfrm>
                  <a:off x="1817688" y="3209925"/>
                  <a:ext cx="125412" cy="122238"/>
                </a:xfrm>
                <a:custGeom>
                  <a:avLst/>
                  <a:gdLst>
                    <a:gd name="T0" fmla="*/ 2147483646 w 286"/>
                    <a:gd name="T1" fmla="*/ 2147483646 h 235"/>
                    <a:gd name="T2" fmla="*/ 2147483646 w 286"/>
                    <a:gd name="T3" fmla="*/ 2147483646 h 235"/>
                    <a:gd name="T4" fmla="*/ 2147483646 w 286"/>
                    <a:gd name="T5" fmla="*/ 2147483646 h 235"/>
                    <a:gd name="T6" fmla="*/ 2147483646 w 286"/>
                    <a:gd name="T7" fmla="*/ 2147483646 h 235"/>
                    <a:gd name="T8" fmla="*/ 2147483646 w 286"/>
                    <a:gd name="T9" fmla="*/ 2147483646 h 235"/>
                    <a:gd name="T10" fmla="*/ 2147483646 w 286"/>
                    <a:gd name="T11" fmla="*/ 2147483646 h 235"/>
                    <a:gd name="T12" fmla="*/ 2147483646 w 286"/>
                    <a:gd name="T13" fmla="*/ 2147483646 h 235"/>
                    <a:gd name="T14" fmla="*/ 2147483646 w 286"/>
                    <a:gd name="T15" fmla="*/ 2147483646 h 235"/>
                    <a:gd name="T16" fmla="*/ 2147483646 w 286"/>
                    <a:gd name="T17" fmla="*/ 2147483646 h 235"/>
                    <a:gd name="T18" fmla="*/ 2147483646 w 286"/>
                    <a:gd name="T19" fmla="*/ 2147483646 h 235"/>
                    <a:gd name="T20" fmla="*/ 2147483646 w 286"/>
                    <a:gd name="T21" fmla="*/ 2147483646 h 235"/>
                    <a:gd name="T22" fmla="*/ 2147483646 w 286"/>
                    <a:gd name="T23" fmla="*/ 2147483646 h 235"/>
                    <a:gd name="T24" fmla="*/ 2147483646 w 286"/>
                    <a:gd name="T25" fmla="*/ 2147483646 h 235"/>
                    <a:gd name="T26" fmla="*/ 2147483646 w 286"/>
                    <a:gd name="T27" fmla="*/ 2147483646 h 235"/>
                    <a:gd name="T28" fmla="*/ 2147483646 w 286"/>
                    <a:gd name="T29" fmla="*/ 2147483646 h 235"/>
                    <a:gd name="T30" fmla="*/ 2147483646 w 286"/>
                    <a:gd name="T31" fmla="*/ 2147483646 h 235"/>
                    <a:gd name="T32" fmla="*/ 2147483646 w 286"/>
                    <a:gd name="T33" fmla="*/ 2147483646 h 235"/>
                    <a:gd name="T34" fmla="*/ 2147483646 w 286"/>
                    <a:gd name="T35" fmla="*/ 2147483646 h 235"/>
                    <a:gd name="T36" fmla="*/ 2147483646 w 286"/>
                    <a:gd name="T37" fmla="*/ 2147483646 h 235"/>
                    <a:gd name="T38" fmla="*/ 2147483646 w 286"/>
                    <a:gd name="T39" fmla="*/ 2147483646 h 235"/>
                    <a:gd name="T40" fmla="*/ 2147483646 w 286"/>
                    <a:gd name="T41" fmla="*/ 2147483646 h 235"/>
                    <a:gd name="T42" fmla="*/ 2147483646 w 286"/>
                    <a:gd name="T43" fmla="*/ 2147483646 h 235"/>
                    <a:gd name="T44" fmla="*/ 2147483646 w 286"/>
                    <a:gd name="T45" fmla="*/ 2147483646 h 235"/>
                    <a:gd name="T46" fmla="*/ 2147483646 w 286"/>
                    <a:gd name="T47" fmla="*/ 2147483646 h 235"/>
                    <a:gd name="T48" fmla="*/ 2147483646 w 286"/>
                    <a:gd name="T49" fmla="*/ 2147483646 h 235"/>
                    <a:gd name="T50" fmla="*/ 2147483646 w 286"/>
                    <a:gd name="T51" fmla="*/ 2147483646 h 235"/>
                    <a:gd name="T52" fmla="*/ 2147483646 w 286"/>
                    <a:gd name="T53" fmla="*/ 2147483646 h 235"/>
                    <a:gd name="T54" fmla="*/ 2147483646 w 286"/>
                    <a:gd name="T55" fmla="*/ 2147483646 h 235"/>
                    <a:gd name="T56" fmla="*/ 0 w 286"/>
                    <a:gd name="T57" fmla="*/ 2147483646 h 235"/>
                    <a:gd name="T58" fmla="*/ 2147483646 w 286"/>
                    <a:gd name="T59" fmla="*/ 2147483646 h 235"/>
                    <a:gd name="T60" fmla="*/ 2147483646 w 286"/>
                    <a:gd name="T61" fmla="*/ 2147483646 h 235"/>
                    <a:gd name="T62" fmla="*/ 2147483646 w 286"/>
                    <a:gd name="T63" fmla="*/ 2147483646 h 235"/>
                    <a:gd name="T64" fmla="*/ 2147483646 w 286"/>
                    <a:gd name="T65" fmla="*/ 2147483646 h 235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86"/>
                    <a:gd name="T100" fmla="*/ 0 h 235"/>
                    <a:gd name="T101" fmla="*/ 286 w 286"/>
                    <a:gd name="T102" fmla="*/ 235 h 235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86" h="235">
                      <a:moveTo>
                        <a:pt x="40" y="81"/>
                      </a:moveTo>
                      <a:lnTo>
                        <a:pt x="44" y="86"/>
                      </a:lnTo>
                      <a:lnTo>
                        <a:pt x="48" y="91"/>
                      </a:lnTo>
                      <a:lnTo>
                        <a:pt x="49" y="96"/>
                      </a:lnTo>
                      <a:lnTo>
                        <a:pt x="51" y="100"/>
                      </a:lnTo>
                      <a:lnTo>
                        <a:pt x="53" y="105"/>
                      </a:lnTo>
                      <a:lnTo>
                        <a:pt x="56" y="108"/>
                      </a:lnTo>
                      <a:lnTo>
                        <a:pt x="61" y="110"/>
                      </a:lnTo>
                      <a:lnTo>
                        <a:pt x="67" y="111"/>
                      </a:lnTo>
                      <a:lnTo>
                        <a:pt x="71" y="111"/>
                      </a:lnTo>
                      <a:lnTo>
                        <a:pt x="74" y="109"/>
                      </a:lnTo>
                      <a:lnTo>
                        <a:pt x="77" y="108"/>
                      </a:lnTo>
                      <a:lnTo>
                        <a:pt x="81" y="105"/>
                      </a:lnTo>
                      <a:lnTo>
                        <a:pt x="86" y="99"/>
                      </a:lnTo>
                      <a:lnTo>
                        <a:pt x="92" y="92"/>
                      </a:lnTo>
                      <a:lnTo>
                        <a:pt x="100" y="78"/>
                      </a:lnTo>
                      <a:lnTo>
                        <a:pt x="107" y="69"/>
                      </a:lnTo>
                      <a:lnTo>
                        <a:pt x="128" y="57"/>
                      </a:lnTo>
                      <a:lnTo>
                        <a:pt x="149" y="47"/>
                      </a:lnTo>
                      <a:lnTo>
                        <a:pt x="168" y="38"/>
                      </a:lnTo>
                      <a:lnTo>
                        <a:pt x="189" y="30"/>
                      </a:lnTo>
                      <a:lnTo>
                        <a:pt x="210" y="22"/>
                      </a:lnTo>
                      <a:lnTo>
                        <a:pt x="233" y="15"/>
                      </a:lnTo>
                      <a:lnTo>
                        <a:pt x="258" y="7"/>
                      </a:lnTo>
                      <a:lnTo>
                        <a:pt x="286" y="0"/>
                      </a:lnTo>
                      <a:lnTo>
                        <a:pt x="286" y="11"/>
                      </a:lnTo>
                      <a:lnTo>
                        <a:pt x="284" y="21"/>
                      </a:lnTo>
                      <a:lnTo>
                        <a:pt x="282" y="32"/>
                      </a:lnTo>
                      <a:lnTo>
                        <a:pt x="279" y="44"/>
                      </a:lnTo>
                      <a:lnTo>
                        <a:pt x="272" y="70"/>
                      </a:lnTo>
                      <a:lnTo>
                        <a:pt x="263" y="97"/>
                      </a:lnTo>
                      <a:lnTo>
                        <a:pt x="254" y="128"/>
                      </a:lnTo>
                      <a:lnTo>
                        <a:pt x="246" y="158"/>
                      </a:lnTo>
                      <a:lnTo>
                        <a:pt x="244" y="174"/>
                      </a:lnTo>
                      <a:lnTo>
                        <a:pt x="242" y="190"/>
                      </a:lnTo>
                      <a:lnTo>
                        <a:pt x="240" y="206"/>
                      </a:lnTo>
                      <a:lnTo>
                        <a:pt x="240" y="222"/>
                      </a:lnTo>
                      <a:lnTo>
                        <a:pt x="146" y="216"/>
                      </a:lnTo>
                      <a:lnTo>
                        <a:pt x="142" y="216"/>
                      </a:lnTo>
                      <a:lnTo>
                        <a:pt x="138" y="218"/>
                      </a:lnTo>
                      <a:lnTo>
                        <a:pt x="134" y="220"/>
                      </a:lnTo>
                      <a:lnTo>
                        <a:pt x="132" y="223"/>
                      </a:lnTo>
                      <a:lnTo>
                        <a:pt x="128" y="229"/>
                      </a:lnTo>
                      <a:lnTo>
                        <a:pt x="127" y="235"/>
                      </a:lnTo>
                      <a:lnTo>
                        <a:pt x="117" y="226"/>
                      </a:lnTo>
                      <a:lnTo>
                        <a:pt x="109" y="217"/>
                      </a:lnTo>
                      <a:lnTo>
                        <a:pt x="101" y="208"/>
                      </a:lnTo>
                      <a:lnTo>
                        <a:pt x="94" y="199"/>
                      </a:lnTo>
                      <a:lnTo>
                        <a:pt x="81" y="180"/>
                      </a:lnTo>
                      <a:lnTo>
                        <a:pt x="69" y="160"/>
                      </a:lnTo>
                      <a:lnTo>
                        <a:pt x="62" y="150"/>
                      </a:lnTo>
                      <a:lnTo>
                        <a:pt x="55" y="142"/>
                      </a:lnTo>
                      <a:lnTo>
                        <a:pt x="49" y="133"/>
                      </a:lnTo>
                      <a:lnTo>
                        <a:pt x="41" y="125"/>
                      </a:lnTo>
                      <a:lnTo>
                        <a:pt x="32" y="117"/>
                      </a:lnTo>
                      <a:lnTo>
                        <a:pt x="22" y="110"/>
                      </a:lnTo>
                      <a:lnTo>
                        <a:pt x="13" y="104"/>
                      </a:lnTo>
                      <a:lnTo>
                        <a:pt x="0" y="99"/>
                      </a:lnTo>
                      <a:lnTo>
                        <a:pt x="6" y="98"/>
                      </a:lnTo>
                      <a:lnTo>
                        <a:pt x="13" y="97"/>
                      </a:lnTo>
                      <a:lnTo>
                        <a:pt x="19" y="94"/>
                      </a:lnTo>
                      <a:lnTo>
                        <a:pt x="26" y="91"/>
                      </a:lnTo>
                      <a:lnTo>
                        <a:pt x="32" y="88"/>
                      </a:lnTo>
                      <a:lnTo>
                        <a:pt x="39" y="84"/>
                      </a:lnTo>
                      <a:lnTo>
                        <a:pt x="43" y="79"/>
                      </a:lnTo>
                      <a:lnTo>
                        <a:pt x="47" y="75"/>
                      </a:lnTo>
                      <a:lnTo>
                        <a:pt x="40" y="8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03" name="Freeform 223">
                  <a:extLst>
                    <a:ext uri="{FF2B5EF4-FFF2-40B4-BE49-F238E27FC236}">
                      <a16:creationId xmlns:a16="http://schemas.microsoft.com/office/drawing/2014/main" xmlns="" id="{5A082D0E-C5B1-4D13-B8F7-3A099B293B99}"/>
                    </a:ext>
                  </a:extLst>
                </p:cNvPr>
                <p:cNvSpPr>
                  <a:spLocks/>
                </p:cNvSpPr>
                <p:nvPr>
                  <p:custDataLst>
                    <p:tags r:id="rId150"/>
                  </p:custDataLst>
                </p:nvPr>
              </p:nvSpPr>
              <p:spPr bwMode="auto">
                <a:xfrm>
                  <a:off x="1868488" y="3322638"/>
                  <a:ext cx="84137" cy="100012"/>
                </a:xfrm>
                <a:custGeom>
                  <a:avLst/>
                  <a:gdLst>
                    <a:gd name="T0" fmla="*/ 2147483646 w 205"/>
                    <a:gd name="T1" fmla="*/ 2147483646 h 191"/>
                    <a:gd name="T2" fmla="*/ 2147483646 w 205"/>
                    <a:gd name="T3" fmla="*/ 2147483646 h 191"/>
                    <a:gd name="T4" fmla="*/ 2147483646 w 205"/>
                    <a:gd name="T5" fmla="*/ 2147483646 h 191"/>
                    <a:gd name="T6" fmla="*/ 2147483646 w 205"/>
                    <a:gd name="T7" fmla="*/ 2147483646 h 191"/>
                    <a:gd name="T8" fmla="*/ 2147483646 w 205"/>
                    <a:gd name="T9" fmla="*/ 2147483646 h 191"/>
                    <a:gd name="T10" fmla="*/ 2147483646 w 205"/>
                    <a:gd name="T11" fmla="*/ 2147483646 h 191"/>
                    <a:gd name="T12" fmla="*/ 2147483646 w 205"/>
                    <a:gd name="T13" fmla="*/ 2147483646 h 191"/>
                    <a:gd name="T14" fmla="*/ 2147483646 w 205"/>
                    <a:gd name="T15" fmla="*/ 2147483646 h 191"/>
                    <a:gd name="T16" fmla="*/ 2147483646 w 205"/>
                    <a:gd name="T17" fmla="*/ 2147483646 h 191"/>
                    <a:gd name="T18" fmla="*/ 2147483646 w 205"/>
                    <a:gd name="T19" fmla="*/ 2147483646 h 191"/>
                    <a:gd name="T20" fmla="*/ 2147483646 w 205"/>
                    <a:gd name="T21" fmla="*/ 2147483646 h 191"/>
                    <a:gd name="T22" fmla="*/ 2147483646 w 205"/>
                    <a:gd name="T23" fmla="*/ 2147483646 h 191"/>
                    <a:gd name="T24" fmla="*/ 2147483646 w 205"/>
                    <a:gd name="T25" fmla="*/ 2147483646 h 191"/>
                    <a:gd name="T26" fmla="*/ 2147483646 w 205"/>
                    <a:gd name="T27" fmla="*/ 2147483646 h 191"/>
                    <a:gd name="T28" fmla="*/ 2147483646 w 205"/>
                    <a:gd name="T29" fmla="*/ 2147483646 h 191"/>
                    <a:gd name="T30" fmla="*/ 2147483646 w 205"/>
                    <a:gd name="T31" fmla="*/ 2147483646 h 191"/>
                    <a:gd name="T32" fmla="*/ 2147483646 w 205"/>
                    <a:gd name="T33" fmla="*/ 2147483646 h 191"/>
                    <a:gd name="T34" fmla="*/ 2147483646 w 205"/>
                    <a:gd name="T35" fmla="*/ 2147483646 h 191"/>
                    <a:gd name="T36" fmla="*/ 2147483646 w 205"/>
                    <a:gd name="T37" fmla="*/ 2147483646 h 191"/>
                    <a:gd name="T38" fmla="*/ 2147483646 w 205"/>
                    <a:gd name="T39" fmla="*/ 2147483646 h 191"/>
                    <a:gd name="T40" fmla="*/ 2147483646 w 205"/>
                    <a:gd name="T41" fmla="*/ 2147483646 h 191"/>
                    <a:gd name="T42" fmla="*/ 2147483646 w 205"/>
                    <a:gd name="T43" fmla="*/ 2147483646 h 191"/>
                    <a:gd name="T44" fmla="*/ 2147483646 w 205"/>
                    <a:gd name="T45" fmla="*/ 2147483646 h 191"/>
                    <a:gd name="T46" fmla="*/ 0 w 205"/>
                    <a:gd name="T47" fmla="*/ 2147483646 h 191"/>
                    <a:gd name="T48" fmla="*/ 0 w 205"/>
                    <a:gd name="T49" fmla="*/ 2147483646 h 191"/>
                    <a:gd name="T50" fmla="*/ 2147483646 w 205"/>
                    <a:gd name="T51" fmla="*/ 2147483646 h 191"/>
                    <a:gd name="T52" fmla="*/ 2147483646 w 205"/>
                    <a:gd name="T53" fmla="*/ 2147483646 h 191"/>
                    <a:gd name="T54" fmla="*/ 2147483646 w 205"/>
                    <a:gd name="T55" fmla="*/ 2147483646 h 191"/>
                    <a:gd name="T56" fmla="*/ 2147483646 w 205"/>
                    <a:gd name="T57" fmla="*/ 2147483646 h 191"/>
                    <a:gd name="T58" fmla="*/ 2147483646 w 205"/>
                    <a:gd name="T59" fmla="*/ 0 h 191"/>
                    <a:gd name="T60" fmla="*/ 2147483646 w 205"/>
                    <a:gd name="T61" fmla="*/ 2147483646 h 191"/>
                    <a:gd name="T62" fmla="*/ 2147483646 w 205"/>
                    <a:gd name="T63" fmla="*/ 2147483646 h 191"/>
                    <a:gd name="T64" fmla="*/ 2147483646 w 205"/>
                    <a:gd name="T65" fmla="*/ 2147483646 h 191"/>
                    <a:gd name="T66" fmla="*/ 2147483646 w 205"/>
                    <a:gd name="T67" fmla="*/ 2147483646 h 191"/>
                    <a:gd name="T68" fmla="*/ 2147483646 w 205"/>
                    <a:gd name="T69" fmla="*/ 2147483646 h 191"/>
                    <a:gd name="T70" fmla="*/ 2147483646 w 205"/>
                    <a:gd name="T71" fmla="*/ 2147483646 h 191"/>
                    <a:gd name="T72" fmla="*/ 2147483646 w 205"/>
                    <a:gd name="T73" fmla="*/ 2147483646 h 191"/>
                    <a:gd name="T74" fmla="*/ 2147483646 w 205"/>
                    <a:gd name="T75" fmla="*/ 2147483646 h 191"/>
                    <a:gd name="T76" fmla="*/ 2147483646 w 205"/>
                    <a:gd name="T77" fmla="*/ 2147483646 h 191"/>
                    <a:gd name="T78" fmla="*/ 2147483646 w 205"/>
                    <a:gd name="T79" fmla="*/ 2147483646 h 191"/>
                    <a:gd name="T80" fmla="*/ 2147483646 w 205"/>
                    <a:gd name="T81" fmla="*/ 2147483646 h 191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05"/>
                    <a:gd name="T124" fmla="*/ 0 h 191"/>
                    <a:gd name="T125" fmla="*/ 205 w 205"/>
                    <a:gd name="T126" fmla="*/ 191 h 191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05" h="191">
                      <a:moveTo>
                        <a:pt x="205" y="185"/>
                      </a:moveTo>
                      <a:lnTo>
                        <a:pt x="188" y="185"/>
                      </a:lnTo>
                      <a:lnTo>
                        <a:pt x="181" y="185"/>
                      </a:lnTo>
                      <a:lnTo>
                        <a:pt x="175" y="185"/>
                      </a:lnTo>
                      <a:lnTo>
                        <a:pt x="165" y="185"/>
                      </a:lnTo>
                      <a:lnTo>
                        <a:pt x="158" y="185"/>
                      </a:lnTo>
                      <a:lnTo>
                        <a:pt x="151" y="182"/>
                      </a:lnTo>
                      <a:lnTo>
                        <a:pt x="144" y="180"/>
                      </a:lnTo>
                      <a:lnTo>
                        <a:pt x="140" y="177"/>
                      </a:lnTo>
                      <a:lnTo>
                        <a:pt x="136" y="173"/>
                      </a:lnTo>
                      <a:lnTo>
                        <a:pt x="132" y="168"/>
                      </a:lnTo>
                      <a:lnTo>
                        <a:pt x="129" y="163"/>
                      </a:lnTo>
                      <a:lnTo>
                        <a:pt x="127" y="158"/>
                      </a:lnTo>
                      <a:lnTo>
                        <a:pt x="120" y="147"/>
                      </a:lnTo>
                      <a:lnTo>
                        <a:pt x="114" y="136"/>
                      </a:lnTo>
                      <a:lnTo>
                        <a:pt x="110" y="131"/>
                      </a:lnTo>
                      <a:lnTo>
                        <a:pt x="105" y="125"/>
                      </a:lnTo>
                      <a:lnTo>
                        <a:pt x="99" y="121"/>
                      </a:lnTo>
                      <a:lnTo>
                        <a:pt x="93" y="117"/>
                      </a:lnTo>
                      <a:lnTo>
                        <a:pt x="93" y="126"/>
                      </a:lnTo>
                      <a:lnTo>
                        <a:pt x="93" y="136"/>
                      </a:lnTo>
                      <a:lnTo>
                        <a:pt x="90" y="135"/>
                      </a:lnTo>
                      <a:lnTo>
                        <a:pt x="86" y="133"/>
                      </a:lnTo>
                      <a:lnTo>
                        <a:pt x="84" y="130"/>
                      </a:lnTo>
                      <a:lnTo>
                        <a:pt x="80" y="124"/>
                      </a:lnTo>
                      <a:lnTo>
                        <a:pt x="72" y="113"/>
                      </a:lnTo>
                      <a:lnTo>
                        <a:pt x="64" y="100"/>
                      </a:lnTo>
                      <a:lnTo>
                        <a:pt x="56" y="87"/>
                      </a:lnTo>
                      <a:lnTo>
                        <a:pt x="46" y="74"/>
                      </a:lnTo>
                      <a:lnTo>
                        <a:pt x="41" y="67"/>
                      </a:lnTo>
                      <a:lnTo>
                        <a:pt x="36" y="62"/>
                      </a:lnTo>
                      <a:lnTo>
                        <a:pt x="31" y="58"/>
                      </a:lnTo>
                      <a:lnTo>
                        <a:pt x="26" y="55"/>
                      </a:lnTo>
                      <a:lnTo>
                        <a:pt x="26" y="60"/>
                      </a:lnTo>
                      <a:lnTo>
                        <a:pt x="27" y="64"/>
                      </a:lnTo>
                      <a:lnTo>
                        <a:pt x="29" y="69"/>
                      </a:lnTo>
                      <a:lnTo>
                        <a:pt x="31" y="74"/>
                      </a:lnTo>
                      <a:lnTo>
                        <a:pt x="34" y="78"/>
                      </a:lnTo>
                      <a:lnTo>
                        <a:pt x="37" y="81"/>
                      </a:lnTo>
                      <a:lnTo>
                        <a:pt x="41" y="84"/>
                      </a:lnTo>
                      <a:lnTo>
                        <a:pt x="46" y="87"/>
                      </a:lnTo>
                      <a:lnTo>
                        <a:pt x="46" y="105"/>
                      </a:lnTo>
                      <a:lnTo>
                        <a:pt x="19" y="105"/>
                      </a:lnTo>
                      <a:lnTo>
                        <a:pt x="13" y="98"/>
                      </a:lnTo>
                      <a:lnTo>
                        <a:pt x="8" y="91"/>
                      </a:lnTo>
                      <a:lnTo>
                        <a:pt x="4" y="84"/>
                      </a:lnTo>
                      <a:lnTo>
                        <a:pt x="2" y="77"/>
                      </a:lnTo>
                      <a:lnTo>
                        <a:pt x="0" y="60"/>
                      </a:lnTo>
                      <a:lnTo>
                        <a:pt x="0" y="43"/>
                      </a:lnTo>
                      <a:lnTo>
                        <a:pt x="0" y="38"/>
                      </a:lnTo>
                      <a:lnTo>
                        <a:pt x="1" y="31"/>
                      </a:lnTo>
                      <a:lnTo>
                        <a:pt x="3" y="28"/>
                      </a:lnTo>
                      <a:lnTo>
                        <a:pt x="5" y="25"/>
                      </a:lnTo>
                      <a:lnTo>
                        <a:pt x="8" y="22"/>
                      </a:lnTo>
                      <a:lnTo>
                        <a:pt x="13" y="19"/>
                      </a:lnTo>
                      <a:lnTo>
                        <a:pt x="14" y="13"/>
                      </a:lnTo>
                      <a:lnTo>
                        <a:pt x="18" y="7"/>
                      </a:lnTo>
                      <a:lnTo>
                        <a:pt x="20" y="4"/>
                      </a:lnTo>
                      <a:lnTo>
                        <a:pt x="24" y="2"/>
                      </a:lnTo>
                      <a:lnTo>
                        <a:pt x="28" y="0"/>
                      </a:lnTo>
                      <a:lnTo>
                        <a:pt x="32" y="0"/>
                      </a:lnTo>
                      <a:lnTo>
                        <a:pt x="126" y="6"/>
                      </a:lnTo>
                      <a:lnTo>
                        <a:pt x="126" y="13"/>
                      </a:lnTo>
                      <a:lnTo>
                        <a:pt x="127" y="21"/>
                      </a:lnTo>
                      <a:lnTo>
                        <a:pt x="128" y="29"/>
                      </a:lnTo>
                      <a:lnTo>
                        <a:pt x="130" y="37"/>
                      </a:lnTo>
                      <a:lnTo>
                        <a:pt x="136" y="53"/>
                      </a:lnTo>
                      <a:lnTo>
                        <a:pt x="143" y="70"/>
                      </a:lnTo>
                      <a:lnTo>
                        <a:pt x="153" y="87"/>
                      </a:lnTo>
                      <a:lnTo>
                        <a:pt x="165" y="102"/>
                      </a:lnTo>
                      <a:lnTo>
                        <a:pt x="171" y="110"/>
                      </a:lnTo>
                      <a:lnTo>
                        <a:pt x="177" y="117"/>
                      </a:lnTo>
                      <a:lnTo>
                        <a:pt x="185" y="123"/>
                      </a:lnTo>
                      <a:lnTo>
                        <a:pt x="192" y="130"/>
                      </a:lnTo>
                      <a:lnTo>
                        <a:pt x="191" y="137"/>
                      </a:lnTo>
                      <a:lnTo>
                        <a:pt x="189" y="143"/>
                      </a:lnTo>
                      <a:lnTo>
                        <a:pt x="189" y="149"/>
                      </a:lnTo>
                      <a:lnTo>
                        <a:pt x="189" y="156"/>
                      </a:lnTo>
                      <a:lnTo>
                        <a:pt x="192" y="171"/>
                      </a:lnTo>
                      <a:lnTo>
                        <a:pt x="192" y="191"/>
                      </a:lnTo>
                      <a:lnTo>
                        <a:pt x="192" y="185"/>
                      </a:lnTo>
                      <a:lnTo>
                        <a:pt x="205" y="18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04" name="Freeform 224">
                  <a:extLst>
                    <a:ext uri="{FF2B5EF4-FFF2-40B4-BE49-F238E27FC236}">
                      <a16:creationId xmlns:a16="http://schemas.microsoft.com/office/drawing/2014/main" xmlns="" id="{71633D91-048A-43D8-8B47-36D6A5D8B58E}"/>
                    </a:ext>
                  </a:extLst>
                </p:cNvPr>
                <p:cNvSpPr>
                  <a:spLocks/>
                </p:cNvSpPr>
                <p:nvPr>
                  <p:custDataLst>
                    <p:tags r:id="rId151"/>
                  </p:custDataLst>
                </p:nvPr>
              </p:nvSpPr>
              <p:spPr bwMode="auto">
                <a:xfrm>
                  <a:off x="1949450" y="3376613"/>
                  <a:ext cx="142875" cy="79375"/>
                </a:xfrm>
                <a:custGeom>
                  <a:avLst/>
                  <a:gdLst>
                    <a:gd name="T0" fmla="*/ 2147483646 w 329"/>
                    <a:gd name="T1" fmla="*/ 2147483646 h 154"/>
                    <a:gd name="T2" fmla="*/ 0 w 329"/>
                    <a:gd name="T3" fmla="*/ 2147483646 h 154"/>
                    <a:gd name="T4" fmla="*/ 2147483646 w 329"/>
                    <a:gd name="T5" fmla="*/ 2147483646 h 154"/>
                    <a:gd name="T6" fmla="*/ 2147483646 w 329"/>
                    <a:gd name="T7" fmla="*/ 2147483646 h 154"/>
                    <a:gd name="T8" fmla="*/ 2147483646 w 329"/>
                    <a:gd name="T9" fmla="*/ 2147483646 h 154"/>
                    <a:gd name="T10" fmla="*/ 2147483646 w 329"/>
                    <a:gd name="T11" fmla="*/ 2147483646 h 154"/>
                    <a:gd name="T12" fmla="*/ 2147483646 w 329"/>
                    <a:gd name="T13" fmla="*/ 2147483646 h 154"/>
                    <a:gd name="T14" fmla="*/ 2147483646 w 329"/>
                    <a:gd name="T15" fmla="*/ 2147483646 h 154"/>
                    <a:gd name="T16" fmla="*/ 2147483646 w 329"/>
                    <a:gd name="T17" fmla="*/ 2147483646 h 154"/>
                    <a:gd name="T18" fmla="*/ 2147483646 w 329"/>
                    <a:gd name="T19" fmla="*/ 2147483646 h 154"/>
                    <a:gd name="T20" fmla="*/ 2147483646 w 329"/>
                    <a:gd name="T21" fmla="*/ 2147483646 h 154"/>
                    <a:gd name="T22" fmla="*/ 2147483646 w 329"/>
                    <a:gd name="T23" fmla="*/ 0 h 154"/>
                    <a:gd name="T24" fmla="*/ 2147483646 w 329"/>
                    <a:gd name="T25" fmla="*/ 0 h 154"/>
                    <a:gd name="T26" fmla="*/ 2147483646 w 329"/>
                    <a:gd name="T27" fmla="*/ 2147483646 h 154"/>
                    <a:gd name="T28" fmla="*/ 2147483646 w 329"/>
                    <a:gd name="T29" fmla="*/ 2147483646 h 154"/>
                    <a:gd name="T30" fmla="*/ 2147483646 w 329"/>
                    <a:gd name="T31" fmla="*/ 2147483646 h 154"/>
                    <a:gd name="T32" fmla="*/ 2147483646 w 329"/>
                    <a:gd name="T33" fmla="*/ 2147483646 h 154"/>
                    <a:gd name="T34" fmla="*/ 2147483646 w 329"/>
                    <a:gd name="T35" fmla="*/ 2147483646 h 154"/>
                    <a:gd name="T36" fmla="*/ 2147483646 w 329"/>
                    <a:gd name="T37" fmla="*/ 2147483646 h 154"/>
                    <a:gd name="T38" fmla="*/ 2147483646 w 329"/>
                    <a:gd name="T39" fmla="*/ 2147483646 h 154"/>
                    <a:gd name="T40" fmla="*/ 2147483646 w 329"/>
                    <a:gd name="T41" fmla="*/ 2147483646 h 154"/>
                    <a:gd name="T42" fmla="*/ 2147483646 w 329"/>
                    <a:gd name="T43" fmla="*/ 2147483646 h 154"/>
                    <a:gd name="T44" fmla="*/ 2147483646 w 329"/>
                    <a:gd name="T45" fmla="*/ 2147483646 h 154"/>
                    <a:gd name="T46" fmla="*/ 2147483646 w 329"/>
                    <a:gd name="T47" fmla="*/ 2147483646 h 154"/>
                    <a:gd name="T48" fmla="*/ 2147483646 w 329"/>
                    <a:gd name="T49" fmla="*/ 2147483646 h 154"/>
                    <a:gd name="T50" fmla="*/ 2147483646 w 329"/>
                    <a:gd name="T51" fmla="*/ 2147483646 h 154"/>
                    <a:gd name="T52" fmla="*/ 2147483646 w 329"/>
                    <a:gd name="T53" fmla="*/ 2147483646 h 154"/>
                    <a:gd name="T54" fmla="*/ 2147483646 w 329"/>
                    <a:gd name="T55" fmla="*/ 2147483646 h 154"/>
                    <a:gd name="T56" fmla="*/ 2147483646 w 329"/>
                    <a:gd name="T57" fmla="*/ 2147483646 h 154"/>
                    <a:gd name="T58" fmla="*/ 2147483646 w 329"/>
                    <a:gd name="T59" fmla="*/ 2147483646 h 154"/>
                    <a:gd name="T60" fmla="*/ 2147483646 w 329"/>
                    <a:gd name="T61" fmla="*/ 2147483646 h 154"/>
                    <a:gd name="T62" fmla="*/ 2147483646 w 329"/>
                    <a:gd name="T63" fmla="*/ 2147483646 h 154"/>
                    <a:gd name="T64" fmla="*/ 2147483646 w 329"/>
                    <a:gd name="T65" fmla="*/ 2147483646 h 154"/>
                    <a:gd name="T66" fmla="*/ 2147483646 w 329"/>
                    <a:gd name="T67" fmla="*/ 2147483646 h 154"/>
                    <a:gd name="T68" fmla="*/ 2147483646 w 329"/>
                    <a:gd name="T69" fmla="*/ 2147483646 h 154"/>
                    <a:gd name="T70" fmla="*/ 2147483646 w 329"/>
                    <a:gd name="T71" fmla="*/ 2147483646 h 154"/>
                    <a:gd name="T72" fmla="*/ 2147483646 w 329"/>
                    <a:gd name="T73" fmla="*/ 2147483646 h 154"/>
                    <a:gd name="T74" fmla="*/ 2147483646 w 329"/>
                    <a:gd name="T75" fmla="*/ 2147483646 h 154"/>
                    <a:gd name="T76" fmla="*/ 2147483646 w 329"/>
                    <a:gd name="T77" fmla="*/ 2147483646 h 154"/>
                    <a:gd name="T78" fmla="*/ 2147483646 w 329"/>
                    <a:gd name="T79" fmla="*/ 2147483646 h 154"/>
                    <a:gd name="T80" fmla="*/ 2147483646 w 329"/>
                    <a:gd name="T81" fmla="*/ 2147483646 h 154"/>
                    <a:gd name="T82" fmla="*/ 2147483646 w 329"/>
                    <a:gd name="T83" fmla="*/ 2147483646 h 154"/>
                    <a:gd name="T84" fmla="*/ 2147483646 w 329"/>
                    <a:gd name="T85" fmla="*/ 2147483646 h 154"/>
                    <a:gd name="T86" fmla="*/ 2147483646 w 329"/>
                    <a:gd name="T87" fmla="*/ 2147483646 h 154"/>
                    <a:gd name="T88" fmla="*/ 2147483646 w 329"/>
                    <a:gd name="T89" fmla="*/ 2147483646 h 154"/>
                    <a:gd name="T90" fmla="*/ 2147483646 w 329"/>
                    <a:gd name="T91" fmla="*/ 2147483646 h 154"/>
                    <a:gd name="T92" fmla="*/ 2147483646 w 329"/>
                    <a:gd name="T93" fmla="*/ 2147483646 h 154"/>
                    <a:gd name="T94" fmla="*/ 2147483646 w 329"/>
                    <a:gd name="T95" fmla="*/ 2147483646 h 154"/>
                    <a:gd name="T96" fmla="*/ 2147483646 w 329"/>
                    <a:gd name="T97" fmla="*/ 2147483646 h 154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329"/>
                    <a:gd name="T148" fmla="*/ 0 h 154"/>
                    <a:gd name="T149" fmla="*/ 329 w 329"/>
                    <a:gd name="T150" fmla="*/ 154 h 154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329" h="154">
                      <a:moveTo>
                        <a:pt x="3" y="73"/>
                      </a:moveTo>
                      <a:lnTo>
                        <a:pt x="3" y="58"/>
                      </a:lnTo>
                      <a:lnTo>
                        <a:pt x="0" y="47"/>
                      </a:lnTo>
                      <a:lnTo>
                        <a:pt x="0" y="42"/>
                      </a:lnTo>
                      <a:lnTo>
                        <a:pt x="0" y="37"/>
                      </a:lnTo>
                      <a:lnTo>
                        <a:pt x="2" y="31"/>
                      </a:lnTo>
                      <a:lnTo>
                        <a:pt x="3" y="25"/>
                      </a:lnTo>
                      <a:lnTo>
                        <a:pt x="17" y="33"/>
                      </a:lnTo>
                      <a:lnTo>
                        <a:pt x="30" y="39"/>
                      </a:lnTo>
                      <a:lnTo>
                        <a:pt x="36" y="41"/>
                      </a:lnTo>
                      <a:lnTo>
                        <a:pt x="42" y="42"/>
                      </a:lnTo>
                      <a:lnTo>
                        <a:pt x="49" y="43"/>
                      </a:lnTo>
                      <a:lnTo>
                        <a:pt x="56" y="43"/>
                      </a:lnTo>
                      <a:lnTo>
                        <a:pt x="67" y="43"/>
                      </a:lnTo>
                      <a:lnTo>
                        <a:pt x="77" y="41"/>
                      </a:lnTo>
                      <a:lnTo>
                        <a:pt x="86" y="39"/>
                      </a:lnTo>
                      <a:lnTo>
                        <a:pt x="95" y="36"/>
                      </a:lnTo>
                      <a:lnTo>
                        <a:pt x="110" y="30"/>
                      </a:lnTo>
                      <a:lnTo>
                        <a:pt x="126" y="21"/>
                      </a:lnTo>
                      <a:lnTo>
                        <a:pt x="140" y="13"/>
                      </a:lnTo>
                      <a:lnTo>
                        <a:pt x="154" y="6"/>
                      </a:lnTo>
                      <a:lnTo>
                        <a:pt x="162" y="4"/>
                      </a:lnTo>
                      <a:lnTo>
                        <a:pt x="171" y="2"/>
                      </a:lnTo>
                      <a:lnTo>
                        <a:pt x="179" y="0"/>
                      </a:lnTo>
                      <a:lnTo>
                        <a:pt x="189" y="0"/>
                      </a:lnTo>
                      <a:lnTo>
                        <a:pt x="203" y="0"/>
                      </a:lnTo>
                      <a:lnTo>
                        <a:pt x="214" y="3"/>
                      </a:lnTo>
                      <a:lnTo>
                        <a:pt x="224" y="6"/>
                      </a:lnTo>
                      <a:lnTo>
                        <a:pt x="234" y="10"/>
                      </a:lnTo>
                      <a:lnTo>
                        <a:pt x="243" y="15"/>
                      </a:lnTo>
                      <a:lnTo>
                        <a:pt x="251" y="21"/>
                      </a:lnTo>
                      <a:lnTo>
                        <a:pt x="259" y="28"/>
                      </a:lnTo>
                      <a:lnTo>
                        <a:pt x="266" y="34"/>
                      </a:lnTo>
                      <a:lnTo>
                        <a:pt x="280" y="46"/>
                      </a:lnTo>
                      <a:lnTo>
                        <a:pt x="295" y="57"/>
                      </a:lnTo>
                      <a:lnTo>
                        <a:pt x="302" y="61"/>
                      </a:lnTo>
                      <a:lnTo>
                        <a:pt x="310" y="64"/>
                      </a:lnTo>
                      <a:lnTo>
                        <a:pt x="319" y="67"/>
                      </a:lnTo>
                      <a:lnTo>
                        <a:pt x="329" y="67"/>
                      </a:lnTo>
                      <a:lnTo>
                        <a:pt x="313" y="82"/>
                      </a:lnTo>
                      <a:lnTo>
                        <a:pt x="301" y="94"/>
                      </a:lnTo>
                      <a:lnTo>
                        <a:pt x="293" y="106"/>
                      </a:lnTo>
                      <a:lnTo>
                        <a:pt x="286" y="117"/>
                      </a:lnTo>
                      <a:lnTo>
                        <a:pt x="277" y="138"/>
                      </a:lnTo>
                      <a:lnTo>
                        <a:pt x="268" y="154"/>
                      </a:lnTo>
                      <a:lnTo>
                        <a:pt x="265" y="153"/>
                      </a:lnTo>
                      <a:lnTo>
                        <a:pt x="260" y="150"/>
                      </a:lnTo>
                      <a:lnTo>
                        <a:pt x="253" y="146"/>
                      </a:lnTo>
                      <a:lnTo>
                        <a:pt x="246" y="141"/>
                      </a:lnTo>
                      <a:lnTo>
                        <a:pt x="240" y="136"/>
                      </a:lnTo>
                      <a:lnTo>
                        <a:pt x="234" y="130"/>
                      </a:lnTo>
                      <a:lnTo>
                        <a:pt x="230" y="126"/>
                      </a:lnTo>
                      <a:lnTo>
                        <a:pt x="229" y="123"/>
                      </a:lnTo>
                      <a:lnTo>
                        <a:pt x="230" y="114"/>
                      </a:lnTo>
                      <a:lnTo>
                        <a:pt x="232" y="107"/>
                      </a:lnTo>
                      <a:lnTo>
                        <a:pt x="235" y="100"/>
                      </a:lnTo>
                      <a:lnTo>
                        <a:pt x="240" y="95"/>
                      </a:lnTo>
                      <a:lnTo>
                        <a:pt x="249" y="86"/>
                      </a:lnTo>
                      <a:lnTo>
                        <a:pt x="255" y="80"/>
                      </a:lnTo>
                      <a:lnTo>
                        <a:pt x="233" y="68"/>
                      </a:lnTo>
                      <a:lnTo>
                        <a:pt x="215" y="60"/>
                      </a:lnTo>
                      <a:lnTo>
                        <a:pt x="207" y="55"/>
                      </a:lnTo>
                      <a:lnTo>
                        <a:pt x="200" y="49"/>
                      </a:lnTo>
                      <a:lnTo>
                        <a:pt x="195" y="41"/>
                      </a:lnTo>
                      <a:lnTo>
                        <a:pt x="189" y="31"/>
                      </a:lnTo>
                      <a:lnTo>
                        <a:pt x="179" y="34"/>
                      </a:lnTo>
                      <a:lnTo>
                        <a:pt x="171" y="37"/>
                      </a:lnTo>
                      <a:lnTo>
                        <a:pt x="163" y="41"/>
                      </a:lnTo>
                      <a:lnTo>
                        <a:pt x="156" y="45"/>
                      </a:lnTo>
                      <a:lnTo>
                        <a:pt x="150" y="50"/>
                      </a:lnTo>
                      <a:lnTo>
                        <a:pt x="144" y="55"/>
                      </a:lnTo>
                      <a:lnTo>
                        <a:pt x="140" y="61"/>
                      </a:lnTo>
                      <a:lnTo>
                        <a:pt x="136" y="67"/>
                      </a:lnTo>
                      <a:lnTo>
                        <a:pt x="132" y="74"/>
                      </a:lnTo>
                      <a:lnTo>
                        <a:pt x="130" y="81"/>
                      </a:lnTo>
                      <a:lnTo>
                        <a:pt x="128" y="88"/>
                      </a:lnTo>
                      <a:lnTo>
                        <a:pt x="126" y="95"/>
                      </a:lnTo>
                      <a:lnTo>
                        <a:pt x="123" y="109"/>
                      </a:lnTo>
                      <a:lnTo>
                        <a:pt x="122" y="123"/>
                      </a:lnTo>
                      <a:lnTo>
                        <a:pt x="122" y="125"/>
                      </a:lnTo>
                      <a:lnTo>
                        <a:pt x="120" y="127"/>
                      </a:lnTo>
                      <a:lnTo>
                        <a:pt x="118" y="129"/>
                      </a:lnTo>
                      <a:lnTo>
                        <a:pt x="115" y="131"/>
                      </a:lnTo>
                      <a:lnTo>
                        <a:pt x="108" y="135"/>
                      </a:lnTo>
                      <a:lnTo>
                        <a:pt x="103" y="136"/>
                      </a:lnTo>
                      <a:lnTo>
                        <a:pt x="96" y="135"/>
                      </a:lnTo>
                      <a:lnTo>
                        <a:pt x="89" y="132"/>
                      </a:lnTo>
                      <a:lnTo>
                        <a:pt x="83" y="129"/>
                      </a:lnTo>
                      <a:lnTo>
                        <a:pt x="77" y="125"/>
                      </a:lnTo>
                      <a:lnTo>
                        <a:pt x="66" y="116"/>
                      </a:lnTo>
                      <a:lnTo>
                        <a:pt x="58" y="105"/>
                      </a:lnTo>
                      <a:lnTo>
                        <a:pt x="48" y="94"/>
                      </a:lnTo>
                      <a:lnTo>
                        <a:pt x="38" y="84"/>
                      </a:lnTo>
                      <a:lnTo>
                        <a:pt x="33" y="80"/>
                      </a:lnTo>
                      <a:lnTo>
                        <a:pt x="28" y="76"/>
                      </a:lnTo>
                      <a:lnTo>
                        <a:pt x="22" y="74"/>
                      </a:lnTo>
                      <a:lnTo>
                        <a:pt x="16" y="73"/>
                      </a:lnTo>
                      <a:lnTo>
                        <a:pt x="3" y="7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05" name="Freeform 225">
                  <a:extLst>
                    <a:ext uri="{FF2B5EF4-FFF2-40B4-BE49-F238E27FC236}">
                      <a16:creationId xmlns:a16="http://schemas.microsoft.com/office/drawing/2014/main" xmlns="" id="{0188F8AC-56FF-4918-B377-4E7EA18C840C}"/>
                    </a:ext>
                  </a:extLst>
                </p:cNvPr>
                <p:cNvSpPr>
                  <a:spLocks/>
                </p:cNvSpPr>
                <p:nvPr>
                  <p:custDataLst>
                    <p:tags r:id="rId152"/>
                  </p:custDataLst>
                </p:nvPr>
              </p:nvSpPr>
              <p:spPr bwMode="auto">
                <a:xfrm>
                  <a:off x="2630488" y="4630738"/>
                  <a:ext cx="133350" cy="155575"/>
                </a:xfrm>
                <a:custGeom>
                  <a:avLst/>
                  <a:gdLst>
                    <a:gd name="T0" fmla="*/ 2147483646 w 306"/>
                    <a:gd name="T1" fmla="*/ 2147483646 h 293"/>
                    <a:gd name="T2" fmla="*/ 2147483646 w 306"/>
                    <a:gd name="T3" fmla="*/ 2147483646 h 293"/>
                    <a:gd name="T4" fmla="*/ 2147483646 w 306"/>
                    <a:gd name="T5" fmla="*/ 2147483646 h 293"/>
                    <a:gd name="T6" fmla="*/ 2147483646 w 306"/>
                    <a:gd name="T7" fmla="*/ 2147483646 h 293"/>
                    <a:gd name="T8" fmla="*/ 2147483646 w 306"/>
                    <a:gd name="T9" fmla="*/ 2147483646 h 293"/>
                    <a:gd name="T10" fmla="*/ 2147483646 w 306"/>
                    <a:gd name="T11" fmla="*/ 2147483646 h 293"/>
                    <a:gd name="T12" fmla="*/ 2147483646 w 306"/>
                    <a:gd name="T13" fmla="*/ 2147483646 h 293"/>
                    <a:gd name="T14" fmla="*/ 2147483646 w 306"/>
                    <a:gd name="T15" fmla="*/ 2147483646 h 293"/>
                    <a:gd name="T16" fmla="*/ 2147483646 w 306"/>
                    <a:gd name="T17" fmla="*/ 2147483646 h 293"/>
                    <a:gd name="T18" fmla="*/ 2147483646 w 306"/>
                    <a:gd name="T19" fmla="*/ 2147483646 h 293"/>
                    <a:gd name="T20" fmla="*/ 2147483646 w 306"/>
                    <a:gd name="T21" fmla="*/ 2147483646 h 293"/>
                    <a:gd name="T22" fmla="*/ 2147483646 w 306"/>
                    <a:gd name="T23" fmla="*/ 2147483646 h 293"/>
                    <a:gd name="T24" fmla="*/ 2147483646 w 306"/>
                    <a:gd name="T25" fmla="*/ 2147483646 h 293"/>
                    <a:gd name="T26" fmla="*/ 2147483646 w 306"/>
                    <a:gd name="T27" fmla="*/ 2147483646 h 293"/>
                    <a:gd name="T28" fmla="*/ 2147483646 w 306"/>
                    <a:gd name="T29" fmla="*/ 2147483646 h 293"/>
                    <a:gd name="T30" fmla="*/ 2147483646 w 306"/>
                    <a:gd name="T31" fmla="*/ 2147483646 h 293"/>
                    <a:gd name="T32" fmla="*/ 2147483646 w 306"/>
                    <a:gd name="T33" fmla="*/ 2147483646 h 293"/>
                    <a:gd name="T34" fmla="*/ 2147483646 w 306"/>
                    <a:gd name="T35" fmla="*/ 2147483646 h 293"/>
                    <a:gd name="T36" fmla="*/ 2147483646 w 306"/>
                    <a:gd name="T37" fmla="*/ 2147483646 h 293"/>
                    <a:gd name="T38" fmla="*/ 0 w 306"/>
                    <a:gd name="T39" fmla="*/ 2147483646 h 293"/>
                    <a:gd name="T40" fmla="*/ 2147483646 w 306"/>
                    <a:gd name="T41" fmla="*/ 2147483646 h 293"/>
                    <a:gd name="T42" fmla="*/ 2147483646 w 306"/>
                    <a:gd name="T43" fmla="*/ 2147483646 h 293"/>
                    <a:gd name="T44" fmla="*/ 2147483646 w 306"/>
                    <a:gd name="T45" fmla="*/ 2147483646 h 293"/>
                    <a:gd name="T46" fmla="*/ 2147483646 w 306"/>
                    <a:gd name="T47" fmla="*/ 2147483646 h 293"/>
                    <a:gd name="T48" fmla="*/ 2147483646 w 306"/>
                    <a:gd name="T49" fmla="*/ 2147483646 h 293"/>
                    <a:gd name="T50" fmla="*/ 2147483646 w 306"/>
                    <a:gd name="T51" fmla="*/ 0 h 293"/>
                    <a:gd name="T52" fmla="*/ 2147483646 w 306"/>
                    <a:gd name="T53" fmla="*/ 2147483646 h 293"/>
                    <a:gd name="T54" fmla="*/ 2147483646 w 306"/>
                    <a:gd name="T55" fmla="*/ 2147483646 h 293"/>
                    <a:gd name="T56" fmla="*/ 2147483646 w 306"/>
                    <a:gd name="T57" fmla="*/ 2147483646 h 293"/>
                    <a:gd name="T58" fmla="*/ 2147483646 w 306"/>
                    <a:gd name="T59" fmla="*/ 2147483646 h 293"/>
                    <a:gd name="T60" fmla="*/ 2147483646 w 306"/>
                    <a:gd name="T61" fmla="*/ 2147483646 h 293"/>
                    <a:gd name="T62" fmla="*/ 2147483646 w 306"/>
                    <a:gd name="T63" fmla="*/ 2147483646 h 293"/>
                    <a:gd name="T64" fmla="*/ 2147483646 w 306"/>
                    <a:gd name="T65" fmla="*/ 2147483646 h 293"/>
                    <a:gd name="T66" fmla="*/ 2147483646 w 306"/>
                    <a:gd name="T67" fmla="*/ 2147483646 h 293"/>
                    <a:gd name="T68" fmla="*/ 2147483646 w 306"/>
                    <a:gd name="T69" fmla="*/ 2147483646 h 293"/>
                    <a:gd name="T70" fmla="*/ 2147483646 w 306"/>
                    <a:gd name="T71" fmla="*/ 2147483646 h 293"/>
                    <a:gd name="T72" fmla="*/ 2147483646 w 306"/>
                    <a:gd name="T73" fmla="*/ 2147483646 h 293"/>
                    <a:gd name="T74" fmla="*/ 2147483646 w 306"/>
                    <a:gd name="T75" fmla="*/ 2147483646 h 293"/>
                    <a:gd name="T76" fmla="*/ 2147483646 w 306"/>
                    <a:gd name="T77" fmla="*/ 2147483646 h 293"/>
                    <a:gd name="T78" fmla="*/ 2147483646 w 306"/>
                    <a:gd name="T79" fmla="*/ 2147483646 h 293"/>
                    <a:gd name="T80" fmla="*/ 2147483646 w 306"/>
                    <a:gd name="T81" fmla="*/ 2147483646 h 293"/>
                    <a:gd name="T82" fmla="*/ 2147483646 w 306"/>
                    <a:gd name="T83" fmla="*/ 2147483646 h 293"/>
                    <a:gd name="T84" fmla="*/ 2147483646 w 306"/>
                    <a:gd name="T85" fmla="*/ 2147483646 h 29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306"/>
                    <a:gd name="T130" fmla="*/ 0 h 293"/>
                    <a:gd name="T131" fmla="*/ 306 w 306"/>
                    <a:gd name="T132" fmla="*/ 293 h 29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306" h="293">
                      <a:moveTo>
                        <a:pt x="300" y="169"/>
                      </a:moveTo>
                      <a:lnTo>
                        <a:pt x="297" y="181"/>
                      </a:lnTo>
                      <a:lnTo>
                        <a:pt x="297" y="185"/>
                      </a:lnTo>
                      <a:lnTo>
                        <a:pt x="296" y="185"/>
                      </a:lnTo>
                      <a:lnTo>
                        <a:pt x="294" y="187"/>
                      </a:lnTo>
                      <a:lnTo>
                        <a:pt x="291" y="194"/>
                      </a:lnTo>
                      <a:lnTo>
                        <a:pt x="286" y="197"/>
                      </a:lnTo>
                      <a:lnTo>
                        <a:pt x="282" y="199"/>
                      </a:lnTo>
                      <a:lnTo>
                        <a:pt x="276" y="200"/>
                      </a:lnTo>
                      <a:lnTo>
                        <a:pt x="272" y="201"/>
                      </a:lnTo>
                      <a:lnTo>
                        <a:pt x="267" y="203"/>
                      </a:lnTo>
                      <a:lnTo>
                        <a:pt x="263" y="207"/>
                      </a:lnTo>
                      <a:lnTo>
                        <a:pt x="260" y="212"/>
                      </a:lnTo>
                      <a:lnTo>
                        <a:pt x="253" y="229"/>
                      </a:lnTo>
                      <a:lnTo>
                        <a:pt x="248" y="242"/>
                      </a:lnTo>
                      <a:lnTo>
                        <a:pt x="242" y="254"/>
                      </a:lnTo>
                      <a:lnTo>
                        <a:pt x="236" y="263"/>
                      </a:lnTo>
                      <a:lnTo>
                        <a:pt x="231" y="267"/>
                      </a:lnTo>
                      <a:lnTo>
                        <a:pt x="227" y="270"/>
                      </a:lnTo>
                      <a:lnTo>
                        <a:pt x="221" y="273"/>
                      </a:lnTo>
                      <a:lnTo>
                        <a:pt x="215" y="276"/>
                      </a:lnTo>
                      <a:lnTo>
                        <a:pt x="200" y="281"/>
                      </a:lnTo>
                      <a:lnTo>
                        <a:pt x="181" y="286"/>
                      </a:lnTo>
                      <a:lnTo>
                        <a:pt x="164" y="290"/>
                      </a:lnTo>
                      <a:lnTo>
                        <a:pt x="148" y="292"/>
                      </a:lnTo>
                      <a:lnTo>
                        <a:pt x="139" y="293"/>
                      </a:lnTo>
                      <a:lnTo>
                        <a:pt x="130" y="293"/>
                      </a:lnTo>
                      <a:lnTo>
                        <a:pt x="123" y="293"/>
                      </a:lnTo>
                      <a:lnTo>
                        <a:pt x="114" y="292"/>
                      </a:lnTo>
                      <a:lnTo>
                        <a:pt x="106" y="290"/>
                      </a:lnTo>
                      <a:lnTo>
                        <a:pt x="98" y="288"/>
                      </a:lnTo>
                      <a:lnTo>
                        <a:pt x="92" y="286"/>
                      </a:lnTo>
                      <a:lnTo>
                        <a:pt x="85" y="282"/>
                      </a:lnTo>
                      <a:lnTo>
                        <a:pt x="80" y="278"/>
                      </a:lnTo>
                      <a:lnTo>
                        <a:pt x="74" y="274"/>
                      </a:lnTo>
                      <a:lnTo>
                        <a:pt x="71" y="268"/>
                      </a:lnTo>
                      <a:lnTo>
                        <a:pt x="68" y="262"/>
                      </a:lnTo>
                      <a:lnTo>
                        <a:pt x="1" y="236"/>
                      </a:lnTo>
                      <a:lnTo>
                        <a:pt x="1" y="119"/>
                      </a:lnTo>
                      <a:lnTo>
                        <a:pt x="0" y="88"/>
                      </a:lnTo>
                      <a:lnTo>
                        <a:pt x="0" y="56"/>
                      </a:lnTo>
                      <a:lnTo>
                        <a:pt x="1" y="49"/>
                      </a:lnTo>
                      <a:lnTo>
                        <a:pt x="2" y="42"/>
                      </a:lnTo>
                      <a:lnTo>
                        <a:pt x="4" y="35"/>
                      </a:lnTo>
                      <a:lnTo>
                        <a:pt x="6" y="28"/>
                      </a:lnTo>
                      <a:lnTo>
                        <a:pt x="11" y="21"/>
                      </a:lnTo>
                      <a:lnTo>
                        <a:pt x="15" y="14"/>
                      </a:lnTo>
                      <a:lnTo>
                        <a:pt x="20" y="8"/>
                      </a:lnTo>
                      <a:lnTo>
                        <a:pt x="28" y="2"/>
                      </a:lnTo>
                      <a:lnTo>
                        <a:pt x="41" y="2"/>
                      </a:lnTo>
                      <a:lnTo>
                        <a:pt x="48" y="0"/>
                      </a:lnTo>
                      <a:lnTo>
                        <a:pt x="53" y="0"/>
                      </a:lnTo>
                      <a:lnTo>
                        <a:pt x="68" y="2"/>
                      </a:lnTo>
                      <a:lnTo>
                        <a:pt x="72" y="6"/>
                      </a:lnTo>
                      <a:lnTo>
                        <a:pt x="76" y="7"/>
                      </a:lnTo>
                      <a:lnTo>
                        <a:pt x="80" y="7"/>
                      </a:lnTo>
                      <a:lnTo>
                        <a:pt x="82" y="6"/>
                      </a:lnTo>
                      <a:lnTo>
                        <a:pt x="84" y="4"/>
                      </a:lnTo>
                      <a:lnTo>
                        <a:pt x="86" y="4"/>
                      </a:lnTo>
                      <a:lnTo>
                        <a:pt x="87" y="5"/>
                      </a:lnTo>
                      <a:lnTo>
                        <a:pt x="87" y="9"/>
                      </a:lnTo>
                      <a:lnTo>
                        <a:pt x="90" y="11"/>
                      </a:lnTo>
                      <a:lnTo>
                        <a:pt x="94" y="15"/>
                      </a:lnTo>
                      <a:lnTo>
                        <a:pt x="99" y="19"/>
                      </a:lnTo>
                      <a:lnTo>
                        <a:pt x="107" y="23"/>
                      </a:lnTo>
                      <a:lnTo>
                        <a:pt x="121" y="31"/>
                      </a:lnTo>
                      <a:lnTo>
                        <a:pt x="127" y="34"/>
                      </a:lnTo>
                      <a:lnTo>
                        <a:pt x="148" y="41"/>
                      </a:lnTo>
                      <a:lnTo>
                        <a:pt x="165" y="49"/>
                      </a:lnTo>
                      <a:lnTo>
                        <a:pt x="182" y="59"/>
                      </a:lnTo>
                      <a:lnTo>
                        <a:pt x="196" y="69"/>
                      </a:lnTo>
                      <a:lnTo>
                        <a:pt x="210" y="79"/>
                      </a:lnTo>
                      <a:lnTo>
                        <a:pt x="226" y="91"/>
                      </a:lnTo>
                      <a:lnTo>
                        <a:pt x="241" y="102"/>
                      </a:lnTo>
                      <a:lnTo>
                        <a:pt x="260" y="113"/>
                      </a:lnTo>
                      <a:lnTo>
                        <a:pt x="261" y="117"/>
                      </a:lnTo>
                      <a:lnTo>
                        <a:pt x="263" y="120"/>
                      </a:lnTo>
                      <a:lnTo>
                        <a:pt x="266" y="124"/>
                      </a:lnTo>
                      <a:lnTo>
                        <a:pt x="270" y="128"/>
                      </a:lnTo>
                      <a:lnTo>
                        <a:pt x="280" y="135"/>
                      </a:lnTo>
                      <a:lnTo>
                        <a:pt x="291" y="144"/>
                      </a:lnTo>
                      <a:lnTo>
                        <a:pt x="299" y="151"/>
                      </a:lnTo>
                      <a:lnTo>
                        <a:pt x="305" y="158"/>
                      </a:lnTo>
                      <a:lnTo>
                        <a:pt x="306" y="161"/>
                      </a:lnTo>
                      <a:lnTo>
                        <a:pt x="306" y="164"/>
                      </a:lnTo>
                      <a:lnTo>
                        <a:pt x="304" y="166"/>
                      </a:lnTo>
                      <a:lnTo>
                        <a:pt x="300" y="16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06" name="Freeform 226">
                  <a:extLst>
                    <a:ext uri="{FF2B5EF4-FFF2-40B4-BE49-F238E27FC236}">
                      <a16:creationId xmlns:a16="http://schemas.microsoft.com/office/drawing/2014/main" xmlns="" id="{D9B70643-FE55-4FC6-A607-6758B9C9218E}"/>
                    </a:ext>
                  </a:extLst>
                </p:cNvPr>
                <p:cNvSpPr>
                  <a:spLocks/>
                </p:cNvSpPr>
                <p:nvPr>
                  <p:custDataLst>
                    <p:tags r:id="rId153"/>
                  </p:custDataLst>
                </p:nvPr>
              </p:nvSpPr>
              <p:spPr bwMode="auto">
                <a:xfrm>
                  <a:off x="4176713" y="1247775"/>
                  <a:ext cx="236537" cy="92075"/>
                </a:xfrm>
                <a:custGeom>
                  <a:avLst/>
                  <a:gdLst>
                    <a:gd name="T0" fmla="*/ 2147483646 w 546"/>
                    <a:gd name="T1" fmla="*/ 2147483646 h 173"/>
                    <a:gd name="T2" fmla="*/ 2147483646 w 546"/>
                    <a:gd name="T3" fmla="*/ 2147483646 h 173"/>
                    <a:gd name="T4" fmla="*/ 2147483646 w 546"/>
                    <a:gd name="T5" fmla="*/ 2147483646 h 173"/>
                    <a:gd name="T6" fmla="*/ 2147483646 w 546"/>
                    <a:gd name="T7" fmla="*/ 2147483646 h 173"/>
                    <a:gd name="T8" fmla="*/ 2147483646 w 546"/>
                    <a:gd name="T9" fmla="*/ 2147483646 h 173"/>
                    <a:gd name="T10" fmla="*/ 2147483646 w 546"/>
                    <a:gd name="T11" fmla="*/ 2147483646 h 173"/>
                    <a:gd name="T12" fmla="*/ 2147483646 w 546"/>
                    <a:gd name="T13" fmla="*/ 2147483646 h 173"/>
                    <a:gd name="T14" fmla="*/ 2147483646 w 546"/>
                    <a:gd name="T15" fmla="*/ 2147483646 h 173"/>
                    <a:gd name="T16" fmla="*/ 2147483646 w 546"/>
                    <a:gd name="T17" fmla="*/ 2147483646 h 173"/>
                    <a:gd name="T18" fmla="*/ 2147483646 w 546"/>
                    <a:gd name="T19" fmla="*/ 2147483646 h 173"/>
                    <a:gd name="T20" fmla="*/ 2147483646 w 546"/>
                    <a:gd name="T21" fmla="*/ 2147483646 h 173"/>
                    <a:gd name="T22" fmla="*/ 2147483646 w 546"/>
                    <a:gd name="T23" fmla="*/ 2147483646 h 173"/>
                    <a:gd name="T24" fmla="*/ 2147483646 w 546"/>
                    <a:gd name="T25" fmla="*/ 2147483646 h 173"/>
                    <a:gd name="T26" fmla="*/ 2147483646 w 546"/>
                    <a:gd name="T27" fmla="*/ 2147483646 h 173"/>
                    <a:gd name="T28" fmla="*/ 2147483646 w 546"/>
                    <a:gd name="T29" fmla="*/ 0 h 173"/>
                    <a:gd name="T30" fmla="*/ 2147483646 w 546"/>
                    <a:gd name="T31" fmla="*/ 2147483646 h 173"/>
                    <a:gd name="T32" fmla="*/ 2147483646 w 546"/>
                    <a:gd name="T33" fmla="*/ 2147483646 h 173"/>
                    <a:gd name="T34" fmla="*/ 2147483646 w 546"/>
                    <a:gd name="T35" fmla="*/ 2147483646 h 173"/>
                    <a:gd name="T36" fmla="*/ 2147483646 w 546"/>
                    <a:gd name="T37" fmla="*/ 2147483646 h 173"/>
                    <a:gd name="T38" fmla="*/ 2147483646 w 546"/>
                    <a:gd name="T39" fmla="*/ 2147483646 h 173"/>
                    <a:gd name="T40" fmla="*/ 2147483646 w 546"/>
                    <a:gd name="T41" fmla="*/ 2147483646 h 173"/>
                    <a:gd name="T42" fmla="*/ 2147483646 w 546"/>
                    <a:gd name="T43" fmla="*/ 2147483646 h 173"/>
                    <a:gd name="T44" fmla="*/ 2147483646 w 546"/>
                    <a:gd name="T45" fmla="*/ 2147483646 h 173"/>
                    <a:gd name="T46" fmla="*/ 2147483646 w 546"/>
                    <a:gd name="T47" fmla="*/ 2147483646 h 173"/>
                    <a:gd name="T48" fmla="*/ 2147483646 w 546"/>
                    <a:gd name="T49" fmla="*/ 2147483646 h 173"/>
                    <a:gd name="T50" fmla="*/ 2147483646 w 546"/>
                    <a:gd name="T51" fmla="*/ 2147483646 h 173"/>
                    <a:gd name="T52" fmla="*/ 2147483646 w 546"/>
                    <a:gd name="T53" fmla="*/ 2147483646 h 173"/>
                    <a:gd name="T54" fmla="*/ 2147483646 w 546"/>
                    <a:gd name="T55" fmla="*/ 2147483646 h 173"/>
                    <a:gd name="T56" fmla="*/ 2147483646 w 546"/>
                    <a:gd name="T57" fmla="*/ 2147483646 h 173"/>
                    <a:gd name="T58" fmla="*/ 2147483646 w 546"/>
                    <a:gd name="T59" fmla="*/ 2147483646 h 173"/>
                    <a:gd name="T60" fmla="*/ 2147483646 w 546"/>
                    <a:gd name="T61" fmla="*/ 2147483646 h 173"/>
                    <a:gd name="T62" fmla="*/ 2147483646 w 546"/>
                    <a:gd name="T63" fmla="*/ 2147483646 h 173"/>
                    <a:gd name="T64" fmla="*/ 2147483646 w 546"/>
                    <a:gd name="T65" fmla="*/ 2147483646 h 173"/>
                    <a:gd name="T66" fmla="*/ 2147483646 w 546"/>
                    <a:gd name="T67" fmla="*/ 2147483646 h 173"/>
                    <a:gd name="T68" fmla="*/ 2147483646 w 546"/>
                    <a:gd name="T69" fmla="*/ 2147483646 h 173"/>
                    <a:gd name="T70" fmla="*/ 2147483646 w 546"/>
                    <a:gd name="T71" fmla="*/ 2147483646 h 173"/>
                    <a:gd name="T72" fmla="*/ 2147483646 w 546"/>
                    <a:gd name="T73" fmla="*/ 2147483646 h 173"/>
                    <a:gd name="T74" fmla="*/ 2147483646 w 546"/>
                    <a:gd name="T75" fmla="*/ 2147483646 h 173"/>
                    <a:gd name="T76" fmla="*/ 2147483646 w 546"/>
                    <a:gd name="T77" fmla="*/ 2147483646 h 173"/>
                    <a:gd name="T78" fmla="*/ 2147483646 w 546"/>
                    <a:gd name="T79" fmla="*/ 2147483646 h 173"/>
                    <a:gd name="T80" fmla="*/ 2147483646 w 546"/>
                    <a:gd name="T81" fmla="*/ 2147483646 h 173"/>
                    <a:gd name="T82" fmla="*/ 2147483646 w 546"/>
                    <a:gd name="T83" fmla="*/ 2147483646 h 173"/>
                    <a:gd name="T84" fmla="*/ 2147483646 w 546"/>
                    <a:gd name="T85" fmla="*/ 2147483646 h 173"/>
                    <a:gd name="T86" fmla="*/ 2147483646 w 546"/>
                    <a:gd name="T87" fmla="*/ 2147483646 h 173"/>
                    <a:gd name="T88" fmla="*/ 2147483646 w 546"/>
                    <a:gd name="T89" fmla="*/ 2147483646 h 173"/>
                    <a:gd name="T90" fmla="*/ 2147483646 w 546"/>
                    <a:gd name="T91" fmla="*/ 2147483646 h 173"/>
                    <a:gd name="T92" fmla="*/ 2147483646 w 546"/>
                    <a:gd name="T93" fmla="*/ 2147483646 h 173"/>
                    <a:gd name="T94" fmla="*/ 2147483646 w 546"/>
                    <a:gd name="T95" fmla="*/ 2147483646 h 173"/>
                    <a:gd name="T96" fmla="*/ 2147483646 w 546"/>
                    <a:gd name="T97" fmla="*/ 2147483646 h 173"/>
                    <a:gd name="T98" fmla="*/ 2147483646 w 546"/>
                    <a:gd name="T99" fmla="*/ 2147483646 h 173"/>
                    <a:gd name="T100" fmla="*/ 2147483646 w 546"/>
                    <a:gd name="T101" fmla="*/ 2147483646 h 173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546"/>
                    <a:gd name="T154" fmla="*/ 0 h 173"/>
                    <a:gd name="T155" fmla="*/ 546 w 546"/>
                    <a:gd name="T156" fmla="*/ 173 h 173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546" h="173">
                      <a:moveTo>
                        <a:pt x="47" y="12"/>
                      </a:moveTo>
                      <a:lnTo>
                        <a:pt x="61" y="15"/>
                      </a:lnTo>
                      <a:lnTo>
                        <a:pt x="74" y="19"/>
                      </a:lnTo>
                      <a:lnTo>
                        <a:pt x="61" y="38"/>
                      </a:lnTo>
                      <a:lnTo>
                        <a:pt x="87" y="38"/>
                      </a:lnTo>
                      <a:lnTo>
                        <a:pt x="94" y="34"/>
                      </a:lnTo>
                      <a:lnTo>
                        <a:pt x="102" y="31"/>
                      </a:lnTo>
                      <a:lnTo>
                        <a:pt x="107" y="29"/>
                      </a:lnTo>
                      <a:lnTo>
                        <a:pt x="110" y="27"/>
                      </a:lnTo>
                      <a:lnTo>
                        <a:pt x="112" y="23"/>
                      </a:lnTo>
                      <a:lnTo>
                        <a:pt x="113" y="19"/>
                      </a:lnTo>
                      <a:lnTo>
                        <a:pt x="132" y="27"/>
                      </a:lnTo>
                      <a:lnTo>
                        <a:pt x="142" y="32"/>
                      </a:lnTo>
                      <a:lnTo>
                        <a:pt x="150" y="36"/>
                      </a:lnTo>
                      <a:lnTo>
                        <a:pt x="161" y="44"/>
                      </a:lnTo>
                      <a:lnTo>
                        <a:pt x="161" y="19"/>
                      </a:lnTo>
                      <a:lnTo>
                        <a:pt x="188" y="19"/>
                      </a:lnTo>
                      <a:lnTo>
                        <a:pt x="209" y="19"/>
                      </a:lnTo>
                      <a:lnTo>
                        <a:pt x="224" y="19"/>
                      </a:lnTo>
                      <a:lnTo>
                        <a:pt x="233" y="19"/>
                      </a:lnTo>
                      <a:lnTo>
                        <a:pt x="243" y="19"/>
                      </a:lnTo>
                      <a:lnTo>
                        <a:pt x="253" y="19"/>
                      </a:lnTo>
                      <a:lnTo>
                        <a:pt x="256" y="17"/>
                      </a:lnTo>
                      <a:lnTo>
                        <a:pt x="260" y="16"/>
                      </a:lnTo>
                      <a:lnTo>
                        <a:pt x="264" y="14"/>
                      </a:lnTo>
                      <a:lnTo>
                        <a:pt x="266" y="12"/>
                      </a:lnTo>
                      <a:lnTo>
                        <a:pt x="269" y="14"/>
                      </a:lnTo>
                      <a:lnTo>
                        <a:pt x="273" y="14"/>
                      </a:lnTo>
                      <a:lnTo>
                        <a:pt x="276" y="13"/>
                      </a:lnTo>
                      <a:lnTo>
                        <a:pt x="279" y="11"/>
                      </a:lnTo>
                      <a:lnTo>
                        <a:pt x="281" y="8"/>
                      </a:lnTo>
                      <a:lnTo>
                        <a:pt x="285" y="6"/>
                      </a:lnTo>
                      <a:lnTo>
                        <a:pt x="286" y="3"/>
                      </a:lnTo>
                      <a:lnTo>
                        <a:pt x="287" y="0"/>
                      </a:lnTo>
                      <a:lnTo>
                        <a:pt x="320" y="0"/>
                      </a:lnTo>
                      <a:lnTo>
                        <a:pt x="321" y="5"/>
                      </a:lnTo>
                      <a:lnTo>
                        <a:pt x="324" y="9"/>
                      </a:lnTo>
                      <a:lnTo>
                        <a:pt x="329" y="11"/>
                      </a:lnTo>
                      <a:lnTo>
                        <a:pt x="333" y="12"/>
                      </a:lnTo>
                      <a:lnTo>
                        <a:pt x="338" y="11"/>
                      </a:lnTo>
                      <a:lnTo>
                        <a:pt x="345" y="9"/>
                      </a:lnTo>
                      <a:lnTo>
                        <a:pt x="348" y="7"/>
                      </a:lnTo>
                      <a:lnTo>
                        <a:pt x="351" y="5"/>
                      </a:lnTo>
                      <a:lnTo>
                        <a:pt x="353" y="3"/>
                      </a:lnTo>
                      <a:lnTo>
                        <a:pt x="353" y="0"/>
                      </a:lnTo>
                      <a:lnTo>
                        <a:pt x="358" y="3"/>
                      </a:lnTo>
                      <a:lnTo>
                        <a:pt x="363" y="6"/>
                      </a:lnTo>
                      <a:lnTo>
                        <a:pt x="367" y="7"/>
                      </a:lnTo>
                      <a:lnTo>
                        <a:pt x="371" y="8"/>
                      </a:lnTo>
                      <a:lnTo>
                        <a:pt x="380" y="8"/>
                      </a:lnTo>
                      <a:lnTo>
                        <a:pt x="389" y="7"/>
                      </a:lnTo>
                      <a:lnTo>
                        <a:pt x="404" y="3"/>
                      </a:lnTo>
                      <a:lnTo>
                        <a:pt x="420" y="0"/>
                      </a:lnTo>
                      <a:lnTo>
                        <a:pt x="436" y="1"/>
                      </a:lnTo>
                      <a:lnTo>
                        <a:pt x="453" y="2"/>
                      </a:lnTo>
                      <a:lnTo>
                        <a:pt x="467" y="4"/>
                      </a:lnTo>
                      <a:lnTo>
                        <a:pt x="482" y="6"/>
                      </a:lnTo>
                      <a:lnTo>
                        <a:pt x="498" y="9"/>
                      </a:lnTo>
                      <a:lnTo>
                        <a:pt x="513" y="11"/>
                      </a:lnTo>
                      <a:lnTo>
                        <a:pt x="528" y="12"/>
                      </a:lnTo>
                      <a:lnTo>
                        <a:pt x="546" y="12"/>
                      </a:lnTo>
                      <a:lnTo>
                        <a:pt x="546" y="44"/>
                      </a:lnTo>
                      <a:lnTo>
                        <a:pt x="545" y="49"/>
                      </a:lnTo>
                      <a:lnTo>
                        <a:pt x="542" y="55"/>
                      </a:lnTo>
                      <a:lnTo>
                        <a:pt x="539" y="58"/>
                      </a:lnTo>
                      <a:lnTo>
                        <a:pt x="537" y="60"/>
                      </a:lnTo>
                      <a:lnTo>
                        <a:pt x="535" y="61"/>
                      </a:lnTo>
                      <a:lnTo>
                        <a:pt x="533" y="62"/>
                      </a:lnTo>
                      <a:lnTo>
                        <a:pt x="513" y="62"/>
                      </a:lnTo>
                      <a:lnTo>
                        <a:pt x="498" y="60"/>
                      </a:lnTo>
                      <a:lnTo>
                        <a:pt x="490" y="57"/>
                      </a:lnTo>
                      <a:lnTo>
                        <a:pt x="483" y="54"/>
                      </a:lnTo>
                      <a:lnTo>
                        <a:pt x="478" y="50"/>
                      </a:lnTo>
                      <a:lnTo>
                        <a:pt x="472" y="44"/>
                      </a:lnTo>
                      <a:lnTo>
                        <a:pt x="413" y="44"/>
                      </a:lnTo>
                      <a:lnTo>
                        <a:pt x="421" y="58"/>
                      </a:lnTo>
                      <a:lnTo>
                        <a:pt x="428" y="70"/>
                      </a:lnTo>
                      <a:lnTo>
                        <a:pt x="438" y="81"/>
                      </a:lnTo>
                      <a:lnTo>
                        <a:pt x="448" y="89"/>
                      </a:lnTo>
                      <a:lnTo>
                        <a:pt x="459" y="96"/>
                      </a:lnTo>
                      <a:lnTo>
                        <a:pt x="471" y="102"/>
                      </a:lnTo>
                      <a:lnTo>
                        <a:pt x="484" y="107"/>
                      </a:lnTo>
                      <a:lnTo>
                        <a:pt x="499" y="111"/>
                      </a:lnTo>
                      <a:lnTo>
                        <a:pt x="493" y="119"/>
                      </a:lnTo>
                      <a:lnTo>
                        <a:pt x="488" y="126"/>
                      </a:lnTo>
                      <a:lnTo>
                        <a:pt x="481" y="132"/>
                      </a:lnTo>
                      <a:lnTo>
                        <a:pt x="475" y="136"/>
                      </a:lnTo>
                      <a:lnTo>
                        <a:pt x="466" y="139"/>
                      </a:lnTo>
                      <a:lnTo>
                        <a:pt x="458" y="141"/>
                      </a:lnTo>
                      <a:lnTo>
                        <a:pt x="449" y="142"/>
                      </a:lnTo>
                      <a:lnTo>
                        <a:pt x="439" y="142"/>
                      </a:lnTo>
                      <a:lnTo>
                        <a:pt x="432" y="142"/>
                      </a:lnTo>
                      <a:lnTo>
                        <a:pt x="426" y="141"/>
                      </a:lnTo>
                      <a:lnTo>
                        <a:pt x="421" y="139"/>
                      </a:lnTo>
                      <a:lnTo>
                        <a:pt x="416" y="136"/>
                      </a:lnTo>
                      <a:lnTo>
                        <a:pt x="412" y="134"/>
                      </a:lnTo>
                      <a:lnTo>
                        <a:pt x="409" y="132"/>
                      </a:lnTo>
                      <a:lnTo>
                        <a:pt x="404" y="131"/>
                      </a:lnTo>
                      <a:lnTo>
                        <a:pt x="399" y="130"/>
                      </a:lnTo>
                      <a:lnTo>
                        <a:pt x="394" y="128"/>
                      </a:lnTo>
                      <a:lnTo>
                        <a:pt x="390" y="125"/>
                      </a:lnTo>
                      <a:lnTo>
                        <a:pt x="385" y="121"/>
                      </a:lnTo>
                      <a:lnTo>
                        <a:pt x="381" y="116"/>
                      </a:lnTo>
                      <a:lnTo>
                        <a:pt x="378" y="110"/>
                      </a:lnTo>
                      <a:lnTo>
                        <a:pt x="375" y="104"/>
                      </a:lnTo>
                      <a:lnTo>
                        <a:pt x="374" y="98"/>
                      </a:lnTo>
                      <a:lnTo>
                        <a:pt x="372" y="93"/>
                      </a:lnTo>
                      <a:lnTo>
                        <a:pt x="365" y="92"/>
                      </a:lnTo>
                      <a:lnTo>
                        <a:pt x="358" y="90"/>
                      </a:lnTo>
                      <a:lnTo>
                        <a:pt x="351" y="87"/>
                      </a:lnTo>
                      <a:lnTo>
                        <a:pt x="344" y="84"/>
                      </a:lnTo>
                      <a:lnTo>
                        <a:pt x="337" y="81"/>
                      </a:lnTo>
                      <a:lnTo>
                        <a:pt x="331" y="78"/>
                      </a:lnTo>
                      <a:lnTo>
                        <a:pt x="325" y="76"/>
                      </a:lnTo>
                      <a:lnTo>
                        <a:pt x="320" y="75"/>
                      </a:lnTo>
                      <a:lnTo>
                        <a:pt x="314" y="78"/>
                      </a:lnTo>
                      <a:lnTo>
                        <a:pt x="303" y="87"/>
                      </a:lnTo>
                      <a:lnTo>
                        <a:pt x="289" y="101"/>
                      </a:lnTo>
                      <a:lnTo>
                        <a:pt x="274" y="117"/>
                      </a:lnTo>
                      <a:lnTo>
                        <a:pt x="258" y="134"/>
                      </a:lnTo>
                      <a:lnTo>
                        <a:pt x="246" y="150"/>
                      </a:lnTo>
                      <a:lnTo>
                        <a:pt x="241" y="157"/>
                      </a:lnTo>
                      <a:lnTo>
                        <a:pt x="236" y="163"/>
                      </a:lnTo>
                      <a:lnTo>
                        <a:pt x="234" y="169"/>
                      </a:lnTo>
                      <a:lnTo>
                        <a:pt x="233" y="173"/>
                      </a:lnTo>
                      <a:lnTo>
                        <a:pt x="220" y="172"/>
                      </a:lnTo>
                      <a:lnTo>
                        <a:pt x="209" y="171"/>
                      </a:lnTo>
                      <a:lnTo>
                        <a:pt x="198" y="169"/>
                      </a:lnTo>
                      <a:lnTo>
                        <a:pt x="188" y="167"/>
                      </a:lnTo>
                      <a:lnTo>
                        <a:pt x="180" y="163"/>
                      </a:lnTo>
                      <a:lnTo>
                        <a:pt x="172" y="160"/>
                      </a:lnTo>
                      <a:lnTo>
                        <a:pt x="165" y="155"/>
                      </a:lnTo>
                      <a:lnTo>
                        <a:pt x="158" y="151"/>
                      </a:lnTo>
                      <a:lnTo>
                        <a:pt x="136" y="128"/>
                      </a:lnTo>
                      <a:lnTo>
                        <a:pt x="113" y="105"/>
                      </a:lnTo>
                      <a:lnTo>
                        <a:pt x="108" y="100"/>
                      </a:lnTo>
                      <a:lnTo>
                        <a:pt x="101" y="95"/>
                      </a:lnTo>
                      <a:lnTo>
                        <a:pt x="95" y="91"/>
                      </a:lnTo>
                      <a:lnTo>
                        <a:pt x="88" y="87"/>
                      </a:lnTo>
                      <a:lnTo>
                        <a:pt x="74" y="81"/>
                      </a:lnTo>
                      <a:lnTo>
                        <a:pt x="60" y="76"/>
                      </a:lnTo>
                      <a:lnTo>
                        <a:pt x="45" y="70"/>
                      </a:lnTo>
                      <a:lnTo>
                        <a:pt x="31" y="64"/>
                      </a:lnTo>
                      <a:lnTo>
                        <a:pt x="16" y="58"/>
                      </a:lnTo>
                      <a:lnTo>
                        <a:pt x="0" y="50"/>
                      </a:lnTo>
                      <a:lnTo>
                        <a:pt x="6" y="41"/>
                      </a:lnTo>
                      <a:lnTo>
                        <a:pt x="11" y="34"/>
                      </a:lnTo>
                      <a:lnTo>
                        <a:pt x="16" y="28"/>
                      </a:lnTo>
                      <a:lnTo>
                        <a:pt x="21" y="22"/>
                      </a:lnTo>
                      <a:lnTo>
                        <a:pt x="28" y="19"/>
                      </a:lnTo>
                      <a:lnTo>
                        <a:pt x="33" y="15"/>
                      </a:lnTo>
                      <a:lnTo>
                        <a:pt x="40" y="13"/>
                      </a:lnTo>
                      <a:lnTo>
                        <a:pt x="47" y="1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07" name="Freeform 227">
                  <a:extLst>
                    <a:ext uri="{FF2B5EF4-FFF2-40B4-BE49-F238E27FC236}">
                      <a16:creationId xmlns:a16="http://schemas.microsoft.com/office/drawing/2014/main" xmlns="" id="{33C74663-F8C5-4918-8EAF-87C0AE9615CA}"/>
                    </a:ext>
                  </a:extLst>
                </p:cNvPr>
                <p:cNvSpPr>
                  <a:spLocks/>
                </p:cNvSpPr>
                <p:nvPr>
                  <p:custDataLst>
                    <p:tags r:id="rId154"/>
                  </p:custDataLst>
                </p:nvPr>
              </p:nvSpPr>
              <p:spPr bwMode="auto">
                <a:xfrm>
                  <a:off x="4103688" y="1477963"/>
                  <a:ext cx="449262" cy="361950"/>
                </a:xfrm>
                <a:custGeom>
                  <a:avLst/>
                  <a:gdLst>
                    <a:gd name="T0" fmla="*/ 2147483646 w 1037"/>
                    <a:gd name="T1" fmla="*/ 2147483646 h 690"/>
                    <a:gd name="T2" fmla="*/ 2147483646 w 1037"/>
                    <a:gd name="T3" fmla="*/ 2147483646 h 690"/>
                    <a:gd name="T4" fmla="*/ 2147483646 w 1037"/>
                    <a:gd name="T5" fmla="*/ 2147483646 h 690"/>
                    <a:gd name="T6" fmla="*/ 2147483646 w 1037"/>
                    <a:gd name="T7" fmla="*/ 2147483646 h 690"/>
                    <a:gd name="T8" fmla="*/ 2147483646 w 1037"/>
                    <a:gd name="T9" fmla="*/ 2147483646 h 690"/>
                    <a:gd name="T10" fmla="*/ 2147483646 w 1037"/>
                    <a:gd name="T11" fmla="*/ 2147483646 h 690"/>
                    <a:gd name="T12" fmla="*/ 2147483646 w 1037"/>
                    <a:gd name="T13" fmla="*/ 2147483646 h 690"/>
                    <a:gd name="T14" fmla="*/ 2147483646 w 1037"/>
                    <a:gd name="T15" fmla="*/ 2147483646 h 690"/>
                    <a:gd name="T16" fmla="*/ 2147483646 w 1037"/>
                    <a:gd name="T17" fmla="*/ 2147483646 h 690"/>
                    <a:gd name="T18" fmla="*/ 0 w 1037"/>
                    <a:gd name="T19" fmla="*/ 2147483646 h 690"/>
                    <a:gd name="T20" fmla="*/ 2147483646 w 1037"/>
                    <a:gd name="T21" fmla="*/ 2147483646 h 690"/>
                    <a:gd name="T22" fmla="*/ 2147483646 w 1037"/>
                    <a:gd name="T23" fmla="*/ 2147483646 h 690"/>
                    <a:gd name="T24" fmla="*/ 2147483646 w 1037"/>
                    <a:gd name="T25" fmla="*/ 2147483646 h 690"/>
                    <a:gd name="T26" fmla="*/ 2147483646 w 1037"/>
                    <a:gd name="T27" fmla="*/ 2147483646 h 690"/>
                    <a:gd name="T28" fmla="*/ 2147483646 w 1037"/>
                    <a:gd name="T29" fmla="*/ 2147483646 h 690"/>
                    <a:gd name="T30" fmla="*/ 2147483646 w 1037"/>
                    <a:gd name="T31" fmla="*/ 2147483646 h 690"/>
                    <a:gd name="T32" fmla="*/ 2147483646 w 1037"/>
                    <a:gd name="T33" fmla="*/ 2147483646 h 690"/>
                    <a:gd name="T34" fmla="*/ 2147483646 w 1037"/>
                    <a:gd name="T35" fmla="*/ 2147483646 h 690"/>
                    <a:gd name="T36" fmla="*/ 2147483646 w 1037"/>
                    <a:gd name="T37" fmla="*/ 2147483646 h 690"/>
                    <a:gd name="T38" fmla="*/ 2147483646 w 1037"/>
                    <a:gd name="T39" fmla="*/ 2147483646 h 690"/>
                    <a:gd name="T40" fmla="*/ 2147483646 w 1037"/>
                    <a:gd name="T41" fmla="*/ 2147483646 h 690"/>
                    <a:gd name="T42" fmla="*/ 2147483646 w 1037"/>
                    <a:gd name="T43" fmla="*/ 2147483646 h 690"/>
                    <a:gd name="T44" fmla="*/ 2147483646 w 1037"/>
                    <a:gd name="T45" fmla="*/ 2147483646 h 690"/>
                    <a:gd name="T46" fmla="*/ 2147483646 w 1037"/>
                    <a:gd name="T47" fmla="*/ 2147483646 h 690"/>
                    <a:gd name="T48" fmla="*/ 2147483646 w 1037"/>
                    <a:gd name="T49" fmla="*/ 2147483646 h 690"/>
                    <a:gd name="T50" fmla="*/ 2147483646 w 1037"/>
                    <a:gd name="T51" fmla="*/ 2147483646 h 690"/>
                    <a:gd name="T52" fmla="*/ 2147483646 w 1037"/>
                    <a:gd name="T53" fmla="*/ 2147483646 h 690"/>
                    <a:gd name="T54" fmla="*/ 2147483646 w 1037"/>
                    <a:gd name="T55" fmla="*/ 2147483646 h 690"/>
                    <a:gd name="T56" fmla="*/ 2147483646 w 1037"/>
                    <a:gd name="T57" fmla="*/ 2147483646 h 690"/>
                    <a:gd name="T58" fmla="*/ 2147483646 w 1037"/>
                    <a:gd name="T59" fmla="*/ 2147483646 h 690"/>
                    <a:gd name="T60" fmla="*/ 2147483646 w 1037"/>
                    <a:gd name="T61" fmla="*/ 2147483646 h 690"/>
                    <a:gd name="T62" fmla="*/ 2147483646 w 1037"/>
                    <a:gd name="T63" fmla="*/ 2147483646 h 690"/>
                    <a:gd name="T64" fmla="*/ 2147483646 w 1037"/>
                    <a:gd name="T65" fmla="*/ 2147483646 h 690"/>
                    <a:gd name="T66" fmla="*/ 2147483646 w 1037"/>
                    <a:gd name="T67" fmla="*/ 2147483646 h 690"/>
                    <a:gd name="T68" fmla="*/ 2147483646 w 1037"/>
                    <a:gd name="T69" fmla="*/ 2147483646 h 690"/>
                    <a:gd name="T70" fmla="*/ 2147483646 w 1037"/>
                    <a:gd name="T71" fmla="*/ 2147483646 h 690"/>
                    <a:gd name="T72" fmla="*/ 2147483646 w 1037"/>
                    <a:gd name="T73" fmla="*/ 2147483646 h 690"/>
                    <a:gd name="T74" fmla="*/ 2147483646 w 1037"/>
                    <a:gd name="T75" fmla="*/ 2147483646 h 690"/>
                    <a:gd name="T76" fmla="*/ 2147483646 w 1037"/>
                    <a:gd name="T77" fmla="*/ 2147483646 h 690"/>
                    <a:gd name="T78" fmla="*/ 2147483646 w 1037"/>
                    <a:gd name="T79" fmla="*/ 2147483646 h 690"/>
                    <a:gd name="T80" fmla="*/ 2147483646 w 1037"/>
                    <a:gd name="T81" fmla="*/ 2147483646 h 690"/>
                    <a:gd name="T82" fmla="*/ 2147483646 w 1037"/>
                    <a:gd name="T83" fmla="*/ 2147483646 h 690"/>
                    <a:gd name="T84" fmla="*/ 2147483646 w 1037"/>
                    <a:gd name="T85" fmla="*/ 2147483646 h 690"/>
                    <a:gd name="T86" fmla="*/ 2147483646 w 1037"/>
                    <a:gd name="T87" fmla="*/ 2147483646 h 690"/>
                    <a:gd name="T88" fmla="*/ 2147483646 w 1037"/>
                    <a:gd name="T89" fmla="*/ 2147483646 h 690"/>
                    <a:gd name="T90" fmla="*/ 2147483646 w 1037"/>
                    <a:gd name="T91" fmla="*/ 2147483646 h 690"/>
                    <a:gd name="T92" fmla="*/ 2147483646 w 1037"/>
                    <a:gd name="T93" fmla="*/ 2147483646 h 690"/>
                    <a:gd name="T94" fmla="*/ 2147483646 w 1037"/>
                    <a:gd name="T95" fmla="*/ 2147483646 h 690"/>
                    <a:gd name="T96" fmla="*/ 2147483646 w 1037"/>
                    <a:gd name="T97" fmla="*/ 2147483646 h 690"/>
                    <a:gd name="T98" fmla="*/ 2147483646 w 1037"/>
                    <a:gd name="T99" fmla="*/ 2147483646 h 690"/>
                    <a:gd name="T100" fmla="*/ 2147483646 w 1037"/>
                    <a:gd name="T101" fmla="*/ 2147483646 h 690"/>
                    <a:gd name="T102" fmla="*/ 2147483646 w 1037"/>
                    <a:gd name="T103" fmla="*/ 2147483646 h 690"/>
                    <a:gd name="T104" fmla="*/ 2147483646 w 1037"/>
                    <a:gd name="T105" fmla="*/ 2147483646 h 690"/>
                    <a:gd name="T106" fmla="*/ 2147483646 w 1037"/>
                    <a:gd name="T107" fmla="*/ 2147483646 h 690"/>
                    <a:gd name="T108" fmla="*/ 2147483646 w 1037"/>
                    <a:gd name="T109" fmla="*/ 2147483646 h 690"/>
                    <a:gd name="T110" fmla="*/ 2147483646 w 1037"/>
                    <a:gd name="T111" fmla="*/ 2147483646 h 690"/>
                    <a:gd name="T112" fmla="*/ 2147483646 w 1037"/>
                    <a:gd name="T113" fmla="*/ 2147483646 h 690"/>
                    <a:gd name="T114" fmla="*/ 2147483646 w 1037"/>
                    <a:gd name="T115" fmla="*/ 2147483646 h 690"/>
                    <a:gd name="T116" fmla="*/ 2147483646 w 1037"/>
                    <a:gd name="T117" fmla="*/ 2147483646 h 690"/>
                    <a:gd name="T118" fmla="*/ 2147483646 w 1037"/>
                    <a:gd name="T119" fmla="*/ 2147483646 h 69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037"/>
                    <a:gd name="T181" fmla="*/ 0 h 690"/>
                    <a:gd name="T182" fmla="*/ 1037 w 1037"/>
                    <a:gd name="T183" fmla="*/ 690 h 69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1037" h="690">
                      <a:moveTo>
                        <a:pt x="286" y="647"/>
                      </a:moveTo>
                      <a:lnTo>
                        <a:pt x="273" y="631"/>
                      </a:lnTo>
                      <a:lnTo>
                        <a:pt x="262" y="621"/>
                      </a:lnTo>
                      <a:lnTo>
                        <a:pt x="253" y="612"/>
                      </a:lnTo>
                      <a:lnTo>
                        <a:pt x="246" y="604"/>
                      </a:lnTo>
                      <a:lnTo>
                        <a:pt x="243" y="613"/>
                      </a:lnTo>
                      <a:lnTo>
                        <a:pt x="240" y="622"/>
                      </a:lnTo>
                      <a:lnTo>
                        <a:pt x="239" y="627"/>
                      </a:lnTo>
                      <a:lnTo>
                        <a:pt x="235" y="632"/>
                      </a:lnTo>
                      <a:lnTo>
                        <a:pt x="231" y="638"/>
                      </a:lnTo>
                      <a:lnTo>
                        <a:pt x="224" y="644"/>
                      </a:lnTo>
                      <a:lnTo>
                        <a:pt x="208" y="655"/>
                      </a:lnTo>
                      <a:lnTo>
                        <a:pt x="190" y="665"/>
                      </a:lnTo>
                      <a:lnTo>
                        <a:pt x="155" y="683"/>
                      </a:lnTo>
                      <a:lnTo>
                        <a:pt x="140" y="690"/>
                      </a:lnTo>
                      <a:lnTo>
                        <a:pt x="107" y="690"/>
                      </a:lnTo>
                      <a:lnTo>
                        <a:pt x="86" y="683"/>
                      </a:lnTo>
                      <a:lnTo>
                        <a:pt x="60" y="672"/>
                      </a:lnTo>
                      <a:lnTo>
                        <a:pt x="48" y="666"/>
                      </a:lnTo>
                      <a:lnTo>
                        <a:pt x="37" y="658"/>
                      </a:lnTo>
                      <a:lnTo>
                        <a:pt x="32" y="654"/>
                      </a:lnTo>
                      <a:lnTo>
                        <a:pt x="30" y="650"/>
                      </a:lnTo>
                      <a:lnTo>
                        <a:pt x="28" y="646"/>
                      </a:lnTo>
                      <a:lnTo>
                        <a:pt x="27" y="641"/>
                      </a:lnTo>
                      <a:lnTo>
                        <a:pt x="40" y="641"/>
                      </a:lnTo>
                      <a:lnTo>
                        <a:pt x="50" y="640"/>
                      </a:lnTo>
                      <a:lnTo>
                        <a:pt x="58" y="639"/>
                      </a:lnTo>
                      <a:lnTo>
                        <a:pt x="67" y="634"/>
                      </a:lnTo>
                      <a:lnTo>
                        <a:pt x="59" y="627"/>
                      </a:lnTo>
                      <a:lnTo>
                        <a:pt x="49" y="620"/>
                      </a:lnTo>
                      <a:lnTo>
                        <a:pt x="38" y="613"/>
                      </a:lnTo>
                      <a:lnTo>
                        <a:pt x="27" y="606"/>
                      </a:lnTo>
                      <a:lnTo>
                        <a:pt x="8" y="596"/>
                      </a:lnTo>
                      <a:lnTo>
                        <a:pt x="0" y="592"/>
                      </a:lnTo>
                      <a:lnTo>
                        <a:pt x="18" y="596"/>
                      </a:lnTo>
                      <a:lnTo>
                        <a:pt x="32" y="599"/>
                      </a:lnTo>
                      <a:lnTo>
                        <a:pt x="38" y="600"/>
                      </a:lnTo>
                      <a:lnTo>
                        <a:pt x="43" y="600"/>
                      </a:lnTo>
                      <a:lnTo>
                        <a:pt x="49" y="600"/>
                      </a:lnTo>
                      <a:lnTo>
                        <a:pt x="54" y="598"/>
                      </a:lnTo>
                      <a:lnTo>
                        <a:pt x="49" y="597"/>
                      </a:lnTo>
                      <a:lnTo>
                        <a:pt x="44" y="595"/>
                      </a:lnTo>
                      <a:lnTo>
                        <a:pt x="40" y="591"/>
                      </a:lnTo>
                      <a:lnTo>
                        <a:pt x="36" y="587"/>
                      </a:lnTo>
                      <a:lnTo>
                        <a:pt x="32" y="583"/>
                      </a:lnTo>
                      <a:lnTo>
                        <a:pt x="29" y="576"/>
                      </a:lnTo>
                      <a:lnTo>
                        <a:pt x="28" y="571"/>
                      </a:lnTo>
                      <a:lnTo>
                        <a:pt x="27" y="567"/>
                      </a:lnTo>
                      <a:lnTo>
                        <a:pt x="67" y="567"/>
                      </a:lnTo>
                      <a:lnTo>
                        <a:pt x="56" y="566"/>
                      </a:lnTo>
                      <a:lnTo>
                        <a:pt x="45" y="564"/>
                      </a:lnTo>
                      <a:lnTo>
                        <a:pt x="35" y="562"/>
                      </a:lnTo>
                      <a:lnTo>
                        <a:pt x="25" y="558"/>
                      </a:lnTo>
                      <a:lnTo>
                        <a:pt x="16" y="554"/>
                      </a:lnTo>
                      <a:lnTo>
                        <a:pt x="10" y="549"/>
                      </a:lnTo>
                      <a:lnTo>
                        <a:pt x="8" y="546"/>
                      </a:lnTo>
                      <a:lnTo>
                        <a:pt x="7" y="543"/>
                      </a:lnTo>
                      <a:lnTo>
                        <a:pt x="7" y="540"/>
                      </a:lnTo>
                      <a:lnTo>
                        <a:pt x="7" y="536"/>
                      </a:lnTo>
                      <a:lnTo>
                        <a:pt x="0" y="523"/>
                      </a:lnTo>
                      <a:lnTo>
                        <a:pt x="29" y="523"/>
                      </a:lnTo>
                      <a:lnTo>
                        <a:pt x="54" y="523"/>
                      </a:lnTo>
                      <a:lnTo>
                        <a:pt x="74" y="523"/>
                      </a:lnTo>
                      <a:lnTo>
                        <a:pt x="87" y="523"/>
                      </a:lnTo>
                      <a:lnTo>
                        <a:pt x="72" y="519"/>
                      </a:lnTo>
                      <a:lnTo>
                        <a:pt x="39" y="511"/>
                      </a:lnTo>
                      <a:lnTo>
                        <a:pt x="22" y="507"/>
                      </a:lnTo>
                      <a:lnTo>
                        <a:pt x="8" y="503"/>
                      </a:lnTo>
                      <a:lnTo>
                        <a:pt x="0" y="500"/>
                      </a:lnTo>
                      <a:lnTo>
                        <a:pt x="0" y="499"/>
                      </a:lnTo>
                      <a:lnTo>
                        <a:pt x="2" y="485"/>
                      </a:lnTo>
                      <a:lnTo>
                        <a:pt x="3" y="476"/>
                      </a:lnTo>
                      <a:lnTo>
                        <a:pt x="4" y="472"/>
                      </a:lnTo>
                      <a:lnTo>
                        <a:pt x="4" y="467"/>
                      </a:lnTo>
                      <a:lnTo>
                        <a:pt x="3" y="462"/>
                      </a:lnTo>
                      <a:lnTo>
                        <a:pt x="0" y="456"/>
                      </a:lnTo>
                      <a:lnTo>
                        <a:pt x="20" y="456"/>
                      </a:lnTo>
                      <a:lnTo>
                        <a:pt x="21" y="460"/>
                      </a:lnTo>
                      <a:lnTo>
                        <a:pt x="24" y="463"/>
                      </a:lnTo>
                      <a:lnTo>
                        <a:pt x="25" y="464"/>
                      </a:lnTo>
                      <a:lnTo>
                        <a:pt x="26" y="464"/>
                      </a:lnTo>
                      <a:lnTo>
                        <a:pt x="27" y="463"/>
                      </a:lnTo>
                      <a:lnTo>
                        <a:pt x="27" y="462"/>
                      </a:lnTo>
                      <a:lnTo>
                        <a:pt x="37" y="461"/>
                      </a:lnTo>
                      <a:lnTo>
                        <a:pt x="51" y="459"/>
                      </a:lnTo>
                      <a:lnTo>
                        <a:pt x="67" y="457"/>
                      </a:lnTo>
                      <a:lnTo>
                        <a:pt x="81" y="456"/>
                      </a:lnTo>
                      <a:lnTo>
                        <a:pt x="78" y="455"/>
                      </a:lnTo>
                      <a:lnTo>
                        <a:pt x="77" y="454"/>
                      </a:lnTo>
                      <a:lnTo>
                        <a:pt x="77" y="452"/>
                      </a:lnTo>
                      <a:lnTo>
                        <a:pt x="77" y="449"/>
                      </a:lnTo>
                      <a:lnTo>
                        <a:pt x="80" y="443"/>
                      </a:lnTo>
                      <a:lnTo>
                        <a:pt x="81" y="437"/>
                      </a:lnTo>
                      <a:lnTo>
                        <a:pt x="91" y="437"/>
                      </a:lnTo>
                      <a:lnTo>
                        <a:pt x="100" y="437"/>
                      </a:lnTo>
                      <a:lnTo>
                        <a:pt x="99" y="433"/>
                      </a:lnTo>
                      <a:lnTo>
                        <a:pt x="96" y="428"/>
                      </a:lnTo>
                      <a:lnTo>
                        <a:pt x="92" y="424"/>
                      </a:lnTo>
                      <a:lnTo>
                        <a:pt x="87" y="419"/>
                      </a:lnTo>
                      <a:lnTo>
                        <a:pt x="97" y="416"/>
                      </a:lnTo>
                      <a:lnTo>
                        <a:pt x="107" y="413"/>
                      </a:lnTo>
                      <a:lnTo>
                        <a:pt x="117" y="412"/>
                      </a:lnTo>
                      <a:lnTo>
                        <a:pt x="127" y="412"/>
                      </a:lnTo>
                      <a:lnTo>
                        <a:pt x="129" y="412"/>
                      </a:lnTo>
                      <a:lnTo>
                        <a:pt x="130" y="409"/>
                      </a:lnTo>
                      <a:lnTo>
                        <a:pt x="130" y="406"/>
                      </a:lnTo>
                      <a:lnTo>
                        <a:pt x="129" y="402"/>
                      </a:lnTo>
                      <a:lnTo>
                        <a:pt x="128" y="394"/>
                      </a:lnTo>
                      <a:lnTo>
                        <a:pt x="127" y="388"/>
                      </a:lnTo>
                      <a:lnTo>
                        <a:pt x="147" y="388"/>
                      </a:lnTo>
                      <a:lnTo>
                        <a:pt x="133" y="382"/>
                      </a:lnTo>
                      <a:lnTo>
                        <a:pt x="220" y="382"/>
                      </a:lnTo>
                      <a:lnTo>
                        <a:pt x="207" y="376"/>
                      </a:lnTo>
                      <a:lnTo>
                        <a:pt x="213" y="373"/>
                      </a:lnTo>
                      <a:lnTo>
                        <a:pt x="218" y="370"/>
                      </a:lnTo>
                      <a:lnTo>
                        <a:pt x="221" y="367"/>
                      </a:lnTo>
                      <a:lnTo>
                        <a:pt x="224" y="362"/>
                      </a:lnTo>
                      <a:lnTo>
                        <a:pt x="227" y="351"/>
                      </a:lnTo>
                      <a:lnTo>
                        <a:pt x="227" y="339"/>
                      </a:lnTo>
                      <a:lnTo>
                        <a:pt x="243" y="339"/>
                      </a:lnTo>
                      <a:lnTo>
                        <a:pt x="255" y="339"/>
                      </a:lnTo>
                      <a:lnTo>
                        <a:pt x="266" y="339"/>
                      </a:lnTo>
                      <a:lnTo>
                        <a:pt x="279" y="339"/>
                      </a:lnTo>
                      <a:lnTo>
                        <a:pt x="279" y="333"/>
                      </a:lnTo>
                      <a:lnTo>
                        <a:pt x="282" y="327"/>
                      </a:lnTo>
                      <a:lnTo>
                        <a:pt x="283" y="325"/>
                      </a:lnTo>
                      <a:lnTo>
                        <a:pt x="285" y="323"/>
                      </a:lnTo>
                      <a:lnTo>
                        <a:pt x="288" y="321"/>
                      </a:lnTo>
                      <a:lnTo>
                        <a:pt x="293" y="321"/>
                      </a:lnTo>
                      <a:lnTo>
                        <a:pt x="286" y="318"/>
                      </a:lnTo>
                      <a:lnTo>
                        <a:pt x="279" y="314"/>
                      </a:lnTo>
                      <a:lnTo>
                        <a:pt x="280" y="312"/>
                      </a:lnTo>
                      <a:lnTo>
                        <a:pt x="282" y="310"/>
                      </a:lnTo>
                      <a:lnTo>
                        <a:pt x="284" y="308"/>
                      </a:lnTo>
                      <a:lnTo>
                        <a:pt x="287" y="305"/>
                      </a:lnTo>
                      <a:lnTo>
                        <a:pt x="294" y="300"/>
                      </a:lnTo>
                      <a:lnTo>
                        <a:pt x="299" y="295"/>
                      </a:lnTo>
                      <a:lnTo>
                        <a:pt x="298" y="292"/>
                      </a:lnTo>
                      <a:lnTo>
                        <a:pt x="297" y="288"/>
                      </a:lnTo>
                      <a:lnTo>
                        <a:pt x="298" y="285"/>
                      </a:lnTo>
                      <a:lnTo>
                        <a:pt x="299" y="281"/>
                      </a:lnTo>
                      <a:lnTo>
                        <a:pt x="305" y="274"/>
                      </a:lnTo>
                      <a:lnTo>
                        <a:pt x="311" y="267"/>
                      </a:lnTo>
                      <a:lnTo>
                        <a:pt x="325" y="254"/>
                      </a:lnTo>
                      <a:lnTo>
                        <a:pt x="333" y="246"/>
                      </a:lnTo>
                      <a:lnTo>
                        <a:pt x="333" y="244"/>
                      </a:lnTo>
                      <a:lnTo>
                        <a:pt x="335" y="243"/>
                      </a:lnTo>
                      <a:lnTo>
                        <a:pt x="338" y="243"/>
                      </a:lnTo>
                      <a:lnTo>
                        <a:pt x="340" y="244"/>
                      </a:lnTo>
                      <a:lnTo>
                        <a:pt x="344" y="245"/>
                      </a:lnTo>
                      <a:lnTo>
                        <a:pt x="346" y="246"/>
                      </a:lnTo>
                      <a:lnTo>
                        <a:pt x="344" y="239"/>
                      </a:lnTo>
                      <a:lnTo>
                        <a:pt x="343" y="233"/>
                      </a:lnTo>
                      <a:lnTo>
                        <a:pt x="343" y="226"/>
                      </a:lnTo>
                      <a:lnTo>
                        <a:pt x="344" y="220"/>
                      </a:lnTo>
                      <a:lnTo>
                        <a:pt x="345" y="210"/>
                      </a:lnTo>
                      <a:lnTo>
                        <a:pt x="346" y="204"/>
                      </a:lnTo>
                      <a:lnTo>
                        <a:pt x="370" y="204"/>
                      </a:lnTo>
                      <a:lnTo>
                        <a:pt x="385" y="203"/>
                      </a:lnTo>
                      <a:lnTo>
                        <a:pt x="388" y="202"/>
                      </a:lnTo>
                      <a:lnTo>
                        <a:pt x="390" y="200"/>
                      </a:lnTo>
                      <a:lnTo>
                        <a:pt x="392" y="198"/>
                      </a:lnTo>
                      <a:lnTo>
                        <a:pt x="394" y="196"/>
                      </a:lnTo>
                      <a:lnTo>
                        <a:pt x="397" y="188"/>
                      </a:lnTo>
                      <a:lnTo>
                        <a:pt x="399" y="178"/>
                      </a:lnTo>
                      <a:lnTo>
                        <a:pt x="395" y="173"/>
                      </a:lnTo>
                      <a:lnTo>
                        <a:pt x="390" y="166"/>
                      </a:lnTo>
                      <a:lnTo>
                        <a:pt x="387" y="157"/>
                      </a:lnTo>
                      <a:lnTo>
                        <a:pt x="386" y="148"/>
                      </a:lnTo>
                      <a:lnTo>
                        <a:pt x="384" y="148"/>
                      </a:lnTo>
                      <a:lnTo>
                        <a:pt x="379" y="147"/>
                      </a:lnTo>
                      <a:lnTo>
                        <a:pt x="377" y="147"/>
                      </a:lnTo>
                      <a:lnTo>
                        <a:pt x="375" y="146"/>
                      </a:lnTo>
                      <a:lnTo>
                        <a:pt x="373" y="144"/>
                      </a:lnTo>
                      <a:lnTo>
                        <a:pt x="373" y="142"/>
                      </a:lnTo>
                      <a:lnTo>
                        <a:pt x="363" y="150"/>
                      </a:lnTo>
                      <a:lnTo>
                        <a:pt x="353" y="156"/>
                      </a:lnTo>
                      <a:lnTo>
                        <a:pt x="347" y="158"/>
                      </a:lnTo>
                      <a:lnTo>
                        <a:pt x="343" y="159"/>
                      </a:lnTo>
                      <a:lnTo>
                        <a:pt x="338" y="160"/>
                      </a:lnTo>
                      <a:lnTo>
                        <a:pt x="333" y="160"/>
                      </a:lnTo>
                      <a:lnTo>
                        <a:pt x="334" y="154"/>
                      </a:lnTo>
                      <a:lnTo>
                        <a:pt x="338" y="148"/>
                      </a:lnTo>
                      <a:lnTo>
                        <a:pt x="341" y="143"/>
                      </a:lnTo>
                      <a:lnTo>
                        <a:pt x="345" y="138"/>
                      </a:lnTo>
                      <a:lnTo>
                        <a:pt x="355" y="128"/>
                      </a:lnTo>
                      <a:lnTo>
                        <a:pt x="367" y="120"/>
                      </a:lnTo>
                      <a:lnTo>
                        <a:pt x="378" y="112"/>
                      </a:lnTo>
                      <a:lnTo>
                        <a:pt x="390" y="103"/>
                      </a:lnTo>
                      <a:lnTo>
                        <a:pt x="395" y="98"/>
                      </a:lnTo>
                      <a:lnTo>
                        <a:pt x="399" y="93"/>
                      </a:lnTo>
                      <a:lnTo>
                        <a:pt x="403" y="87"/>
                      </a:lnTo>
                      <a:lnTo>
                        <a:pt x="406" y="80"/>
                      </a:lnTo>
                      <a:lnTo>
                        <a:pt x="407" y="83"/>
                      </a:lnTo>
                      <a:lnTo>
                        <a:pt x="409" y="88"/>
                      </a:lnTo>
                      <a:lnTo>
                        <a:pt x="411" y="96"/>
                      </a:lnTo>
                      <a:lnTo>
                        <a:pt x="412" y="105"/>
                      </a:lnTo>
                      <a:lnTo>
                        <a:pt x="414" y="107"/>
                      </a:lnTo>
                      <a:lnTo>
                        <a:pt x="420" y="111"/>
                      </a:lnTo>
                      <a:lnTo>
                        <a:pt x="426" y="115"/>
                      </a:lnTo>
                      <a:lnTo>
                        <a:pt x="432" y="117"/>
                      </a:lnTo>
                      <a:lnTo>
                        <a:pt x="450" y="116"/>
                      </a:lnTo>
                      <a:lnTo>
                        <a:pt x="463" y="114"/>
                      </a:lnTo>
                      <a:lnTo>
                        <a:pt x="473" y="112"/>
                      </a:lnTo>
                      <a:lnTo>
                        <a:pt x="479" y="111"/>
                      </a:lnTo>
                      <a:lnTo>
                        <a:pt x="474" y="106"/>
                      </a:lnTo>
                      <a:lnTo>
                        <a:pt x="469" y="101"/>
                      </a:lnTo>
                      <a:lnTo>
                        <a:pt x="468" y="98"/>
                      </a:lnTo>
                      <a:lnTo>
                        <a:pt x="467" y="95"/>
                      </a:lnTo>
                      <a:lnTo>
                        <a:pt x="466" y="91"/>
                      </a:lnTo>
                      <a:lnTo>
                        <a:pt x="466" y="87"/>
                      </a:lnTo>
                      <a:lnTo>
                        <a:pt x="485" y="83"/>
                      </a:lnTo>
                      <a:lnTo>
                        <a:pt x="510" y="78"/>
                      </a:lnTo>
                      <a:lnTo>
                        <a:pt x="523" y="75"/>
                      </a:lnTo>
                      <a:lnTo>
                        <a:pt x="536" y="72"/>
                      </a:lnTo>
                      <a:lnTo>
                        <a:pt x="548" y="67"/>
                      </a:lnTo>
                      <a:lnTo>
                        <a:pt x="558" y="61"/>
                      </a:lnTo>
                      <a:lnTo>
                        <a:pt x="565" y="57"/>
                      </a:lnTo>
                      <a:lnTo>
                        <a:pt x="573" y="53"/>
                      </a:lnTo>
                      <a:lnTo>
                        <a:pt x="579" y="50"/>
                      </a:lnTo>
                      <a:lnTo>
                        <a:pt x="586" y="49"/>
                      </a:lnTo>
                      <a:lnTo>
                        <a:pt x="587" y="55"/>
                      </a:lnTo>
                      <a:lnTo>
                        <a:pt x="589" y="61"/>
                      </a:lnTo>
                      <a:lnTo>
                        <a:pt x="591" y="63"/>
                      </a:lnTo>
                      <a:lnTo>
                        <a:pt x="593" y="65"/>
                      </a:lnTo>
                      <a:lnTo>
                        <a:pt x="596" y="67"/>
                      </a:lnTo>
                      <a:lnTo>
                        <a:pt x="599" y="67"/>
                      </a:lnTo>
                      <a:lnTo>
                        <a:pt x="609" y="66"/>
                      </a:lnTo>
                      <a:lnTo>
                        <a:pt x="624" y="61"/>
                      </a:lnTo>
                      <a:lnTo>
                        <a:pt x="638" y="57"/>
                      </a:lnTo>
                      <a:lnTo>
                        <a:pt x="645" y="55"/>
                      </a:lnTo>
                      <a:lnTo>
                        <a:pt x="643" y="53"/>
                      </a:lnTo>
                      <a:lnTo>
                        <a:pt x="641" y="51"/>
                      </a:lnTo>
                      <a:lnTo>
                        <a:pt x="638" y="48"/>
                      </a:lnTo>
                      <a:lnTo>
                        <a:pt x="638" y="46"/>
                      </a:lnTo>
                      <a:lnTo>
                        <a:pt x="638" y="42"/>
                      </a:lnTo>
                      <a:lnTo>
                        <a:pt x="641" y="37"/>
                      </a:lnTo>
                      <a:lnTo>
                        <a:pt x="645" y="33"/>
                      </a:lnTo>
                      <a:lnTo>
                        <a:pt x="650" y="28"/>
                      </a:lnTo>
                      <a:lnTo>
                        <a:pt x="657" y="24"/>
                      </a:lnTo>
                      <a:lnTo>
                        <a:pt x="665" y="20"/>
                      </a:lnTo>
                      <a:lnTo>
                        <a:pt x="674" y="17"/>
                      </a:lnTo>
                      <a:lnTo>
                        <a:pt x="682" y="15"/>
                      </a:lnTo>
                      <a:lnTo>
                        <a:pt x="691" y="14"/>
                      </a:lnTo>
                      <a:lnTo>
                        <a:pt x="699" y="13"/>
                      </a:lnTo>
                      <a:lnTo>
                        <a:pt x="708" y="13"/>
                      </a:lnTo>
                      <a:lnTo>
                        <a:pt x="714" y="13"/>
                      </a:lnTo>
                      <a:lnTo>
                        <a:pt x="721" y="15"/>
                      </a:lnTo>
                      <a:lnTo>
                        <a:pt x="725" y="18"/>
                      </a:lnTo>
                      <a:lnTo>
                        <a:pt x="717" y="20"/>
                      </a:lnTo>
                      <a:lnTo>
                        <a:pt x="709" y="26"/>
                      </a:lnTo>
                      <a:lnTo>
                        <a:pt x="705" y="29"/>
                      </a:lnTo>
                      <a:lnTo>
                        <a:pt x="701" y="32"/>
                      </a:lnTo>
                      <a:lnTo>
                        <a:pt x="699" y="35"/>
                      </a:lnTo>
                      <a:lnTo>
                        <a:pt x="699" y="37"/>
                      </a:lnTo>
                      <a:lnTo>
                        <a:pt x="702" y="39"/>
                      </a:lnTo>
                      <a:lnTo>
                        <a:pt x="705" y="40"/>
                      </a:lnTo>
                      <a:lnTo>
                        <a:pt x="709" y="41"/>
                      </a:lnTo>
                      <a:lnTo>
                        <a:pt x="712" y="40"/>
                      </a:lnTo>
                      <a:lnTo>
                        <a:pt x="719" y="39"/>
                      </a:lnTo>
                      <a:lnTo>
                        <a:pt x="725" y="36"/>
                      </a:lnTo>
                      <a:lnTo>
                        <a:pt x="733" y="32"/>
                      </a:lnTo>
                      <a:lnTo>
                        <a:pt x="741" y="29"/>
                      </a:lnTo>
                      <a:lnTo>
                        <a:pt x="748" y="26"/>
                      </a:lnTo>
                      <a:lnTo>
                        <a:pt x="758" y="24"/>
                      </a:lnTo>
                      <a:lnTo>
                        <a:pt x="758" y="12"/>
                      </a:lnTo>
                      <a:lnTo>
                        <a:pt x="758" y="0"/>
                      </a:lnTo>
                      <a:lnTo>
                        <a:pt x="777" y="0"/>
                      </a:lnTo>
                      <a:lnTo>
                        <a:pt x="793" y="1"/>
                      </a:lnTo>
                      <a:lnTo>
                        <a:pt x="800" y="1"/>
                      </a:lnTo>
                      <a:lnTo>
                        <a:pt x="806" y="2"/>
                      </a:lnTo>
                      <a:lnTo>
                        <a:pt x="813" y="4"/>
                      </a:lnTo>
                      <a:lnTo>
                        <a:pt x="817" y="6"/>
                      </a:lnTo>
                      <a:lnTo>
                        <a:pt x="812" y="11"/>
                      </a:lnTo>
                      <a:lnTo>
                        <a:pt x="805" y="18"/>
                      </a:lnTo>
                      <a:lnTo>
                        <a:pt x="800" y="26"/>
                      </a:lnTo>
                      <a:lnTo>
                        <a:pt x="798" y="31"/>
                      </a:lnTo>
                      <a:lnTo>
                        <a:pt x="815" y="22"/>
                      </a:lnTo>
                      <a:lnTo>
                        <a:pt x="828" y="15"/>
                      </a:lnTo>
                      <a:lnTo>
                        <a:pt x="844" y="8"/>
                      </a:lnTo>
                      <a:lnTo>
                        <a:pt x="865" y="0"/>
                      </a:lnTo>
                      <a:lnTo>
                        <a:pt x="865" y="4"/>
                      </a:lnTo>
                      <a:lnTo>
                        <a:pt x="864" y="9"/>
                      </a:lnTo>
                      <a:lnTo>
                        <a:pt x="861" y="14"/>
                      </a:lnTo>
                      <a:lnTo>
                        <a:pt x="858" y="18"/>
                      </a:lnTo>
                      <a:lnTo>
                        <a:pt x="860" y="14"/>
                      </a:lnTo>
                      <a:lnTo>
                        <a:pt x="862" y="11"/>
                      </a:lnTo>
                      <a:lnTo>
                        <a:pt x="866" y="9"/>
                      </a:lnTo>
                      <a:lnTo>
                        <a:pt x="869" y="7"/>
                      </a:lnTo>
                      <a:lnTo>
                        <a:pt x="876" y="6"/>
                      </a:lnTo>
                      <a:lnTo>
                        <a:pt x="884" y="6"/>
                      </a:lnTo>
                      <a:lnTo>
                        <a:pt x="892" y="6"/>
                      </a:lnTo>
                      <a:lnTo>
                        <a:pt x="907" y="6"/>
                      </a:lnTo>
                      <a:lnTo>
                        <a:pt x="924" y="6"/>
                      </a:lnTo>
                      <a:lnTo>
                        <a:pt x="930" y="6"/>
                      </a:lnTo>
                      <a:lnTo>
                        <a:pt x="947" y="12"/>
                      </a:lnTo>
                      <a:lnTo>
                        <a:pt x="979" y="22"/>
                      </a:lnTo>
                      <a:lnTo>
                        <a:pt x="996" y="28"/>
                      </a:lnTo>
                      <a:lnTo>
                        <a:pt x="1013" y="33"/>
                      </a:lnTo>
                      <a:lnTo>
                        <a:pt x="1027" y="38"/>
                      </a:lnTo>
                      <a:lnTo>
                        <a:pt x="1037" y="43"/>
                      </a:lnTo>
                      <a:lnTo>
                        <a:pt x="1031" y="52"/>
                      </a:lnTo>
                      <a:lnTo>
                        <a:pt x="1025" y="61"/>
                      </a:lnTo>
                      <a:lnTo>
                        <a:pt x="1022" y="66"/>
                      </a:lnTo>
                      <a:lnTo>
                        <a:pt x="1019" y="70"/>
                      </a:lnTo>
                      <a:lnTo>
                        <a:pt x="1017" y="75"/>
                      </a:lnTo>
                      <a:lnTo>
                        <a:pt x="1017" y="80"/>
                      </a:lnTo>
                      <a:lnTo>
                        <a:pt x="1005" y="79"/>
                      </a:lnTo>
                      <a:lnTo>
                        <a:pt x="993" y="76"/>
                      </a:lnTo>
                      <a:lnTo>
                        <a:pt x="982" y="72"/>
                      </a:lnTo>
                      <a:lnTo>
                        <a:pt x="971" y="67"/>
                      </a:lnTo>
                      <a:lnTo>
                        <a:pt x="961" y="63"/>
                      </a:lnTo>
                      <a:lnTo>
                        <a:pt x="951" y="59"/>
                      </a:lnTo>
                      <a:lnTo>
                        <a:pt x="940" y="56"/>
                      </a:lnTo>
                      <a:lnTo>
                        <a:pt x="930" y="55"/>
                      </a:lnTo>
                      <a:lnTo>
                        <a:pt x="919" y="55"/>
                      </a:lnTo>
                      <a:lnTo>
                        <a:pt x="906" y="55"/>
                      </a:lnTo>
                      <a:lnTo>
                        <a:pt x="892" y="55"/>
                      </a:lnTo>
                      <a:lnTo>
                        <a:pt x="878" y="55"/>
                      </a:lnTo>
                      <a:lnTo>
                        <a:pt x="877" y="62"/>
                      </a:lnTo>
                      <a:lnTo>
                        <a:pt x="876" y="68"/>
                      </a:lnTo>
                      <a:lnTo>
                        <a:pt x="873" y="74"/>
                      </a:lnTo>
                      <a:lnTo>
                        <a:pt x="871" y="80"/>
                      </a:lnTo>
                      <a:lnTo>
                        <a:pt x="869" y="88"/>
                      </a:lnTo>
                      <a:lnTo>
                        <a:pt x="867" y="95"/>
                      </a:lnTo>
                      <a:lnTo>
                        <a:pt x="865" y="102"/>
                      </a:lnTo>
                      <a:lnTo>
                        <a:pt x="865" y="111"/>
                      </a:lnTo>
                      <a:lnTo>
                        <a:pt x="854" y="114"/>
                      </a:lnTo>
                      <a:lnTo>
                        <a:pt x="848" y="116"/>
                      </a:lnTo>
                      <a:lnTo>
                        <a:pt x="844" y="116"/>
                      </a:lnTo>
                      <a:lnTo>
                        <a:pt x="842" y="115"/>
                      </a:lnTo>
                      <a:lnTo>
                        <a:pt x="838" y="114"/>
                      </a:lnTo>
                      <a:lnTo>
                        <a:pt x="835" y="113"/>
                      </a:lnTo>
                      <a:lnTo>
                        <a:pt x="828" y="111"/>
                      </a:lnTo>
                      <a:lnTo>
                        <a:pt x="817" y="111"/>
                      </a:lnTo>
                      <a:lnTo>
                        <a:pt x="811" y="111"/>
                      </a:lnTo>
                      <a:lnTo>
                        <a:pt x="804" y="112"/>
                      </a:lnTo>
                      <a:lnTo>
                        <a:pt x="798" y="113"/>
                      </a:lnTo>
                      <a:lnTo>
                        <a:pt x="790" y="115"/>
                      </a:lnTo>
                      <a:lnTo>
                        <a:pt x="776" y="121"/>
                      </a:lnTo>
                      <a:lnTo>
                        <a:pt x="758" y="129"/>
                      </a:lnTo>
                      <a:lnTo>
                        <a:pt x="750" y="129"/>
                      </a:lnTo>
                      <a:lnTo>
                        <a:pt x="745" y="128"/>
                      </a:lnTo>
                      <a:lnTo>
                        <a:pt x="738" y="126"/>
                      </a:lnTo>
                      <a:lnTo>
                        <a:pt x="734" y="124"/>
                      </a:lnTo>
                      <a:lnTo>
                        <a:pt x="724" y="119"/>
                      </a:lnTo>
                      <a:lnTo>
                        <a:pt x="716" y="112"/>
                      </a:lnTo>
                      <a:lnTo>
                        <a:pt x="709" y="105"/>
                      </a:lnTo>
                      <a:lnTo>
                        <a:pt x="702" y="98"/>
                      </a:lnTo>
                      <a:lnTo>
                        <a:pt x="694" y="92"/>
                      </a:lnTo>
                      <a:lnTo>
                        <a:pt x="685" y="87"/>
                      </a:lnTo>
                      <a:lnTo>
                        <a:pt x="677" y="92"/>
                      </a:lnTo>
                      <a:lnTo>
                        <a:pt x="669" y="96"/>
                      </a:lnTo>
                      <a:lnTo>
                        <a:pt x="661" y="100"/>
                      </a:lnTo>
                      <a:lnTo>
                        <a:pt x="654" y="103"/>
                      </a:lnTo>
                      <a:lnTo>
                        <a:pt x="637" y="109"/>
                      </a:lnTo>
                      <a:lnTo>
                        <a:pt x="620" y="112"/>
                      </a:lnTo>
                      <a:lnTo>
                        <a:pt x="602" y="116"/>
                      </a:lnTo>
                      <a:lnTo>
                        <a:pt x="584" y="119"/>
                      </a:lnTo>
                      <a:lnTo>
                        <a:pt x="565" y="123"/>
                      </a:lnTo>
                      <a:lnTo>
                        <a:pt x="545" y="129"/>
                      </a:lnTo>
                      <a:lnTo>
                        <a:pt x="542" y="130"/>
                      </a:lnTo>
                      <a:lnTo>
                        <a:pt x="537" y="131"/>
                      </a:lnTo>
                      <a:lnTo>
                        <a:pt x="534" y="134"/>
                      </a:lnTo>
                      <a:lnTo>
                        <a:pt x="530" y="138"/>
                      </a:lnTo>
                      <a:lnTo>
                        <a:pt x="521" y="147"/>
                      </a:lnTo>
                      <a:lnTo>
                        <a:pt x="513" y="158"/>
                      </a:lnTo>
                      <a:lnTo>
                        <a:pt x="506" y="170"/>
                      </a:lnTo>
                      <a:lnTo>
                        <a:pt x="498" y="184"/>
                      </a:lnTo>
                      <a:lnTo>
                        <a:pt x="491" y="198"/>
                      </a:lnTo>
                      <a:lnTo>
                        <a:pt x="486" y="210"/>
                      </a:lnTo>
                      <a:lnTo>
                        <a:pt x="482" y="217"/>
                      </a:lnTo>
                      <a:lnTo>
                        <a:pt x="478" y="225"/>
                      </a:lnTo>
                      <a:lnTo>
                        <a:pt x="473" y="232"/>
                      </a:lnTo>
                      <a:lnTo>
                        <a:pt x="466" y="239"/>
                      </a:lnTo>
                      <a:lnTo>
                        <a:pt x="453" y="255"/>
                      </a:lnTo>
                      <a:lnTo>
                        <a:pt x="437" y="270"/>
                      </a:lnTo>
                      <a:lnTo>
                        <a:pt x="430" y="279"/>
                      </a:lnTo>
                      <a:lnTo>
                        <a:pt x="423" y="288"/>
                      </a:lnTo>
                      <a:lnTo>
                        <a:pt x="417" y="298"/>
                      </a:lnTo>
                      <a:lnTo>
                        <a:pt x="411" y="309"/>
                      </a:lnTo>
                      <a:lnTo>
                        <a:pt x="406" y="321"/>
                      </a:lnTo>
                      <a:lnTo>
                        <a:pt x="402" y="334"/>
                      </a:lnTo>
                      <a:lnTo>
                        <a:pt x="400" y="348"/>
                      </a:lnTo>
                      <a:lnTo>
                        <a:pt x="399" y="364"/>
                      </a:lnTo>
                      <a:lnTo>
                        <a:pt x="396" y="362"/>
                      </a:lnTo>
                      <a:lnTo>
                        <a:pt x="392" y="361"/>
                      </a:lnTo>
                      <a:lnTo>
                        <a:pt x="387" y="361"/>
                      </a:lnTo>
                      <a:lnTo>
                        <a:pt x="381" y="362"/>
                      </a:lnTo>
                      <a:lnTo>
                        <a:pt x="367" y="363"/>
                      </a:lnTo>
                      <a:lnTo>
                        <a:pt x="353" y="364"/>
                      </a:lnTo>
                      <a:lnTo>
                        <a:pt x="333" y="425"/>
                      </a:lnTo>
                      <a:lnTo>
                        <a:pt x="333" y="441"/>
                      </a:lnTo>
                      <a:lnTo>
                        <a:pt x="336" y="464"/>
                      </a:lnTo>
                      <a:lnTo>
                        <a:pt x="340" y="477"/>
                      </a:lnTo>
                      <a:lnTo>
                        <a:pt x="344" y="487"/>
                      </a:lnTo>
                      <a:lnTo>
                        <a:pt x="347" y="491"/>
                      </a:lnTo>
                      <a:lnTo>
                        <a:pt x="351" y="495"/>
                      </a:lnTo>
                      <a:lnTo>
                        <a:pt x="355" y="497"/>
                      </a:lnTo>
                      <a:lnTo>
                        <a:pt x="360" y="499"/>
                      </a:lnTo>
                      <a:lnTo>
                        <a:pt x="358" y="515"/>
                      </a:lnTo>
                      <a:lnTo>
                        <a:pt x="357" y="528"/>
                      </a:lnTo>
                      <a:lnTo>
                        <a:pt x="356" y="537"/>
                      </a:lnTo>
                      <a:lnTo>
                        <a:pt x="354" y="544"/>
                      </a:lnTo>
                      <a:lnTo>
                        <a:pt x="354" y="551"/>
                      </a:lnTo>
                      <a:lnTo>
                        <a:pt x="354" y="558"/>
                      </a:lnTo>
                      <a:lnTo>
                        <a:pt x="355" y="567"/>
                      </a:lnTo>
                      <a:lnTo>
                        <a:pt x="360" y="579"/>
                      </a:lnTo>
                      <a:lnTo>
                        <a:pt x="352" y="585"/>
                      </a:lnTo>
                      <a:lnTo>
                        <a:pt x="346" y="591"/>
                      </a:lnTo>
                      <a:lnTo>
                        <a:pt x="340" y="598"/>
                      </a:lnTo>
                      <a:lnTo>
                        <a:pt x="335" y="606"/>
                      </a:lnTo>
                      <a:lnTo>
                        <a:pt x="331" y="615"/>
                      </a:lnTo>
                      <a:lnTo>
                        <a:pt x="329" y="625"/>
                      </a:lnTo>
                      <a:lnTo>
                        <a:pt x="327" y="635"/>
                      </a:lnTo>
                      <a:lnTo>
                        <a:pt x="327" y="647"/>
                      </a:lnTo>
                      <a:lnTo>
                        <a:pt x="318" y="646"/>
                      </a:lnTo>
                      <a:lnTo>
                        <a:pt x="306" y="645"/>
                      </a:lnTo>
                      <a:lnTo>
                        <a:pt x="300" y="645"/>
                      </a:lnTo>
                      <a:lnTo>
                        <a:pt x="295" y="645"/>
                      </a:lnTo>
                      <a:lnTo>
                        <a:pt x="289" y="646"/>
                      </a:lnTo>
                      <a:lnTo>
                        <a:pt x="286" y="64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08" name="Freeform 228">
                  <a:extLst>
                    <a:ext uri="{FF2B5EF4-FFF2-40B4-BE49-F238E27FC236}">
                      <a16:creationId xmlns:a16="http://schemas.microsoft.com/office/drawing/2014/main" xmlns="" id="{6A292920-655B-4C33-BF4E-9711C5277013}"/>
                    </a:ext>
                  </a:extLst>
                </p:cNvPr>
                <p:cNvSpPr>
                  <a:spLocks/>
                </p:cNvSpPr>
                <p:nvPr>
                  <p:custDataLst>
                    <p:tags r:id="rId155"/>
                  </p:custDataLst>
                </p:nvPr>
              </p:nvSpPr>
              <p:spPr bwMode="auto">
                <a:xfrm>
                  <a:off x="4443413" y="2319338"/>
                  <a:ext cx="49212" cy="90487"/>
                </a:xfrm>
                <a:custGeom>
                  <a:avLst/>
                  <a:gdLst>
                    <a:gd name="T0" fmla="*/ 2147483646 w 120"/>
                    <a:gd name="T1" fmla="*/ 2147483646 h 173"/>
                    <a:gd name="T2" fmla="*/ 2147483646 w 120"/>
                    <a:gd name="T3" fmla="*/ 2147483646 h 173"/>
                    <a:gd name="T4" fmla="*/ 2147483646 w 120"/>
                    <a:gd name="T5" fmla="*/ 2147483646 h 173"/>
                    <a:gd name="T6" fmla="*/ 2147483646 w 120"/>
                    <a:gd name="T7" fmla="*/ 2147483646 h 173"/>
                    <a:gd name="T8" fmla="*/ 2147483646 w 120"/>
                    <a:gd name="T9" fmla="*/ 2147483646 h 173"/>
                    <a:gd name="T10" fmla="*/ 2147483646 w 120"/>
                    <a:gd name="T11" fmla="*/ 2147483646 h 173"/>
                    <a:gd name="T12" fmla="*/ 2147483646 w 120"/>
                    <a:gd name="T13" fmla="*/ 2147483646 h 173"/>
                    <a:gd name="T14" fmla="*/ 2147483646 w 120"/>
                    <a:gd name="T15" fmla="*/ 2147483646 h 173"/>
                    <a:gd name="T16" fmla="*/ 2147483646 w 120"/>
                    <a:gd name="T17" fmla="*/ 0 h 173"/>
                    <a:gd name="T18" fmla="*/ 2147483646 w 120"/>
                    <a:gd name="T19" fmla="*/ 0 h 173"/>
                    <a:gd name="T20" fmla="*/ 2147483646 w 120"/>
                    <a:gd name="T21" fmla="*/ 2147483646 h 173"/>
                    <a:gd name="T22" fmla="*/ 2147483646 w 120"/>
                    <a:gd name="T23" fmla="*/ 2147483646 h 173"/>
                    <a:gd name="T24" fmla="*/ 2147483646 w 120"/>
                    <a:gd name="T25" fmla="*/ 2147483646 h 173"/>
                    <a:gd name="T26" fmla="*/ 2147483646 w 120"/>
                    <a:gd name="T27" fmla="*/ 2147483646 h 173"/>
                    <a:gd name="T28" fmla="*/ 2147483646 w 120"/>
                    <a:gd name="T29" fmla="*/ 2147483646 h 173"/>
                    <a:gd name="T30" fmla="*/ 2147483646 w 120"/>
                    <a:gd name="T31" fmla="*/ 2147483646 h 173"/>
                    <a:gd name="T32" fmla="*/ 2147483646 w 120"/>
                    <a:gd name="T33" fmla="*/ 2147483646 h 173"/>
                    <a:gd name="T34" fmla="*/ 2147483646 w 120"/>
                    <a:gd name="T35" fmla="*/ 2147483646 h 173"/>
                    <a:gd name="T36" fmla="*/ 2147483646 w 120"/>
                    <a:gd name="T37" fmla="*/ 2147483646 h 173"/>
                    <a:gd name="T38" fmla="*/ 2147483646 w 120"/>
                    <a:gd name="T39" fmla="*/ 2147483646 h 173"/>
                    <a:gd name="T40" fmla="*/ 2147483646 w 120"/>
                    <a:gd name="T41" fmla="*/ 2147483646 h 173"/>
                    <a:gd name="T42" fmla="*/ 2147483646 w 120"/>
                    <a:gd name="T43" fmla="*/ 2147483646 h 173"/>
                    <a:gd name="T44" fmla="*/ 0 w 120"/>
                    <a:gd name="T45" fmla="*/ 2147483646 h 173"/>
                    <a:gd name="T46" fmla="*/ 2147483646 w 120"/>
                    <a:gd name="T47" fmla="*/ 2147483646 h 173"/>
                    <a:gd name="T48" fmla="*/ 2147483646 w 120"/>
                    <a:gd name="T49" fmla="*/ 2147483646 h 173"/>
                    <a:gd name="T50" fmla="*/ 2147483646 w 120"/>
                    <a:gd name="T51" fmla="*/ 2147483646 h 173"/>
                    <a:gd name="T52" fmla="*/ 2147483646 w 120"/>
                    <a:gd name="T53" fmla="*/ 2147483646 h 173"/>
                    <a:gd name="T54" fmla="*/ 2147483646 w 120"/>
                    <a:gd name="T55" fmla="*/ 2147483646 h 173"/>
                    <a:gd name="T56" fmla="*/ 2147483646 w 120"/>
                    <a:gd name="T57" fmla="*/ 2147483646 h 173"/>
                    <a:gd name="T58" fmla="*/ 2147483646 w 120"/>
                    <a:gd name="T59" fmla="*/ 2147483646 h 173"/>
                    <a:gd name="T60" fmla="*/ 2147483646 w 120"/>
                    <a:gd name="T61" fmla="*/ 2147483646 h 173"/>
                    <a:gd name="T62" fmla="*/ 2147483646 w 120"/>
                    <a:gd name="T63" fmla="*/ 2147483646 h 173"/>
                    <a:gd name="T64" fmla="*/ 2147483646 w 120"/>
                    <a:gd name="T65" fmla="*/ 2147483646 h 173"/>
                    <a:gd name="T66" fmla="*/ 2147483646 w 120"/>
                    <a:gd name="T67" fmla="*/ 2147483646 h 173"/>
                    <a:gd name="T68" fmla="*/ 2147483646 w 120"/>
                    <a:gd name="T69" fmla="*/ 2147483646 h 173"/>
                    <a:gd name="T70" fmla="*/ 2147483646 w 120"/>
                    <a:gd name="T71" fmla="*/ 2147483646 h 173"/>
                    <a:gd name="T72" fmla="*/ 2147483646 w 120"/>
                    <a:gd name="T73" fmla="*/ 2147483646 h 173"/>
                    <a:gd name="T74" fmla="*/ 2147483646 w 120"/>
                    <a:gd name="T75" fmla="*/ 2147483646 h 173"/>
                    <a:gd name="T76" fmla="*/ 2147483646 w 120"/>
                    <a:gd name="T77" fmla="*/ 2147483646 h 173"/>
                    <a:gd name="T78" fmla="*/ 2147483646 w 120"/>
                    <a:gd name="T79" fmla="*/ 2147483646 h 173"/>
                    <a:gd name="T80" fmla="*/ 2147483646 w 120"/>
                    <a:gd name="T81" fmla="*/ 2147483646 h 173"/>
                    <a:gd name="T82" fmla="*/ 2147483646 w 120"/>
                    <a:gd name="T83" fmla="*/ 2147483646 h 173"/>
                    <a:gd name="T84" fmla="*/ 2147483646 w 120"/>
                    <a:gd name="T85" fmla="*/ 2147483646 h 173"/>
                    <a:gd name="T86" fmla="*/ 2147483646 w 120"/>
                    <a:gd name="T87" fmla="*/ 2147483646 h 173"/>
                    <a:gd name="T88" fmla="*/ 2147483646 w 120"/>
                    <a:gd name="T89" fmla="*/ 2147483646 h 173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120"/>
                    <a:gd name="T136" fmla="*/ 0 h 173"/>
                    <a:gd name="T137" fmla="*/ 120 w 120"/>
                    <a:gd name="T138" fmla="*/ 173 h 173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120" h="173">
                      <a:moveTo>
                        <a:pt x="120" y="99"/>
                      </a:moveTo>
                      <a:lnTo>
                        <a:pt x="92" y="60"/>
                      </a:lnTo>
                      <a:lnTo>
                        <a:pt x="70" y="28"/>
                      </a:lnTo>
                      <a:lnTo>
                        <a:pt x="60" y="16"/>
                      </a:lnTo>
                      <a:lnTo>
                        <a:pt x="53" y="8"/>
                      </a:lnTo>
                      <a:lnTo>
                        <a:pt x="48" y="4"/>
                      </a:lnTo>
                      <a:lnTo>
                        <a:pt x="45" y="2"/>
                      </a:lnTo>
                      <a:lnTo>
                        <a:pt x="43" y="1"/>
                      </a:lnTo>
                      <a:lnTo>
                        <a:pt x="39" y="0"/>
                      </a:lnTo>
                      <a:lnTo>
                        <a:pt x="33" y="0"/>
                      </a:lnTo>
                      <a:lnTo>
                        <a:pt x="27" y="1"/>
                      </a:lnTo>
                      <a:lnTo>
                        <a:pt x="24" y="3"/>
                      </a:lnTo>
                      <a:lnTo>
                        <a:pt x="21" y="5"/>
                      </a:lnTo>
                      <a:lnTo>
                        <a:pt x="19" y="8"/>
                      </a:lnTo>
                      <a:lnTo>
                        <a:pt x="16" y="12"/>
                      </a:lnTo>
                      <a:lnTo>
                        <a:pt x="15" y="15"/>
                      </a:lnTo>
                      <a:lnTo>
                        <a:pt x="15" y="20"/>
                      </a:lnTo>
                      <a:lnTo>
                        <a:pt x="14" y="30"/>
                      </a:lnTo>
                      <a:lnTo>
                        <a:pt x="12" y="42"/>
                      </a:lnTo>
                      <a:lnTo>
                        <a:pt x="10" y="48"/>
                      </a:lnTo>
                      <a:lnTo>
                        <a:pt x="8" y="54"/>
                      </a:lnTo>
                      <a:lnTo>
                        <a:pt x="4" y="61"/>
                      </a:lnTo>
                      <a:lnTo>
                        <a:pt x="0" y="68"/>
                      </a:lnTo>
                      <a:lnTo>
                        <a:pt x="5" y="82"/>
                      </a:lnTo>
                      <a:lnTo>
                        <a:pt x="10" y="99"/>
                      </a:lnTo>
                      <a:lnTo>
                        <a:pt x="15" y="115"/>
                      </a:lnTo>
                      <a:lnTo>
                        <a:pt x="20" y="129"/>
                      </a:lnTo>
                      <a:lnTo>
                        <a:pt x="24" y="134"/>
                      </a:lnTo>
                      <a:lnTo>
                        <a:pt x="30" y="139"/>
                      </a:lnTo>
                      <a:lnTo>
                        <a:pt x="37" y="145"/>
                      </a:lnTo>
                      <a:lnTo>
                        <a:pt x="46" y="151"/>
                      </a:lnTo>
                      <a:lnTo>
                        <a:pt x="54" y="157"/>
                      </a:lnTo>
                      <a:lnTo>
                        <a:pt x="60" y="163"/>
                      </a:lnTo>
                      <a:lnTo>
                        <a:pt x="62" y="165"/>
                      </a:lnTo>
                      <a:lnTo>
                        <a:pt x="65" y="168"/>
                      </a:lnTo>
                      <a:lnTo>
                        <a:pt x="66" y="170"/>
                      </a:lnTo>
                      <a:lnTo>
                        <a:pt x="67" y="173"/>
                      </a:lnTo>
                      <a:lnTo>
                        <a:pt x="76" y="167"/>
                      </a:lnTo>
                      <a:lnTo>
                        <a:pt x="86" y="160"/>
                      </a:lnTo>
                      <a:lnTo>
                        <a:pt x="93" y="152"/>
                      </a:lnTo>
                      <a:lnTo>
                        <a:pt x="101" y="142"/>
                      </a:lnTo>
                      <a:lnTo>
                        <a:pt x="106" y="132"/>
                      </a:lnTo>
                      <a:lnTo>
                        <a:pt x="112" y="121"/>
                      </a:lnTo>
                      <a:lnTo>
                        <a:pt x="116" y="110"/>
                      </a:lnTo>
                      <a:lnTo>
                        <a:pt x="120" y="9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09" name="Freeform 229">
                  <a:extLst>
                    <a:ext uri="{FF2B5EF4-FFF2-40B4-BE49-F238E27FC236}">
                      <a16:creationId xmlns:a16="http://schemas.microsoft.com/office/drawing/2014/main" xmlns="" id="{460558F2-B7EF-43DE-B5EB-62F19766F266}"/>
                    </a:ext>
                  </a:extLst>
                </p:cNvPr>
                <p:cNvSpPr>
                  <a:spLocks/>
                </p:cNvSpPr>
                <p:nvPr>
                  <p:custDataLst>
                    <p:tags r:id="rId156"/>
                  </p:custDataLst>
                </p:nvPr>
              </p:nvSpPr>
              <p:spPr bwMode="auto">
                <a:xfrm>
                  <a:off x="4151313" y="2159000"/>
                  <a:ext cx="84137" cy="58738"/>
                </a:xfrm>
                <a:custGeom>
                  <a:avLst/>
                  <a:gdLst>
                    <a:gd name="T0" fmla="*/ 2147483646 w 200"/>
                    <a:gd name="T1" fmla="*/ 2147483646 h 98"/>
                    <a:gd name="T2" fmla="*/ 2147483646 w 200"/>
                    <a:gd name="T3" fmla="*/ 2147483646 h 98"/>
                    <a:gd name="T4" fmla="*/ 2147483646 w 200"/>
                    <a:gd name="T5" fmla="*/ 2147483646 h 98"/>
                    <a:gd name="T6" fmla="*/ 2147483646 w 200"/>
                    <a:gd name="T7" fmla="*/ 2147483646 h 98"/>
                    <a:gd name="T8" fmla="*/ 2147483646 w 200"/>
                    <a:gd name="T9" fmla="*/ 2147483646 h 98"/>
                    <a:gd name="T10" fmla="*/ 2147483646 w 200"/>
                    <a:gd name="T11" fmla="*/ 2147483646 h 98"/>
                    <a:gd name="T12" fmla="*/ 2147483646 w 200"/>
                    <a:gd name="T13" fmla="*/ 2147483646 h 98"/>
                    <a:gd name="T14" fmla="*/ 2147483646 w 200"/>
                    <a:gd name="T15" fmla="*/ 2147483646 h 98"/>
                    <a:gd name="T16" fmla="*/ 2147483646 w 200"/>
                    <a:gd name="T17" fmla="*/ 2147483646 h 98"/>
                    <a:gd name="T18" fmla="*/ 2147483646 w 200"/>
                    <a:gd name="T19" fmla="*/ 2147483646 h 98"/>
                    <a:gd name="T20" fmla="*/ 2147483646 w 200"/>
                    <a:gd name="T21" fmla="*/ 2147483646 h 98"/>
                    <a:gd name="T22" fmla="*/ 2147483646 w 200"/>
                    <a:gd name="T23" fmla="*/ 2147483646 h 98"/>
                    <a:gd name="T24" fmla="*/ 2147483646 w 200"/>
                    <a:gd name="T25" fmla="*/ 2147483646 h 98"/>
                    <a:gd name="T26" fmla="*/ 2147483646 w 200"/>
                    <a:gd name="T27" fmla="*/ 2147483646 h 98"/>
                    <a:gd name="T28" fmla="*/ 2147483646 w 200"/>
                    <a:gd name="T29" fmla="*/ 2147483646 h 98"/>
                    <a:gd name="T30" fmla="*/ 2147483646 w 200"/>
                    <a:gd name="T31" fmla="*/ 2147483646 h 98"/>
                    <a:gd name="T32" fmla="*/ 2147483646 w 200"/>
                    <a:gd name="T33" fmla="*/ 2147483646 h 98"/>
                    <a:gd name="T34" fmla="*/ 2147483646 w 200"/>
                    <a:gd name="T35" fmla="*/ 2147483646 h 98"/>
                    <a:gd name="T36" fmla="*/ 2147483646 w 200"/>
                    <a:gd name="T37" fmla="*/ 2147483646 h 98"/>
                    <a:gd name="T38" fmla="*/ 2147483646 w 200"/>
                    <a:gd name="T39" fmla="*/ 2147483646 h 98"/>
                    <a:gd name="T40" fmla="*/ 2147483646 w 200"/>
                    <a:gd name="T41" fmla="*/ 2147483646 h 98"/>
                    <a:gd name="T42" fmla="*/ 2147483646 w 200"/>
                    <a:gd name="T43" fmla="*/ 2147483646 h 98"/>
                    <a:gd name="T44" fmla="*/ 2147483646 w 200"/>
                    <a:gd name="T45" fmla="*/ 2147483646 h 98"/>
                    <a:gd name="T46" fmla="*/ 2147483646 w 200"/>
                    <a:gd name="T47" fmla="*/ 2147483646 h 98"/>
                    <a:gd name="T48" fmla="*/ 2147483646 w 200"/>
                    <a:gd name="T49" fmla="*/ 2147483646 h 98"/>
                    <a:gd name="T50" fmla="*/ 2147483646 w 200"/>
                    <a:gd name="T51" fmla="*/ 2147483646 h 98"/>
                    <a:gd name="T52" fmla="*/ 2147483646 w 200"/>
                    <a:gd name="T53" fmla="*/ 2147483646 h 98"/>
                    <a:gd name="T54" fmla="*/ 2147483646 w 200"/>
                    <a:gd name="T55" fmla="*/ 2147483646 h 98"/>
                    <a:gd name="T56" fmla="*/ 2147483646 w 200"/>
                    <a:gd name="T57" fmla="*/ 2147483646 h 98"/>
                    <a:gd name="T58" fmla="*/ 2147483646 w 200"/>
                    <a:gd name="T59" fmla="*/ 2147483646 h 98"/>
                    <a:gd name="T60" fmla="*/ 2147483646 w 200"/>
                    <a:gd name="T61" fmla="*/ 2147483646 h 98"/>
                    <a:gd name="T62" fmla="*/ 0 w 200"/>
                    <a:gd name="T63" fmla="*/ 2147483646 h 98"/>
                    <a:gd name="T64" fmla="*/ 2147483646 w 200"/>
                    <a:gd name="T65" fmla="*/ 2147483646 h 98"/>
                    <a:gd name="T66" fmla="*/ 2147483646 w 200"/>
                    <a:gd name="T67" fmla="*/ 2147483646 h 98"/>
                    <a:gd name="T68" fmla="*/ 2147483646 w 200"/>
                    <a:gd name="T69" fmla="*/ 2147483646 h 98"/>
                    <a:gd name="T70" fmla="*/ 2147483646 w 200"/>
                    <a:gd name="T71" fmla="*/ 2147483646 h 98"/>
                    <a:gd name="T72" fmla="*/ 2147483646 w 200"/>
                    <a:gd name="T73" fmla="*/ 2147483646 h 98"/>
                    <a:gd name="T74" fmla="*/ 2147483646 w 200"/>
                    <a:gd name="T75" fmla="*/ 2147483646 h 98"/>
                    <a:gd name="T76" fmla="*/ 2147483646 w 200"/>
                    <a:gd name="T77" fmla="*/ 2147483646 h 98"/>
                    <a:gd name="T78" fmla="*/ 2147483646 w 200"/>
                    <a:gd name="T79" fmla="*/ 2147483646 h 98"/>
                    <a:gd name="T80" fmla="*/ 2147483646 w 200"/>
                    <a:gd name="T81" fmla="*/ 2147483646 h 98"/>
                    <a:gd name="T82" fmla="*/ 2147483646 w 200"/>
                    <a:gd name="T83" fmla="*/ 2147483646 h 98"/>
                    <a:gd name="T84" fmla="*/ 2147483646 w 200"/>
                    <a:gd name="T85" fmla="*/ 2147483646 h 98"/>
                    <a:gd name="T86" fmla="*/ 2147483646 w 200"/>
                    <a:gd name="T87" fmla="*/ 0 h 98"/>
                    <a:gd name="T88" fmla="*/ 2147483646 w 200"/>
                    <a:gd name="T89" fmla="*/ 2147483646 h 98"/>
                    <a:gd name="T90" fmla="*/ 2147483646 w 200"/>
                    <a:gd name="T91" fmla="*/ 2147483646 h 98"/>
                    <a:gd name="T92" fmla="*/ 2147483646 w 200"/>
                    <a:gd name="T93" fmla="*/ 2147483646 h 98"/>
                    <a:gd name="T94" fmla="*/ 2147483646 w 200"/>
                    <a:gd name="T95" fmla="*/ 2147483646 h 98"/>
                    <a:gd name="T96" fmla="*/ 2147483646 w 200"/>
                    <a:gd name="T97" fmla="*/ 2147483646 h 98"/>
                    <a:gd name="T98" fmla="*/ 2147483646 w 200"/>
                    <a:gd name="T99" fmla="*/ 2147483646 h 98"/>
                    <a:gd name="T100" fmla="*/ 2147483646 w 200"/>
                    <a:gd name="T101" fmla="*/ 2147483646 h 98"/>
                    <a:gd name="T102" fmla="*/ 2147483646 w 200"/>
                    <a:gd name="T103" fmla="*/ 2147483646 h 98"/>
                    <a:gd name="T104" fmla="*/ 2147483646 w 200"/>
                    <a:gd name="T105" fmla="*/ 2147483646 h 98"/>
                    <a:gd name="T106" fmla="*/ 2147483646 w 200"/>
                    <a:gd name="T107" fmla="*/ 2147483646 h 98"/>
                    <a:gd name="T108" fmla="*/ 2147483646 w 200"/>
                    <a:gd name="T109" fmla="*/ 2147483646 h 98"/>
                    <a:gd name="T110" fmla="*/ 2147483646 w 200"/>
                    <a:gd name="T111" fmla="*/ 2147483646 h 98"/>
                    <a:gd name="T112" fmla="*/ 2147483646 w 200"/>
                    <a:gd name="T113" fmla="*/ 2147483646 h 98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0"/>
                    <a:gd name="T172" fmla="*/ 0 h 98"/>
                    <a:gd name="T173" fmla="*/ 200 w 200"/>
                    <a:gd name="T174" fmla="*/ 98 h 98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0" h="98">
                      <a:moveTo>
                        <a:pt x="200" y="55"/>
                      </a:moveTo>
                      <a:lnTo>
                        <a:pt x="195" y="56"/>
                      </a:lnTo>
                      <a:lnTo>
                        <a:pt x="186" y="60"/>
                      </a:lnTo>
                      <a:lnTo>
                        <a:pt x="177" y="65"/>
                      </a:lnTo>
                      <a:lnTo>
                        <a:pt x="166" y="73"/>
                      </a:lnTo>
                      <a:lnTo>
                        <a:pt x="155" y="80"/>
                      </a:lnTo>
                      <a:lnTo>
                        <a:pt x="145" y="87"/>
                      </a:lnTo>
                      <a:lnTo>
                        <a:pt x="137" y="93"/>
                      </a:lnTo>
                      <a:lnTo>
                        <a:pt x="133" y="98"/>
                      </a:lnTo>
                      <a:lnTo>
                        <a:pt x="127" y="98"/>
                      </a:lnTo>
                      <a:lnTo>
                        <a:pt x="122" y="98"/>
                      </a:lnTo>
                      <a:lnTo>
                        <a:pt x="116" y="97"/>
                      </a:lnTo>
                      <a:lnTo>
                        <a:pt x="111" y="95"/>
                      </a:lnTo>
                      <a:lnTo>
                        <a:pt x="106" y="93"/>
                      </a:lnTo>
                      <a:lnTo>
                        <a:pt x="103" y="88"/>
                      </a:lnTo>
                      <a:lnTo>
                        <a:pt x="101" y="82"/>
                      </a:lnTo>
                      <a:lnTo>
                        <a:pt x="100" y="74"/>
                      </a:lnTo>
                      <a:lnTo>
                        <a:pt x="91" y="80"/>
                      </a:lnTo>
                      <a:lnTo>
                        <a:pt x="82" y="86"/>
                      </a:lnTo>
                      <a:lnTo>
                        <a:pt x="78" y="90"/>
                      </a:lnTo>
                      <a:lnTo>
                        <a:pt x="72" y="93"/>
                      </a:lnTo>
                      <a:lnTo>
                        <a:pt x="67" y="96"/>
                      </a:lnTo>
                      <a:lnTo>
                        <a:pt x="60" y="98"/>
                      </a:lnTo>
                      <a:lnTo>
                        <a:pt x="39" y="98"/>
                      </a:lnTo>
                      <a:lnTo>
                        <a:pt x="34" y="98"/>
                      </a:lnTo>
                      <a:lnTo>
                        <a:pt x="28" y="95"/>
                      </a:lnTo>
                      <a:lnTo>
                        <a:pt x="22" y="92"/>
                      </a:lnTo>
                      <a:lnTo>
                        <a:pt x="15" y="89"/>
                      </a:lnTo>
                      <a:lnTo>
                        <a:pt x="9" y="85"/>
                      </a:lnTo>
                      <a:lnTo>
                        <a:pt x="4" y="81"/>
                      </a:lnTo>
                      <a:lnTo>
                        <a:pt x="1" y="77"/>
                      </a:lnTo>
                      <a:lnTo>
                        <a:pt x="0" y="74"/>
                      </a:lnTo>
                      <a:lnTo>
                        <a:pt x="5" y="71"/>
                      </a:lnTo>
                      <a:lnTo>
                        <a:pt x="10" y="67"/>
                      </a:lnTo>
                      <a:lnTo>
                        <a:pt x="14" y="60"/>
                      </a:lnTo>
                      <a:lnTo>
                        <a:pt x="20" y="53"/>
                      </a:lnTo>
                      <a:lnTo>
                        <a:pt x="23" y="45"/>
                      </a:lnTo>
                      <a:lnTo>
                        <a:pt x="27" y="37"/>
                      </a:lnTo>
                      <a:lnTo>
                        <a:pt x="30" y="28"/>
                      </a:lnTo>
                      <a:lnTo>
                        <a:pt x="33" y="19"/>
                      </a:lnTo>
                      <a:lnTo>
                        <a:pt x="66" y="14"/>
                      </a:lnTo>
                      <a:lnTo>
                        <a:pt x="103" y="9"/>
                      </a:lnTo>
                      <a:lnTo>
                        <a:pt x="145" y="4"/>
                      </a:lnTo>
                      <a:lnTo>
                        <a:pt x="193" y="0"/>
                      </a:lnTo>
                      <a:lnTo>
                        <a:pt x="166" y="31"/>
                      </a:lnTo>
                      <a:lnTo>
                        <a:pt x="166" y="34"/>
                      </a:lnTo>
                      <a:lnTo>
                        <a:pt x="164" y="37"/>
                      </a:lnTo>
                      <a:lnTo>
                        <a:pt x="162" y="39"/>
                      </a:lnTo>
                      <a:lnTo>
                        <a:pt x="161" y="41"/>
                      </a:lnTo>
                      <a:lnTo>
                        <a:pt x="157" y="45"/>
                      </a:lnTo>
                      <a:lnTo>
                        <a:pt x="156" y="47"/>
                      </a:lnTo>
                      <a:lnTo>
                        <a:pt x="156" y="49"/>
                      </a:lnTo>
                      <a:lnTo>
                        <a:pt x="157" y="50"/>
                      </a:lnTo>
                      <a:lnTo>
                        <a:pt x="159" y="50"/>
                      </a:lnTo>
                      <a:lnTo>
                        <a:pt x="163" y="51"/>
                      </a:lnTo>
                      <a:lnTo>
                        <a:pt x="177" y="53"/>
                      </a:lnTo>
                      <a:lnTo>
                        <a:pt x="200" y="5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10" name="Freeform 230">
                  <a:extLst>
                    <a:ext uri="{FF2B5EF4-FFF2-40B4-BE49-F238E27FC236}">
                      <a16:creationId xmlns:a16="http://schemas.microsoft.com/office/drawing/2014/main" xmlns="" id="{EBB3169C-10C1-4D83-80E1-A1DD32B1DCA7}"/>
                    </a:ext>
                  </a:extLst>
                </p:cNvPr>
                <p:cNvSpPr>
                  <a:spLocks/>
                </p:cNvSpPr>
                <p:nvPr>
                  <p:custDataLst>
                    <p:tags r:id="rId157"/>
                  </p:custDataLst>
                </p:nvPr>
              </p:nvSpPr>
              <p:spPr bwMode="auto">
                <a:xfrm>
                  <a:off x="4089400" y="1978025"/>
                  <a:ext cx="84138" cy="73025"/>
                </a:xfrm>
                <a:custGeom>
                  <a:avLst/>
                  <a:gdLst>
                    <a:gd name="T0" fmla="*/ 0 w 186"/>
                    <a:gd name="T1" fmla="*/ 2147483646 h 142"/>
                    <a:gd name="T2" fmla="*/ 2147483646 w 186"/>
                    <a:gd name="T3" fmla="*/ 2147483646 h 142"/>
                    <a:gd name="T4" fmla="*/ 2147483646 w 186"/>
                    <a:gd name="T5" fmla="*/ 2147483646 h 142"/>
                    <a:gd name="T6" fmla="*/ 2147483646 w 186"/>
                    <a:gd name="T7" fmla="*/ 2147483646 h 142"/>
                    <a:gd name="T8" fmla="*/ 2147483646 w 186"/>
                    <a:gd name="T9" fmla="*/ 2147483646 h 142"/>
                    <a:gd name="T10" fmla="*/ 2147483646 w 186"/>
                    <a:gd name="T11" fmla="*/ 2147483646 h 142"/>
                    <a:gd name="T12" fmla="*/ 2147483646 w 186"/>
                    <a:gd name="T13" fmla="*/ 2147483646 h 142"/>
                    <a:gd name="T14" fmla="*/ 2147483646 w 186"/>
                    <a:gd name="T15" fmla="*/ 2147483646 h 142"/>
                    <a:gd name="T16" fmla="*/ 2147483646 w 186"/>
                    <a:gd name="T17" fmla="*/ 2147483646 h 142"/>
                    <a:gd name="T18" fmla="*/ 2147483646 w 186"/>
                    <a:gd name="T19" fmla="*/ 2147483646 h 142"/>
                    <a:gd name="T20" fmla="*/ 2147483646 w 186"/>
                    <a:gd name="T21" fmla="*/ 2147483646 h 142"/>
                    <a:gd name="T22" fmla="*/ 2147483646 w 186"/>
                    <a:gd name="T23" fmla="*/ 2147483646 h 142"/>
                    <a:gd name="T24" fmla="*/ 2147483646 w 186"/>
                    <a:gd name="T25" fmla="*/ 2147483646 h 142"/>
                    <a:gd name="T26" fmla="*/ 2147483646 w 186"/>
                    <a:gd name="T27" fmla="*/ 2147483646 h 142"/>
                    <a:gd name="T28" fmla="*/ 2147483646 w 186"/>
                    <a:gd name="T29" fmla="*/ 2147483646 h 142"/>
                    <a:gd name="T30" fmla="*/ 2147483646 w 186"/>
                    <a:gd name="T31" fmla="*/ 2147483646 h 142"/>
                    <a:gd name="T32" fmla="*/ 2147483646 w 186"/>
                    <a:gd name="T33" fmla="*/ 2147483646 h 142"/>
                    <a:gd name="T34" fmla="*/ 2147483646 w 186"/>
                    <a:gd name="T35" fmla="*/ 2147483646 h 142"/>
                    <a:gd name="T36" fmla="*/ 2147483646 w 186"/>
                    <a:gd name="T37" fmla="*/ 2147483646 h 142"/>
                    <a:gd name="T38" fmla="*/ 2147483646 w 186"/>
                    <a:gd name="T39" fmla="*/ 2147483646 h 142"/>
                    <a:gd name="T40" fmla="*/ 2147483646 w 186"/>
                    <a:gd name="T41" fmla="*/ 2147483646 h 142"/>
                    <a:gd name="T42" fmla="*/ 2147483646 w 186"/>
                    <a:gd name="T43" fmla="*/ 2147483646 h 142"/>
                    <a:gd name="T44" fmla="*/ 2147483646 w 186"/>
                    <a:gd name="T45" fmla="*/ 2147483646 h 142"/>
                    <a:gd name="T46" fmla="*/ 2147483646 w 186"/>
                    <a:gd name="T47" fmla="*/ 2147483646 h 142"/>
                    <a:gd name="T48" fmla="*/ 2147483646 w 186"/>
                    <a:gd name="T49" fmla="*/ 2147483646 h 142"/>
                    <a:gd name="T50" fmla="*/ 2147483646 w 186"/>
                    <a:gd name="T51" fmla="*/ 2147483646 h 142"/>
                    <a:gd name="T52" fmla="*/ 2147483646 w 186"/>
                    <a:gd name="T53" fmla="*/ 2147483646 h 142"/>
                    <a:gd name="T54" fmla="*/ 2147483646 w 186"/>
                    <a:gd name="T55" fmla="*/ 2147483646 h 142"/>
                    <a:gd name="T56" fmla="*/ 2147483646 w 186"/>
                    <a:gd name="T57" fmla="*/ 2147483646 h 142"/>
                    <a:gd name="T58" fmla="*/ 2147483646 w 186"/>
                    <a:gd name="T59" fmla="*/ 2147483646 h 142"/>
                    <a:gd name="T60" fmla="*/ 2147483646 w 186"/>
                    <a:gd name="T61" fmla="*/ 2147483646 h 142"/>
                    <a:gd name="T62" fmla="*/ 2147483646 w 186"/>
                    <a:gd name="T63" fmla="*/ 2147483646 h 142"/>
                    <a:gd name="T64" fmla="*/ 2147483646 w 186"/>
                    <a:gd name="T65" fmla="*/ 2147483646 h 142"/>
                    <a:gd name="T66" fmla="*/ 2147483646 w 186"/>
                    <a:gd name="T67" fmla="*/ 2147483646 h 142"/>
                    <a:gd name="T68" fmla="*/ 2147483646 w 186"/>
                    <a:gd name="T69" fmla="*/ 2147483646 h 142"/>
                    <a:gd name="T70" fmla="*/ 2147483646 w 186"/>
                    <a:gd name="T71" fmla="*/ 2147483646 h 142"/>
                    <a:gd name="T72" fmla="*/ 2147483646 w 186"/>
                    <a:gd name="T73" fmla="*/ 2147483646 h 14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86"/>
                    <a:gd name="T112" fmla="*/ 0 h 142"/>
                    <a:gd name="T113" fmla="*/ 186 w 186"/>
                    <a:gd name="T114" fmla="*/ 142 h 14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86" h="142">
                      <a:moveTo>
                        <a:pt x="0" y="111"/>
                      </a:moveTo>
                      <a:lnTo>
                        <a:pt x="0" y="112"/>
                      </a:lnTo>
                      <a:lnTo>
                        <a:pt x="1" y="114"/>
                      </a:lnTo>
                      <a:lnTo>
                        <a:pt x="2" y="116"/>
                      </a:lnTo>
                      <a:lnTo>
                        <a:pt x="7" y="117"/>
                      </a:lnTo>
                      <a:lnTo>
                        <a:pt x="3" y="107"/>
                      </a:lnTo>
                      <a:lnTo>
                        <a:pt x="2" y="99"/>
                      </a:lnTo>
                      <a:lnTo>
                        <a:pt x="3" y="93"/>
                      </a:lnTo>
                      <a:lnTo>
                        <a:pt x="6" y="87"/>
                      </a:lnTo>
                      <a:lnTo>
                        <a:pt x="9" y="82"/>
                      </a:lnTo>
                      <a:lnTo>
                        <a:pt x="13" y="76"/>
                      </a:lnTo>
                      <a:lnTo>
                        <a:pt x="17" y="69"/>
                      </a:lnTo>
                      <a:lnTo>
                        <a:pt x="20" y="61"/>
                      </a:lnTo>
                      <a:lnTo>
                        <a:pt x="20" y="56"/>
                      </a:lnTo>
                      <a:lnTo>
                        <a:pt x="21" y="51"/>
                      </a:lnTo>
                      <a:lnTo>
                        <a:pt x="23" y="46"/>
                      </a:lnTo>
                      <a:lnTo>
                        <a:pt x="25" y="42"/>
                      </a:lnTo>
                      <a:lnTo>
                        <a:pt x="28" y="37"/>
                      </a:lnTo>
                      <a:lnTo>
                        <a:pt x="31" y="34"/>
                      </a:lnTo>
                      <a:lnTo>
                        <a:pt x="35" y="32"/>
                      </a:lnTo>
                      <a:lnTo>
                        <a:pt x="40" y="31"/>
                      </a:lnTo>
                      <a:lnTo>
                        <a:pt x="41" y="38"/>
                      </a:lnTo>
                      <a:lnTo>
                        <a:pt x="41" y="43"/>
                      </a:lnTo>
                      <a:lnTo>
                        <a:pt x="43" y="49"/>
                      </a:lnTo>
                      <a:lnTo>
                        <a:pt x="45" y="54"/>
                      </a:lnTo>
                      <a:lnTo>
                        <a:pt x="47" y="58"/>
                      </a:lnTo>
                      <a:lnTo>
                        <a:pt x="51" y="62"/>
                      </a:lnTo>
                      <a:lnTo>
                        <a:pt x="55" y="65"/>
                      </a:lnTo>
                      <a:lnTo>
                        <a:pt x="59" y="67"/>
                      </a:lnTo>
                      <a:lnTo>
                        <a:pt x="87" y="67"/>
                      </a:lnTo>
                      <a:lnTo>
                        <a:pt x="87" y="43"/>
                      </a:lnTo>
                      <a:lnTo>
                        <a:pt x="79" y="41"/>
                      </a:lnTo>
                      <a:lnTo>
                        <a:pt x="74" y="38"/>
                      </a:lnTo>
                      <a:lnTo>
                        <a:pt x="69" y="36"/>
                      </a:lnTo>
                      <a:lnTo>
                        <a:pt x="66" y="33"/>
                      </a:lnTo>
                      <a:lnTo>
                        <a:pt x="63" y="30"/>
                      </a:lnTo>
                      <a:lnTo>
                        <a:pt x="62" y="27"/>
                      </a:lnTo>
                      <a:lnTo>
                        <a:pt x="61" y="23"/>
                      </a:lnTo>
                      <a:lnTo>
                        <a:pt x="59" y="18"/>
                      </a:lnTo>
                      <a:lnTo>
                        <a:pt x="70" y="17"/>
                      </a:lnTo>
                      <a:lnTo>
                        <a:pt x="79" y="16"/>
                      </a:lnTo>
                      <a:lnTo>
                        <a:pt x="87" y="14"/>
                      </a:lnTo>
                      <a:lnTo>
                        <a:pt x="92" y="12"/>
                      </a:lnTo>
                      <a:lnTo>
                        <a:pt x="98" y="10"/>
                      </a:lnTo>
                      <a:lnTo>
                        <a:pt x="103" y="8"/>
                      </a:lnTo>
                      <a:lnTo>
                        <a:pt x="111" y="6"/>
                      </a:lnTo>
                      <a:lnTo>
                        <a:pt x="120" y="6"/>
                      </a:lnTo>
                      <a:lnTo>
                        <a:pt x="130" y="3"/>
                      </a:lnTo>
                      <a:lnTo>
                        <a:pt x="140" y="0"/>
                      </a:lnTo>
                      <a:lnTo>
                        <a:pt x="147" y="1"/>
                      </a:lnTo>
                      <a:lnTo>
                        <a:pt x="154" y="2"/>
                      </a:lnTo>
                      <a:lnTo>
                        <a:pt x="159" y="2"/>
                      </a:lnTo>
                      <a:lnTo>
                        <a:pt x="165" y="2"/>
                      </a:lnTo>
                      <a:lnTo>
                        <a:pt x="176" y="1"/>
                      </a:lnTo>
                      <a:lnTo>
                        <a:pt x="186" y="0"/>
                      </a:lnTo>
                      <a:lnTo>
                        <a:pt x="183" y="10"/>
                      </a:lnTo>
                      <a:lnTo>
                        <a:pt x="181" y="19"/>
                      </a:lnTo>
                      <a:lnTo>
                        <a:pt x="178" y="26"/>
                      </a:lnTo>
                      <a:lnTo>
                        <a:pt x="176" y="32"/>
                      </a:lnTo>
                      <a:lnTo>
                        <a:pt x="169" y="40"/>
                      </a:lnTo>
                      <a:lnTo>
                        <a:pt x="165" y="45"/>
                      </a:lnTo>
                      <a:lnTo>
                        <a:pt x="159" y="51"/>
                      </a:lnTo>
                      <a:lnTo>
                        <a:pt x="156" y="58"/>
                      </a:lnTo>
                      <a:lnTo>
                        <a:pt x="155" y="63"/>
                      </a:lnTo>
                      <a:lnTo>
                        <a:pt x="154" y="69"/>
                      </a:lnTo>
                      <a:lnTo>
                        <a:pt x="153" y="76"/>
                      </a:lnTo>
                      <a:lnTo>
                        <a:pt x="153" y="86"/>
                      </a:lnTo>
                      <a:lnTo>
                        <a:pt x="120" y="142"/>
                      </a:lnTo>
                      <a:lnTo>
                        <a:pt x="93" y="123"/>
                      </a:lnTo>
                      <a:lnTo>
                        <a:pt x="80" y="122"/>
                      </a:lnTo>
                      <a:lnTo>
                        <a:pt x="52" y="119"/>
                      </a:lnTo>
                      <a:lnTo>
                        <a:pt x="35" y="117"/>
                      </a:lnTo>
                      <a:lnTo>
                        <a:pt x="20" y="115"/>
                      </a:lnTo>
                      <a:lnTo>
                        <a:pt x="8" y="113"/>
                      </a:lnTo>
                      <a:lnTo>
                        <a:pt x="0" y="111"/>
                      </a:ln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11" name="Freeform 231">
                  <a:extLst>
                    <a:ext uri="{FF2B5EF4-FFF2-40B4-BE49-F238E27FC236}">
                      <a16:creationId xmlns:a16="http://schemas.microsoft.com/office/drawing/2014/main" xmlns="" id="{7DD1D58C-1819-44CC-87F1-90D6C1DA86AD}"/>
                    </a:ext>
                  </a:extLst>
                </p:cNvPr>
                <p:cNvSpPr>
                  <a:spLocks/>
                </p:cNvSpPr>
                <p:nvPr>
                  <p:custDataLst>
                    <p:tags r:id="rId158"/>
                  </p:custDataLst>
                </p:nvPr>
              </p:nvSpPr>
              <p:spPr bwMode="auto">
                <a:xfrm>
                  <a:off x="4070350" y="2041525"/>
                  <a:ext cx="84138" cy="57150"/>
                </a:xfrm>
                <a:custGeom>
                  <a:avLst/>
                  <a:gdLst>
                    <a:gd name="T0" fmla="*/ 2147483646 w 192"/>
                    <a:gd name="T1" fmla="*/ 2147483646 h 105"/>
                    <a:gd name="T2" fmla="*/ 2147483646 w 192"/>
                    <a:gd name="T3" fmla="*/ 2147483646 h 105"/>
                    <a:gd name="T4" fmla="*/ 2147483646 w 192"/>
                    <a:gd name="T5" fmla="*/ 2147483646 h 105"/>
                    <a:gd name="T6" fmla="*/ 2147483646 w 192"/>
                    <a:gd name="T7" fmla="*/ 2147483646 h 105"/>
                    <a:gd name="T8" fmla="*/ 2147483646 w 192"/>
                    <a:gd name="T9" fmla="*/ 2147483646 h 105"/>
                    <a:gd name="T10" fmla="*/ 2147483646 w 192"/>
                    <a:gd name="T11" fmla="*/ 2147483646 h 105"/>
                    <a:gd name="T12" fmla="*/ 2147483646 w 192"/>
                    <a:gd name="T13" fmla="*/ 2147483646 h 105"/>
                    <a:gd name="T14" fmla="*/ 2147483646 w 192"/>
                    <a:gd name="T15" fmla="*/ 2147483646 h 105"/>
                    <a:gd name="T16" fmla="*/ 2147483646 w 192"/>
                    <a:gd name="T17" fmla="*/ 2147483646 h 105"/>
                    <a:gd name="T18" fmla="*/ 2147483646 w 192"/>
                    <a:gd name="T19" fmla="*/ 2147483646 h 105"/>
                    <a:gd name="T20" fmla="*/ 2147483646 w 192"/>
                    <a:gd name="T21" fmla="*/ 2147483646 h 105"/>
                    <a:gd name="T22" fmla="*/ 2147483646 w 192"/>
                    <a:gd name="T23" fmla="*/ 2147483646 h 105"/>
                    <a:gd name="T24" fmla="*/ 2147483646 w 192"/>
                    <a:gd name="T25" fmla="*/ 2147483646 h 105"/>
                    <a:gd name="T26" fmla="*/ 2147483646 w 192"/>
                    <a:gd name="T27" fmla="*/ 2147483646 h 105"/>
                    <a:gd name="T28" fmla="*/ 2147483646 w 192"/>
                    <a:gd name="T29" fmla="*/ 2147483646 h 105"/>
                    <a:gd name="T30" fmla="*/ 2147483646 w 192"/>
                    <a:gd name="T31" fmla="*/ 2147483646 h 105"/>
                    <a:gd name="T32" fmla="*/ 2147483646 w 192"/>
                    <a:gd name="T33" fmla="*/ 2147483646 h 105"/>
                    <a:gd name="T34" fmla="*/ 2147483646 w 192"/>
                    <a:gd name="T35" fmla="*/ 2147483646 h 105"/>
                    <a:gd name="T36" fmla="*/ 0 w 192"/>
                    <a:gd name="T37" fmla="*/ 2147483646 h 105"/>
                    <a:gd name="T38" fmla="*/ 0 w 192"/>
                    <a:gd name="T39" fmla="*/ 2147483646 h 105"/>
                    <a:gd name="T40" fmla="*/ 2147483646 w 192"/>
                    <a:gd name="T41" fmla="*/ 2147483646 h 105"/>
                    <a:gd name="T42" fmla="*/ 2147483646 w 192"/>
                    <a:gd name="T43" fmla="*/ 2147483646 h 105"/>
                    <a:gd name="T44" fmla="*/ 2147483646 w 192"/>
                    <a:gd name="T45" fmla="*/ 2147483646 h 105"/>
                    <a:gd name="T46" fmla="*/ 2147483646 w 192"/>
                    <a:gd name="T47" fmla="*/ 0 h 105"/>
                    <a:gd name="T48" fmla="*/ 2147483646 w 192"/>
                    <a:gd name="T49" fmla="*/ 2147483646 h 105"/>
                    <a:gd name="T50" fmla="*/ 2147483646 w 192"/>
                    <a:gd name="T51" fmla="*/ 2147483646 h 105"/>
                    <a:gd name="T52" fmla="*/ 2147483646 w 192"/>
                    <a:gd name="T53" fmla="*/ 2147483646 h 105"/>
                    <a:gd name="T54" fmla="*/ 2147483646 w 192"/>
                    <a:gd name="T55" fmla="*/ 2147483646 h 105"/>
                    <a:gd name="T56" fmla="*/ 2147483646 w 192"/>
                    <a:gd name="T57" fmla="*/ 2147483646 h 105"/>
                    <a:gd name="T58" fmla="*/ 2147483646 w 192"/>
                    <a:gd name="T59" fmla="*/ 2147483646 h 105"/>
                    <a:gd name="T60" fmla="*/ 2147483646 w 192"/>
                    <a:gd name="T61" fmla="*/ 2147483646 h 105"/>
                    <a:gd name="T62" fmla="*/ 2147483646 w 192"/>
                    <a:gd name="T63" fmla="*/ 2147483646 h 105"/>
                    <a:gd name="T64" fmla="*/ 2147483646 w 192"/>
                    <a:gd name="T65" fmla="*/ 2147483646 h 105"/>
                    <a:gd name="T66" fmla="*/ 2147483646 w 192"/>
                    <a:gd name="T67" fmla="*/ 2147483646 h 105"/>
                    <a:gd name="T68" fmla="*/ 2147483646 w 192"/>
                    <a:gd name="T69" fmla="*/ 2147483646 h 105"/>
                    <a:gd name="T70" fmla="*/ 2147483646 w 192"/>
                    <a:gd name="T71" fmla="*/ 2147483646 h 105"/>
                    <a:gd name="T72" fmla="*/ 2147483646 w 192"/>
                    <a:gd name="T73" fmla="*/ 2147483646 h 105"/>
                    <a:gd name="T74" fmla="*/ 2147483646 w 192"/>
                    <a:gd name="T75" fmla="*/ 2147483646 h 105"/>
                    <a:gd name="T76" fmla="*/ 2147483646 w 192"/>
                    <a:gd name="T77" fmla="*/ 2147483646 h 105"/>
                    <a:gd name="T78" fmla="*/ 2147483646 w 192"/>
                    <a:gd name="T79" fmla="*/ 2147483646 h 105"/>
                    <a:gd name="T80" fmla="*/ 2147483646 w 192"/>
                    <a:gd name="T81" fmla="*/ 2147483646 h 105"/>
                    <a:gd name="T82" fmla="*/ 2147483646 w 192"/>
                    <a:gd name="T83" fmla="*/ 2147483646 h 105"/>
                    <a:gd name="T84" fmla="*/ 2147483646 w 192"/>
                    <a:gd name="T85" fmla="*/ 2147483646 h 10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2"/>
                    <a:gd name="T130" fmla="*/ 0 h 105"/>
                    <a:gd name="T131" fmla="*/ 192 w 192"/>
                    <a:gd name="T132" fmla="*/ 105 h 10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2" h="105">
                      <a:moveTo>
                        <a:pt x="192" y="61"/>
                      </a:moveTo>
                      <a:lnTo>
                        <a:pt x="189" y="62"/>
                      </a:lnTo>
                      <a:lnTo>
                        <a:pt x="184" y="63"/>
                      </a:lnTo>
                      <a:lnTo>
                        <a:pt x="180" y="64"/>
                      </a:lnTo>
                      <a:lnTo>
                        <a:pt x="177" y="67"/>
                      </a:lnTo>
                      <a:lnTo>
                        <a:pt x="168" y="72"/>
                      </a:lnTo>
                      <a:lnTo>
                        <a:pt x="160" y="79"/>
                      </a:lnTo>
                      <a:lnTo>
                        <a:pt x="154" y="86"/>
                      </a:lnTo>
                      <a:lnTo>
                        <a:pt x="147" y="93"/>
                      </a:lnTo>
                      <a:lnTo>
                        <a:pt x="143" y="99"/>
                      </a:lnTo>
                      <a:lnTo>
                        <a:pt x="139" y="105"/>
                      </a:lnTo>
                      <a:lnTo>
                        <a:pt x="120" y="97"/>
                      </a:lnTo>
                      <a:lnTo>
                        <a:pt x="102" y="89"/>
                      </a:lnTo>
                      <a:lnTo>
                        <a:pt x="86" y="80"/>
                      </a:lnTo>
                      <a:lnTo>
                        <a:pt x="69" y="71"/>
                      </a:lnTo>
                      <a:lnTo>
                        <a:pt x="53" y="61"/>
                      </a:lnTo>
                      <a:lnTo>
                        <a:pt x="36" y="53"/>
                      </a:lnTo>
                      <a:lnTo>
                        <a:pt x="19" y="44"/>
                      </a:lnTo>
                      <a:lnTo>
                        <a:pt x="0" y="37"/>
                      </a:lnTo>
                      <a:lnTo>
                        <a:pt x="0" y="13"/>
                      </a:lnTo>
                      <a:lnTo>
                        <a:pt x="7" y="7"/>
                      </a:lnTo>
                      <a:lnTo>
                        <a:pt x="16" y="4"/>
                      </a:lnTo>
                      <a:lnTo>
                        <a:pt x="29" y="1"/>
                      </a:lnTo>
                      <a:lnTo>
                        <a:pt x="40" y="0"/>
                      </a:lnTo>
                      <a:lnTo>
                        <a:pt x="60" y="2"/>
                      </a:lnTo>
                      <a:lnTo>
                        <a:pt x="93" y="5"/>
                      </a:lnTo>
                      <a:lnTo>
                        <a:pt x="111" y="7"/>
                      </a:lnTo>
                      <a:lnTo>
                        <a:pt x="128" y="7"/>
                      </a:lnTo>
                      <a:lnTo>
                        <a:pt x="143" y="7"/>
                      </a:lnTo>
                      <a:lnTo>
                        <a:pt x="153" y="6"/>
                      </a:lnTo>
                      <a:lnTo>
                        <a:pt x="155" y="11"/>
                      </a:lnTo>
                      <a:lnTo>
                        <a:pt x="159" y="17"/>
                      </a:lnTo>
                      <a:lnTo>
                        <a:pt x="161" y="20"/>
                      </a:lnTo>
                      <a:lnTo>
                        <a:pt x="164" y="23"/>
                      </a:lnTo>
                      <a:lnTo>
                        <a:pt x="165" y="27"/>
                      </a:lnTo>
                      <a:lnTo>
                        <a:pt x="166" y="31"/>
                      </a:lnTo>
                      <a:lnTo>
                        <a:pt x="170" y="32"/>
                      </a:lnTo>
                      <a:lnTo>
                        <a:pt x="177" y="33"/>
                      </a:lnTo>
                      <a:lnTo>
                        <a:pt x="180" y="34"/>
                      </a:lnTo>
                      <a:lnTo>
                        <a:pt x="183" y="34"/>
                      </a:lnTo>
                      <a:lnTo>
                        <a:pt x="188" y="33"/>
                      </a:lnTo>
                      <a:lnTo>
                        <a:pt x="192" y="31"/>
                      </a:lnTo>
                      <a:lnTo>
                        <a:pt x="192" y="61"/>
                      </a:ln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12" name="Freeform 232">
                  <a:extLst>
                    <a:ext uri="{FF2B5EF4-FFF2-40B4-BE49-F238E27FC236}">
                      <a16:creationId xmlns:a16="http://schemas.microsoft.com/office/drawing/2014/main" xmlns="" id="{ED6ABC9C-073C-4499-BEA2-2704847B1ADF}"/>
                    </a:ext>
                  </a:extLst>
                </p:cNvPr>
                <p:cNvSpPr>
                  <a:spLocks/>
                </p:cNvSpPr>
                <p:nvPr>
                  <p:custDataLst>
                    <p:tags r:id="rId159"/>
                  </p:custDataLst>
                </p:nvPr>
              </p:nvSpPr>
              <p:spPr bwMode="auto">
                <a:xfrm>
                  <a:off x="4830763" y="2595563"/>
                  <a:ext cx="33337" cy="131762"/>
                </a:xfrm>
                <a:custGeom>
                  <a:avLst/>
                  <a:gdLst>
                    <a:gd name="T0" fmla="*/ 2147483646 w 80"/>
                    <a:gd name="T1" fmla="*/ 0 h 254"/>
                    <a:gd name="T2" fmla="*/ 2147483646 w 80"/>
                    <a:gd name="T3" fmla="*/ 2147483646 h 254"/>
                    <a:gd name="T4" fmla="*/ 2147483646 w 80"/>
                    <a:gd name="T5" fmla="*/ 2147483646 h 254"/>
                    <a:gd name="T6" fmla="*/ 2147483646 w 80"/>
                    <a:gd name="T7" fmla="*/ 2147483646 h 254"/>
                    <a:gd name="T8" fmla="*/ 2147483646 w 80"/>
                    <a:gd name="T9" fmla="*/ 2147483646 h 254"/>
                    <a:gd name="T10" fmla="*/ 2147483646 w 80"/>
                    <a:gd name="T11" fmla="*/ 2147483646 h 254"/>
                    <a:gd name="T12" fmla="*/ 2147483646 w 80"/>
                    <a:gd name="T13" fmla="*/ 2147483646 h 254"/>
                    <a:gd name="T14" fmla="*/ 2147483646 w 80"/>
                    <a:gd name="T15" fmla="*/ 2147483646 h 254"/>
                    <a:gd name="T16" fmla="*/ 2147483646 w 80"/>
                    <a:gd name="T17" fmla="*/ 2147483646 h 254"/>
                    <a:gd name="T18" fmla="*/ 2147483646 w 80"/>
                    <a:gd name="T19" fmla="*/ 2147483646 h 254"/>
                    <a:gd name="T20" fmla="*/ 2147483646 w 80"/>
                    <a:gd name="T21" fmla="*/ 2147483646 h 254"/>
                    <a:gd name="T22" fmla="*/ 2147483646 w 80"/>
                    <a:gd name="T23" fmla="*/ 2147483646 h 254"/>
                    <a:gd name="T24" fmla="*/ 2147483646 w 80"/>
                    <a:gd name="T25" fmla="*/ 2147483646 h 254"/>
                    <a:gd name="T26" fmla="*/ 2147483646 w 80"/>
                    <a:gd name="T27" fmla="*/ 2147483646 h 254"/>
                    <a:gd name="T28" fmla="*/ 2147483646 w 80"/>
                    <a:gd name="T29" fmla="*/ 2147483646 h 254"/>
                    <a:gd name="T30" fmla="*/ 2147483646 w 80"/>
                    <a:gd name="T31" fmla="*/ 2147483646 h 254"/>
                    <a:gd name="T32" fmla="*/ 0 w 80"/>
                    <a:gd name="T33" fmla="*/ 2147483646 h 254"/>
                    <a:gd name="T34" fmla="*/ 2147483646 w 80"/>
                    <a:gd name="T35" fmla="*/ 2147483646 h 254"/>
                    <a:gd name="T36" fmla="*/ 2147483646 w 80"/>
                    <a:gd name="T37" fmla="*/ 2147483646 h 254"/>
                    <a:gd name="T38" fmla="*/ 2147483646 w 80"/>
                    <a:gd name="T39" fmla="*/ 2147483646 h 254"/>
                    <a:gd name="T40" fmla="*/ 2147483646 w 80"/>
                    <a:gd name="T41" fmla="*/ 2147483646 h 254"/>
                    <a:gd name="T42" fmla="*/ 2147483646 w 80"/>
                    <a:gd name="T43" fmla="*/ 2147483646 h 254"/>
                    <a:gd name="T44" fmla="*/ 2147483646 w 80"/>
                    <a:gd name="T45" fmla="*/ 0 h 25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80"/>
                    <a:gd name="T70" fmla="*/ 0 h 254"/>
                    <a:gd name="T71" fmla="*/ 80 w 80"/>
                    <a:gd name="T72" fmla="*/ 254 h 25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80" h="254">
                      <a:moveTo>
                        <a:pt x="33" y="0"/>
                      </a:moveTo>
                      <a:lnTo>
                        <a:pt x="37" y="2"/>
                      </a:lnTo>
                      <a:lnTo>
                        <a:pt x="40" y="4"/>
                      </a:lnTo>
                      <a:lnTo>
                        <a:pt x="43" y="7"/>
                      </a:lnTo>
                      <a:lnTo>
                        <a:pt x="46" y="10"/>
                      </a:lnTo>
                      <a:lnTo>
                        <a:pt x="52" y="18"/>
                      </a:lnTo>
                      <a:lnTo>
                        <a:pt x="56" y="25"/>
                      </a:lnTo>
                      <a:lnTo>
                        <a:pt x="62" y="32"/>
                      </a:lnTo>
                      <a:lnTo>
                        <a:pt x="67" y="38"/>
                      </a:lnTo>
                      <a:lnTo>
                        <a:pt x="70" y="40"/>
                      </a:lnTo>
                      <a:lnTo>
                        <a:pt x="73" y="42"/>
                      </a:lnTo>
                      <a:lnTo>
                        <a:pt x="76" y="43"/>
                      </a:lnTo>
                      <a:lnTo>
                        <a:pt x="80" y="44"/>
                      </a:lnTo>
                      <a:lnTo>
                        <a:pt x="80" y="53"/>
                      </a:lnTo>
                      <a:lnTo>
                        <a:pt x="80" y="62"/>
                      </a:lnTo>
                      <a:lnTo>
                        <a:pt x="53" y="254"/>
                      </a:lnTo>
                      <a:lnTo>
                        <a:pt x="0" y="93"/>
                      </a:lnTo>
                      <a:lnTo>
                        <a:pt x="4" y="88"/>
                      </a:lnTo>
                      <a:lnTo>
                        <a:pt x="11" y="71"/>
                      </a:lnTo>
                      <a:lnTo>
                        <a:pt x="17" y="57"/>
                      </a:lnTo>
                      <a:lnTo>
                        <a:pt x="22" y="41"/>
                      </a:lnTo>
                      <a:lnTo>
                        <a:pt x="28" y="23"/>
                      </a:lnTo>
                      <a:lnTo>
                        <a:pt x="3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13" name="Freeform 233">
                  <a:extLst>
                    <a:ext uri="{FF2B5EF4-FFF2-40B4-BE49-F238E27FC236}">
                      <a16:creationId xmlns:a16="http://schemas.microsoft.com/office/drawing/2014/main" xmlns="" id="{75DCA0AA-EBE5-4567-99A4-3E92DA39BA0A}"/>
                    </a:ext>
                  </a:extLst>
                </p:cNvPr>
                <p:cNvSpPr>
                  <a:spLocks/>
                </p:cNvSpPr>
                <p:nvPr>
                  <p:custDataLst>
                    <p:tags r:id="rId160"/>
                  </p:custDataLst>
                </p:nvPr>
              </p:nvSpPr>
              <p:spPr bwMode="auto">
                <a:xfrm>
                  <a:off x="4779963" y="2647950"/>
                  <a:ext cx="69850" cy="130175"/>
                </a:xfrm>
                <a:custGeom>
                  <a:avLst/>
                  <a:gdLst>
                    <a:gd name="T0" fmla="*/ 2147483646 w 167"/>
                    <a:gd name="T1" fmla="*/ 0 h 259"/>
                    <a:gd name="T2" fmla="*/ 2147483646 w 167"/>
                    <a:gd name="T3" fmla="*/ 2147483646 h 259"/>
                    <a:gd name="T4" fmla="*/ 2147483646 w 167"/>
                    <a:gd name="T5" fmla="*/ 2147483646 h 259"/>
                    <a:gd name="T6" fmla="*/ 2147483646 w 167"/>
                    <a:gd name="T7" fmla="*/ 2147483646 h 259"/>
                    <a:gd name="T8" fmla="*/ 2147483646 w 167"/>
                    <a:gd name="T9" fmla="*/ 2147483646 h 259"/>
                    <a:gd name="T10" fmla="*/ 2147483646 w 167"/>
                    <a:gd name="T11" fmla="*/ 2147483646 h 259"/>
                    <a:gd name="T12" fmla="*/ 2147483646 w 167"/>
                    <a:gd name="T13" fmla="*/ 2147483646 h 259"/>
                    <a:gd name="T14" fmla="*/ 2147483646 w 167"/>
                    <a:gd name="T15" fmla="*/ 2147483646 h 259"/>
                    <a:gd name="T16" fmla="*/ 2147483646 w 167"/>
                    <a:gd name="T17" fmla="*/ 2147483646 h 259"/>
                    <a:gd name="T18" fmla="*/ 2147483646 w 167"/>
                    <a:gd name="T19" fmla="*/ 2147483646 h 259"/>
                    <a:gd name="T20" fmla="*/ 2147483646 w 167"/>
                    <a:gd name="T21" fmla="*/ 2147483646 h 259"/>
                    <a:gd name="T22" fmla="*/ 2147483646 w 167"/>
                    <a:gd name="T23" fmla="*/ 2147483646 h 259"/>
                    <a:gd name="T24" fmla="*/ 2147483646 w 167"/>
                    <a:gd name="T25" fmla="*/ 2147483646 h 259"/>
                    <a:gd name="T26" fmla="*/ 2147483646 w 167"/>
                    <a:gd name="T27" fmla="*/ 2147483646 h 259"/>
                    <a:gd name="T28" fmla="*/ 2147483646 w 167"/>
                    <a:gd name="T29" fmla="*/ 2147483646 h 259"/>
                    <a:gd name="T30" fmla="*/ 2147483646 w 167"/>
                    <a:gd name="T31" fmla="*/ 2147483646 h 259"/>
                    <a:gd name="T32" fmla="*/ 2147483646 w 167"/>
                    <a:gd name="T33" fmla="*/ 2147483646 h 259"/>
                    <a:gd name="T34" fmla="*/ 2147483646 w 167"/>
                    <a:gd name="T35" fmla="*/ 2147483646 h 259"/>
                    <a:gd name="T36" fmla="*/ 2147483646 w 167"/>
                    <a:gd name="T37" fmla="*/ 2147483646 h 259"/>
                    <a:gd name="T38" fmla="*/ 2147483646 w 167"/>
                    <a:gd name="T39" fmla="*/ 2147483646 h 259"/>
                    <a:gd name="T40" fmla="*/ 2147483646 w 167"/>
                    <a:gd name="T41" fmla="*/ 2147483646 h 259"/>
                    <a:gd name="T42" fmla="*/ 2147483646 w 167"/>
                    <a:gd name="T43" fmla="*/ 2147483646 h 259"/>
                    <a:gd name="T44" fmla="*/ 2147483646 w 167"/>
                    <a:gd name="T45" fmla="*/ 2147483646 h 259"/>
                    <a:gd name="T46" fmla="*/ 2147483646 w 167"/>
                    <a:gd name="T47" fmla="*/ 2147483646 h 259"/>
                    <a:gd name="T48" fmla="*/ 2147483646 w 167"/>
                    <a:gd name="T49" fmla="*/ 2147483646 h 259"/>
                    <a:gd name="T50" fmla="*/ 2147483646 w 167"/>
                    <a:gd name="T51" fmla="*/ 2147483646 h 259"/>
                    <a:gd name="T52" fmla="*/ 2147483646 w 167"/>
                    <a:gd name="T53" fmla="*/ 2147483646 h 259"/>
                    <a:gd name="T54" fmla="*/ 2147483646 w 167"/>
                    <a:gd name="T55" fmla="*/ 2147483646 h 259"/>
                    <a:gd name="T56" fmla="*/ 2147483646 w 167"/>
                    <a:gd name="T57" fmla="*/ 2147483646 h 259"/>
                    <a:gd name="T58" fmla="*/ 2147483646 w 167"/>
                    <a:gd name="T59" fmla="*/ 2147483646 h 259"/>
                    <a:gd name="T60" fmla="*/ 2147483646 w 167"/>
                    <a:gd name="T61" fmla="*/ 2147483646 h 259"/>
                    <a:gd name="T62" fmla="*/ 2147483646 w 167"/>
                    <a:gd name="T63" fmla="*/ 2147483646 h 259"/>
                    <a:gd name="T64" fmla="*/ 2147483646 w 167"/>
                    <a:gd name="T65" fmla="*/ 2147483646 h 259"/>
                    <a:gd name="T66" fmla="*/ 0 w 167"/>
                    <a:gd name="T67" fmla="*/ 2147483646 h 259"/>
                    <a:gd name="T68" fmla="*/ 0 w 167"/>
                    <a:gd name="T69" fmla="*/ 2147483646 h 259"/>
                    <a:gd name="T70" fmla="*/ 0 w 167"/>
                    <a:gd name="T71" fmla="*/ 2147483646 h 259"/>
                    <a:gd name="T72" fmla="*/ 2147483646 w 167"/>
                    <a:gd name="T73" fmla="*/ 2147483646 h 259"/>
                    <a:gd name="T74" fmla="*/ 2147483646 w 167"/>
                    <a:gd name="T75" fmla="*/ 2147483646 h 259"/>
                    <a:gd name="T76" fmla="*/ 2147483646 w 167"/>
                    <a:gd name="T77" fmla="*/ 2147483646 h 259"/>
                    <a:gd name="T78" fmla="*/ 2147483646 w 167"/>
                    <a:gd name="T79" fmla="*/ 2147483646 h 259"/>
                    <a:gd name="T80" fmla="*/ 2147483646 w 167"/>
                    <a:gd name="T81" fmla="*/ 2147483646 h 259"/>
                    <a:gd name="T82" fmla="*/ 2147483646 w 167"/>
                    <a:gd name="T83" fmla="*/ 2147483646 h 259"/>
                    <a:gd name="T84" fmla="*/ 2147483646 w 167"/>
                    <a:gd name="T85" fmla="*/ 2147483646 h 259"/>
                    <a:gd name="T86" fmla="*/ 2147483646 w 167"/>
                    <a:gd name="T87" fmla="*/ 2147483646 h 259"/>
                    <a:gd name="T88" fmla="*/ 2147483646 w 167"/>
                    <a:gd name="T89" fmla="*/ 2147483646 h 259"/>
                    <a:gd name="T90" fmla="*/ 2147483646 w 167"/>
                    <a:gd name="T91" fmla="*/ 2147483646 h 259"/>
                    <a:gd name="T92" fmla="*/ 2147483646 w 167"/>
                    <a:gd name="T93" fmla="*/ 2147483646 h 259"/>
                    <a:gd name="T94" fmla="*/ 2147483646 w 167"/>
                    <a:gd name="T95" fmla="*/ 2147483646 h 259"/>
                    <a:gd name="T96" fmla="*/ 2147483646 w 167"/>
                    <a:gd name="T97" fmla="*/ 2147483646 h 259"/>
                    <a:gd name="T98" fmla="*/ 2147483646 w 167"/>
                    <a:gd name="T99" fmla="*/ 2147483646 h 259"/>
                    <a:gd name="T100" fmla="*/ 2147483646 w 167"/>
                    <a:gd name="T101" fmla="*/ 0 h 25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67"/>
                    <a:gd name="T154" fmla="*/ 0 h 259"/>
                    <a:gd name="T155" fmla="*/ 167 w 167"/>
                    <a:gd name="T156" fmla="*/ 259 h 259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67" h="259">
                      <a:moveTo>
                        <a:pt x="114" y="0"/>
                      </a:moveTo>
                      <a:lnTo>
                        <a:pt x="167" y="155"/>
                      </a:lnTo>
                      <a:lnTo>
                        <a:pt x="121" y="259"/>
                      </a:lnTo>
                      <a:lnTo>
                        <a:pt x="113" y="259"/>
                      </a:lnTo>
                      <a:lnTo>
                        <a:pt x="107" y="257"/>
                      </a:lnTo>
                      <a:lnTo>
                        <a:pt x="100" y="254"/>
                      </a:lnTo>
                      <a:lnTo>
                        <a:pt x="95" y="251"/>
                      </a:lnTo>
                      <a:lnTo>
                        <a:pt x="89" y="245"/>
                      </a:lnTo>
                      <a:lnTo>
                        <a:pt x="85" y="240"/>
                      </a:lnTo>
                      <a:lnTo>
                        <a:pt x="80" y="235"/>
                      </a:lnTo>
                      <a:lnTo>
                        <a:pt x="76" y="229"/>
                      </a:lnTo>
                      <a:lnTo>
                        <a:pt x="69" y="217"/>
                      </a:lnTo>
                      <a:lnTo>
                        <a:pt x="65" y="205"/>
                      </a:lnTo>
                      <a:lnTo>
                        <a:pt x="62" y="194"/>
                      </a:lnTo>
                      <a:lnTo>
                        <a:pt x="62" y="185"/>
                      </a:lnTo>
                      <a:lnTo>
                        <a:pt x="55" y="184"/>
                      </a:lnTo>
                      <a:lnTo>
                        <a:pt x="51" y="183"/>
                      </a:lnTo>
                      <a:lnTo>
                        <a:pt x="45" y="182"/>
                      </a:lnTo>
                      <a:lnTo>
                        <a:pt x="42" y="180"/>
                      </a:lnTo>
                      <a:lnTo>
                        <a:pt x="39" y="177"/>
                      </a:lnTo>
                      <a:lnTo>
                        <a:pt x="36" y="174"/>
                      </a:lnTo>
                      <a:lnTo>
                        <a:pt x="34" y="170"/>
                      </a:lnTo>
                      <a:lnTo>
                        <a:pt x="32" y="167"/>
                      </a:lnTo>
                      <a:lnTo>
                        <a:pt x="30" y="158"/>
                      </a:lnTo>
                      <a:lnTo>
                        <a:pt x="29" y="149"/>
                      </a:lnTo>
                      <a:lnTo>
                        <a:pt x="28" y="140"/>
                      </a:lnTo>
                      <a:lnTo>
                        <a:pt x="28" y="129"/>
                      </a:lnTo>
                      <a:lnTo>
                        <a:pt x="21" y="129"/>
                      </a:lnTo>
                      <a:lnTo>
                        <a:pt x="16" y="127"/>
                      </a:lnTo>
                      <a:lnTo>
                        <a:pt x="11" y="125"/>
                      </a:lnTo>
                      <a:lnTo>
                        <a:pt x="7" y="121"/>
                      </a:lnTo>
                      <a:lnTo>
                        <a:pt x="5" y="117"/>
                      </a:lnTo>
                      <a:lnTo>
                        <a:pt x="2" y="112"/>
                      </a:lnTo>
                      <a:lnTo>
                        <a:pt x="0" y="107"/>
                      </a:lnTo>
                      <a:lnTo>
                        <a:pt x="0" y="101"/>
                      </a:lnTo>
                      <a:lnTo>
                        <a:pt x="0" y="75"/>
                      </a:lnTo>
                      <a:lnTo>
                        <a:pt x="1" y="50"/>
                      </a:lnTo>
                      <a:lnTo>
                        <a:pt x="12" y="52"/>
                      </a:lnTo>
                      <a:lnTo>
                        <a:pt x="22" y="53"/>
                      </a:lnTo>
                      <a:lnTo>
                        <a:pt x="32" y="53"/>
                      </a:lnTo>
                      <a:lnTo>
                        <a:pt x="42" y="52"/>
                      </a:lnTo>
                      <a:lnTo>
                        <a:pt x="50" y="51"/>
                      </a:lnTo>
                      <a:lnTo>
                        <a:pt x="58" y="49"/>
                      </a:lnTo>
                      <a:lnTo>
                        <a:pt x="66" y="47"/>
                      </a:lnTo>
                      <a:lnTo>
                        <a:pt x="73" y="44"/>
                      </a:lnTo>
                      <a:lnTo>
                        <a:pt x="79" y="40"/>
                      </a:lnTo>
                      <a:lnTo>
                        <a:pt x="86" y="36"/>
                      </a:lnTo>
                      <a:lnTo>
                        <a:pt x="91" y="31"/>
                      </a:lnTo>
                      <a:lnTo>
                        <a:pt x="97" y="26"/>
                      </a:lnTo>
                      <a:lnTo>
                        <a:pt x="107" y="13"/>
                      </a:lnTo>
                      <a:lnTo>
                        <a:pt x="114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14" name="Freeform 234">
                  <a:extLst>
                    <a:ext uri="{FF2B5EF4-FFF2-40B4-BE49-F238E27FC236}">
                      <a16:creationId xmlns:a16="http://schemas.microsoft.com/office/drawing/2014/main" xmlns="" id="{DF20E576-984D-4226-B9A6-4C7FB471153F}"/>
                    </a:ext>
                  </a:extLst>
                </p:cNvPr>
                <p:cNvSpPr>
                  <a:spLocks/>
                </p:cNvSpPr>
                <p:nvPr>
                  <p:custDataLst>
                    <p:tags r:id="rId161"/>
                  </p:custDataLst>
                </p:nvPr>
              </p:nvSpPr>
              <p:spPr bwMode="auto">
                <a:xfrm>
                  <a:off x="3781425" y="1901825"/>
                  <a:ext cx="96838" cy="144463"/>
                </a:xfrm>
                <a:custGeom>
                  <a:avLst/>
                  <a:gdLst>
                    <a:gd name="T0" fmla="*/ 2147483646 w 225"/>
                    <a:gd name="T1" fmla="*/ 2147483646 h 273"/>
                    <a:gd name="T2" fmla="*/ 2147483646 w 225"/>
                    <a:gd name="T3" fmla="*/ 2147483646 h 273"/>
                    <a:gd name="T4" fmla="*/ 2147483646 w 225"/>
                    <a:gd name="T5" fmla="*/ 2147483646 h 273"/>
                    <a:gd name="T6" fmla="*/ 2147483646 w 225"/>
                    <a:gd name="T7" fmla="*/ 2147483646 h 273"/>
                    <a:gd name="T8" fmla="*/ 2147483646 w 225"/>
                    <a:gd name="T9" fmla="*/ 2147483646 h 273"/>
                    <a:gd name="T10" fmla="*/ 2147483646 w 225"/>
                    <a:gd name="T11" fmla="*/ 2147483646 h 273"/>
                    <a:gd name="T12" fmla="*/ 2147483646 w 225"/>
                    <a:gd name="T13" fmla="*/ 2147483646 h 273"/>
                    <a:gd name="T14" fmla="*/ 2147483646 w 225"/>
                    <a:gd name="T15" fmla="*/ 2147483646 h 273"/>
                    <a:gd name="T16" fmla="*/ 2147483646 w 225"/>
                    <a:gd name="T17" fmla="*/ 2147483646 h 273"/>
                    <a:gd name="T18" fmla="*/ 2147483646 w 225"/>
                    <a:gd name="T19" fmla="*/ 2147483646 h 273"/>
                    <a:gd name="T20" fmla="*/ 2147483646 w 225"/>
                    <a:gd name="T21" fmla="*/ 2147483646 h 273"/>
                    <a:gd name="T22" fmla="*/ 2147483646 w 225"/>
                    <a:gd name="T23" fmla="*/ 2147483646 h 273"/>
                    <a:gd name="T24" fmla="*/ 2147483646 w 225"/>
                    <a:gd name="T25" fmla="*/ 2147483646 h 273"/>
                    <a:gd name="T26" fmla="*/ 2147483646 w 225"/>
                    <a:gd name="T27" fmla="*/ 2147483646 h 273"/>
                    <a:gd name="T28" fmla="*/ 2147483646 w 225"/>
                    <a:gd name="T29" fmla="*/ 2147483646 h 273"/>
                    <a:gd name="T30" fmla="*/ 2147483646 w 225"/>
                    <a:gd name="T31" fmla="*/ 2147483646 h 273"/>
                    <a:gd name="T32" fmla="*/ 2147483646 w 225"/>
                    <a:gd name="T33" fmla="*/ 2147483646 h 273"/>
                    <a:gd name="T34" fmla="*/ 2147483646 w 225"/>
                    <a:gd name="T35" fmla="*/ 2147483646 h 273"/>
                    <a:gd name="T36" fmla="*/ 2147483646 w 225"/>
                    <a:gd name="T37" fmla="*/ 2147483646 h 273"/>
                    <a:gd name="T38" fmla="*/ 2147483646 w 225"/>
                    <a:gd name="T39" fmla="*/ 2147483646 h 273"/>
                    <a:gd name="T40" fmla="*/ 0 w 225"/>
                    <a:gd name="T41" fmla="*/ 2147483646 h 273"/>
                    <a:gd name="T42" fmla="*/ 2147483646 w 225"/>
                    <a:gd name="T43" fmla="*/ 2147483646 h 273"/>
                    <a:gd name="T44" fmla="*/ 2147483646 w 225"/>
                    <a:gd name="T45" fmla="*/ 2147483646 h 273"/>
                    <a:gd name="T46" fmla="*/ 2147483646 w 225"/>
                    <a:gd name="T47" fmla="*/ 2147483646 h 273"/>
                    <a:gd name="T48" fmla="*/ 2147483646 w 225"/>
                    <a:gd name="T49" fmla="*/ 2147483646 h 273"/>
                    <a:gd name="T50" fmla="*/ 2147483646 w 225"/>
                    <a:gd name="T51" fmla="*/ 2147483646 h 273"/>
                    <a:gd name="T52" fmla="*/ 2147483646 w 225"/>
                    <a:gd name="T53" fmla="*/ 2147483646 h 273"/>
                    <a:gd name="T54" fmla="*/ 2147483646 w 225"/>
                    <a:gd name="T55" fmla="*/ 2147483646 h 273"/>
                    <a:gd name="T56" fmla="*/ 2147483646 w 225"/>
                    <a:gd name="T57" fmla="*/ 2147483646 h 273"/>
                    <a:gd name="T58" fmla="*/ 2147483646 w 225"/>
                    <a:gd name="T59" fmla="*/ 2147483646 h 273"/>
                    <a:gd name="T60" fmla="*/ 2147483646 w 225"/>
                    <a:gd name="T61" fmla="*/ 2147483646 h 273"/>
                    <a:gd name="T62" fmla="*/ 2147483646 w 225"/>
                    <a:gd name="T63" fmla="*/ 2147483646 h 273"/>
                    <a:gd name="T64" fmla="*/ 2147483646 w 225"/>
                    <a:gd name="T65" fmla="*/ 2147483646 h 273"/>
                    <a:gd name="T66" fmla="*/ 2147483646 w 225"/>
                    <a:gd name="T67" fmla="*/ 2147483646 h 273"/>
                    <a:gd name="T68" fmla="*/ 2147483646 w 225"/>
                    <a:gd name="T69" fmla="*/ 2147483646 h 273"/>
                    <a:gd name="T70" fmla="*/ 2147483646 w 225"/>
                    <a:gd name="T71" fmla="*/ 2147483646 h 273"/>
                    <a:gd name="T72" fmla="*/ 2147483646 w 225"/>
                    <a:gd name="T73" fmla="*/ 2147483646 h 273"/>
                    <a:gd name="T74" fmla="*/ 2147483646 w 225"/>
                    <a:gd name="T75" fmla="*/ 2147483646 h 273"/>
                    <a:gd name="T76" fmla="*/ 2147483646 w 225"/>
                    <a:gd name="T77" fmla="*/ 2147483646 h 273"/>
                    <a:gd name="T78" fmla="*/ 2147483646 w 225"/>
                    <a:gd name="T79" fmla="*/ 2147483646 h 273"/>
                    <a:gd name="T80" fmla="*/ 2147483646 w 225"/>
                    <a:gd name="T81" fmla="*/ 2147483646 h 273"/>
                    <a:gd name="T82" fmla="*/ 2147483646 w 225"/>
                    <a:gd name="T83" fmla="*/ 2147483646 h 273"/>
                    <a:gd name="T84" fmla="*/ 2147483646 w 225"/>
                    <a:gd name="T85" fmla="*/ 2147483646 h 273"/>
                    <a:gd name="T86" fmla="*/ 2147483646 w 225"/>
                    <a:gd name="T87" fmla="*/ 2147483646 h 273"/>
                    <a:gd name="T88" fmla="*/ 2147483646 w 225"/>
                    <a:gd name="T89" fmla="*/ 2147483646 h 273"/>
                    <a:gd name="T90" fmla="*/ 2147483646 w 225"/>
                    <a:gd name="T91" fmla="*/ 2147483646 h 273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25"/>
                    <a:gd name="T139" fmla="*/ 0 h 273"/>
                    <a:gd name="T140" fmla="*/ 225 w 225"/>
                    <a:gd name="T141" fmla="*/ 273 h 273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25" h="273">
                      <a:moveTo>
                        <a:pt x="192" y="58"/>
                      </a:moveTo>
                      <a:lnTo>
                        <a:pt x="189" y="63"/>
                      </a:lnTo>
                      <a:lnTo>
                        <a:pt x="185" y="67"/>
                      </a:lnTo>
                      <a:lnTo>
                        <a:pt x="182" y="71"/>
                      </a:lnTo>
                      <a:lnTo>
                        <a:pt x="178" y="75"/>
                      </a:lnTo>
                      <a:lnTo>
                        <a:pt x="173" y="78"/>
                      </a:lnTo>
                      <a:lnTo>
                        <a:pt x="169" y="80"/>
                      </a:lnTo>
                      <a:lnTo>
                        <a:pt x="163" y="82"/>
                      </a:lnTo>
                      <a:lnTo>
                        <a:pt x="159" y="82"/>
                      </a:lnTo>
                      <a:lnTo>
                        <a:pt x="159" y="86"/>
                      </a:lnTo>
                      <a:lnTo>
                        <a:pt x="161" y="90"/>
                      </a:lnTo>
                      <a:lnTo>
                        <a:pt x="163" y="93"/>
                      </a:lnTo>
                      <a:lnTo>
                        <a:pt x="167" y="96"/>
                      </a:lnTo>
                      <a:lnTo>
                        <a:pt x="170" y="99"/>
                      </a:lnTo>
                      <a:lnTo>
                        <a:pt x="174" y="101"/>
                      </a:lnTo>
                      <a:lnTo>
                        <a:pt x="179" y="102"/>
                      </a:lnTo>
                      <a:lnTo>
                        <a:pt x="184" y="103"/>
                      </a:lnTo>
                      <a:lnTo>
                        <a:pt x="195" y="105"/>
                      </a:lnTo>
                      <a:lnTo>
                        <a:pt x="206" y="106"/>
                      </a:lnTo>
                      <a:lnTo>
                        <a:pt x="216" y="106"/>
                      </a:lnTo>
                      <a:lnTo>
                        <a:pt x="225" y="106"/>
                      </a:lnTo>
                      <a:lnTo>
                        <a:pt x="225" y="124"/>
                      </a:lnTo>
                      <a:lnTo>
                        <a:pt x="225" y="138"/>
                      </a:lnTo>
                      <a:lnTo>
                        <a:pt x="225" y="152"/>
                      </a:lnTo>
                      <a:lnTo>
                        <a:pt x="225" y="169"/>
                      </a:lnTo>
                      <a:lnTo>
                        <a:pt x="225" y="172"/>
                      </a:lnTo>
                      <a:lnTo>
                        <a:pt x="224" y="176"/>
                      </a:lnTo>
                      <a:lnTo>
                        <a:pt x="222" y="179"/>
                      </a:lnTo>
                      <a:lnTo>
                        <a:pt x="220" y="182"/>
                      </a:lnTo>
                      <a:lnTo>
                        <a:pt x="215" y="187"/>
                      </a:lnTo>
                      <a:lnTo>
                        <a:pt x="208" y="193"/>
                      </a:lnTo>
                      <a:lnTo>
                        <a:pt x="203" y="199"/>
                      </a:lnTo>
                      <a:lnTo>
                        <a:pt x="197" y="205"/>
                      </a:lnTo>
                      <a:lnTo>
                        <a:pt x="195" y="208"/>
                      </a:lnTo>
                      <a:lnTo>
                        <a:pt x="193" y="211"/>
                      </a:lnTo>
                      <a:lnTo>
                        <a:pt x="192" y="214"/>
                      </a:lnTo>
                      <a:lnTo>
                        <a:pt x="192" y="217"/>
                      </a:lnTo>
                      <a:lnTo>
                        <a:pt x="184" y="218"/>
                      </a:lnTo>
                      <a:lnTo>
                        <a:pt x="179" y="218"/>
                      </a:lnTo>
                      <a:lnTo>
                        <a:pt x="172" y="220"/>
                      </a:lnTo>
                      <a:lnTo>
                        <a:pt x="168" y="223"/>
                      </a:lnTo>
                      <a:lnTo>
                        <a:pt x="164" y="225"/>
                      </a:lnTo>
                      <a:lnTo>
                        <a:pt x="161" y="229"/>
                      </a:lnTo>
                      <a:lnTo>
                        <a:pt x="159" y="232"/>
                      </a:lnTo>
                      <a:lnTo>
                        <a:pt x="159" y="236"/>
                      </a:lnTo>
                      <a:lnTo>
                        <a:pt x="151" y="237"/>
                      </a:lnTo>
                      <a:lnTo>
                        <a:pt x="146" y="239"/>
                      </a:lnTo>
                      <a:lnTo>
                        <a:pt x="140" y="242"/>
                      </a:lnTo>
                      <a:lnTo>
                        <a:pt x="136" y="246"/>
                      </a:lnTo>
                      <a:lnTo>
                        <a:pt x="131" y="249"/>
                      </a:lnTo>
                      <a:lnTo>
                        <a:pt x="128" y="252"/>
                      </a:lnTo>
                      <a:lnTo>
                        <a:pt x="124" y="254"/>
                      </a:lnTo>
                      <a:lnTo>
                        <a:pt x="118" y="255"/>
                      </a:lnTo>
                      <a:lnTo>
                        <a:pt x="101" y="255"/>
                      </a:lnTo>
                      <a:lnTo>
                        <a:pt x="85" y="257"/>
                      </a:lnTo>
                      <a:lnTo>
                        <a:pt x="72" y="259"/>
                      </a:lnTo>
                      <a:lnTo>
                        <a:pt x="60" y="261"/>
                      </a:lnTo>
                      <a:lnTo>
                        <a:pt x="38" y="267"/>
                      </a:lnTo>
                      <a:lnTo>
                        <a:pt x="13" y="273"/>
                      </a:lnTo>
                      <a:lnTo>
                        <a:pt x="19" y="261"/>
                      </a:lnTo>
                      <a:lnTo>
                        <a:pt x="10" y="261"/>
                      </a:lnTo>
                      <a:lnTo>
                        <a:pt x="0" y="261"/>
                      </a:lnTo>
                      <a:lnTo>
                        <a:pt x="0" y="217"/>
                      </a:lnTo>
                      <a:lnTo>
                        <a:pt x="8" y="216"/>
                      </a:lnTo>
                      <a:lnTo>
                        <a:pt x="17" y="214"/>
                      </a:lnTo>
                      <a:lnTo>
                        <a:pt x="21" y="212"/>
                      </a:lnTo>
                      <a:lnTo>
                        <a:pt x="24" y="210"/>
                      </a:lnTo>
                      <a:lnTo>
                        <a:pt x="25" y="208"/>
                      </a:lnTo>
                      <a:lnTo>
                        <a:pt x="26" y="205"/>
                      </a:lnTo>
                      <a:lnTo>
                        <a:pt x="40" y="205"/>
                      </a:lnTo>
                      <a:lnTo>
                        <a:pt x="54" y="204"/>
                      </a:lnTo>
                      <a:lnTo>
                        <a:pt x="60" y="202"/>
                      </a:lnTo>
                      <a:lnTo>
                        <a:pt x="64" y="200"/>
                      </a:lnTo>
                      <a:lnTo>
                        <a:pt x="69" y="197"/>
                      </a:lnTo>
                      <a:lnTo>
                        <a:pt x="72" y="193"/>
                      </a:lnTo>
                      <a:lnTo>
                        <a:pt x="64" y="195"/>
                      </a:lnTo>
                      <a:lnTo>
                        <a:pt x="54" y="198"/>
                      </a:lnTo>
                      <a:lnTo>
                        <a:pt x="48" y="198"/>
                      </a:lnTo>
                      <a:lnTo>
                        <a:pt x="44" y="198"/>
                      </a:lnTo>
                      <a:lnTo>
                        <a:pt x="41" y="198"/>
                      </a:lnTo>
                      <a:lnTo>
                        <a:pt x="40" y="197"/>
                      </a:lnTo>
                      <a:lnTo>
                        <a:pt x="39" y="195"/>
                      </a:lnTo>
                      <a:lnTo>
                        <a:pt x="39" y="193"/>
                      </a:lnTo>
                      <a:lnTo>
                        <a:pt x="39" y="188"/>
                      </a:lnTo>
                      <a:lnTo>
                        <a:pt x="41" y="183"/>
                      </a:lnTo>
                      <a:lnTo>
                        <a:pt x="44" y="178"/>
                      </a:lnTo>
                      <a:lnTo>
                        <a:pt x="46" y="173"/>
                      </a:lnTo>
                      <a:lnTo>
                        <a:pt x="50" y="166"/>
                      </a:lnTo>
                      <a:lnTo>
                        <a:pt x="52" y="162"/>
                      </a:lnTo>
                      <a:lnTo>
                        <a:pt x="39" y="160"/>
                      </a:lnTo>
                      <a:lnTo>
                        <a:pt x="28" y="157"/>
                      </a:lnTo>
                      <a:lnTo>
                        <a:pt x="21" y="154"/>
                      </a:lnTo>
                      <a:lnTo>
                        <a:pt x="14" y="150"/>
                      </a:lnTo>
                      <a:lnTo>
                        <a:pt x="10" y="145"/>
                      </a:lnTo>
                      <a:lnTo>
                        <a:pt x="7" y="138"/>
                      </a:lnTo>
                      <a:lnTo>
                        <a:pt x="6" y="130"/>
                      </a:lnTo>
                      <a:lnTo>
                        <a:pt x="6" y="120"/>
                      </a:lnTo>
                      <a:lnTo>
                        <a:pt x="15" y="117"/>
                      </a:lnTo>
                      <a:lnTo>
                        <a:pt x="22" y="115"/>
                      </a:lnTo>
                      <a:lnTo>
                        <a:pt x="26" y="112"/>
                      </a:lnTo>
                      <a:lnTo>
                        <a:pt x="30" y="109"/>
                      </a:lnTo>
                      <a:lnTo>
                        <a:pt x="35" y="102"/>
                      </a:lnTo>
                      <a:lnTo>
                        <a:pt x="39" y="94"/>
                      </a:lnTo>
                      <a:lnTo>
                        <a:pt x="56" y="94"/>
                      </a:lnTo>
                      <a:lnTo>
                        <a:pt x="68" y="94"/>
                      </a:lnTo>
                      <a:lnTo>
                        <a:pt x="77" y="94"/>
                      </a:lnTo>
                      <a:lnTo>
                        <a:pt x="85" y="94"/>
                      </a:lnTo>
                      <a:lnTo>
                        <a:pt x="90" y="94"/>
                      </a:lnTo>
                      <a:lnTo>
                        <a:pt x="94" y="93"/>
                      </a:lnTo>
                      <a:lnTo>
                        <a:pt x="97" y="91"/>
                      </a:lnTo>
                      <a:lnTo>
                        <a:pt x="100" y="88"/>
                      </a:lnTo>
                      <a:lnTo>
                        <a:pt x="104" y="82"/>
                      </a:lnTo>
                      <a:lnTo>
                        <a:pt x="106" y="73"/>
                      </a:lnTo>
                      <a:lnTo>
                        <a:pt x="108" y="52"/>
                      </a:lnTo>
                      <a:lnTo>
                        <a:pt x="112" y="33"/>
                      </a:lnTo>
                      <a:lnTo>
                        <a:pt x="117" y="32"/>
                      </a:lnTo>
                      <a:lnTo>
                        <a:pt x="120" y="31"/>
                      </a:lnTo>
                      <a:lnTo>
                        <a:pt x="124" y="29"/>
                      </a:lnTo>
                      <a:lnTo>
                        <a:pt x="126" y="26"/>
                      </a:lnTo>
                      <a:lnTo>
                        <a:pt x="130" y="20"/>
                      </a:lnTo>
                      <a:lnTo>
                        <a:pt x="136" y="13"/>
                      </a:lnTo>
                      <a:lnTo>
                        <a:pt x="138" y="10"/>
                      </a:lnTo>
                      <a:lnTo>
                        <a:pt x="141" y="7"/>
                      </a:lnTo>
                      <a:lnTo>
                        <a:pt x="145" y="4"/>
                      </a:lnTo>
                      <a:lnTo>
                        <a:pt x="149" y="2"/>
                      </a:lnTo>
                      <a:lnTo>
                        <a:pt x="155" y="1"/>
                      </a:lnTo>
                      <a:lnTo>
                        <a:pt x="161" y="0"/>
                      </a:lnTo>
                      <a:lnTo>
                        <a:pt x="169" y="1"/>
                      </a:lnTo>
                      <a:lnTo>
                        <a:pt x="179" y="3"/>
                      </a:lnTo>
                      <a:lnTo>
                        <a:pt x="186" y="20"/>
                      </a:lnTo>
                      <a:lnTo>
                        <a:pt x="194" y="34"/>
                      </a:lnTo>
                      <a:lnTo>
                        <a:pt x="195" y="38"/>
                      </a:lnTo>
                      <a:lnTo>
                        <a:pt x="196" y="41"/>
                      </a:lnTo>
                      <a:lnTo>
                        <a:pt x="196" y="44"/>
                      </a:lnTo>
                      <a:lnTo>
                        <a:pt x="196" y="47"/>
                      </a:lnTo>
                      <a:lnTo>
                        <a:pt x="195" y="50"/>
                      </a:lnTo>
                      <a:lnTo>
                        <a:pt x="193" y="52"/>
                      </a:lnTo>
                      <a:lnTo>
                        <a:pt x="190" y="56"/>
                      </a:lnTo>
                      <a:lnTo>
                        <a:pt x="185" y="58"/>
                      </a:lnTo>
                      <a:lnTo>
                        <a:pt x="192" y="5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15" name="Freeform 235">
                  <a:extLst>
                    <a:ext uri="{FF2B5EF4-FFF2-40B4-BE49-F238E27FC236}">
                      <a16:creationId xmlns:a16="http://schemas.microsoft.com/office/drawing/2014/main" xmlns="" id="{21195AAC-E864-4E60-9975-8E3628D8337D}"/>
                    </a:ext>
                  </a:extLst>
                </p:cNvPr>
                <p:cNvSpPr>
                  <a:spLocks/>
                </p:cNvSpPr>
                <p:nvPr>
                  <p:custDataLst>
                    <p:tags r:id="rId162"/>
                  </p:custDataLst>
                </p:nvPr>
              </p:nvSpPr>
              <p:spPr bwMode="auto">
                <a:xfrm>
                  <a:off x="3594100" y="2813050"/>
                  <a:ext cx="306388" cy="390525"/>
                </a:xfrm>
                <a:custGeom>
                  <a:avLst/>
                  <a:gdLst>
                    <a:gd name="T0" fmla="*/ 2147483646 w 232"/>
                    <a:gd name="T1" fmla="*/ 2147483646 h 248"/>
                    <a:gd name="T2" fmla="*/ 2147483646 w 232"/>
                    <a:gd name="T3" fmla="*/ 2147483646 h 248"/>
                    <a:gd name="T4" fmla="*/ 2147483646 w 232"/>
                    <a:gd name="T5" fmla="*/ 2147483646 h 248"/>
                    <a:gd name="T6" fmla="*/ 2147483646 w 232"/>
                    <a:gd name="T7" fmla="*/ 2147483646 h 248"/>
                    <a:gd name="T8" fmla="*/ 2147483646 w 232"/>
                    <a:gd name="T9" fmla="*/ 2147483646 h 248"/>
                    <a:gd name="T10" fmla="*/ 2147483646 w 232"/>
                    <a:gd name="T11" fmla="*/ 2147483646 h 248"/>
                    <a:gd name="T12" fmla="*/ 2147483646 w 232"/>
                    <a:gd name="T13" fmla="*/ 2147483646 h 248"/>
                    <a:gd name="T14" fmla="*/ 2147483646 w 232"/>
                    <a:gd name="T15" fmla="*/ 2147483646 h 248"/>
                    <a:gd name="T16" fmla="*/ 2147483646 w 232"/>
                    <a:gd name="T17" fmla="*/ 2147483646 h 248"/>
                    <a:gd name="T18" fmla="*/ 2147483646 w 232"/>
                    <a:gd name="T19" fmla="*/ 2147483646 h 248"/>
                    <a:gd name="T20" fmla="*/ 2147483646 w 232"/>
                    <a:gd name="T21" fmla="*/ 2147483646 h 248"/>
                    <a:gd name="T22" fmla="*/ 2147483646 w 232"/>
                    <a:gd name="T23" fmla="*/ 2147483646 h 248"/>
                    <a:gd name="T24" fmla="*/ 2147483646 w 232"/>
                    <a:gd name="T25" fmla="*/ 2147483646 h 248"/>
                    <a:gd name="T26" fmla="*/ 2147483646 w 232"/>
                    <a:gd name="T27" fmla="*/ 2147483646 h 248"/>
                    <a:gd name="T28" fmla="*/ 2147483646 w 232"/>
                    <a:gd name="T29" fmla="*/ 2147483646 h 248"/>
                    <a:gd name="T30" fmla="*/ 2147483646 w 232"/>
                    <a:gd name="T31" fmla="*/ 2147483646 h 248"/>
                    <a:gd name="T32" fmla="*/ 2147483646 w 232"/>
                    <a:gd name="T33" fmla="*/ 2147483646 h 248"/>
                    <a:gd name="T34" fmla="*/ 2147483646 w 232"/>
                    <a:gd name="T35" fmla="*/ 2147483646 h 248"/>
                    <a:gd name="T36" fmla="*/ 2147483646 w 232"/>
                    <a:gd name="T37" fmla="*/ 2147483646 h 248"/>
                    <a:gd name="T38" fmla="*/ 2147483646 w 232"/>
                    <a:gd name="T39" fmla="*/ 2147483646 h 248"/>
                    <a:gd name="T40" fmla="*/ 2147483646 w 232"/>
                    <a:gd name="T41" fmla="*/ 2147483646 h 248"/>
                    <a:gd name="T42" fmla="*/ 2147483646 w 232"/>
                    <a:gd name="T43" fmla="*/ 2147483646 h 248"/>
                    <a:gd name="T44" fmla="*/ 2147483646 w 232"/>
                    <a:gd name="T45" fmla="*/ 2147483646 h 248"/>
                    <a:gd name="T46" fmla="*/ 2147483646 w 232"/>
                    <a:gd name="T47" fmla="*/ 2147483646 h 248"/>
                    <a:gd name="T48" fmla="*/ 2147483646 w 232"/>
                    <a:gd name="T49" fmla="*/ 2147483646 h 248"/>
                    <a:gd name="T50" fmla="*/ 2147483646 w 232"/>
                    <a:gd name="T51" fmla="*/ 2147483646 h 248"/>
                    <a:gd name="T52" fmla="*/ 2147483646 w 232"/>
                    <a:gd name="T53" fmla="*/ 2147483646 h 248"/>
                    <a:gd name="T54" fmla="*/ 2147483646 w 232"/>
                    <a:gd name="T55" fmla="*/ 2147483646 h 248"/>
                    <a:gd name="T56" fmla="*/ 2147483646 w 232"/>
                    <a:gd name="T57" fmla="*/ 2147483646 h 248"/>
                    <a:gd name="T58" fmla="*/ 2147483646 w 232"/>
                    <a:gd name="T59" fmla="*/ 2147483646 h 248"/>
                    <a:gd name="T60" fmla="*/ 2147483646 w 232"/>
                    <a:gd name="T61" fmla="*/ 2147483646 h 248"/>
                    <a:gd name="T62" fmla="*/ 2147483646 w 232"/>
                    <a:gd name="T63" fmla="*/ 2147483646 h 248"/>
                    <a:gd name="T64" fmla="*/ 2147483646 w 232"/>
                    <a:gd name="T65" fmla="*/ 2147483646 h 248"/>
                    <a:gd name="T66" fmla="*/ 2147483646 w 232"/>
                    <a:gd name="T67" fmla="*/ 2147483646 h 248"/>
                    <a:gd name="T68" fmla="*/ 2147483646 w 232"/>
                    <a:gd name="T69" fmla="*/ 2147483646 h 248"/>
                    <a:gd name="T70" fmla="*/ 2147483646 w 232"/>
                    <a:gd name="T71" fmla="*/ 2147483646 h 248"/>
                    <a:gd name="T72" fmla="*/ 2147483646 w 232"/>
                    <a:gd name="T73" fmla="*/ 2147483646 h 248"/>
                    <a:gd name="T74" fmla="*/ 2147483646 w 232"/>
                    <a:gd name="T75" fmla="*/ 2147483646 h 248"/>
                    <a:gd name="T76" fmla="*/ 2147483646 w 232"/>
                    <a:gd name="T77" fmla="*/ 2147483646 h 248"/>
                    <a:gd name="T78" fmla="*/ 2147483646 w 232"/>
                    <a:gd name="T79" fmla="*/ 2147483646 h 248"/>
                    <a:gd name="T80" fmla="*/ 2147483646 w 232"/>
                    <a:gd name="T81" fmla="*/ 2147483646 h 248"/>
                    <a:gd name="T82" fmla="*/ 2147483646 w 232"/>
                    <a:gd name="T83" fmla="*/ 2147483646 h 248"/>
                    <a:gd name="T84" fmla="*/ 2147483646 w 232"/>
                    <a:gd name="T85" fmla="*/ 2147483646 h 248"/>
                    <a:gd name="T86" fmla="*/ 2147483646 w 232"/>
                    <a:gd name="T87" fmla="*/ 2147483646 h 248"/>
                    <a:gd name="T88" fmla="*/ 2147483646 w 232"/>
                    <a:gd name="T89" fmla="*/ 2147483646 h 248"/>
                    <a:gd name="T90" fmla="*/ 2147483646 w 232"/>
                    <a:gd name="T91" fmla="*/ 2147483646 h 248"/>
                    <a:gd name="T92" fmla="*/ 2147483646 w 232"/>
                    <a:gd name="T93" fmla="*/ 2147483646 h 248"/>
                    <a:gd name="T94" fmla="*/ 2147483646 w 232"/>
                    <a:gd name="T95" fmla="*/ 2147483646 h 248"/>
                    <a:gd name="T96" fmla="*/ 2147483646 w 232"/>
                    <a:gd name="T97" fmla="*/ 2147483646 h 248"/>
                    <a:gd name="T98" fmla="*/ 2147483646 w 232"/>
                    <a:gd name="T99" fmla="*/ 2147483646 h 248"/>
                    <a:gd name="T100" fmla="*/ 2147483646 w 232"/>
                    <a:gd name="T101" fmla="*/ 2147483646 h 248"/>
                    <a:gd name="T102" fmla="*/ 2147483646 w 232"/>
                    <a:gd name="T103" fmla="*/ 2147483646 h 248"/>
                    <a:gd name="T104" fmla="*/ 2147483646 w 232"/>
                    <a:gd name="T105" fmla="*/ 2147483646 h 248"/>
                    <a:gd name="T106" fmla="*/ 2147483646 w 232"/>
                    <a:gd name="T107" fmla="*/ 2147483646 h 24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32"/>
                    <a:gd name="T163" fmla="*/ 0 h 248"/>
                    <a:gd name="T164" fmla="*/ 232 w 232"/>
                    <a:gd name="T165" fmla="*/ 248 h 24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32" h="248">
                      <a:moveTo>
                        <a:pt x="91" y="248"/>
                      </a:moveTo>
                      <a:lnTo>
                        <a:pt x="94" y="246"/>
                      </a:lnTo>
                      <a:lnTo>
                        <a:pt x="95" y="245"/>
                      </a:lnTo>
                      <a:lnTo>
                        <a:pt x="96" y="243"/>
                      </a:lnTo>
                      <a:lnTo>
                        <a:pt x="97" y="240"/>
                      </a:lnTo>
                      <a:lnTo>
                        <a:pt x="98" y="238"/>
                      </a:lnTo>
                      <a:lnTo>
                        <a:pt x="99" y="235"/>
                      </a:lnTo>
                      <a:lnTo>
                        <a:pt x="100" y="232"/>
                      </a:lnTo>
                      <a:lnTo>
                        <a:pt x="103" y="230"/>
                      </a:lnTo>
                      <a:lnTo>
                        <a:pt x="103" y="231"/>
                      </a:lnTo>
                      <a:lnTo>
                        <a:pt x="103" y="236"/>
                      </a:lnTo>
                      <a:lnTo>
                        <a:pt x="104" y="238"/>
                      </a:lnTo>
                      <a:lnTo>
                        <a:pt x="105" y="240"/>
                      </a:lnTo>
                      <a:lnTo>
                        <a:pt x="106" y="241"/>
                      </a:lnTo>
                      <a:lnTo>
                        <a:pt x="107" y="241"/>
                      </a:lnTo>
                      <a:lnTo>
                        <a:pt x="108" y="242"/>
                      </a:lnTo>
                      <a:lnTo>
                        <a:pt x="109" y="242"/>
                      </a:lnTo>
                      <a:lnTo>
                        <a:pt x="110" y="242"/>
                      </a:lnTo>
                      <a:lnTo>
                        <a:pt x="112" y="241"/>
                      </a:lnTo>
                      <a:lnTo>
                        <a:pt x="113" y="241"/>
                      </a:lnTo>
                      <a:lnTo>
                        <a:pt x="114" y="240"/>
                      </a:lnTo>
                      <a:lnTo>
                        <a:pt x="116" y="238"/>
                      </a:lnTo>
                      <a:lnTo>
                        <a:pt x="118" y="236"/>
                      </a:lnTo>
                      <a:lnTo>
                        <a:pt x="216" y="234"/>
                      </a:lnTo>
                      <a:lnTo>
                        <a:pt x="215" y="225"/>
                      </a:lnTo>
                      <a:lnTo>
                        <a:pt x="213" y="204"/>
                      </a:lnTo>
                      <a:lnTo>
                        <a:pt x="210" y="173"/>
                      </a:lnTo>
                      <a:lnTo>
                        <a:pt x="207" y="138"/>
                      </a:lnTo>
                      <a:lnTo>
                        <a:pt x="204" y="103"/>
                      </a:lnTo>
                      <a:lnTo>
                        <a:pt x="201" y="73"/>
                      </a:lnTo>
                      <a:lnTo>
                        <a:pt x="199" y="51"/>
                      </a:lnTo>
                      <a:lnTo>
                        <a:pt x="198" y="43"/>
                      </a:lnTo>
                      <a:lnTo>
                        <a:pt x="203" y="43"/>
                      </a:lnTo>
                      <a:lnTo>
                        <a:pt x="215" y="44"/>
                      </a:lnTo>
                      <a:lnTo>
                        <a:pt x="226" y="45"/>
                      </a:lnTo>
                      <a:lnTo>
                        <a:pt x="232" y="46"/>
                      </a:lnTo>
                      <a:lnTo>
                        <a:pt x="161" y="0"/>
                      </a:lnTo>
                      <a:lnTo>
                        <a:pt x="161" y="2"/>
                      </a:lnTo>
                      <a:lnTo>
                        <a:pt x="160" y="5"/>
                      </a:lnTo>
                      <a:lnTo>
                        <a:pt x="160" y="8"/>
                      </a:lnTo>
                      <a:lnTo>
                        <a:pt x="161" y="11"/>
                      </a:lnTo>
                      <a:lnTo>
                        <a:pt x="161" y="18"/>
                      </a:lnTo>
                      <a:lnTo>
                        <a:pt x="161" y="24"/>
                      </a:lnTo>
                      <a:lnTo>
                        <a:pt x="98" y="24"/>
                      </a:lnTo>
                      <a:lnTo>
                        <a:pt x="94" y="22"/>
                      </a:lnTo>
                      <a:lnTo>
                        <a:pt x="98" y="74"/>
                      </a:lnTo>
                      <a:lnTo>
                        <a:pt x="97" y="75"/>
                      </a:lnTo>
                      <a:lnTo>
                        <a:pt x="95" y="76"/>
                      </a:lnTo>
                      <a:lnTo>
                        <a:pt x="91" y="77"/>
                      </a:lnTo>
                      <a:lnTo>
                        <a:pt x="87" y="78"/>
                      </a:lnTo>
                      <a:lnTo>
                        <a:pt x="78" y="80"/>
                      </a:lnTo>
                      <a:lnTo>
                        <a:pt x="72" y="82"/>
                      </a:lnTo>
                      <a:lnTo>
                        <a:pt x="73" y="85"/>
                      </a:lnTo>
                      <a:lnTo>
                        <a:pt x="74" y="88"/>
                      </a:lnTo>
                      <a:lnTo>
                        <a:pt x="76" y="92"/>
                      </a:lnTo>
                      <a:lnTo>
                        <a:pt x="78" y="96"/>
                      </a:lnTo>
                      <a:lnTo>
                        <a:pt x="79" y="99"/>
                      </a:lnTo>
                      <a:lnTo>
                        <a:pt x="80" y="105"/>
                      </a:lnTo>
                      <a:lnTo>
                        <a:pt x="80" y="112"/>
                      </a:lnTo>
                      <a:lnTo>
                        <a:pt x="81" y="115"/>
                      </a:lnTo>
                      <a:lnTo>
                        <a:pt x="13" y="115"/>
                      </a:lnTo>
                      <a:lnTo>
                        <a:pt x="9" y="119"/>
                      </a:lnTo>
                      <a:lnTo>
                        <a:pt x="4" y="123"/>
                      </a:lnTo>
                      <a:lnTo>
                        <a:pt x="5" y="130"/>
                      </a:lnTo>
                      <a:lnTo>
                        <a:pt x="5" y="137"/>
                      </a:lnTo>
                      <a:lnTo>
                        <a:pt x="6" y="143"/>
                      </a:lnTo>
                      <a:lnTo>
                        <a:pt x="7" y="149"/>
                      </a:lnTo>
                      <a:lnTo>
                        <a:pt x="8" y="155"/>
                      </a:lnTo>
                      <a:lnTo>
                        <a:pt x="8" y="161"/>
                      </a:lnTo>
                      <a:lnTo>
                        <a:pt x="9" y="168"/>
                      </a:lnTo>
                      <a:lnTo>
                        <a:pt x="9" y="176"/>
                      </a:lnTo>
                      <a:lnTo>
                        <a:pt x="9" y="182"/>
                      </a:lnTo>
                      <a:lnTo>
                        <a:pt x="8" y="188"/>
                      </a:lnTo>
                      <a:lnTo>
                        <a:pt x="8" y="194"/>
                      </a:lnTo>
                      <a:lnTo>
                        <a:pt x="7" y="200"/>
                      </a:lnTo>
                      <a:lnTo>
                        <a:pt x="6" y="206"/>
                      </a:lnTo>
                      <a:lnTo>
                        <a:pt x="4" y="211"/>
                      </a:lnTo>
                      <a:lnTo>
                        <a:pt x="2" y="216"/>
                      </a:lnTo>
                      <a:lnTo>
                        <a:pt x="0" y="221"/>
                      </a:lnTo>
                      <a:lnTo>
                        <a:pt x="2" y="219"/>
                      </a:lnTo>
                      <a:lnTo>
                        <a:pt x="3" y="219"/>
                      </a:lnTo>
                      <a:lnTo>
                        <a:pt x="3" y="220"/>
                      </a:lnTo>
                      <a:lnTo>
                        <a:pt x="3" y="221"/>
                      </a:lnTo>
                      <a:lnTo>
                        <a:pt x="3" y="222"/>
                      </a:lnTo>
                      <a:lnTo>
                        <a:pt x="4" y="217"/>
                      </a:lnTo>
                      <a:lnTo>
                        <a:pt x="7" y="217"/>
                      </a:lnTo>
                      <a:lnTo>
                        <a:pt x="12" y="215"/>
                      </a:lnTo>
                      <a:lnTo>
                        <a:pt x="18" y="213"/>
                      </a:lnTo>
                      <a:lnTo>
                        <a:pt x="25" y="211"/>
                      </a:lnTo>
                      <a:lnTo>
                        <a:pt x="36" y="207"/>
                      </a:lnTo>
                      <a:lnTo>
                        <a:pt x="41" y="205"/>
                      </a:lnTo>
                      <a:lnTo>
                        <a:pt x="45" y="208"/>
                      </a:lnTo>
                      <a:lnTo>
                        <a:pt x="48" y="210"/>
                      </a:lnTo>
                      <a:lnTo>
                        <a:pt x="51" y="212"/>
                      </a:lnTo>
                      <a:lnTo>
                        <a:pt x="53" y="213"/>
                      </a:lnTo>
                      <a:lnTo>
                        <a:pt x="56" y="214"/>
                      </a:lnTo>
                      <a:lnTo>
                        <a:pt x="59" y="215"/>
                      </a:lnTo>
                      <a:lnTo>
                        <a:pt x="62" y="215"/>
                      </a:lnTo>
                      <a:lnTo>
                        <a:pt x="66" y="215"/>
                      </a:lnTo>
                      <a:lnTo>
                        <a:pt x="66" y="219"/>
                      </a:lnTo>
                      <a:lnTo>
                        <a:pt x="66" y="222"/>
                      </a:lnTo>
                      <a:lnTo>
                        <a:pt x="67" y="225"/>
                      </a:lnTo>
                      <a:lnTo>
                        <a:pt x="69" y="228"/>
                      </a:lnTo>
                      <a:lnTo>
                        <a:pt x="70" y="231"/>
                      </a:lnTo>
                      <a:lnTo>
                        <a:pt x="72" y="233"/>
                      </a:lnTo>
                      <a:lnTo>
                        <a:pt x="74" y="235"/>
                      </a:lnTo>
                      <a:lnTo>
                        <a:pt x="76" y="237"/>
                      </a:lnTo>
                      <a:lnTo>
                        <a:pt x="85" y="243"/>
                      </a:lnTo>
                      <a:lnTo>
                        <a:pt x="91" y="24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16" name="Freeform 236">
                  <a:extLst>
                    <a:ext uri="{FF2B5EF4-FFF2-40B4-BE49-F238E27FC236}">
                      <a16:creationId xmlns:a16="http://schemas.microsoft.com/office/drawing/2014/main" xmlns="" id="{0A77ADE5-C51A-4E0A-8DA9-3763ECE2C02F}"/>
                    </a:ext>
                  </a:extLst>
                </p:cNvPr>
                <p:cNvSpPr>
                  <a:spLocks/>
                </p:cNvSpPr>
                <p:nvPr>
                  <p:custDataLst>
                    <p:tags r:id="rId163"/>
                  </p:custDataLst>
                </p:nvPr>
              </p:nvSpPr>
              <p:spPr bwMode="auto">
                <a:xfrm>
                  <a:off x="3709988" y="2873375"/>
                  <a:ext cx="414337" cy="468313"/>
                </a:xfrm>
                <a:custGeom>
                  <a:avLst/>
                  <a:gdLst>
                    <a:gd name="T0" fmla="*/ 2147483646 w 948"/>
                    <a:gd name="T1" fmla="*/ 2147483646 h 893"/>
                    <a:gd name="T2" fmla="*/ 2147483646 w 948"/>
                    <a:gd name="T3" fmla="*/ 2147483646 h 893"/>
                    <a:gd name="T4" fmla="*/ 2147483646 w 948"/>
                    <a:gd name="T5" fmla="*/ 2147483646 h 893"/>
                    <a:gd name="T6" fmla="*/ 2147483646 w 948"/>
                    <a:gd name="T7" fmla="*/ 2147483646 h 893"/>
                    <a:gd name="T8" fmla="*/ 2147483646 w 948"/>
                    <a:gd name="T9" fmla="*/ 2147483646 h 893"/>
                    <a:gd name="T10" fmla="*/ 2147483646 w 948"/>
                    <a:gd name="T11" fmla="*/ 2147483646 h 893"/>
                    <a:gd name="T12" fmla="*/ 2147483646 w 948"/>
                    <a:gd name="T13" fmla="*/ 2147483646 h 893"/>
                    <a:gd name="T14" fmla="*/ 2147483646 w 948"/>
                    <a:gd name="T15" fmla="*/ 2147483646 h 893"/>
                    <a:gd name="T16" fmla="*/ 2147483646 w 948"/>
                    <a:gd name="T17" fmla="*/ 2147483646 h 893"/>
                    <a:gd name="T18" fmla="*/ 2147483646 w 948"/>
                    <a:gd name="T19" fmla="*/ 2147483646 h 893"/>
                    <a:gd name="T20" fmla="*/ 2147483646 w 948"/>
                    <a:gd name="T21" fmla="*/ 2147483646 h 893"/>
                    <a:gd name="T22" fmla="*/ 2147483646 w 948"/>
                    <a:gd name="T23" fmla="*/ 2147483646 h 893"/>
                    <a:gd name="T24" fmla="*/ 2147483646 w 948"/>
                    <a:gd name="T25" fmla="*/ 2147483646 h 893"/>
                    <a:gd name="T26" fmla="*/ 2147483646 w 948"/>
                    <a:gd name="T27" fmla="*/ 2147483646 h 893"/>
                    <a:gd name="T28" fmla="*/ 2147483646 w 948"/>
                    <a:gd name="T29" fmla="*/ 2147483646 h 893"/>
                    <a:gd name="T30" fmla="*/ 2147483646 w 948"/>
                    <a:gd name="T31" fmla="*/ 2147483646 h 893"/>
                    <a:gd name="T32" fmla="*/ 2147483646 w 948"/>
                    <a:gd name="T33" fmla="*/ 2147483646 h 893"/>
                    <a:gd name="T34" fmla="*/ 2147483646 w 948"/>
                    <a:gd name="T35" fmla="*/ 2147483646 h 893"/>
                    <a:gd name="T36" fmla="*/ 2147483646 w 948"/>
                    <a:gd name="T37" fmla="*/ 2147483646 h 893"/>
                    <a:gd name="T38" fmla="*/ 2147483646 w 948"/>
                    <a:gd name="T39" fmla="*/ 2147483646 h 893"/>
                    <a:gd name="T40" fmla="*/ 2147483646 w 948"/>
                    <a:gd name="T41" fmla="*/ 2147483646 h 893"/>
                    <a:gd name="T42" fmla="*/ 2147483646 w 948"/>
                    <a:gd name="T43" fmla="*/ 2147483646 h 893"/>
                    <a:gd name="T44" fmla="*/ 2147483646 w 948"/>
                    <a:gd name="T45" fmla="*/ 2147483646 h 893"/>
                    <a:gd name="T46" fmla="*/ 2147483646 w 948"/>
                    <a:gd name="T47" fmla="*/ 2147483646 h 893"/>
                    <a:gd name="T48" fmla="*/ 2147483646 w 948"/>
                    <a:gd name="T49" fmla="*/ 2147483646 h 893"/>
                    <a:gd name="T50" fmla="*/ 2147483646 w 948"/>
                    <a:gd name="T51" fmla="*/ 2147483646 h 893"/>
                    <a:gd name="T52" fmla="*/ 2147483646 w 948"/>
                    <a:gd name="T53" fmla="*/ 2147483646 h 893"/>
                    <a:gd name="T54" fmla="*/ 2147483646 w 948"/>
                    <a:gd name="T55" fmla="*/ 2147483646 h 893"/>
                    <a:gd name="T56" fmla="*/ 2147483646 w 948"/>
                    <a:gd name="T57" fmla="*/ 2147483646 h 893"/>
                    <a:gd name="T58" fmla="*/ 2147483646 w 948"/>
                    <a:gd name="T59" fmla="*/ 2147483646 h 893"/>
                    <a:gd name="T60" fmla="*/ 2147483646 w 948"/>
                    <a:gd name="T61" fmla="*/ 2147483646 h 893"/>
                    <a:gd name="T62" fmla="*/ 2147483646 w 948"/>
                    <a:gd name="T63" fmla="*/ 2147483646 h 893"/>
                    <a:gd name="T64" fmla="*/ 2147483646 w 948"/>
                    <a:gd name="T65" fmla="*/ 2147483646 h 893"/>
                    <a:gd name="T66" fmla="*/ 2147483646 w 948"/>
                    <a:gd name="T67" fmla="*/ 2147483646 h 893"/>
                    <a:gd name="T68" fmla="*/ 2147483646 w 948"/>
                    <a:gd name="T69" fmla="*/ 2147483646 h 893"/>
                    <a:gd name="T70" fmla="*/ 2147483646 w 948"/>
                    <a:gd name="T71" fmla="*/ 2147483646 h 893"/>
                    <a:gd name="T72" fmla="*/ 2147483646 w 948"/>
                    <a:gd name="T73" fmla="*/ 2147483646 h 893"/>
                    <a:gd name="T74" fmla="*/ 2147483646 w 948"/>
                    <a:gd name="T75" fmla="*/ 2147483646 h 893"/>
                    <a:gd name="T76" fmla="*/ 2147483646 w 948"/>
                    <a:gd name="T77" fmla="*/ 2147483646 h 893"/>
                    <a:gd name="T78" fmla="*/ 2147483646 w 948"/>
                    <a:gd name="T79" fmla="*/ 2147483646 h 893"/>
                    <a:gd name="T80" fmla="*/ 2147483646 w 948"/>
                    <a:gd name="T81" fmla="*/ 2147483646 h 893"/>
                    <a:gd name="T82" fmla="*/ 2147483646 w 948"/>
                    <a:gd name="T83" fmla="*/ 2147483646 h 893"/>
                    <a:gd name="T84" fmla="*/ 2147483646 w 948"/>
                    <a:gd name="T85" fmla="*/ 2147483646 h 893"/>
                    <a:gd name="T86" fmla="*/ 2147483646 w 948"/>
                    <a:gd name="T87" fmla="*/ 2147483646 h 893"/>
                    <a:gd name="T88" fmla="*/ 2147483646 w 948"/>
                    <a:gd name="T89" fmla="*/ 2147483646 h 893"/>
                    <a:gd name="T90" fmla="*/ 2147483646 w 948"/>
                    <a:gd name="T91" fmla="*/ 2147483646 h 893"/>
                    <a:gd name="T92" fmla="*/ 2147483646 w 948"/>
                    <a:gd name="T93" fmla="*/ 2147483646 h 893"/>
                    <a:gd name="T94" fmla="*/ 2147483646 w 948"/>
                    <a:gd name="T95" fmla="*/ 2147483646 h 893"/>
                    <a:gd name="T96" fmla="*/ 2147483646 w 948"/>
                    <a:gd name="T97" fmla="*/ 2147483646 h 893"/>
                    <a:gd name="T98" fmla="*/ 2147483646 w 948"/>
                    <a:gd name="T99" fmla="*/ 2147483646 h 893"/>
                    <a:gd name="T100" fmla="*/ 2147483646 w 948"/>
                    <a:gd name="T101" fmla="*/ 2147483646 h 893"/>
                    <a:gd name="T102" fmla="*/ 2147483646 w 948"/>
                    <a:gd name="T103" fmla="*/ 2147483646 h 893"/>
                    <a:gd name="T104" fmla="*/ 2147483646 w 948"/>
                    <a:gd name="T105" fmla="*/ 2147483646 h 893"/>
                    <a:gd name="T106" fmla="*/ 2147483646 w 948"/>
                    <a:gd name="T107" fmla="*/ 2147483646 h 893"/>
                    <a:gd name="T108" fmla="*/ 2147483646 w 948"/>
                    <a:gd name="T109" fmla="*/ 2147483646 h 893"/>
                    <a:gd name="T110" fmla="*/ 2147483646 w 948"/>
                    <a:gd name="T111" fmla="*/ 2147483646 h 893"/>
                    <a:gd name="T112" fmla="*/ 2147483646 w 948"/>
                    <a:gd name="T113" fmla="*/ 2147483646 h 893"/>
                    <a:gd name="T114" fmla="*/ 2147483646 w 948"/>
                    <a:gd name="T115" fmla="*/ 2147483646 h 893"/>
                    <a:gd name="T116" fmla="*/ 2147483646 w 948"/>
                    <a:gd name="T117" fmla="*/ 2147483646 h 893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948"/>
                    <a:gd name="T178" fmla="*/ 0 h 893"/>
                    <a:gd name="T179" fmla="*/ 948 w 948"/>
                    <a:gd name="T180" fmla="*/ 893 h 893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948" h="893">
                      <a:moveTo>
                        <a:pt x="54" y="788"/>
                      </a:moveTo>
                      <a:lnTo>
                        <a:pt x="74" y="788"/>
                      </a:lnTo>
                      <a:lnTo>
                        <a:pt x="90" y="788"/>
                      </a:lnTo>
                      <a:lnTo>
                        <a:pt x="100" y="788"/>
                      </a:lnTo>
                      <a:lnTo>
                        <a:pt x="106" y="788"/>
                      </a:lnTo>
                      <a:lnTo>
                        <a:pt x="121" y="788"/>
                      </a:lnTo>
                      <a:lnTo>
                        <a:pt x="135" y="787"/>
                      </a:lnTo>
                      <a:lnTo>
                        <a:pt x="140" y="785"/>
                      </a:lnTo>
                      <a:lnTo>
                        <a:pt x="146" y="783"/>
                      </a:lnTo>
                      <a:lnTo>
                        <a:pt x="150" y="780"/>
                      </a:lnTo>
                      <a:lnTo>
                        <a:pt x="152" y="776"/>
                      </a:lnTo>
                      <a:lnTo>
                        <a:pt x="186" y="776"/>
                      </a:lnTo>
                      <a:lnTo>
                        <a:pt x="189" y="788"/>
                      </a:lnTo>
                      <a:lnTo>
                        <a:pt x="193" y="800"/>
                      </a:lnTo>
                      <a:lnTo>
                        <a:pt x="197" y="813"/>
                      </a:lnTo>
                      <a:lnTo>
                        <a:pt x="204" y="825"/>
                      </a:lnTo>
                      <a:lnTo>
                        <a:pt x="207" y="830"/>
                      </a:lnTo>
                      <a:lnTo>
                        <a:pt x="212" y="835"/>
                      </a:lnTo>
                      <a:lnTo>
                        <a:pt x="216" y="839"/>
                      </a:lnTo>
                      <a:lnTo>
                        <a:pt x="221" y="843"/>
                      </a:lnTo>
                      <a:lnTo>
                        <a:pt x="226" y="846"/>
                      </a:lnTo>
                      <a:lnTo>
                        <a:pt x="233" y="848"/>
                      </a:lnTo>
                      <a:lnTo>
                        <a:pt x="239" y="849"/>
                      </a:lnTo>
                      <a:lnTo>
                        <a:pt x="246" y="850"/>
                      </a:lnTo>
                      <a:lnTo>
                        <a:pt x="246" y="862"/>
                      </a:lnTo>
                      <a:lnTo>
                        <a:pt x="246" y="871"/>
                      </a:lnTo>
                      <a:lnTo>
                        <a:pt x="246" y="881"/>
                      </a:lnTo>
                      <a:lnTo>
                        <a:pt x="246" y="893"/>
                      </a:lnTo>
                      <a:lnTo>
                        <a:pt x="326" y="893"/>
                      </a:lnTo>
                      <a:lnTo>
                        <a:pt x="326" y="889"/>
                      </a:lnTo>
                      <a:lnTo>
                        <a:pt x="328" y="884"/>
                      </a:lnTo>
                      <a:lnTo>
                        <a:pt x="330" y="880"/>
                      </a:lnTo>
                      <a:lnTo>
                        <a:pt x="334" y="876"/>
                      </a:lnTo>
                      <a:lnTo>
                        <a:pt x="339" y="868"/>
                      </a:lnTo>
                      <a:lnTo>
                        <a:pt x="346" y="862"/>
                      </a:lnTo>
                      <a:lnTo>
                        <a:pt x="347" y="871"/>
                      </a:lnTo>
                      <a:lnTo>
                        <a:pt x="348" y="880"/>
                      </a:lnTo>
                      <a:lnTo>
                        <a:pt x="349" y="884"/>
                      </a:lnTo>
                      <a:lnTo>
                        <a:pt x="348" y="888"/>
                      </a:lnTo>
                      <a:lnTo>
                        <a:pt x="348" y="891"/>
                      </a:lnTo>
                      <a:lnTo>
                        <a:pt x="346" y="893"/>
                      </a:lnTo>
                      <a:lnTo>
                        <a:pt x="358" y="893"/>
                      </a:lnTo>
                      <a:lnTo>
                        <a:pt x="371" y="893"/>
                      </a:lnTo>
                      <a:lnTo>
                        <a:pt x="381" y="893"/>
                      </a:lnTo>
                      <a:lnTo>
                        <a:pt x="385" y="893"/>
                      </a:lnTo>
                      <a:lnTo>
                        <a:pt x="392" y="881"/>
                      </a:lnTo>
                      <a:lnTo>
                        <a:pt x="397" y="868"/>
                      </a:lnTo>
                      <a:lnTo>
                        <a:pt x="401" y="854"/>
                      </a:lnTo>
                      <a:lnTo>
                        <a:pt x="404" y="841"/>
                      </a:lnTo>
                      <a:lnTo>
                        <a:pt x="408" y="813"/>
                      </a:lnTo>
                      <a:lnTo>
                        <a:pt x="412" y="788"/>
                      </a:lnTo>
                      <a:lnTo>
                        <a:pt x="415" y="782"/>
                      </a:lnTo>
                      <a:lnTo>
                        <a:pt x="418" y="776"/>
                      </a:lnTo>
                      <a:lnTo>
                        <a:pt x="424" y="771"/>
                      </a:lnTo>
                      <a:lnTo>
                        <a:pt x="428" y="767"/>
                      </a:lnTo>
                      <a:lnTo>
                        <a:pt x="440" y="759"/>
                      </a:lnTo>
                      <a:lnTo>
                        <a:pt x="452" y="754"/>
                      </a:lnTo>
                      <a:lnTo>
                        <a:pt x="464" y="750"/>
                      </a:lnTo>
                      <a:lnTo>
                        <a:pt x="475" y="746"/>
                      </a:lnTo>
                      <a:lnTo>
                        <a:pt x="485" y="743"/>
                      </a:lnTo>
                      <a:lnTo>
                        <a:pt x="492" y="739"/>
                      </a:lnTo>
                      <a:lnTo>
                        <a:pt x="496" y="734"/>
                      </a:lnTo>
                      <a:lnTo>
                        <a:pt x="501" y="729"/>
                      </a:lnTo>
                      <a:lnTo>
                        <a:pt x="505" y="723"/>
                      </a:lnTo>
                      <a:lnTo>
                        <a:pt x="508" y="716"/>
                      </a:lnTo>
                      <a:lnTo>
                        <a:pt x="515" y="702"/>
                      </a:lnTo>
                      <a:lnTo>
                        <a:pt x="521" y="690"/>
                      </a:lnTo>
                      <a:lnTo>
                        <a:pt x="528" y="678"/>
                      </a:lnTo>
                      <a:lnTo>
                        <a:pt x="535" y="668"/>
                      </a:lnTo>
                      <a:lnTo>
                        <a:pt x="539" y="664"/>
                      </a:lnTo>
                      <a:lnTo>
                        <a:pt x="542" y="662"/>
                      </a:lnTo>
                      <a:lnTo>
                        <a:pt x="547" y="660"/>
                      </a:lnTo>
                      <a:lnTo>
                        <a:pt x="551" y="659"/>
                      </a:lnTo>
                      <a:lnTo>
                        <a:pt x="562" y="660"/>
                      </a:lnTo>
                      <a:lnTo>
                        <a:pt x="572" y="659"/>
                      </a:lnTo>
                      <a:lnTo>
                        <a:pt x="581" y="657"/>
                      </a:lnTo>
                      <a:lnTo>
                        <a:pt x="588" y="653"/>
                      </a:lnTo>
                      <a:lnTo>
                        <a:pt x="605" y="644"/>
                      </a:lnTo>
                      <a:lnTo>
                        <a:pt x="620" y="634"/>
                      </a:lnTo>
                      <a:lnTo>
                        <a:pt x="629" y="629"/>
                      </a:lnTo>
                      <a:lnTo>
                        <a:pt x="639" y="624"/>
                      </a:lnTo>
                      <a:lnTo>
                        <a:pt x="649" y="620"/>
                      </a:lnTo>
                      <a:lnTo>
                        <a:pt x="661" y="616"/>
                      </a:lnTo>
                      <a:lnTo>
                        <a:pt x="674" y="613"/>
                      </a:lnTo>
                      <a:lnTo>
                        <a:pt x="688" y="610"/>
                      </a:lnTo>
                      <a:lnTo>
                        <a:pt x="706" y="609"/>
                      </a:lnTo>
                      <a:lnTo>
                        <a:pt x="724" y="610"/>
                      </a:lnTo>
                      <a:lnTo>
                        <a:pt x="777" y="610"/>
                      </a:lnTo>
                      <a:lnTo>
                        <a:pt x="783" y="606"/>
                      </a:lnTo>
                      <a:lnTo>
                        <a:pt x="788" y="602"/>
                      </a:lnTo>
                      <a:lnTo>
                        <a:pt x="795" y="600"/>
                      </a:lnTo>
                      <a:lnTo>
                        <a:pt x="800" y="598"/>
                      </a:lnTo>
                      <a:lnTo>
                        <a:pt x="815" y="594"/>
                      </a:lnTo>
                      <a:lnTo>
                        <a:pt x="830" y="592"/>
                      </a:lnTo>
                      <a:lnTo>
                        <a:pt x="845" y="591"/>
                      </a:lnTo>
                      <a:lnTo>
                        <a:pt x="863" y="590"/>
                      </a:lnTo>
                      <a:lnTo>
                        <a:pt x="879" y="588"/>
                      </a:lnTo>
                      <a:lnTo>
                        <a:pt x="897" y="585"/>
                      </a:lnTo>
                      <a:lnTo>
                        <a:pt x="901" y="583"/>
                      </a:lnTo>
                      <a:lnTo>
                        <a:pt x="906" y="580"/>
                      </a:lnTo>
                      <a:lnTo>
                        <a:pt x="909" y="577"/>
                      </a:lnTo>
                      <a:lnTo>
                        <a:pt x="913" y="574"/>
                      </a:lnTo>
                      <a:lnTo>
                        <a:pt x="920" y="565"/>
                      </a:lnTo>
                      <a:lnTo>
                        <a:pt x="925" y="555"/>
                      </a:lnTo>
                      <a:lnTo>
                        <a:pt x="931" y="544"/>
                      </a:lnTo>
                      <a:lnTo>
                        <a:pt x="935" y="531"/>
                      </a:lnTo>
                      <a:lnTo>
                        <a:pt x="940" y="518"/>
                      </a:lnTo>
                      <a:lnTo>
                        <a:pt x="943" y="504"/>
                      </a:lnTo>
                      <a:lnTo>
                        <a:pt x="945" y="490"/>
                      </a:lnTo>
                      <a:lnTo>
                        <a:pt x="947" y="475"/>
                      </a:lnTo>
                      <a:lnTo>
                        <a:pt x="948" y="461"/>
                      </a:lnTo>
                      <a:lnTo>
                        <a:pt x="948" y="447"/>
                      </a:lnTo>
                      <a:lnTo>
                        <a:pt x="948" y="434"/>
                      </a:lnTo>
                      <a:lnTo>
                        <a:pt x="947" y="421"/>
                      </a:lnTo>
                      <a:lnTo>
                        <a:pt x="945" y="410"/>
                      </a:lnTo>
                      <a:lnTo>
                        <a:pt x="943" y="400"/>
                      </a:lnTo>
                      <a:lnTo>
                        <a:pt x="943" y="363"/>
                      </a:lnTo>
                      <a:lnTo>
                        <a:pt x="939" y="362"/>
                      </a:lnTo>
                      <a:lnTo>
                        <a:pt x="931" y="359"/>
                      </a:lnTo>
                      <a:lnTo>
                        <a:pt x="922" y="356"/>
                      </a:lnTo>
                      <a:lnTo>
                        <a:pt x="912" y="350"/>
                      </a:lnTo>
                      <a:lnTo>
                        <a:pt x="888" y="337"/>
                      </a:lnTo>
                      <a:lnTo>
                        <a:pt x="862" y="322"/>
                      </a:lnTo>
                      <a:lnTo>
                        <a:pt x="835" y="305"/>
                      </a:lnTo>
                      <a:lnTo>
                        <a:pt x="811" y="290"/>
                      </a:lnTo>
                      <a:lnTo>
                        <a:pt x="794" y="278"/>
                      </a:lnTo>
                      <a:lnTo>
                        <a:pt x="784" y="271"/>
                      </a:lnTo>
                      <a:lnTo>
                        <a:pt x="764" y="240"/>
                      </a:lnTo>
                      <a:lnTo>
                        <a:pt x="738" y="216"/>
                      </a:lnTo>
                      <a:lnTo>
                        <a:pt x="405" y="0"/>
                      </a:lnTo>
                      <a:lnTo>
                        <a:pt x="408" y="6"/>
                      </a:lnTo>
                      <a:lnTo>
                        <a:pt x="412" y="12"/>
                      </a:lnTo>
                      <a:lnTo>
                        <a:pt x="339" y="12"/>
                      </a:lnTo>
                      <a:lnTo>
                        <a:pt x="341" y="36"/>
                      </a:lnTo>
                      <a:lnTo>
                        <a:pt x="348" y="102"/>
                      </a:lnTo>
                      <a:lnTo>
                        <a:pt x="358" y="193"/>
                      </a:lnTo>
                      <a:lnTo>
                        <a:pt x="368" y="299"/>
                      </a:lnTo>
                      <a:lnTo>
                        <a:pt x="379" y="405"/>
                      </a:lnTo>
                      <a:lnTo>
                        <a:pt x="386" y="498"/>
                      </a:lnTo>
                      <a:lnTo>
                        <a:pt x="390" y="535"/>
                      </a:lnTo>
                      <a:lnTo>
                        <a:pt x="392" y="565"/>
                      </a:lnTo>
                      <a:lnTo>
                        <a:pt x="393" y="583"/>
                      </a:lnTo>
                      <a:lnTo>
                        <a:pt x="392" y="591"/>
                      </a:lnTo>
                      <a:lnTo>
                        <a:pt x="93" y="591"/>
                      </a:lnTo>
                      <a:lnTo>
                        <a:pt x="88" y="597"/>
                      </a:lnTo>
                      <a:lnTo>
                        <a:pt x="82" y="603"/>
                      </a:lnTo>
                      <a:lnTo>
                        <a:pt x="79" y="606"/>
                      </a:lnTo>
                      <a:lnTo>
                        <a:pt x="76" y="608"/>
                      </a:lnTo>
                      <a:lnTo>
                        <a:pt x="71" y="609"/>
                      </a:lnTo>
                      <a:lnTo>
                        <a:pt x="67" y="610"/>
                      </a:lnTo>
                      <a:lnTo>
                        <a:pt x="64" y="609"/>
                      </a:lnTo>
                      <a:lnTo>
                        <a:pt x="60" y="608"/>
                      </a:lnTo>
                      <a:lnTo>
                        <a:pt x="57" y="607"/>
                      </a:lnTo>
                      <a:lnTo>
                        <a:pt x="55" y="604"/>
                      </a:lnTo>
                      <a:lnTo>
                        <a:pt x="51" y="598"/>
                      </a:lnTo>
                      <a:lnTo>
                        <a:pt x="49" y="591"/>
                      </a:lnTo>
                      <a:lnTo>
                        <a:pt x="47" y="578"/>
                      </a:lnTo>
                      <a:lnTo>
                        <a:pt x="47" y="573"/>
                      </a:lnTo>
                      <a:lnTo>
                        <a:pt x="40" y="581"/>
                      </a:lnTo>
                      <a:lnTo>
                        <a:pt x="36" y="590"/>
                      </a:lnTo>
                      <a:lnTo>
                        <a:pt x="33" y="598"/>
                      </a:lnTo>
                      <a:lnTo>
                        <a:pt x="29" y="605"/>
                      </a:lnTo>
                      <a:lnTo>
                        <a:pt x="26" y="612"/>
                      </a:lnTo>
                      <a:lnTo>
                        <a:pt x="22" y="618"/>
                      </a:lnTo>
                      <a:lnTo>
                        <a:pt x="15" y="623"/>
                      </a:lnTo>
                      <a:lnTo>
                        <a:pt x="6" y="628"/>
                      </a:lnTo>
                      <a:lnTo>
                        <a:pt x="0" y="709"/>
                      </a:lnTo>
                      <a:lnTo>
                        <a:pt x="67" y="733"/>
                      </a:lnTo>
                      <a:lnTo>
                        <a:pt x="65" y="738"/>
                      </a:lnTo>
                      <a:lnTo>
                        <a:pt x="62" y="743"/>
                      </a:lnTo>
                      <a:lnTo>
                        <a:pt x="61" y="748"/>
                      </a:lnTo>
                      <a:lnTo>
                        <a:pt x="61" y="753"/>
                      </a:lnTo>
                      <a:lnTo>
                        <a:pt x="61" y="757"/>
                      </a:lnTo>
                      <a:lnTo>
                        <a:pt x="62" y="760"/>
                      </a:lnTo>
                      <a:lnTo>
                        <a:pt x="65" y="763"/>
                      </a:lnTo>
                      <a:lnTo>
                        <a:pt x="67" y="764"/>
                      </a:lnTo>
                      <a:lnTo>
                        <a:pt x="54" y="78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17" name="Freeform 237">
                  <a:extLst>
                    <a:ext uri="{FF2B5EF4-FFF2-40B4-BE49-F238E27FC236}">
                      <a16:creationId xmlns:a16="http://schemas.microsoft.com/office/drawing/2014/main" xmlns="" id="{4A7016FE-D2AB-4126-8008-90FE4C0AC3C2}"/>
                    </a:ext>
                  </a:extLst>
                </p:cNvPr>
                <p:cNvSpPr>
                  <a:spLocks/>
                </p:cNvSpPr>
                <p:nvPr>
                  <p:custDataLst>
                    <p:tags r:id="rId164"/>
                  </p:custDataLst>
                </p:nvPr>
              </p:nvSpPr>
              <p:spPr bwMode="auto">
                <a:xfrm>
                  <a:off x="3808413" y="2479675"/>
                  <a:ext cx="493712" cy="579438"/>
                </a:xfrm>
                <a:custGeom>
                  <a:avLst/>
                  <a:gdLst>
                    <a:gd name="T0" fmla="*/ 2147483646 w 373"/>
                    <a:gd name="T1" fmla="*/ 2147483646 h 370"/>
                    <a:gd name="T2" fmla="*/ 2147483646 w 373"/>
                    <a:gd name="T3" fmla="*/ 2147483646 h 370"/>
                    <a:gd name="T4" fmla="*/ 2147483646 w 373"/>
                    <a:gd name="T5" fmla="*/ 2147483646 h 370"/>
                    <a:gd name="T6" fmla="*/ 2147483646 w 373"/>
                    <a:gd name="T7" fmla="*/ 2147483646 h 370"/>
                    <a:gd name="T8" fmla="*/ 2147483646 w 373"/>
                    <a:gd name="T9" fmla="*/ 2147483646 h 370"/>
                    <a:gd name="T10" fmla="*/ 2147483646 w 373"/>
                    <a:gd name="T11" fmla="*/ 2147483646 h 370"/>
                    <a:gd name="T12" fmla="*/ 2147483646 w 373"/>
                    <a:gd name="T13" fmla="*/ 2147483646 h 370"/>
                    <a:gd name="T14" fmla="*/ 2147483646 w 373"/>
                    <a:gd name="T15" fmla="*/ 2147483646 h 370"/>
                    <a:gd name="T16" fmla="*/ 2147483646 w 373"/>
                    <a:gd name="T17" fmla="*/ 2147483646 h 370"/>
                    <a:gd name="T18" fmla="*/ 2147483646 w 373"/>
                    <a:gd name="T19" fmla="*/ 2147483646 h 370"/>
                    <a:gd name="T20" fmla="*/ 2147483646 w 373"/>
                    <a:gd name="T21" fmla="*/ 2147483646 h 370"/>
                    <a:gd name="T22" fmla="*/ 2147483646 w 373"/>
                    <a:gd name="T23" fmla="*/ 2147483646 h 370"/>
                    <a:gd name="T24" fmla="*/ 2147483646 w 373"/>
                    <a:gd name="T25" fmla="*/ 2147483646 h 370"/>
                    <a:gd name="T26" fmla="*/ 2147483646 w 373"/>
                    <a:gd name="T27" fmla="*/ 2147483646 h 370"/>
                    <a:gd name="T28" fmla="*/ 2147483646 w 373"/>
                    <a:gd name="T29" fmla="*/ 2147483646 h 370"/>
                    <a:gd name="T30" fmla="*/ 2147483646 w 373"/>
                    <a:gd name="T31" fmla="*/ 2147483646 h 370"/>
                    <a:gd name="T32" fmla="*/ 2147483646 w 373"/>
                    <a:gd name="T33" fmla="*/ 2147483646 h 370"/>
                    <a:gd name="T34" fmla="*/ 2147483646 w 373"/>
                    <a:gd name="T35" fmla="*/ 2147483646 h 370"/>
                    <a:gd name="T36" fmla="*/ 2147483646 w 373"/>
                    <a:gd name="T37" fmla="*/ 2147483646 h 370"/>
                    <a:gd name="T38" fmla="*/ 2147483646 w 373"/>
                    <a:gd name="T39" fmla="*/ 2147483646 h 370"/>
                    <a:gd name="T40" fmla="*/ 2147483646 w 373"/>
                    <a:gd name="T41" fmla="*/ 2147483646 h 370"/>
                    <a:gd name="T42" fmla="*/ 2147483646 w 373"/>
                    <a:gd name="T43" fmla="*/ 2147483646 h 370"/>
                    <a:gd name="T44" fmla="*/ 2147483646 w 373"/>
                    <a:gd name="T45" fmla="*/ 2147483646 h 370"/>
                    <a:gd name="T46" fmla="*/ 2147483646 w 373"/>
                    <a:gd name="T47" fmla="*/ 2147483646 h 370"/>
                    <a:gd name="T48" fmla="*/ 2147483646 w 373"/>
                    <a:gd name="T49" fmla="*/ 2147483646 h 370"/>
                    <a:gd name="T50" fmla="*/ 2147483646 w 373"/>
                    <a:gd name="T51" fmla="*/ 2147483646 h 370"/>
                    <a:gd name="T52" fmla="*/ 2147483646 w 373"/>
                    <a:gd name="T53" fmla="*/ 2147483646 h 370"/>
                    <a:gd name="T54" fmla="*/ 2147483646 w 373"/>
                    <a:gd name="T55" fmla="*/ 2147483646 h 370"/>
                    <a:gd name="T56" fmla="*/ 2147483646 w 373"/>
                    <a:gd name="T57" fmla="*/ 2147483646 h 370"/>
                    <a:gd name="T58" fmla="*/ 2147483646 w 373"/>
                    <a:gd name="T59" fmla="*/ 2147483646 h 370"/>
                    <a:gd name="T60" fmla="*/ 2147483646 w 373"/>
                    <a:gd name="T61" fmla="*/ 2147483646 h 370"/>
                    <a:gd name="T62" fmla="*/ 2147483646 w 373"/>
                    <a:gd name="T63" fmla="*/ 2147483646 h 370"/>
                    <a:gd name="T64" fmla="*/ 2147483646 w 373"/>
                    <a:gd name="T65" fmla="*/ 2147483646 h 370"/>
                    <a:gd name="T66" fmla="*/ 2147483646 w 373"/>
                    <a:gd name="T67" fmla="*/ 2147483646 h 370"/>
                    <a:gd name="T68" fmla="*/ 2147483646 w 373"/>
                    <a:gd name="T69" fmla="*/ 2147483646 h 370"/>
                    <a:gd name="T70" fmla="*/ 2147483646 w 373"/>
                    <a:gd name="T71" fmla="*/ 2147483646 h 370"/>
                    <a:gd name="T72" fmla="*/ 2147483646 w 373"/>
                    <a:gd name="T73" fmla="*/ 2147483646 h 370"/>
                    <a:gd name="T74" fmla="*/ 2147483646 w 373"/>
                    <a:gd name="T75" fmla="*/ 2147483646 h 370"/>
                    <a:gd name="T76" fmla="*/ 2147483646 w 373"/>
                    <a:gd name="T77" fmla="*/ 2147483646 h 370"/>
                    <a:gd name="T78" fmla="*/ 2147483646 w 373"/>
                    <a:gd name="T79" fmla="*/ 2147483646 h 370"/>
                    <a:gd name="T80" fmla="*/ 2147483646 w 373"/>
                    <a:gd name="T81" fmla="*/ 2147483646 h 370"/>
                    <a:gd name="T82" fmla="*/ 2147483646 w 373"/>
                    <a:gd name="T83" fmla="*/ 2147483646 h 370"/>
                    <a:gd name="T84" fmla="*/ 2147483646 w 373"/>
                    <a:gd name="T85" fmla="*/ 2147483646 h 370"/>
                    <a:gd name="T86" fmla="*/ 2147483646 w 373"/>
                    <a:gd name="T87" fmla="*/ 2147483646 h 370"/>
                    <a:gd name="T88" fmla="*/ 0 w 373"/>
                    <a:gd name="T89" fmla="*/ 2147483646 h 370"/>
                    <a:gd name="T90" fmla="*/ 2147483646 w 373"/>
                    <a:gd name="T91" fmla="*/ 2147483646 h 370"/>
                    <a:gd name="T92" fmla="*/ 2147483646 w 373"/>
                    <a:gd name="T93" fmla="*/ 2147483646 h 370"/>
                    <a:gd name="T94" fmla="*/ 2147483646 w 373"/>
                    <a:gd name="T95" fmla="*/ 2147483646 h 37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73"/>
                    <a:gd name="T145" fmla="*/ 0 h 370"/>
                    <a:gd name="T146" fmla="*/ 373 w 373"/>
                    <a:gd name="T147" fmla="*/ 370 h 37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73" h="370">
                      <a:moveTo>
                        <a:pt x="235" y="370"/>
                      </a:moveTo>
                      <a:lnTo>
                        <a:pt x="237" y="369"/>
                      </a:lnTo>
                      <a:lnTo>
                        <a:pt x="238" y="367"/>
                      </a:lnTo>
                      <a:lnTo>
                        <a:pt x="240" y="366"/>
                      </a:lnTo>
                      <a:lnTo>
                        <a:pt x="241" y="366"/>
                      </a:lnTo>
                      <a:lnTo>
                        <a:pt x="242" y="365"/>
                      </a:lnTo>
                      <a:lnTo>
                        <a:pt x="244" y="365"/>
                      </a:lnTo>
                      <a:lnTo>
                        <a:pt x="245" y="365"/>
                      </a:lnTo>
                      <a:lnTo>
                        <a:pt x="249" y="366"/>
                      </a:lnTo>
                      <a:lnTo>
                        <a:pt x="252" y="367"/>
                      </a:lnTo>
                      <a:lnTo>
                        <a:pt x="255" y="368"/>
                      </a:lnTo>
                      <a:lnTo>
                        <a:pt x="257" y="370"/>
                      </a:lnTo>
                      <a:lnTo>
                        <a:pt x="373" y="282"/>
                      </a:lnTo>
                      <a:lnTo>
                        <a:pt x="373" y="279"/>
                      </a:lnTo>
                      <a:lnTo>
                        <a:pt x="372" y="277"/>
                      </a:lnTo>
                      <a:lnTo>
                        <a:pt x="372" y="275"/>
                      </a:lnTo>
                      <a:lnTo>
                        <a:pt x="371" y="273"/>
                      </a:lnTo>
                      <a:lnTo>
                        <a:pt x="370" y="271"/>
                      </a:lnTo>
                      <a:lnTo>
                        <a:pt x="369" y="270"/>
                      </a:lnTo>
                      <a:lnTo>
                        <a:pt x="368" y="268"/>
                      </a:lnTo>
                      <a:lnTo>
                        <a:pt x="367" y="267"/>
                      </a:lnTo>
                      <a:lnTo>
                        <a:pt x="364" y="265"/>
                      </a:lnTo>
                      <a:lnTo>
                        <a:pt x="361" y="264"/>
                      </a:lnTo>
                      <a:lnTo>
                        <a:pt x="358" y="262"/>
                      </a:lnTo>
                      <a:lnTo>
                        <a:pt x="354" y="261"/>
                      </a:lnTo>
                      <a:lnTo>
                        <a:pt x="351" y="260"/>
                      </a:lnTo>
                      <a:lnTo>
                        <a:pt x="347" y="259"/>
                      </a:lnTo>
                      <a:lnTo>
                        <a:pt x="344" y="258"/>
                      </a:lnTo>
                      <a:lnTo>
                        <a:pt x="342" y="256"/>
                      </a:lnTo>
                      <a:lnTo>
                        <a:pt x="340" y="255"/>
                      </a:lnTo>
                      <a:lnTo>
                        <a:pt x="339" y="254"/>
                      </a:lnTo>
                      <a:lnTo>
                        <a:pt x="338" y="252"/>
                      </a:lnTo>
                      <a:lnTo>
                        <a:pt x="337" y="251"/>
                      </a:lnTo>
                      <a:lnTo>
                        <a:pt x="337" y="249"/>
                      </a:lnTo>
                      <a:lnTo>
                        <a:pt x="336" y="247"/>
                      </a:lnTo>
                      <a:lnTo>
                        <a:pt x="336" y="245"/>
                      </a:lnTo>
                      <a:lnTo>
                        <a:pt x="336" y="243"/>
                      </a:lnTo>
                      <a:lnTo>
                        <a:pt x="336" y="235"/>
                      </a:lnTo>
                      <a:lnTo>
                        <a:pt x="337" y="228"/>
                      </a:lnTo>
                      <a:lnTo>
                        <a:pt x="338" y="220"/>
                      </a:lnTo>
                      <a:lnTo>
                        <a:pt x="338" y="214"/>
                      </a:lnTo>
                      <a:lnTo>
                        <a:pt x="338" y="205"/>
                      </a:lnTo>
                      <a:lnTo>
                        <a:pt x="337" y="196"/>
                      </a:lnTo>
                      <a:lnTo>
                        <a:pt x="337" y="186"/>
                      </a:lnTo>
                      <a:lnTo>
                        <a:pt x="336" y="177"/>
                      </a:lnTo>
                      <a:lnTo>
                        <a:pt x="335" y="172"/>
                      </a:lnTo>
                      <a:lnTo>
                        <a:pt x="334" y="168"/>
                      </a:lnTo>
                      <a:lnTo>
                        <a:pt x="333" y="164"/>
                      </a:lnTo>
                      <a:lnTo>
                        <a:pt x="332" y="160"/>
                      </a:lnTo>
                      <a:lnTo>
                        <a:pt x="330" y="157"/>
                      </a:lnTo>
                      <a:lnTo>
                        <a:pt x="329" y="155"/>
                      </a:lnTo>
                      <a:lnTo>
                        <a:pt x="327" y="153"/>
                      </a:lnTo>
                      <a:lnTo>
                        <a:pt x="325" y="152"/>
                      </a:lnTo>
                      <a:lnTo>
                        <a:pt x="324" y="147"/>
                      </a:lnTo>
                      <a:lnTo>
                        <a:pt x="323" y="142"/>
                      </a:lnTo>
                      <a:lnTo>
                        <a:pt x="322" y="136"/>
                      </a:lnTo>
                      <a:lnTo>
                        <a:pt x="321" y="130"/>
                      </a:lnTo>
                      <a:lnTo>
                        <a:pt x="319" y="120"/>
                      </a:lnTo>
                      <a:lnTo>
                        <a:pt x="315" y="109"/>
                      </a:lnTo>
                      <a:lnTo>
                        <a:pt x="313" y="104"/>
                      </a:lnTo>
                      <a:lnTo>
                        <a:pt x="311" y="99"/>
                      </a:lnTo>
                      <a:lnTo>
                        <a:pt x="308" y="94"/>
                      </a:lnTo>
                      <a:lnTo>
                        <a:pt x="306" y="90"/>
                      </a:lnTo>
                      <a:lnTo>
                        <a:pt x="304" y="86"/>
                      </a:lnTo>
                      <a:lnTo>
                        <a:pt x="301" y="83"/>
                      </a:lnTo>
                      <a:lnTo>
                        <a:pt x="299" y="80"/>
                      </a:lnTo>
                      <a:lnTo>
                        <a:pt x="297" y="78"/>
                      </a:lnTo>
                      <a:lnTo>
                        <a:pt x="298" y="74"/>
                      </a:lnTo>
                      <a:lnTo>
                        <a:pt x="299" y="69"/>
                      </a:lnTo>
                      <a:lnTo>
                        <a:pt x="300" y="66"/>
                      </a:lnTo>
                      <a:lnTo>
                        <a:pt x="300" y="63"/>
                      </a:lnTo>
                      <a:lnTo>
                        <a:pt x="301" y="60"/>
                      </a:lnTo>
                      <a:lnTo>
                        <a:pt x="303" y="57"/>
                      </a:lnTo>
                      <a:lnTo>
                        <a:pt x="302" y="50"/>
                      </a:lnTo>
                      <a:lnTo>
                        <a:pt x="301" y="43"/>
                      </a:lnTo>
                      <a:lnTo>
                        <a:pt x="301" y="37"/>
                      </a:lnTo>
                      <a:lnTo>
                        <a:pt x="301" y="32"/>
                      </a:lnTo>
                      <a:lnTo>
                        <a:pt x="301" y="27"/>
                      </a:lnTo>
                      <a:lnTo>
                        <a:pt x="302" y="23"/>
                      </a:lnTo>
                      <a:lnTo>
                        <a:pt x="303" y="19"/>
                      </a:lnTo>
                      <a:lnTo>
                        <a:pt x="304" y="16"/>
                      </a:lnTo>
                      <a:lnTo>
                        <a:pt x="307" y="11"/>
                      </a:lnTo>
                      <a:lnTo>
                        <a:pt x="310" y="7"/>
                      </a:lnTo>
                      <a:lnTo>
                        <a:pt x="312" y="3"/>
                      </a:lnTo>
                      <a:lnTo>
                        <a:pt x="314" y="0"/>
                      </a:lnTo>
                      <a:lnTo>
                        <a:pt x="308" y="3"/>
                      </a:lnTo>
                      <a:lnTo>
                        <a:pt x="302" y="6"/>
                      </a:lnTo>
                      <a:lnTo>
                        <a:pt x="297" y="8"/>
                      </a:lnTo>
                      <a:lnTo>
                        <a:pt x="290" y="9"/>
                      </a:lnTo>
                      <a:lnTo>
                        <a:pt x="284" y="11"/>
                      </a:lnTo>
                      <a:lnTo>
                        <a:pt x="278" y="12"/>
                      </a:lnTo>
                      <a:lnTo>
                        <a:pt x="271" y="12"/>
                      </a:lnTo>
                      <a:lnTo>
                        <a:pt x="264" y="12"/>
                      </a:lnTo>
                      <a:lnTo>
                        <a:pt x="256" y="12"/>
                      </a:lnTo>
                      <a:lnTo>
                        <a:pt x="245" y="12"/>
                      </a:lnTo>
                      <a:lnTo>
                        <a:pt x="233" y="12"/>
                      </a:lnTo>
                      <a:lnTo>
                        <a:pt x="222" y="12"/>
                      </a:lnTo>
                      <a:lnTo>
                        <a:pt x="215" y="13"/>
                      </a:lnTo>
                      <a:lnTo>
                        <a:pt x="206" y="14"/>
                      </a:lnTo>
                      <a:lnTo>
                        <a:pt x="197" y="16"/>
                      </a:lnTo>
                      <a:lnTo>
                        <a:pt x="187" y="18"/>
                      </a:lnTo>
                      <a:lnTo>
                        <a:pt x="177" y="21"/>
                      </a:lnTo>
                      <a:lnTo>
                        <a:pt x="168" y="24"/>
                      </a:lnTo>
                      <a:lnTo>
                        <a:pt x="159" y="26"/>
                      </a:lnTo>
                      <a:lnTo>
                        <a:pt x="153" y="29"/>
                      </a:lnTo>
                      <a:lnTo>
                        <a:pt x="150" y="30"/>
                      </a:lnTo>
                      <a:lnTo>
                        <a:pt x="145" y="32"/>
                      </a:lnTo>
                      <a:lnTo>
                        <a:pt x="140" y="34"/>
                      </a:lnTo>
                      <a:lnTo>
                        <a:pt x="135" y="37"/>
                      </a:lnTo>
                      <a:lnTo>
                        <a:pt x="130" y="40"/>
                      </a:lnTo>
                      <a:lnTo>
                        <a:pt x="124" y="44"/>
                      </a:lnTo>
                      <a:lnTo>
                        <a:pt x="119" y="48"/>
                      </a:lnTo>
                      <a:lnTo>
                        <a:pt x="116" y="51"/>
                      </a:lnTo>
                      <a:lnTo>
                        <a:pt x="118" y="52"/>
                      </a:lnTo>
                      <a:lnTo>
                        <a:pt x="123" y="52"/>
                      </a:lnTo>
                      <a:lnTo>
                        <a:pt x="128" y="53"/>
                      </a:lnTo>
                      <a:lnTo>
                        <a:pt x="131" y="53"/>
                      </a:lnTo>
                      <a:lnTo>
                        <a:pt x="131" y="88"/>
                      </a:lnTo>
                      <a:lnTo>
                        <a:pt x="131" y="89"/>
                      </a:lnTo>
                      <a:lnTo>
                        <a:pt x="131" y="90"/>
                      </a:lnTo>
                      <a:lnTo>
                        <a:pt x="132" y="91"/>
                      </a:lnTo>
                      <a:lnTo>
                        <a:pt x="133" y="92"/>
                      </a:lnTo>
                      <a:lnTo>
                        <a:pt x="134" y="93"/>
                      </a:lnTo>
                      <a:lnTo>
                        <a:pt x="136" y="94"/>
                      </a:lnTo>
                      <a:lnTo>
                        <a:pt x="138" y="95"/>
                      </a:lnTo>
                      <a:lnTo>
                        <a:pt x="140" y="97"/>
                      </a:lnTo>
                      <a:lnTo>
                        <a:pt x="141" y="98"/>
                      </a:lnTo>
                      <a:lnTo>
                        <a:pt x="141" y="99"/>
                      </a:lnTo>
                      <a:lnTo>
                        <a:pt x="142" y="100"/>
                      </a:lnTo>
                      <a:lnTo>
                        <a:pt x="142" y="101"/>
                      </a:lnTo>
                      <a:lnTo>
                        <a:pt x="142" y="102"/>
                      </a:lnTo>
                      <a:lnTo>
                        <a:pt x="141" y="104"/>
                      </a:lnTo>
                      <a:lnTo>
                        <a:pt x="141" y="105"/>
                      </a:lnTo>
                      <a:lnTo>
                        <a:pt x="140" y="106"/>
                      </a:lnTo>
                      <a:lnTo>
                        <a:pt x="139" y="107"/>
                      </a:lnTo>
                      <a:lnTo>
                        <a:pt x="138" y="107"/>
                      </a:lnTo>
                      <a:lnTo>
                        <a:pt x="136" y="107"/>
                      </a:lnTo>
                      <a:lnTo>
                        <a:pt x="135" y="108"/>
                      </a:lnTo>
                      <a:lnTo>
                        <a:pt x="128" y="107"/>
                      </a:lnTo>
                      <a:lnTo>
                        <a:pt x="120" y="107"/>
                      </a:lnTo>
                      <a:lnTo>
                        <a:pt x="116" y="108"/>
                      </a:lnTo>
                      <a:lnTo>
                        <a:pt x="112" y="111"/>
                      </a:lnTo>
                      <a:lnTo>
                        <a:pt x="106" y="113"/>
                      </a:lnTo>
                      <a:lnTo>
                        <a:pt x="101" y="116"/>
                      </a:lnTo>
                      <a:lnTo>
                        <a:pt x="99" y="118"/>
                      </a:lnTo>
                      <a:lnTo>
                        <a:pt x="97" y="120"/>
                      </a:lnTo>
                      <a:lnTo>
                        <a:pt x="95" y="122"/>
                      </a:lnTo>
                      <a:lnTo>
                        <a:pt x="93" y="124"/>
                      </a:lnTo>
                      <a:lnTo>
                        <a:pt x="92" y="126"/>
                      </a:lnTo>
                      <a:lnTo>
                        <a:pt x="91" y="128"/>
                      </a:lnTo>
                      <a:lnTo>
                        <a:pt x="90" y="131"/>
                      </a:lnTo>
                      <a:lnTo>
                        <a:pt x="90" y="133"/>
                      </a:lnTo>
                      <a:lnTo>
                        <a:pt x="87" y="134"/>
                      </a:lnTo>
                      <a:lnTo>
                        <a:pt x="84" y="135"/>
                      </a:lnTo>
                      <a:lnTo>
                        <a:pt x="82" y="137"/>
                      </a:lnTo>
                      <a:lnTo>
                        <a:pt x="79" y="139"/>
                      </a:lnTo>
                      <a:lnTo>
                        <a:pt x="74" y="143"/>
                      </a:lnTo>
                      <a:lnTo>
                        <a:pt x="69" y="148"/>
                      </a:lnTo>
                      <a:lnTo>
                        <a:pt x="66" y="150"/>
                      </a:lnTo>
                      <a:lnTo>
                        <a:pt x="62" y="152"/>
                      </a:lnTo>
                      <a:lnTo>
                        <a:pt x="59" y="155"/>
                      </a:lnTo>
                      <a:lnTo>
                        <a:pt x="55" y="156"/>
                      </a:lnTo>
                      <a:lnTo>
                        <a:pt x="51" y="158"/>
                      </a:lnTo>
                      <a:lnTo>
                        <a:pt x="46" y="159"/>
                      </a:lnTo>
                      <a:lnTo>
                        <a:pt x="41" y="160"/>
                      </a:lnTo>
                      <a:lnTo>
                        <a:pt x="35" y="160"/>
                      </a:lnTo>
                      <a:lnTo>
                        <a:pt x="31" y="160"/>
                      </a:lnTo>
                      <a:lnTo>
                        <a:pt x="29" y="161"/>
                      </a:lnTo>
                      <a:lnTo>
                        <a:pt x="26" y="161"/>
                      </a:lnTo>
                      <a:lnTo>
                        <a:pt x="24" y="162"/>
                      </a:lnTo>
                      <a:lnTo>
                        <a:pt x="20" y="164"/>
                      </a:lnTo>
                      <a:lnTo>
                        <a:pt x="17" y="167"/>
                      </a:lnTo>
                      <a:lnTo>
                        <a:pt x="13" y="169"/>
                      </a:lnTo>
                      <a:lnTo>
                        <a:pt x="10" y="172"/>
                      </a:lnTo>
                      <a:lnTo>
                        <a:pt x="8" y="174"/>
                      </a:lnTo>
                      <a:lnTo>
                        <a:pt x="6" y="175"/>
                      </a:lnTo>
                      <a:lnTo>
                        <a:pt x="3" y="176"/>
                      </a:lnTo>
                      <a:lnTo>
                        <a:pt x="0" y="177"/>
                      </a:lnTo>
                      <a:lnTo>
                        <a:pt x="0" y="200"/>
                      </a:lnTo>
                      <a:lnTo>
                        <a:pt x="0" y="208"/>
                      </a:lnTo>
                      <a:lnTo>
                        <a:pt x="69" y="253"/>
                      </a:lnTo>
                      <a:lnTo>
                        <a:pt x="170" y="323"/>
                      </a:lnTo>
                      <a:lnTo>
                        <a:pt x="179" y="331"/>
                      </a:lnTo>
                      <a:lnTo>
                        <a:pt x="185" y="341"/>
                      </a:lnTo>
                      <a:lnTo>
                        <a:pt x="189" y="344"/>
                      </a:lnTo>
                      <a:lnTo>
                        <a:pt x="194" y="347"/>
                      </a:lnTo>
                      <a:lnTo>
                        <a:pt x="201" y="352"/>
                      </a:lnTo>
                      <a:lnTo>
                        <a:pt x="210" y="357"/>
                      </a:lnTo>
                      <a:lnTo>
                        <a:pt x="218" y="362"/>
                      </a:lnTo>
                      <a:lnTo>
                        <a:pt x="226" y="366"/>
                      </a:lnTo>
                      <a:lnTo>
                        <a:pt x="229" y="368"/>
                      </a:lnTo>
                      <a:lnTo>
                        <a:pt x="232" y="369"/>
                      </a:lnTo>
                      <a:lnTo>
                        <a:pt x="234" y="370"/>
                      </a:lnTo>
                      <a:lnTo>
                        <a:pt x="235" y="37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18" name="Freeform 238">
                  <a:extLst>
                    <a:ext uri="{FF2B5EF4-FFF2-40B4-BE49-F238E27FC236}">
                      <a16:creationId xmlns:a16="http://schemas.microsoft.com/office/drawing/2014/main" xmlns="" id="{0F7E897F-CF12-44DA-BEB0-45ACD1C482F2}"/>
                    </a:ext>
                  </a:extLst>
                </p:cNvPr>
                <p:cNvSpPr>
                  <a:spLocks/>
                </p:cNvSpPr>
                <p:nvPr>
                  <p:custDataLst>
                    <p:tags r:id="rId165"/>
                  </p:custDataLst>
                </p:nvPr>
              </p:nvSpPr>
              <p:spPr bwMode="auto">
                <a:xfrm>
                  <a:off x="4244975" y="2614613"/>
                  <a:ext cx="384175" cy="436562"/>
                </a:xfrm>
                <a:custGeom>
                  <a:avLst/>
                  <a:gdLst>
                    <a:gd name="T0" fmla="*/ 2147483646 w 877"/>
                    <a:gd name="T1" fmla="*/ 2147483646 h 826"/>
                    <a:gd name="T2" fmla="*/ 2147483646 w 877"/>
                    <a:gd name="T3" fmla="*/ 2147483646 h 826"/>
                    <a:gd name="T4" fmla="*/ 2147483646 w 877"/>
                    <a:gd name="T5" fmla="*/ 2147483646 h 826"/>
                    <a:gd name="T6" fmla="*/ 2147483646 w 877"/>
                    <a:gd name="T7" fmla="*/ 2147483646 h 826"/>
                    <a:gd name="T8" fmla="*/ 2147483646 w 877"/>
                    <a:gd name="T9" fmla="*/ 2147483646 h 826"/>
                    <a:gd name="T10" fmla="*/ 2147483646 w 877"/>
                    <a:gd name="T11" fmla="*/ 2147483646 h 826"/>
                    <a:gd name="T12" fmla="*/ 2147483646 w 877"/>
                    <a:gd name="T13" fmla="*/ 2147483646 h 826"/>
                    <a:gd name="T14" fmla="*/ 2147483646 w 877"/>
                    <a:gd name="T15" fmla="*/ 2147483646 h 826"/>
                    <a:gd name="T16" fmla="*/ 2147483646 w 877"/>
                    <a:gd name="T17" fmla="*/ 2147483646 h 826"/>
                    <a:gd name="T18" fmla="*/ 2147483646 w 877"/>
                    <a:gd name="T19" fmla="*/ 2147483646 h 826"/>
                    <a:gd name="T20" fmla="*/ 2147483646 w 877"/>
                    <a:gd name="T21" fmla="*/ 2147483646 h 826"/>
                    <a:gd name="T22" fmla="*/ 2147483646 w 877"/>
                    <a:gd name="T23" fmla="*/ 2147483646 h 826"/>
                    <a:gd name="T24" fmla="*/ 2147483646 w 877"/>
                    <a:gd name="T25" fmla="*/ 2147483646 h 826"/>
                    <a:gd name="T26" fmla="*/ 2147483646 w 877"/>
                    <a:gd name="T27" fmla="*/ 2147483646 h 826"/>
                    <a:gd name="T28" fmla="*/ 2147483646 w 877"/>
                    <a:gd name="T29" fmla="*/ 2147483646 h 826"/>
                    <a:gd name="T30" fmla="*/ 2147483646 w 877"/>
                    <a:gd name="T31" fmla="*/ 2147483646 h 826"/>
                    <a:gd name="T32" fmla="*/ 2147483646 w 877"/>
                    <a:gd name="T33" fmla="*/ 2147483646 h 826"/>
                    <a:gd name="T34" fmla="*/ 2147483646 w 877"/>
                    <a:gd name="T35" fmla="*/ 2147483646 h 826"/>
                    <a:gd name="T36" fmla="*/ 2147483646 w 877"/>
                    <a:gd name="T37" fmla="*/ 2147483646 h 826"/>
                    <a:gd name="T38" fmla="*/ 2147483646 w 877"/>
                    <a:gd name="T39" fmla="*/ 2147483646 h 826"/>
                    <a:gd name="T40" fmla="*/ 2147483646 w 877"/>
                    <a:gd name="T41" fmla="*/ 2147483646 h 826"/>
                    <a:gd name="T42" fmla="*/ 2147483646 w 877"/>
                    <a:gd name="T43" fmla="*/ 2147483646 h 826"/>
                    <a:gd name="T44" fmla="*/ 2147483646 w 877"/>
                    <a:gd name="T45" fmla="*/ 2147483646 h 826"/>
                    <a:gd name="T46" fmla="*/ 2147483646 w 877"/>
                    <a:gd name="T47" fmla="*/ 0 h 826"/>
                    <a:gd name="T48" fmla="*/ 2147483646 w 877"/>
                    <a:gd name="T49" fmla="*/ 2147483646 h 826"/>
                    <a:gd name="T50" fmla="*/ 2147483646 w 877"/>
                    <a:gd name="T51" fmla="*/ 2147483646 h 826"/>
                    <a:gd name="T52" fmla="*/ 2147483646 w 877"/>
                    <a:gd name="T53" fmla="*/ 2147483646 h 826"/>
                    <a:gd name="T54" fmla="*/ 2147483646 w 877"/>
                    <a:gd name="T55" fmla="*/ 2147483646 h 826"/>
                    <a:gd name="T56" fmla="*/ 2147483646 w 877"/>
                    <a:gd name="T57" fmla="*/ 2147483646 h 826"/>
                    <a:gd name="T58" fmla="*/ 2147483646 w 877"/>
                    <a:gd name="T59" fmla="*/ 2147483646 h 826"/>
                    <a:gd name="T60" fmla="*/ 2147483646 w 877"/>
                    <a:gd name="T61" fmla="*/ 2147483646 h 826"/>
                    <a:gd name="T62" fmla="*/ 2147483646 w 877"/>
                    <a:gd name="T63" fmla="*/ 2147483646 h 826"/>
                    <a:gd name="T64" fmla="*/ 2147483646 w 877"/>
                    <a:gd name="T65" fmla="*/ 2147483646 h 826"/>
                    <a:gd name="T66" fmla="*/ 2147483646 w 877"/>
                    <a:gd name="T67" fmla="*/ 2147483646 h 826"/>
                    <a:gd name="T68" fmla="*/ 2147483646 w 877"/>
                    <a:gd name="T69" fmla="*/ 2147483646 h 826"/>
                    <a:gd name="T70" fmla="*/ 2147483646 w 877"/>
                    <a:gd name="T71" fmla="*/ 2147483646 h 826"/>
                    <a:gd name="T72" fmla="*/ 2147483646 w 877"/>
                    <a:gd name="T73" fmla="*/ 2147483646 h 826"/>
                    <a:gd name="T74" fmla="*/ 2147483646 w 877"/>
                    <a:gd name="T75" fmla="*/ 2147483646 h 826"/>
                    <a:gd name="T76" fmla="*/ 2147483646 w 877"/>
                    <a:gd name="T77" fmla="*/ 2147483646 h 826"/>
                    <a:gd name="T78" fmla="*/ 2147483646 w 877"/>
                    <a:gd name="T79" fmla="*/ 2147483646 h 826"/>
                    <a:gd name="T80" fmla="*/ 2147483646 w 877"/>
                    <a:gd name="T81" fmla="*/ 2147483646 h 826"/>
                    <a:gd name="T82" fmla="*/ 2147483646 w 877"/>
                    <a:gd name="T83" fmla="*/ 2147483646 h 826"/>
                    <a:gd name="T84" fmla="*/ 2147483646 w 877"/>
                    <a:gd name="T85" fmla="*/ 2147483646 h 826"/>
                    <a:gd name="T86" fmla="*/ 2147483646 w 877"/>
                    <a:gd name="T87" fmla="*/ 2147483646 h 826"/>
                    <a:gd name="T88" fmla="*/ 2147483646 w 877"/>
                    <a:gd name="T89" fmla="*/ 2147483646 h 826"/>
                    <a:gd name="T90" fmla="*/ 2147483646 w 877"/>
                    <a:gd name="T91" fmla="*/ 2147483646 h 826"/>
                    <a:gd name="T92" fmla="*/ 2147483646 w 877"/>
                    <a:gd name="T93" fmla="*/ 2147483646 h 826"/>
                    <a:gd name="T94" fmla="*/ 2147483646 w 877"/>
                    <a:gd name="T95" fmla="*/ 2147483646 h 826"/>
                    <a:gd name="T96" fmla="*/ 2147483646 w 877"/>
                    <a:gd name="T97" fmla="*/ 2147483646 h 826"/>
                    <a:gd name="T98" fmla="*/ 2147483646 w 877"/>
                    <a:gd name="T99" fmla="*/ 2147483646 h 826"/>
                    <a:gd name="T100" fmla="*/ 2147483646 w 877"/>
                    <a:gd name="T101" fmla="*/ 2147483646 h 826"/>
                    <a:gd name="T102" fmla="*/ 2147483646 w 877"/>
                    <a:gd name="T103" fmla="*/ 2147483646 h 826"/>
                    <a:gd name="T104" fmla="*/ 2147483646 w 877"/>
                    <a:gd name="T105" fmla="*/ 2147483646 h 826"/>
                    <a:gd name="T106" fmla="*/ 2147483646 w 877"/>
                    <a:gd name="T107" fmla="*/ 2147483646 h 826"/>
                    <a:gd name="T108" fmla="*/ 2147483646 w 877"/>
                    <a:gd name="T109" fmla="*/ 2147483646 h 826"/>
                    <a:gd name="T110" fmla="*/ 2147483646 w 877"/>
                    <a:gd name="T111" fmla="*/ 2147483646 h 826"/>
                    <a:gd name="T112" fmla="*/ 2147483646 w 877"/>
                    <a:gd name="T113" fmla="*/ 2147483646 h 826"/>
                    <a:gd name="T114" fmla="*/ 2147483646 w 877"/>
                    <a:gd name="T115" fmla="*/ 2147483646 h 82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877"/>
                    <a:gd name="T175" fmla="*/ 0 h 826"/>
                    <a:gd name="T176" fmla="*/ 877 w 877"/>
                    <a:gd name="T177" fmla="*/ 826 h 826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877" h="826">
                      <a:moveTo>
                        <a:pt x="0" y="190"/>
                      </a:moveTo>
                      <a:lnTo>
                        <a:pt x="16" y="167"/>
                      </a:lnTo>
                      <a:lnTo>
                        <a:pt x="33" y="147"/>
                      </a:lnTo>
                      <a:lnTo>
                        <a:pt x="36" y="141"/>
                      </a:lnTo>
                      <a:lnTo>
                        <a:pt x="39" y="133"/>
                      </a:lnTo>
                      <a:lnTo>
                        <a:pt x="41" y="126"/>
                      </a:lnTo>
                      <a:lnTo>
                        <a:pt x="43" y="118"/>
                      </a:lnTo>
                      <a:lnTo>
                        <a:pt x="46" y="109"/>
                      </a:lnTo>
                      <a:lnTo>
                        <a:pt x="47" y="99"/>
                      </a:lnTo>
                      <a:lnTo>
                        <a:pt x="47" y="87"/>
                      </a:lnTo>
                      <a:lnTo>
                        <a:pt x="46" y="73"/>
                      </a:lnTo>
                      <a:lnTo>
                        <a:pt x="46" y="70"/>
                      </a:lnTo>
                      <a:lnTo>
                        <a:pt x="47" y="67"/>
                      </a:lnTo>
                      <a:lnTo>
                        <a:pt x="49" y="66"/>
                      </a:lnTo>
                      <a:lnTo>
                        <a:pt x="52" y="65"/>
                      </a:lnTo>
                      <a:lnTo>
                        <a:pt x="61" y="64"/>
                      </a:lnTo>
                      <a:lnTo>
                        <a:pt x="72" y="63"/>
                      </a:lnTo>
                      <a:lnTo>
                        <a:pt x="78" y="61"/>
                      </a:lnTo>
                      <a:lnTo>
                        <a:pt x="83" y="59"/>
                      </a:lnTo>
                      <a:lnTo>
                        <a:pt x="89" y="55"/>
                      </a:lnTo>
                      <a:lnTo>
                        <a:pt x="93" y="50"/>
                      </a:lnTo>
                      <a:lnTo>
                        <a:pt x="96" y="42"/>
                      </a:lnTo>
                      <a:lnTo>
                        <a:pt x="98" y="33"/>
                      </a:lnTo>
                      <a:lnTo>
                        <a:pt x="99" y="20"/>
                      </a:lnTo>
                      <a:lnTo>
                        <a:pt x="98" y="6"/>
                      </a:lnTo>
                      <a:lnTo>
                        <a:pt x="124" y="4"/>
                      </a:lnTo>
                      <a:lnTo>
                        <a:pt x="147" y="5"/>
                      </a:lnTo>
                      <a:lnTo>
                        <a:pt x="168" y="6"/>
                      </a:lnTo>
                      <a:lnTo>
                        <a:pt x="188" y="9"/>
                      </a:lnTo>
                      <a:lnTo>
                        <a:pt x="208" y="13"/>
                      </a:lnTo>
                      <a:lnTo>
                        <a:pt x="226" y="18"/>
                      </a:lnTo>
                      <a:lnTo>
                        <a:pt x="242" y="24"/>
                      </a:lnTo>
                      <a:lnTo>
                        <a:pt x="259" y="31"/>
                      </a:lnTo>
                      <a:lnTo>
                        <a:pt x="264" y="35"/>
                      </a:lnTo>
                      <a:lnTo>
                        <a:pt x="269" y="39"/>
                      </a:lnTo>
                      <a:lnTo>
                        <a:pt x="273" y="43"/>
                      </a:lnTo>
                      <a:lnTo>
                        <a:pt x="276" y="47"/>
                      </a:lnTo>
                      <a:lnTo>
                        <a:pt x="281" y="57"/>
                      </a:lnTo>
                      <a:lnTo>
                        <a:pt x="283" y="67"/>
                      </a:lnTo>
                      <a:lnTo>
                        <a:pt x="285" y="78"/>
                      </a:lnTo>
                      <a:lnTo>
                        <a:pt x="288" y="88"/>
                      </a:lnTo>
                      <a:lnTo>
                        <a:pt x="289" y="93"/>
                      </a:lnTo>
                      <a:lnTo>
                        <a:pt x="292" y="97"/>
                      </a:lnTo>
                      <a:lnTo>
                        <a:pt x="295" y="101"/>
                      </a:lnTo>
                      <a:lnTo>
                        <a:pt x="298" y="105"/>
                      </a:lnTo>
                      <a:lnTo>
                        <a:pt x="306" y="108"/>
                      </a:lnTo>
                      <a:lnTo>
                        <a:pt x="315" y="110"/>
                      </a:lnTo>
                      <a:lnTo>
                        <a:pt x="325" y="110"/>
                      </a:lnTo>
                      <a:lnTo>
                        <a:pt x="334" y="110"/>
                      </a:lnTo>
                      <a:lnTo>
                        <a:pt x="344" y="109"/>
                      </a:lnTo>
                      <a:lnTo>
                        <a:pt x="354" y="109"/>
                      </a:lnTo>
                      <a:lnTo>
                        <a:pt x="363" y="109"/>
                      </a:lnTo>
                      <a:lnTo>
                        <a:pt x="372" y="111"/>
                      </a:lnTo>
                      <a:lnTo>
                        <a:pt x="388" y="117"/>
                      </a:lnTo>
                      <a:lnTo>
                        <a:pt x="405" y="124"/>
                      </a:lnTo>
                      <a:lnTo>
                        <a:pt x="421" y="133"/>
                      </a:lnTo>
                      <a:lnTo>
                        <a:pt x="438" y="143"/>
                      </a:lnTo>
                      <a:lnTo>
                        <a:pt x="454" y="152"/>
                      </a:lnTo>
                      <a:lnTo>
                        <a:pt x="471" y="159"/>
                      </a:lnTo>
                      <a:lnTo>
                        <a:pt x="478" y="162"/>
                      </a:lnTo>
                      <a:lnTo>
                        <a:pt x="487" y="164"/>
                      </a:lnTo>
                      <a:lnTo>
                        <a:pt x="496" y="166"/>
                      </a:lnTo>
                      <a:lnTo>
                        <a:pt x="505" y="166"/>
                      </a:lnTo>
                      <a:lnTo>
                        <a:pt x="513" y="166"/>
                      </a:lnTo>
                      <a:lnTo>
                        <a:pt x="521" y="166"/>
                      </a:lnTo>
                      <a:lnTo>
                        <a:pt x="529" y="166"/>
                      </a:lnTo>
                      <a:lnTo>
                        <a:pt x="538" y="166"/>
                      </a:lnTo>
                      <a:lnTo>
                        <a:pt x="538" y="158"/>
                      </a:lnTo>
                      <a:lnTo>
                        <a:pt x="540" y="150"/>
                      </a:lnTo>
                      <a:lnTo>
                        <a:pt x="542" y="143"/>
                      </a:lnTo>
                      <a:lnTo>
                        <a:pt x="544" y="137"/>
                      </a:lnTo>
                      <a:lnTo>
                        <a:pt x="549" y="126"/>
                      </a:lnTo>
                      <a:lnTo>
                        <a:pt x="551" y="117"/>
                      </a:lnTo>
                      <a:lnTo>
                        <a:pt x="550" y="112"/>
                      </a:lnTo>
                      <a:lnTo>
                        <a:pt x="547" y="108"/>
                      </a:lnTo>
                      <a:lnTo>
                        <a:pt x="544" y="103"/>
                      </a:lnTo>
                      <a:lnTo>
                        <a:pt x="541" y="98"/>
                      </a:lnTo>
                      <a:lnTo>
                        <a:pt x="537" y="93"/>
                      </a:lnTo>
                      <a:lnTo>
                        <a:pt x="534" y="87"/>
                      </a:lnTo>
                      <a:lnTo>
                        <a:pt x="531" y="81"/>
                      </a:lnTo>
                      <a:lnTo>
                        <a:pt x="531" y="73"/>
                      </a:lnTo>
                      <a:lnTo>
                        <a:pt x="531" y="61"/>
                      </a:lnTo>
                      <a:lnTo>
                        <a:pt x="531" y="49"/>
                      </a:lnTo>
                      <a:lnTo>
                        <a:pt x="539" y="49"/>
                      </a:lnTo>
                      <a:lnTo>
                        <a:pt x="547" y="47"/>
                      </a:lnTo>
                      <a:lnTo>
                        <a:pt x="554" y="45"/>
                      </a:lnTo>
                      <a:lnTo>
                        <a:pt x="562" y="42"/>
                      </a:lnTo>
                      <a:lnTo>
                        <a:pt x="574" y="34"/>
                      </a:lnTo>
                      <a:lnTo>
                        <a:pt x="586" y="24"/>
                      </a:lnTo>
                      <a:lnTo>
                        <a:pt x="598" y="15"/>
                      </a:lnTo>
                      <a:lnTo>
                        <a:pt x="610" y="7"/>
                      </a:lnTo>
                      <a:lnTo>
                        <a:pt x="617" y="4"/>
                      </a:lnTo>
                      <a:lnTo>
                        <a:pt x="623" y="2"/>
                      </a:lnTo>
                      <a:lnTo>
                        <a:pt x="630" y="0"/>
                      </a:lnTo>
                      <a:lnTo>
                        <a:pt x="638" y="0"/>
                      </a:lnTo>
                      <a:lnTo>
                        <a:pt x="650" y="0"/>
                      </a:lnTo>
                      <a:lnTo>
                        <a:pt x="659" y="1"/>
                      </a:lnTo>
                      <a:lnTo>
                        <a:pt x="668" y="2"/>
                      </a:lnTo>
                      <a:lnTo>
                        <a:pt x="676" y="4"/>
                      </a:lnTo>
                      <a:lnTo>
                        <a:pt x="681" y="6"/>
                      </a:lnTo>
                      <a:lnTo>
                        <a:pt x="685" y="9"/>
                      </a:lnTo>
                      <a:lnTo>
                        <a:pt x="688" y="12"/>
                      </a:lnTo>
                      <a:lnTo>
                        <a:pt x="691" y="16"/>
                      </a:lnTo>
                      <a:lnTo>
                        <a:pt x="695" y="24"/>
                      </a:lnTo>
                      <a:lnTo>
                        <a:pt x="698" y="34"/>
                      </a:lnTo>
                      <a:lnTo>
                        <a:pt x="700" y="39"/>
                      </a:lnTo>
                      <a:lnTo>
                        <a:pt x="702" y="44"/>
                      </a:lnTo>
                      <a:lnTo>
                        <a:pt x="706" y="50"/>
                      </a:lnTo>
                      <a:lnTo>
                        <a:pt x="710" y="55"/>
                      </a:lnTo>
                      <a:lnTo>
                        <a:pt x="715" y="58"/>
                      </a:lnTo>
                      <a:lnTo>
                        <a:pt x="721" y="61"/>
                      </a:lnTo>
                      <a:lnTo>
                        <a:pt x="728" y="63"/>
                      </a:lnTo>
                      <a:lnTo>
                        <a:pt x="734" y="65"/>
                      </a:lnTo>
                      <a:lnTo>
                        <a:pt x="750" y="67"/>
                      </a:lnTo>
                      <a:lnTo>
                        <a:pt x="765" y="69"/>
                      </a:lnTo>
                      <a:lnTo>
                        <a:pt x="798" y="71"/>
                      </a:lnTo>
                      <a:lnTo>
                        <a:pt x="830" y="73"/>
                      </a:lnTo>
                      <a:lnTo>
                        <a:pt x="830" y="83"/>
                      </a:lnTo>
                      <a:lnTo>
                        <a:pt x="830" y="90"/>
                      </a:lnTo>
                      <a:lnTo>
                        <a:pt x="830" y="97"/>
                      </a:lnTo>
                      <a:lnTo>
                        <a:pt x="830" y="105"/>
                      </a:lnTo>
                      <a:lnTo>
                        <a:pt x="830" y="109"/>
                      </a:lnTo>
                      <a:lnTo>
                        <a:pt x="832" y="113"/>
                      </a:lnTo>
                      <a:lnTo>
                        <a:pt x="834" y="117"/>
                      </a:lnTo>
                      <a:lnTo>
                        <a:pt x="836" y="121"/>
                      </a:lnTo>
                      <a:lnTo>
                        <a:pt x="838" y="126"/>
                      </a:lnTo>
                      <a:lnTo>
                        <a:pt x="841" y="132"/>
                      </a:lnTo>
                      <a:lnTo>
                        <a:pt x="843" y="140"/>
                      </a:lnTo>
                      <a:lnTo>
                        <a:pt x="843" y="148"/>
                      </a:lnTo>
                      <a:lnTo>
                        <a:pt x="842" y="152"/>
                      </a:lnTo>
                      <a:lnTo>
                        <a:pt x="840" y="156"/>
                      </a:lnTo>
                      <a:lnTo>
                        <a:pt x="836" y="159"/>
                      </a:lnTo>
                      <a:lnTo>
                        <a:pt x="833" y="162"/>
                      </a:lnTo>
                      <a:lnTo>
                        <a:pt x="830" y="165"/>
                      </a:lnTo>
                      <a:lnTo>
                        <a:pt x="826" y="168"/>
                      </a:lnTo>
                      <a:lnTo>
                        <a:pt x="824" y="170"/>
                      </a:lnTo>
                      <a:lnTo>
                        <a:pt x="823" y="172"/>
                      </a:lnTo>
                      <a:lnTo>
                        <a:pt x="824" y="184"/>
                      </a:lnTo>
                      <a:lnTo>
                        <a:pt x="825" y="196"/>
                      </a:lnTo>
                      <a:lnTo>
                        <a:pt x="829" y="207"/>
                      </a:lnTo>
                      <a:lnTo>
                        <a:pt x="834" y="217"/>
                      </a:lnTo>
                      <a:lnTo>
                        <a:pt x="841" y="227"/>
                      </a:lnTo>
                      <a:lnTo>
                        <a:pt x="848" y="236"/>
                      </a:lnTo>
                      <a:lnTo>
                        <a:pt x="858" y="245"/>
                      </a:lnTo>
                      <a:lnTo>
                        <a:pt x="869" y="253"/>
                      </a:lnTo>
                      <a:lnTo>
                        <a:pt x="876" y="671"/>
                      </a:lnTo>
                      <a:lnTo>
                        <a:pt x="876" y="680"/>
                      </a:lnTo>
                      <a:lnTo>
                        <a:pt x="876" y="687"/>
                      </a:lnTo>
                      <a:lnTo>
                        <a:pt x="876" y="697"/>
                      </a:lnTo>
                      <a:lnTo>
                        <a:pt x="876" y="709"/>
                      </a:lnTo>
                      <a:lnTo>
                        <a:pt x="877" y="726"/>
                      </a:lnTo>
                      <a:lnTo>
                        <a:pt x="877" y="741"/>
                      </a:lnTo>
                      <a:lnTo>
                        <a:pt x="877" y="756"/>
                      </a:lnTo>
                      <a:lnTo>
                        <a:pt x="876" y="766"/>
                      </a:lnTo>
                      <a:lnTo>
                        <a:pt x="874" y="771"/>
                      </a:lnTo>
                      <a:lnTo>
                        <a:pt x="870" y="775"/>
                      </a:lnTo>
                      <a:lnTo>
                        <a:pt x="867" y="778"/>
                      </a:lnTo>
                      <a:lnTo>
                        <a:pt x="863" y="780"/>
                      </a:lnTo>
                      <a:lnTo>
                        <a:pt x="856" y="782"/>
                      </a:lnTo>
                      <a:lnTo>
                        <a:pt x="848" y="783"/>
                      </a:lnTo>
                      <a:lnTo>
                        <a:pt x="840" y="783"/>
                      </a:lnTo>
                      <a:lnTo>
                        <a:pt x="830" y="782"/>
                      </a:lnTo>
                      <a:lnTo>
                        <a:pt x="830" y="792"/>
                      </a:lnTo>
                      <a:lnTo>
                        <a:pt x="830" y="804"/>
                      </a:lnTo>
                      <a:lnTo>
                        <a:pt x="830" y="816"/>
                      </a:lnTo>
                      <a:lnTo>
                        <a:pt x="830" y="826"/>
                      </a:lnTo>
                      <a:lnTo>
                        <a:pt x="378" y="592"/>
                      </a:lnTo>
                      <a:lnTo>
                        <a:pt x="366" y="593"/>
                      </a:lnTo>
                      <a:lnTo>
                        <a:pt x="359" y="595"/>
                      </a:lnTo>
                      <a:lnTo>
                        <a:pt x="353" y="597"/>
                      </a:lnTo>
                      <a:lnTo>
                        <a:pt x="344" y="598"/>
                      </a:lnTo>
                      <a:lnTo>
                        <a:pt x="331" y="607"/>
                      </a:lnTo>
                      <a:lnTo>
                        <a:pt x="318" y="616"/>
                      </a:lnTo>
                      <a:lnTo>
                        <a:pt x="308" y="620"/>
                      </a:lnTo>
                      <a:lnTo>
                        <a:pt x="297" y="624"/>
                      </a:lnTo>
                      <a:lnTo>
                        <a:pt x="292" y="626"/>
                      </a:lnTo>
                      <a:lnTo>
                        <a:pt x="285" y="627"/>
                      </a:lnTo>
                      <a:lnTo>
                        <a:pt x="278" y="628"/>
                      </a:lnTo>
                      <a:lnTo>
                        <a:pt x="272" y="628"/>
                      </a:lnTo>
                      <a:lnTo>
                        <a:pt x="263" y="627"/>
                      </a:lnTo>
                      <a:lnTo>
                        <a:pt x="254" y="624"/>
                      </a:lnTo>
                      <a:lnTo>
                        <a:pt x="246" y="620"/>
                      </a:lnTo>
                      <a:lnTo>
                        <a:pt x="238" y="614"/>
                      </a:lnTo>
                      <a:lnTo>
                        <a:pt x="230" y="609"/>
                      </a:lnTo>
                      <a:lnTo>
                        <a:pt x="224" y="602"/>
                      </a:lnTo>
                      <a:lnTo>
                        <a:pt x="220" y="597"/>
                      </a:lnTo>
                      <a:lnTo>
                        <a:pt x="218" y="592"/>
                      </a:lnTo>
                      <a:lnTo>
                        <a:pt x="193" y="586"/>
                      </a:lnTo>
                      <a:lnTo>
                        <a:pt x="173" y="579"/>
                      </a:lnTo>
                      <a:lnTo>
                        <a:pt x="165" y="577"/>
                      </a:lnTo>
                      <a:lnTo>
                        <a:pt x="157" y="577"/>
                      </a:lnTo>
                      <a:lnTo>
                        <a:pt x="152" y="578"/>
                      </a:lnTo>
                      <a:lnTo>
                        <a:pt x="148" y="579"/>
                      </a:lnTo>
                      <a:lnTo>
                        <a:pt x="143" y="583"/>
                      </a:lnTo>
                      <a:lnTo>
                        <a:pt x="139" y="586"/>
                      </a:lnTo>
                      <a:lnTo>
                        <a:pt x="138" y="577"/>
                      </a:lnTo>
                      <a:lnTo>
                        <a:pt x="137" y="570"/>
                      </a:lnTo>
                      <a:lnTo>
                        <a:pt x="136" y="564"/>
                      </a:lnTo>
                      <a:lnTo>
                        <a:pt x="134" y="558"/>
                      </a:lnTo>
                      <a:lnTo>
                        <a:pt x="130" y="553"/>
                      </a:lnTo>
                      <a:lnTo>
                        <a:pt x="127" y="549"/>
                      </a:lnTo>
                      <a:lnTo>
                        <a:pt x="124" y="545"/>
                      </a:lnTo>
                      <a:lnTo>
                        <a:pt x="119" y="541"/>
                      </a:lnTo>
                      <a:lnTo>
                        <a:pt x="109" y="535"/>
                      </a:lnTo>
                      <a:lnTo>
                        <a:pt x="98" y="530"/>
                      </a:lnTo>
                      <a:lnTo>
                        <a:pt x="87" y="526"/>
                      </a:lnTo>
                      <a:lnTo>
                        <a:pt x="75" y="521"/>
                      </a:lnTo>
                      <a:lnTo>
                        <a:pt x="63" y="517"/>
                      </a:lnTo>
                      <a:lnTo>
                        <a:pt x="52" y="513"/>
                      </a:lnTo>
                      <a:lnTo>
                        <a:pt x="41" y="509"/>
                      </a:lnTo>
                      <a:lnTo>
                        <a:pt x="33" y="503"/>
                      </a:lnTo>
                      <a:lnTo>
                        <a:pt x="28" y="499"/>
                      </a:lnTo>
                      <a:lnTo>
                        <a:pt x="24" y="496"/>
                      </a:lnTo>
                      <a:lnTo>
                        <a:pt x="20" y="492"/>
                      </a:lnTo>
                      <a:lnTo>
                        <a:pt x="18" y="487"/>
                      </a:lnTo>
                      <a:lnTo>
                        <a:pt x="16" y="482"/>
                      </a:lnTo>
                      <a:lnTo>
                        <a:pt x="14" y="476"/>
                      </a:lnTo>
                      <a:lnTo>
                        <a:pt x="13" y="469"/>
                      </a:lnTo>
                      <a:lnTo>
                        <a:pt x="13" y="462"/>
                      </a:lnTo>
                      <a:lnTo>
                        <a:pt x="14" y="439"/>
                      </a:lnTo>
                      <a:lnTo>
                        <a:pt x="16" y="417"/>
                      </a:lnTo>
                      <a:lnTo>
                        <a:pt x="18" y="395"/>
                      </a:lnTo>
                      <a:lnTo>
                        <a:pt x="19" y="376"/>
                      </a:lnTo>
                      <a:lnTo>
                        <a:pt x="19" y="352"/>
                      </a:lnTo>
                      <a:lnTo>
                        <a:pt x="19" y="329"/>
                      </a:lnTo>
                      <a:lnTo>
                        <a:pt x="19" y="305"/>
                      </a:lnTo>
                      <a:lnTo>
                        <a:pt x="19" y="281"/>
                      </a:lnTo>
                      <a:lnTo>
                        <a:pt x="17" y="258"/>
                      </a:lnTo>
                      <a:lnTo>
                        <a:pt x="14" y="234"/>
                      </a:lnTo>
                      <a:lnTo>
                        <a:pt x="11" y="223"/>
                      </a:lnTo>
                      <a:lnTo>
                        <a:pt x="7" y="212"/>
                      </a:lnTo>
                      <a:lnTo>
                        <a:pt x="4" y="202"/>
                      </a:lnTo>
                      <a:lnTo>
                        <a:pt x="0" y="19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19" name="Freeform 239">
                  <a:extLst>
                    <a:ext uri="{FF2B5EF4-FFF2-40B4-BE49-F238E27FC236}">
                      <a16:creationId xmlns:a16="http://schemas.microsoft.com/office/drawing/2014/main" xmlns="" id="{51D6D87B-1140-4A2B-9E09-D524D7E7AFDF}"/>
                    </a:ext>
                  </a:extLst>
                </p:cNvPr>
                <p:cNvSpPr>
                  <a:spLocks/>
                </p:cNvSpPr>
                <p:nvPr>
                  <p:custDataLst>
                    <p:tags r:id="rId166"/>
                  </p:custDataLst>
                </p:nvPr>
              </p:nvSpPr>
              <p:spPr bwMode="auto">
                <a:xfrm>
                  <a:off x="4197350" y="2479675"/>
                  <a:ext cx="93663" cy="236538"/>
                </a:xfrm>
                <a:custGeom>
                  <a:avLst/>
                  <a:gdLst>
                    <a:gd name="T0" fmla="*/ 2147483646 w 206"/>
                    <a:gd name="T1" fmla="*/ 2147483646 h 455"/>
                    <a:gd name="T2" fmla="*/ 2147483646 w 206"/>
                    <a:gd name="T3" fmla="*/ 2147483646 h 455"/>
                    <a:gd name="T4" fmla="*/ 2147483646 w 206"/>
                    <a:gd name="T5" fmla="*/ 2147483646 h 455"/>
                    <a:gd name="T6" fmla="*/ 2147483646 w 206"/>
                    <a:gd name="T7" fmla="*/ 2147483646 h 455"/>
                    <a:gd name="T8" fmla="*/ 2147483646 w 206"/>
                    <a:gd name="T9" fmla="*/ 2147483646 h 455"/>
                    <a:gd name="T10" fmla="*/ 2147483646 w 206"/>
                    <a:gd name="T11" fmla="*/ 2147483646 h 455"/>
                    <a:gd name="T12" fmla="*/ 2147483646 w 206"/>
                    <a:gd name="T13" fmla="*/ 2147483646 h 455"/>
                    <a:gd name="T14" fmla="*/ 2147483646 w 206"/>
                    <a:gd name="T15" fmla="*/ 2147483646 h 455"/>
                    <a:gd name="T16" fmla="*/ 2147483646 w 206"/>
                    <a:gd name="T17" fmla="*/ 2147483646 h 455"/>
                    <a:gd name="T18" fmla="*/ 2147483646 w 206"/>
                    <a:gd name="T19" fmla="*/ 2147483646 h 455"/>
                    <a:gd name="T20" fmla="*/ 2147483646 w 206"/>
                    <a:gd name="T21" fmla="*/ 2147483646 h 455"/>
                    <a:gd name="T22" fmla="*/ 2147483646 w 206"/>
                    <a:gd name="T23" fmla="*/ 2147483646 h 455"/>
                    <a:gd name="T24" fmla="*/ 2147483646 w 206"/>
                    <a:gd name="T25" fmla="*/ 2147483646 h 455"/>
                    <a:gd name="T26" fmla="*/ 2147483646 w 206"/>
                    <a:gd name="T27" fmla="*/ 2147483646 h 455"/>
                    <a:gd name="T28" fmla="*/ 2147483646 w 206"/>
                    <a:gd name="T29" fmla="*/ 2147483646 h 455"/>
                    <a:gd name="T30" fmla="*/ 2147483646 w 206"/>
                    <a:gd name="T31" fmla="*/ 2147483646 h 455"/>
                    <a:gd name="T32" fmla="*/ 2147483646 w 206"/>
                    <a:gd name="T33" fmla="*/ 2147483646 h 455"/>
                    <a:gd name="T34" fmla="*/ 2147483646 w 206"/>
                    <a:gd name="T35" fmla="*/ 2147483646 h 455"/>
                    <a:gd name="T36" fmla="*/ 2147483646 w 206"/>
                    <a:gd name="T37" fmla="*/ 2147483646 h 455"/>
                    <a:gd name="T38" fmla="*/ 2147483646 w 206"/>
                    <a:gd name="T39" fmla="*/ 2147483646 h 455"/>
                    <a:gd name="T40" fmla="*/ 2147483646 w 206"/>
                    <a:gd name="T41" fmla="*/ 2147483646 h 455"/>
                    <a:gd name="T42" fmla="*/ 2147483646 w 206"/>
                    <a:gd name="T43" fmla="*/ 2147483646 h 455"/>
                    <a:gd name="T44" fmla="*/ 2147483646 w 206"/>
                    <a:gd name="T45" fmla="*/ 2147483646 h 455"/>
                    <a:gd name="T46" fmla="*/ 2147483646 w 206"/>
                    <a:gd name="T47" fmla="*/ 2147483646 h 455"/>
                    <a:gd name="T48" fmla="*/ 2147483646 w 206"/>
                    <a:gd name="T49" fmla="*/ 2147483646 h 455"/>
                    <a:gd name="T50" fmla="*/ 2147483646 w 206"/>
                    <a:gd name="T51" fmla="*/ 2147483646 h 455"/>
                    <a:gd name="T52" fmla="*/ 2147483646 w 206"/>
                    <a:gd name="T53" fmla="*/ 2147483646 h 455"/>
                    <a:gd name="T54" fmla="*/ 2147483646 w 206"/>
                    <a:gd name="T55" fmla="*/ 2147483646 h 455"/>
                    <a:gd name="T56" fmla="*/ 2147483646 w 206"/>
                    <a:gd name="T57" fmla="*/ 2147483646 h 455"/>
                    <a:gd name="T58" fmla="*/ 2147483646 w 206"/>
                    <a:gd name="T59" fmla="*/ 2147483646 h 455"/>
                    <a:gd name="T60" fmla="*/ 2147483646 w 206"/>
                    <a:gd name="T61" fmla="*/ 2147483646 h 455"/>
                    <a:gd name="T62" fmla="*/ 2147483646 w 206"/>
                    <a:gd name="T63" fmla="*/ 2147483646 h 455"/>
                    <a:gd name="T64" fmla="*/ 2147483646 w 206"/>
                    <a:gd name="T65" fmla="*/ 2147483646 h 455"/>
                    <a:gd name="T66" fmla="*/ 2147483646 w 206"/>
                    <a:gd name="T67" fmla="*/ 2147483646 h 455"/>
                    <a:gd name="T68" fmla="*/ 2147483646 w 206"/>
                    <a:gd name="T69" fmla="*/ 2147483646 h 455"/>
                    <a:gd name="T70" fmla="*/ 2147483646 w 206"/>
                    <a:gd name="T71" fmla="*/ 2147483646 h 455"/>
                    <a:gd name="T72" fmla="*/ 2147483646 w 206"/>
                    <a:gd name="T73" fmla="*/ 2147483646 h 455"/>
                    <a:gd name="T74" fmla="*/ 2147483646 w 206"/>
                    <a:gd name="T75" fmla="*/ 0 h 455"/>
                    <a:gd name="T76" fmla="*/ 2147483646 w 206"/>
                    <a:gd name="T77" fmla="*/ 2147483646 h 455"/>
                    <a:gd name="T78" fmla="*/ 2147483646 w 206"/>
                    <a:gd name="T79" fmla="*/ 2147483646 h 455"/>
                    <a:gd name="T80" fmla="*/ 2147483646 w 206"/>
                    <a:gd name="T81" fmla="*/ 2147483646 h 455"/>
                    <a:gd name="T82" fmla="*/ 2147483646 w 206"/>
                    <a:gd name="T83" fmla="*/ 2147483646 h 455"/>
                    <a:gd name="T84" fmla="*/ 2147483646 w 206"/>
                    <a:gd name="T85" fmla="*/ 2147483646 h 455"/>
                    <a:gd name="T86" fmla="*/ 2147483646 w 206"/>
                    <a:gd name="T87" fmla="*/ 2147483646 h 455"/>
                    <a:gd name="T88" fmla="*/ 2147483646 w 206"/>
                    <a:gd name="T89" fmla="*/ 2147483646 h 455"/>
                    <a:gd name="T90" fmla="*/ 2147483646 w 206"/>
                    <a:gd name="T91" fmla="*/ 2147483646 h 455"/>
                    <a:gd name="T92" fmla="*/ 0 w 206"/>
                    <a:gd name="T93" fmla="*/ 2147483646 h 455"/>
                    <a:gd name="T94" fmla="*/ 2147483646 w 206"/>
                    <a:gd name="T95" fmla="*/ 2147483646 h 455"/>
                    <a:gd name="T96" fmla="*/ 2147483646 w 206"/>
                    <a:gd name="T97" fmla="*/ 2147483646 h 455"/>
                    <a:gd name="T98" fmla="*/ 2147483646 w 206"/>
                    <a:gd name="T99" fmla="*/ 2147483646 h 455"/>
                    <a:gd name="T100" fmla="*/ 2147483646 w 206"/>
                    <a:gd name="T101" fmla="*/ 2147483646 h 455"/>
                    <a:gd name="T102" fmla="*/ 2147483646 w 206"/>
                    <a:gd name="T103" fmla="*/ 2147483646 h 455"/>
                    <a:gd name="T104" fmla="*/ 2147483646 w 206"/>
                    <a:gd name="T105" fmla="*/ 2147483646 h 455"/>
                    <a:gd name="T106" fmla="*/ 2147483646 w 206"/>
                    <a:gd name="T107" fmla="*/ 2147483646 h 455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06"/>
                    <a:gd name="T163" fmla="*/ 0 h 455"/>
                    <a:gd name="T164" fmla="*/ 206 w 206"/>
                    <a:gd name="T165" fmla="*/ 455 h 455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06" h="455">
                      <a:moveTo>
                        <a:pt x="93" y="455"/>
                      </a:moveTo>
                      <a:lnTo>
                        <a:pt x="103" y="441"/>
                      </a:lnTo>
                      <a:lnTo>
                        <a:pt x="114" y="430"/>
                      </a:lnTo>
                      <a:lnTo>
                        <a:pt x="125" y="420"/>
                      </a:lnTo>
                      <a:lnTo>
                        <a:pt x="135" y="409"/>
                      </a:lnTo>
                      <a:lnTo>
                        <a:pt x="140" y="404"/>
                      </a:lnTo>
                      <a:lnTo>
                        <a:pt x="144" y="397"/>
                      </a:lnTo>
                      <a:lnTo>
                        <a:pt x="147" y="390"/>
                      </a:lnTo>
                      <a:lnTo>
                        <a:pt x="149" y="382"/>
                      </a:lnTo>
                      <a:lnTo>
                        <a:pt x="152" y="373"/>
                      </a:lnTo>
                      <a:lnTo>
                        <a:pt x="153" y="363"/>
                      </a:lnTo>
                      <a:lnTo>
                        <a:pt x="154" y="352"/>
                      </a:lnTo>
                      <a:lnTo>
                        <a:pt x="153" y="338"/>
                      </a:lnTo>
                      <a:lnTo>
                        <a:pt x="153" y="335"/>
                      </a:lnTo>
                      <a:lnTo>
                        <a:pt x="154" y="332"/>
                      </a:lnTo>
                      <a:lnTo>
                        <a:pt x="156" y="331"/>
                      </a:lnTo>
                      <a:lnTo>
                        <a:pt x="159" y="330"/>
                      </a:lnTo>
                      <a:lnTo>
                        <a:pt x="168" y="329"/>
                      </a:lnTo>
                      <a:lnTo>
                        <a:pt x="179" y="327"/>
                      </a:lnTo>
                      <a:lnTo>
                        <a:pt x="185" y="325"/>
                      </a:lnTo>
                      <a:lnTo>
                        <a:pt x="190" y="322"/>
                      </a:lnTo>
                      <a:lnTo>
                        <a:pt x="196" y="318"/>
                      </a:lnTo>
                      <a:lnTo>
                        <a:pt x="200" y="312"/>
                      </a:lnTo>
                      <a:lnTo>
                        <a:pt x="203" y="304"/>
                      </a:lnTo>
                      <a:lnTo>
                        <a:pt x="205" y="294"/>
                      </a:lnTo>
                      <a:lnTo>
                        <a:pt x="206" y="280"/>
                      </a:lnTo>
                      <a:lnTo>
                        <a:pt x="205" y="265"/>
                      </a:lnTo>
                      <a:lnTo>
                        <a:pt x="202" y="265"/>
                      </a:lnTo>
                      <a:lnTo>
                        <a:pt x="198" y="265"/>
                      </a:lnTo>
                      <a:lnTo>
                        <a:pt x="193" y="264"/>
                      </a:lnTo>
                      <a:lnTo>
                        <a:pt x="188" y="262"/>
                      </a:lnTo>
                      <a:lnTo>
                        <a:pt x="177" y="256"/>
                      </a:lnTo>
                      <a:lnTo>
                        <a:pt x="166" y="249"/>
                      </a:lnTo>
                      <a:lnTo>
                        <a:pt x="155" y="242"/>
                      </a:lnTo>
                      <a:lnTo>
                        <a:pt x="144" y="235"/>
                      </a:lnTo>
                      <a:lnTo>
                        <a:pt x="140" y="231"/>
                      </a:lnTo>
                      <a:lnTo>
                        <a:pt x="134" y="229"/>
                      </a:lnTo>
                      <a:lnTo>
                        <a:pt x="130" y="228"/>
                      </a:lnTo>
                      <a:lnTo>
                        <a:pt x="126" y="227"/>
                      </a:lnTo>
                      <a:lnTo>
                        <a:pt x="119" y="222"/>
                      </a:lnTo>
                      <a:lnTo>
                        <a:pt x="107" y="215"/>
                      </a:lnTo>
                      <a:lnTo>
                        <a:pt x="101" y="212"/>
                      </a:lnTo>
                      <a:lnTo>
                        <a:pt x="97" y="209"/>
                      </a:lnTo>
                      <a:lnTo>
                        <a:pt x="95" y="206"/>
                      </a:lnTo>
                      <a:lnTo>
                        <a:pt x="93" y="203"/>
                      </a:lnTo>
                      <a:lnTo>
                        <a:pt x="95" y="199"/>
                      </a:lnTo>
                      <a:lnTo>
                        <a:pt x="98" y="191"/>
                      </a:lnTo>
                      <a:lnTo>
                        <a:pt x="104" y="181"/>
                      </a:lnTo>
                      <a:lnTo>
                        <a:pt x="111" y="169"/>
                      </a:lnTo>
                      <a:lnTo>
                        <a:pt x="119" y="158"/>
                      </a:lnTo>
                      <a:lnTo>
                        <a:pt x="126" y="148"/>
                      </a:lnTo>
                      <a:lnTo>
                        <a:pt x="134" y="140"/>
                      </a:lnTo>
                      <a:lnTo>
                        <a:pt x="140" y="136"/>
                      </a:lnTo>
                      <a:lnTo>
                        <a:pt x="136" y="129"/>
                      </a:lnTo>
                      <a:lnTo>
                        <a:pt x="132" y="122"/>
                      </a:lnTo>
                      <a:lnTo>
                        <a:pt x="126" y="116"/>
                      </a:lnTo>
                      <a:lnTo>
                        <a:pt x="121" y="111"/>
                      </a:lnTo>
                      <a:lnTo>
                        <a:pt x="115" y="105"/>
                      </a:lnTo>
                      <a:lnTo>
                        <a:pt x="111" y="99"/>
                      </a:lnTo>
                      <a:lnTo>
                        <a:pt x="108" y="93"/>
                      </a:lnTo>
                      <a:lnTo>
                        <a:pt x="107" y="86"/>
                      </a:lnTo>
                      <a:lnTo>
                        <a:pt x="107" y="84"/>
                      </a:lnTo>
                      <a:lnTo>
                        <a:pt x="109" y="81"/>
                      </a:lnTo>
                      <a:lnTo>
                        <a:pt x="111" y="78"/>
                      </a:lnTo>
                      <a:lnTo>
                        <a:pt x="113" y="75"/>
                      </a:lnTo>
                      <a:lnTo>
                        <a:pt x="116" y="72"/>
                      </a:lnTo>
                      <a:lnTo>
                        <a:pt x="120" y="70"/>
                      </a:lnTo>
                      <a:lnTo>
                        <a:pt x="123" y="69"/>
                      </a:lnTo>
                      <a:lnTo>
                        <a:pt x="126" y="68"/>
                      </a:lnTo>
                      <a:lnTo>
                        <a:pt x="126" y="37"/>
                      </a:lnTo>
                      <a:lnTo>
                        <a:pt x="120" y="36"/>
                      </a:lnTo>
                      <a:lnTo>
                        <a:pt x="110" y="32"/>
                      </a:lnTo>
                      <a:lnTo>
                        <a:pt x="99" y="27"/>
                      </a:lnTo>
                      <a:lnTo>
                        <a:pt x="87" y="21"/>
                      </a:lnTo>
                      <a:lnTo>
                        <a:pt x="65" y="8"/>
                      </a:lnTo>
                      <a:lnTo>
                        <a:pt x="53" y="0"/>
                      </a:lnTo>
                      <a:lnTo>
                        <a:pt x="52" y="2"/>
                      </a:lnTo>
                      <a:lnTo>
                        <a:pt x="47" y="11"/>
                      </a:lnTo>
                      <a:lnTo>
                        <a:pt x="41" y="26"/>
                      </a:lnTo>
                      <a:lnTo>
                        <a:pt x="34" y="44"/>
                      </a:lnTo>
                      <a:lnTo>
                        <a:pt x="31" y="56"/>
                      </a:lnTo>
                      <a:lnTo>
                        <a:pt x="28" y="70"/>
                      </a:lnTo>
                      <a:lnTo>
                        <a:pt x="24" y="83"/>
                      </a:lnTo>
                      <a:lnTo>
                        <a:pt x="22" y="99"/>
                      </a:lnTo>
                      <a:lnTo>
                        <a:pt x="20" y="115"/>
                      </a:lnTo>
                      <a:lnTo>
                        <a:pt x="20" y="133"/>
                      </a:lnTo>
                      <a:lnTo>
                        <a:pt x="19" y="152"/>
                      </a:lnTo>
                      <a:lnTo>
                        <a:pt x="20" y="172"/>
                      </a:lnTo>
                      <a:lnTo>
                        <a:pt x="15" y="180"/>
                      </a:lnTo>
                      <a:lnTo>
                        <a:pt x="12" y="188"/>
                      </a:lnTo>
                      <a:lnTo>
                        <a:pt x="9" y="197"/>
                      </a:lnTo>
                      <a:lnTo>
                        <a:pt x="8" y="206"/>
                      </a:lnTo>
                      <a:lnTo>
                        <a:pt x="3" y="222"/>
                      </a:lnTo>
                      <a:lnTo>
                        <a:pt x="0" y="235"/>
                      </a:lnTo>
                      <a:lnTo>
                        <a:pt x="12" y="247"/>
                      </a:lnTo>
                      <a:lnTo>
                        <a:pt x="22" y="259"/>
                      </a:lnTo>
                      <a:lnTo>
                        <a:pt x="32" y="270"/>
                      </a:lnTo>
                      <a:lnTo>
                        <a:pt x="41" y="281"/>
                      </a:lnTo>
                      <a:lnTo>
                        <a:pt x="48" y="294"/>
                      </a:lnTo>
                      <a:lnTo>
                        <a:pt x="55" y="305"/>
                      </a:lnTo>
                      <a:lnTo>
                        <a:pt x="60" y="317"/>
                      </a:lnTo>
                      <a:lnTo>
                        <a:pt x="66" y="329"/>
                      </a:lnTo>
                      <a:lnTo>
                        <a:pt x="71" y="341"/>
                      </a:lnTo>
                      <a:lnTo>
                        <a:pt x="75" y="355"/>
                      </a:lnTo>
                      <a:lnTo>
                        <a:pt x="79" y="369"/>
                      </a:lnTo>
                      <a:lnTo>
                        <a:pt x="82" y="384"/>
                      </a:lnTo>
                      <a:lnTo>
                        <a:pt x="88" y="417"/>
                      </a:lnTo>
                      <a:lnTo>
                        <a:pt x="93" y="45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0" name="Freeform 240">
                  <a:extLst>
                    <a:ext uri="{FF2B5EF4-FFF2-40B4-BE49-F238E27FC236}">
                      <a16:creationId xmlns:a16="http://schemas.microsoft.com/office/drawing/2014/main" xmlns="" id="{254A6D9C-F436-48CE-92B9-61CE716E4B6F}"/>
                    </a:ext>
                  </a:extLst>
                </p:cNvPr>
                <p:cNvSpPr>
                  <a:spLocks/>
                </p:cNvSpPr>
                <p:nvPr>
                  <p:custDataLst>
                    <p:tags r:id="rId167"/>
                  </p:custDataLst>
                </p:nvPr>
              </p:nvSpPr>
              <p:spPr bwMode="auto">
                <a:xfrm>
                  <a:off x="3579813" y="2790825"/>
                  <a:ext cx="231775" cy="215900"/>
                </a:xfrm>
                <a:custGeom>
                  <a:avLst/>
                  <a:gdLst>
                    <a:gd name="T0" fmla="*/ 2147483646 w 518"/>
                    <a:gd name="T1" fmla="*/ 2147483646 h 406"/>
                    <a:gd name="T2" fmla="*/ 2147483646 w 518"/>
                    <a:gd name="T3" fmla="*/ 2147483646 h 406"/>
                    <a:gd name="T4" fmla="*/ 2147483646 w 518"/>
                    <a:gd name="T5" fmla="*/ 2147483646 h 406"/>
                    <a:gd name="T6" fmla="*/ 2147483646 w 518"/>
                    <a:gd name="T7" fmla="*/ 2147483646 h 406"/>
                    <a:gd name="T8" fmla="*/ 2147483646 w 518"/>
                    <a:gd name="T9" fmla="*/ 2147483646 h 406"/>
                    <a:gd name="T10" fmla="*/ 2147483646 w 518"/>
                    <a:gd name="T11" fmla="*/ 2147483646 h 406"/>
                    <a:gd name="T12" fmla="*/ 2147483646 w 518"/>
                    <a:gd name="T13" fmla="*/ 2147483646 h 406"/>
                    <a:gd name="T14" fmla="*/ 2147483646 w 518"/>
                    <a:gd name="T15" fmla="*/ 2147483646 h 406"/>
                    <a:gd name="T16" fmla="*/ 2147483646 w 518"/>
                    <a:gd name="T17" fmla="*/ 2147483646 h 406"/>
                    <a:gd name="T18" fmla="*/ 2147483646 w 518"/>
                    <a:gd name="T19" fmla="*/ 2147483646 h 406"/>
                    <a:gd name="T20" fmla="*/ 2147483646 w 518"/>
                    <a:gd name="T21" fmla="*/ 2147483646 h 406"/>
                    <a:gd name="T22" fmla="*/ 2147483646 w 518"/>
                    <a:gd name="T23" fmla="*/ 2147483646 h 406"/>
                    <a:gd name="T24" fmla="*/ 2147483646 w 518"/>
                    <a:gd name="T25" fmla="*/ 2147483646 h 406"/>
                    <a:gd name="T26" fmla="*/ 2147483646 w 518"/>
                    <a:gd name="T27" fmla="*/ 2147483646 h 406"/>
                    <a:gd name="T28" fmla="*/ 2147483646 w 518"/>
                    <a:gd name="T29" fmla="*/ 2147483646 h 406"/>
                    <a:gd name="T30" fmla="*/ 2147483646 w 518"/>
                    <a:gd name="T31" fmla="*/ 2147483646 h 406"/>
                    <a:gd name="T32" fmla="*/ 2147483646 w 518"/>
                    <a:gd name="T33" fmla="*/ 2147483646 h 406"/>
                    <a:gd name="T34" fmla="*/ 2147483646 w 518"/>
                    <a:gd name="T35" fmla="*/ 2147483646 h 406"/>
                    <a:gd name="T36" fmla="*/ 2147483646 w 518"/>
                    <a:gd name="T37" fmla="*/ 2147483646 h 406"/>
                    <a:gd name="T38" fmla="*/ 2147483646 w 518"/>
                    <a:gd name="T39" fmla="*/ 2147483646 h 406"/>
                    <a:gd name="T40" fmla="*/ 2147483646 w 518"/>
                    <a:gd name="T41" fmla="*/ 2147483646 h 406"/>
                    <a:gd name="T42" fmla="*/ 2147483646 w 518"/>
                    <a:gd name="T43" fmla="*/ 2147483646 h 406"/>
                    <a:gd name="T44" fmla="*/ 2147483646 w 518"/>
                    <a:gd name="T45" fmla="*/ 2147483646 h 406"/>
                    <a:gd name="T46" fmla="*/ 2147483646 w 518"/>
                    <a:gd name="T47" fmla="*/ 2147483646 h 406"/>
                    <a:gd name="T48" fmla="*/ 2147483646 w 518"/>
                    <a:gd name="T49" fmla="*/ 2147483646 h 406"/>
                    <a:gd name="T50" fmla="*/ 2147483646 w 518"/>
                    <a:gd name="T51" fmla="*/ 2147483646 h 406"/>
                    <a:gd name="T52" fmla="*/ 2147483646 w 518"/>
                    <a:gd name="T53" fmla="*/ 2147483646 h 406"/>
                    <a:gd name="T54" fmla="*/ 2147483646 w 518"/>
                    <a:gd name="T55" fmla="*/ 2147483646 h 406"/>
                    <a:gd name="T56" fmla="*/ 2147483646 w 518"/>
                    <a:gd name="T57" fmla="*/ 2147483646 h 406"/>
                    <a:gd name="T58" fmla="*/ 2147483646 w 518"/>
                    <a:gd name="T59" fmla="*/ 2147483646 h 406"/>
                    <a:gd name="T60" fmla="*/ 2147483646 w 518"/>
                    <a:gd name="T61" fmla="*/ 2147483646 h 406"/>
                    <a:gd name="T62" fmla="*/ 2147483646 w 518"/>
                    <a:gd name="T63" fmla="*/ 2147483646 h 406"/>
                    <a:gd name="T64" fmla="*/ 2147483646 w 518"/>
                    <a:gd name="T65" fmla="*/ 2147483646 h 406"/>
                    <a:gd name="T66" fmla="*/ 2147483646 w 518"/>
                    <a:gd name="T67" fmla="*/ 2147483646 h 406"/>
                    <a:gd name="T68" fmla="*/ 2147483646 w 518"/>
                    <a:gd name="T69" fmla="*/ 2147483646 h 406"/>
                    <a:gd name="T70" fmla="*/ 2147483646 w 518"/>
                    <a:gd name="T71" fmla="*/ 2147483646 h 406"/>
                    <a:gd name="T72" fmla="*/ 2147483646 w 518"/>
                    <a:gd name="T73" fmla="*/ 2147483646 h 406"/>
                    <a:gd name="T74" fmla="*/ 2147483646 w 518"/>
                    <a:gd name="T75" fmla="*/ 2147483646 h 406"/>
                    <a:gd name="T76" fmla="*/ 2147483646 w 518"/>
                    <a:gd name="T77" fmla="*/ 0 h 406"/>
                    <a:gd name="T78" fmla="*/ 2147483646 w 518"/>
                    <a:gd name="T79" fmla="*/ 2147483646 h 406"/>
                    <a:gd name="T80" fmla="*/ 2147483646 w 518"/>
                    <a:gd name="T81" fmla="*/ 2147483646 h 40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518"/>
                    <a:gd name="T124" fmla="*/ 0 h 406"/>
                    <a:gd name="T125" fmla="*/ 518 w 518"/>
                    <a:gd name="T126" fmla="*/ 406 h 40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518" h="406">
                      <a:moveTo>
                        <a:pt x="518" y="110"/>
                      </a:moveTo>
                      <a:lnTo>
                        <a:pt x="326" y="110"/>
                      </a:lnTo>
                      <a:lnTo>
                        <a:pt x="312" y="104"/>
                      </a:lnTo>
                      <a:lnTo>
                        <a:pt x="326" y="259"/>
                      </a:lnTo>
                      <a:lnTo>
                        <a:pt x="323" y="261"/>
                      </a:lnTo>
                      <a:lnTo>
                        <a:pt x="315" y="264"/>
                      </a:lnTo>
                      <a:lnTo>
                        <a:pt x="304" y="267"/>
                      </a:lnTo>
                      <a:lnTo>
                        <a:pt x="291" y="271"/>
                      </a:lnTo>
                      <a:lnTo>
                        <a:pt x="263" y="277"/>
                      </a:lnTo>
                      <a:lnTo>
                        <a:pt x="246" y="283"/>
                      </a:lnTo>
                      <a:lnTo>
                        <a:pt x="250" y="292"/>
                      </a:lnTo>
                      <a:lnTo>
                        <a:pt x="253" y="302"/>
                      </a:lnTo>
                      <a:lnTo>
                        <a:pt x="258" y="314"/>
                      </a:lnTo>
                      <a:lnTo>
                        <a:pt x="265" y="326"/>
                      </a:lnTo>
                      <a:lnTo>
                        <a:pt x="267" y="335"/>
                      </a:lnTo>
                      <a:lnTo>
                        <a:pt x="269" y="353"/>
                      </a:lnTo>
                      <a:lnTo>
                        <a:pt x="271" y="373"/>
                      </a:lnTo>
                      <a:lnTo>
                        <a:pt x="272" y="382"/>
                      </a:lnTo>
                      <a:lnTo>
                        <a:pt x="67" y="382"/>
                      </a:lnTo>
                      <a:lnTo>
                        <a:pt x="52" y="394"/>
                      </a:lnTo>
                      <a:lnTo>
                        <a:pt x="39" y="406"/>
                      </a:lnTo>
                      <a:lnTo>
                        <a:pt x="22" y="406"/>
                      </a:lnTo>
                      <a:lnTo>
                        <a:pt x="10" y="404"/>
                      </a:lnTo>
                      <a:lnTo>
                        <a:pt x="5" y="403"/>
                      </a:lnTo>
                      <a:lnTo>
                        <a:pt x="2" y="401"/>
                      </a:lnTo>
                      <a:lnTo>
                        <a:pt x="1" y="398"/>
                      </a:lnTo>
                      <a:lnTo>
                        <a:pt x="0" y="394"/>
                      </a:lnTo>
                      <a:lnTo>
                        <a:pt x="1" y="385"/>
                      </a:lnTo>
                      <a:lnTo>
                        <a:pt x="2" y="378"/>
                      </a:lnTo>
                      <a:lnTo>
                        <a:pt x="4" y="371"/>
                      </a:lnTo>
                      <a:lnTo>
                        <a:pt x="6" y="365"/>
                      </a:lnTo>
                      <a:lnTo>
                        <a:pt x="11" y="354"/>
                      </a:lnTo>
                      <a:lnTo>
                        <a:pt x="13" y="344"/>
                      </a:lnTo>
                      <a:lnTo>
                        <a:pt x="20" y="341"/>
                      </a:lnTo>
                      <a:lnTo>
                        <a:pt x="26" y="337"/>
                      </a:lnTo>
                      <a:lnTo>
                        <a:pt x="30" y="334"/>
                      </a:lnTo>
                      <a:lnTo>
                        <a:pt x="35" y="330"/>
                      </a:lnTo>
                      <a:lnTo>
                        <a:pt x="38" y="326"/>
                      </a:lnTo>
                      <a:lnTo>
                        <a:pt x="41" y="321"/>
                      </a:lnTo>
                      <a:lnTo>
                        <a:pt x="44" y="317"/>
                      </a:lnTo>
                      <a:lnTo>
                        <a:pt x="46" y="313"/>
                      </a:lnTo>
                      <a:lnTo>
                        <a:pt x="49" y="292"/>
                      </a:lnTo>
                      <a:lnTo>
                        <a:pt x="52" y="271"/>
                      </a:lnTo>
                      <a:lnTo>
                        <a:pt x="56" y="265"/>
                      </a:lnTo>
                      <a:lnTo>
                        <a:pt x="59" y="261"/>
                      </a:lnTo>
                      <a:lnTo>
                        <a:pt x="62" y="257"/>
                      </a:lnTo>
                      <a:lnTo>
                        <a:pt x="66" y="253"/>
                      </a:lnTo>
                      <a:lnTo>
                        <a:pt x="74" y="246"/>
                      </a:lnTo>
                      <a:lnTo>
                        <a:pt x="83" y="242"/>
                      </a:lnTo>
                      <a:lnTo>
                        <a:pt x="92" y="238"/>
                      </a:lnTo>
                      <a:lnTo>
                        <a:pt x="100" y="235"/>
                      </a:lnTo>
                      <a:lnTo>
                        <a:pt x="107" y="231"/>
                      </a:lnTo>
                      <a:lnTo>
                        <a:pt x="113" y="227"/>
                      </a:lnTo>
                      <a:lnTo>
                        <a:pt x="122" y="218"/>
                      </a:lnTo>
                      <a:lnTo>
                        <a:pt x="129" y="207"/>
                      </a:lnTo>
                      <a:lnTo>
                        <a:pt x="136" y="195"/>
                      </a:lnTo>
                      <a:lnTo>
                        <a:pt x="141" y="182"/>
                      </a:lnTo>
                      <a:lnTo>
                        <a:pt x="150" y="156"/>
                      </a:lnTo>
                      <a:lnTo>
                        <a:pt x="158" y="129"/>
                      </a:lnTo>
                      <a:lnTo>
                        <a:pt x="162" y="117"/>
                      </a:lnTo>
                      <a:lnTo>
                        <a:pt x="168" y="105"/>
                      </a:lnTo>
                      <a:lnTo>
                        <a:pt x="172" y="94"/>
                      </a:lnTo>
                      <a:lnTo>
                        <a:pt x="179" y="83"/>
                      </a:lnTo>
                      <a:lnTo>
                        <a:pt x="186" y="73"/>
                      </a:lnTo>
                      <a:lnTo>
                        <a:pt x="195" y="66"/>
                      </a:lnTo>
                      <a:lnTo>
                        <a:pt x="201" y="62"/>
                      </a:lnTo>
                      <a:lnTo>
                        <a:pt x="206" y="59"/>
                      </a:lnTo>
                      <a:lnTo>
                        <a:pt x="213" y="57"/>
                      </a:lnTo>
                      <a:lnTo>
                        <a:pt x="219" y="55"/>
                      </a:lnTo>
                      <a:lnTo>
                        <a:pt x="219" y="44"/>
                      </a:lnTo>
                      <a:lnTo>
                        <a:pt x="220" y="36"/>
                      </a:lnTo>
                      <a:lnTo>
                        <a:pt x="223" y="28"/>
                      </a:lnTo>
                      <a:lnTo>
                        <a:pt x="225" y="21"/>
                      </a:lnTo>
                      <a:lnTo>
                        <a:pt x="228" y="16"/>
                      </a:lnTo>
                      <a:lnTo>
                        <a:pt x="233" y="11"/>
                      </a:lnTo>
                      <a:lnTo>
                        <a:pt x="239" y="8"/>
                      </a:lnTo>
                      <a:lnTo>
                        <a:pt x="246" y="6"/>
                      </a:lnTo>
                      <a:lnTo>
                        <a:pt x="511" y="0"/>
                      </a:lnTo>
                      <a:lnTo>
                        <a:pt x="513" y="13"/>
                      </a:lnTo>
                      <a:lnTo>
                        <a:pt x="515" y="46"/>
                      </a:lnTo>
                      <a:lnTo>
                        <a:pt x="517" y="83"/>
                      </a:lnTo>
                      <a:lnTo>
                        <a:pt x="518" y="11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1" name="Freeform 241">
                  <a:extLst>
                    <a:ext uri="{FF2B5EF4-FFF2-40B4-BE49-F238E27FC236}">
                      <a16:creationId xmlns:a16="http://schemas.microsoft.com/office/drawing/2014/main" xmlns="" id="{87644CC4-2398-45E3-86DA-E3B4B7F50516}"/>
                    </a:ext>
                  </a:extLst>
                </p:cNvPr>
                <p:cNvSpPr>
                  <a:spLocks/>
                </p:cNvSpPr>
                <p:nvPr>
                  <p:custDataLst>
                    <p:tags r:id="rId168"/>
                  </p:custDataLst>
                </p:nvPr>
              </p:nvSpPr>
              <p:spPr bwMode="auto">
                <a:xfrm>
                  <a:off x="3548063" y="1598613"/>
                  <a:ext cx="190500" cy="93662"/>
                </a:xfrm>
                <a:custGeom>
                  <a:avLst/>
                  <a:gdLst>
                    <a:gd name="T0" fmla="*/ 2147483646 w 446"/>
                    <a:gd name="T1" fmla="*/ 2147483646 h 178"/>
                    <a:gd name="T2" fmla="*/ 2147483646 w 446"/>
                    <a:gd name="T3" fmla="*/ 2147483646 h 178"/>
                    <a:gd name="T4" fmla="*/ 2147483646 w 446"/>
                    <a:gd name="T5" fmla="*/ 2147483646 h 178"/>
                    <a:gd name="T6" fmla="*/ 2147483646 w 446"/>
                    <a:gd name="T7" fmla="*/ 2147483646 h 178"/>
                    <a:gd name="T8" fmla="*/ 2147483646 w 446"/>
                    <a:gd name="T9" fmla="*/ 2147483646 h 178"/>
                    <a:gd name="T10" fmla="*/ 2147483646 w 446"/>
                    <a:gd name="T11" fmla="*/ 0 h 178"/>
                    <a:gd name="T12" fmla="*/ 2147483646 w 446"/>
                    <a:gd name="T13" fmla="*/ 2147483646 h 178"/>
                    <a:gd name="T14" fmla="*/ 2147483646 w 446"/>
                    <a:gd name="T15" fmla="*/ 2147483646 h 178"/>
                    <a:gd name="T16" fmla="*/ 2147483646 w 446"/>
                    <a:gd name="T17" fmla="*/ 2147483646 h 178"/>
                    <a:gd name="T18" fmla="*/ 2147483646 w 446"/>
                    <a:gd name="T19" fmla="*/ 2147483646 h 178"/>
                    <a:gd name="T20" fmla="*/ 2147483646 w 446"/>
                    <a:gd name="T21" fmla="*/ 2147483646 h 178"/>
                    <a:gd name="T22" fmla="*/ 2147483646 w 446"/>
                    <a:gd name="T23" fmla="*/ 2147483646 h 178"/>
                    <a:gd name="T24" fmla="*/ 2147483646 w 446"/>
                    <a:gd name="T25" fmla="*/ 2147483646 h 178"/>
                    <a:gd name="T26" fmla="*/ 2147483646 w 446"/>
                    <a:gd name="T27" fmla="*/ 2147483646 h 178"/>
                    <a:gd name="T28" fmla="*/ 2147483646 w 446"/>
                    <a:gd name="T29" fmla="*/ 2147483646 h 178"/>
                    <a:gd name="T30" fmla="*/ 2147483646 w 446"/>
                    <a:gd name="T31" fmla="*/ 2147483646 h 178"/>
                    <a:gd name="T32" fmla="*/ 2147483646 w 446"/>
                    <a:gd name="T33" fmla="*/ 2147483646 h 178"/>
                    <a:gd name="T34" fmla="*/ 2147483646 w 446"/>
                    <a:gd name="T35" fmla="*/ 2147483646 h 178"/>
                    <a:gd name="T36" fmla="*/ 2147483646 w 446"/>
                    <a:gd name="T37" fmla="*/ 2147483646 h 178"/>
                    <a:gd name="T38" fmla="*/ 2147483646 w 446"/>
                    <a:gd name="T39" fmla="*/ 2147483646 h 178"/>
                    <a:gd name="T40" fmla="*/ 2147483646 w 446"/>
                    <a:gd name="T41" fmla="*/ 2147483646 h 178"/>
                    <a:gd name="T42" fmla="*/ 2147483646 w 446"/>
                    <a:gd name="T43" fmla="*/ 2147483646 h 178"/>
                    <a:gd name="T44" fmla="*/ 2147483646 w 446"/>
                    <a:gd name="T45" fmla="*/ 2147483646 h 178"/>
                    <a:gd name="T46" fmla="*/ 2147483646 w 446"/>
                    <a:gd name="T47" fmla="*/ 2147483646 h 178"/>
                    <a:gd name="T48" fmla="*/ 2147483646 w 446"/>
                    <a:gd name="T49" fmla="*/ 2147483646 h 178"/>
                    <a:gd name="T50" fmla="*/ 2147483646 w 446"/>
                    <a:gd name="T51" fmla="*/ 2147483646 h 178"/>
                    <a:gd name="T52" fmla="*/ 2147483646 w 446"/>
                    <a:gd name="T53" fmla="*/ 2147483646 h 178"/>
                    <a:gd name="T54" fmla="*/ 2147483646 w 446"/>
                    <a:gd name="T55" fmla="*/ 2147483646 h 178"/>
                    <a:gd name="T56" fmla="*/ 2147483646 w 446"/>
                    <a:gd name="T57" fmla="*/ 2147483646 h 178"/>
                    <a:gd name="T58" fmla="*/ 2147483646 w 446"/>
                    <a:gd name="T59" fmla="*/ 2147483646 h 178"/>
                    <a:gd name="T60" fmla="*/ 2147483646 w 446"/>
                    <a:gd name="T61" fmla="*/ 2147483646 h 178"/>
                    <a:gd name="T62" fmla="*/ 2147483646 w 446"/>
                    <a:gd name="T63" fmla="*/ 2147483646 h 178"/>
                    <a:gd name="T64" fmla="*/ 2147483646 w 446"/>
                    <a:gd name="T65" fmla="*/ 2147483646 h 178"/>
                    <a:gd name="T66" fmla="*/ 2147483646 w 446"/>
                    <a:gd name="T67" fmla="*/ 2147483646 h 178"/>
                    <a:gd name="T68" fmla="*/ 2147483646 w 446"/>
                    <a:gd name="T69" fmla="*/ 2147483646 h 178"/>
                    <a:gd name="T70" fmla="*/ 2147483646 w 446"/>
                    <a:gd name="T71" fmla="*/ 2147483646 h 178"/>
                    <a:gd name="T72" fmla="*/ 2147483646 w 446"/>
                    <a:gd name="T73" fmla="*/ 2147483646 h 178"/>
                    <a:gd name="T74" fmla="*/ 2147483646 w 446"/>
                    <a:gd name="T75" fmla="*/ 2147483646 h 178"/>
                    <a:gd name="T76" fmla="*/ 2147483646 w 446"/>
                    <a:gd name="T77" fmla="*/ 2147483646 h 178"/>
                    <a:gd name="T78" fmla="*/ 2147483646 w 446"/>
                    <a:gd name="T79" fmla="*/ 2147483646 h 178"/>
                    <a:gd name="T80" fmla="*/ 0 w 446"/>
                    <a:gd name="T81" fmla="*/ 2147483646 h 178"/>
                    <a:gd name="T82" fmla="*/ 2147483646 w 446"/>
                    <a:gd name="T83" fmla="*/ 2147483646 h 178"/>
                    <a:gd name="T84" fmla="*/ 2147483646 w 446"/>
                    <a:gd name="T85" fmla="*/ 2147483646 h 178"/>
                    <a:gd name="T86" fmla="*/ 2147483646 w 446"/>
                    <a:gd name="T87" fmla="*/ 2147483646 h 178"/>
                    <a:gd name="T88" fmla="*/ 2147483646 w 446"/>
                    <a:gd name="T89" fmla="*/ 2147483646 h 178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446"/>
                    <a:gd name="T136" fmla="*/ 0 h 178"/>
                    <a:gd name="T137" fmla="*/ 446 w 446"/>
                    <a:gd name="T138" fmla="*/ 178 h 178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446" h="178">
                      <a:moveTo>
                        <a:pt x="27" y="43"/>
                      </a:moveTo>
                      <a:lnTo>
                        <a:pt x="31" y="52"/>
                      </a:lnTo>
                      <a:lnTo>
                        <a:pt x="34" y="61"/>
                      </a:lnTo>
                      <a:lnTo>
                        <a:pt x="37" y="53"/>
                      </a:lnTo>
                      <a:lnTo>
                        <a:pt x="40" y="47"/>
                      </a:lnTo>
                      <a:lnTo>
                        <a:pt x="41" y="42"/>
                      </a:lnTo>
                      <a:lnTo>
                        <a:pt x="41" y="37"/>
                      </a:lnTo>
                      <a:lnTo>
                        <a:pt x="55" y="37"/>
                      </a:lnTo>
                      <a:lnTo>
                        <a:pt x="68" y="37"/>
                      </a:lnTo>
                      <a:lnTo>
                        <a:pt x="77" y="37"/>
                      </a:lnTo>
                      <a:lnTo>
                        <a:pt x="80" y="37"/>
                      </a:lnTo>
                      <a:lnTo>
                        <a:pt x="80" y="18"/>
                      </a:lnTo>
                      <a:lnTo>
                        <a:pt x="78" y="17"/>
                      </a:lnTo>
                      <a:lnTo>
                        <a:pt x="75" y="16"/>
                      </a:lnTo>
                      <a:lnTo>
                        <a:pt x="72" y="14"/>
                      </a:lnTo>
                      <a:lnTo>
                        <a:pt x="70" y="11"/>
                      </a:lnTo>
                      <a:lnTo>
                        <a:pt x="65" y="5"/>
                      </a:lnTo>
                      <a:lnTo>
                        <a:pt x="60" y="0"/>
                      </a:lnTo>
                      <a:lnTo>
                        <a:pt x="69" y="3"/>
                      </a:lnTo>
                      <a:lnTo>
                        <a:pt x="78" y="6"/>
                      </a:lnTo>
                      <a:lnTo>
                        <a:pt x="85" y="10"/>
                      </a:lnTo>
                      <a:lnTo>
                        <a:pt x="90" y="15"/>
                      </a:lnTo>
                      <a:lnTo>
                        <a:pt x="100" y="27"/>
                      </a:lnTo>
                      <a:lnTo>
                        <a:pt x="108" y="39"/>
                      </a:lnTo>
                      <a:lnTo>
                        <a:pt x="114" y="49"/>
                      </a:lnTo>
                      <a:lnTo>
                        <a:pt x="121" y="59"/>
                      </a:lnTo>
                      <a:lnTo>
                        <a:pt x="125" y="62"/>
                      </a:lnTo>
                      <a:lnTo>
                        <a:pt x="130" y="65"/>
                      </a:lnTo>
                      <a:lnTo>
                        <a:pt x="134" y="67"/>
                      </a:lnTo>
                      <a:lnTo>
                        <a:pt x="139" y="67"/>
                      </a:lnTo>
                      <a:lnTo>
                        <a:pt x="146" y="67"/>
                      </a:lnTo>
                      <a:lnTo>
                        <a:pt x="152" y="66"/>
                      </a:lnTo>
                      <a:lnTo>
                        <a:pt x="157" y="63"/>
                      </a:lnTo>
                      <a:lnTo>
                        <a:pt x="163" y="61"/>
                      </a:lnTo>
                      <a:lnTo>
                        <a:pt x="172" y="54"/>
                      </a:lnTo>
                      <a:lnTo>
                        <a:pt x="181" y="45"/>
                      </a:lnTo>
                      <a:lnTo>
                        <a:pt x="190" y="37"/>
                      </a:lnTo>
                      <a:lnTo>
                        <a:pt x="198" y="29"/>
                      </a:lnTo>
                      <a:lnTo>
                        <a:pt x="205" y="23"/>
                      </a:lnTo>
                      <a:lnTo>
                        <a:pt x="213" y="18"/>
                      </a:lnTo>
                      <a:lnTo>
                        <a:pt x="216" y="25"/>
                      </a:lnTo>
                      <a:lnTo>
                        <a:pt x="220" y="31"/>
                      </a:lnTo>
                      <a:lnTo>
                        <a:pt x="293" y="31"/>
                      </a:lnTo>
                      <a:lnTo>
                        <a:pt x="352" y="6"/>
                      </a:lnTo>
                      <a:lnTo>
                        <a:pt x="359" y="11"/>
                      </a:lnTo>
                      <a:lnTo>
                        <a:pt x="367" y="17"/>
                      </a:lnTo>
                      <a:lnTo>
                        <a:pt x="371" y="21"/>
                      </a:lnTo>
                      <a:lnTo>
                        <a:pt x="376" y="23"/>
                      </a:lnTo>
                      <a:lnTo>
                        <a:pt x="381" y="24"/>
                      </a:lnTo>
                      <a:lnTo>
                        <a:pt x="385" y="25"/>
                      </a:lnTo>
                      <a:lnTo>
                        <a:pt x="396" y="22"/>
                      </a:lnTo>
                      <a:lnTo>
                        <a:pt x="413" y="18"/>
                      </a:lnTo>
                      <a:lnTo>
                        <a:pt x="413" y="28"/>
                      </a:lnTo>
                      <a:lnTo>
                        <a:pt x="413" y="37"/>
                      </a:lnTo>
                      <a:lnTo>
                        <a:pt x="413" y="39"/>
                      </a:lnTo>
                      <a:lnTo>
                        <a:pt x="414" y="41"/>
                      </a:lnTo>
                      <a:lnTo>
                        <a:pt x="415" y="43"/>
                      </a:lnTo>
                      <a:lnTo>
                        <a:pt x="417" y="45"/>
                      </a:lnTo>
                      <a:lnTo>
                        <a:pt x="423" y="49"/>
                      </a:lnTo>
                      <a:lnTo>
                        <a:pt x="429" y="54"/>
                      </a:lnTo>
                      <a:lnTo>
                        <a:pt x="435" y="59"/>
                      </a:lnTo>
                      <a:lnTo>
                        <a:pt x="440" y="64"/>
                      </a:lnTo>
                      <a:lnTo>
                        <a:pt x="443" y="68"/>
                      </a:lnTo>
                      <a:lnTo>
                        <a:pt x="444" y="71"/>
                      </a:lnTo>
                      <a:lnTo>
                        <a:pt x="445" y="76"/>
                      </a:lnTo>
                      <a:lnTo>
                        <a:pt x="446" y="80"/>
                      </a:lnTo>
                      <a:lnTo>
                        <a:pt x="445" y="87"/>
                      </a:lnTo>
                      <a:lnTo>
                        <a:pt x="443" y="92"/>
                      </a:lnTo>
                      <a:lnTo>
                        <a:pt x="438" y="96"/>
                      </a:lnTo>
                      <a:lnTo>
                        <a:pt x="434" y="100"/>
                      </a:lnTo>
                      <a:lnTo>
                        <a:pt x="423" y="106"/>
                      </a:lnTo>
                      <a:lnTo>
                        <a:pt x="413" y="111"/>
                      </a:lnTo>
                      <a:lnTo>
                        <a:pt x="407" y="115"/>
                      </a:lnTo>
                      <a:lnTo>
                        <a:pt x="402" y="118"/>
                      </a:lnTo>
                      <a:lnTo>
                        <a:pt x="397" y="120"/>
                      </a:lnTo>
                      <a:lnTo>
                        <a:pt x="392" y="121"/>
                      </a:lnTo>
                      <a:lnTo>
                        <a:pt x="380" y="123"/>
                      </a:lnTo>
                      <a:lnTo>
                        <a:pt x="366" y="123"/>
                      </a:lnTo>
                      <a:lnTo>
                        <a:pt x="344" y="129"/>
                      </a:lnTo>
                      <a:lnTo>
                        <a:pt x="322" y="137"/>
                      </a:lnTo>
                      <a:lnTo>
                        <a:pt x="300" y="146"/>
                      </a:lnTo>
                      <a:lnTo>
                        <a:pt x="279" y="156"/>
                      </a:lnTo>
                      <a:lnTo>
                        <a:pt x="257" y="164"/>
                      </a:lnTo>
                      <a:lnTo>
                        <a:pt x="234" y="171"/>
                      </a:lnTo>
                      <a:lnTo>
                        <a:pt x="223" y="174"/>
                      </a:lnTo>
                      <a:lnTo>
                        <a:pt x="211" y="176"/>
                      </a:lnTo>
                      <a:lnTo>
                        <a:pt x="199" y="178"/>
                      </a:lnTo>
                      <a:lnTo>
                        <a:pt x="187" y="178"/>
                      </a:lnTo>
                      <a:lnTo>
                        <a:pt x="181" y="177"/>
                      </a:lnTo>
                      <a:lnTo>
                        <a:pt x="177" y="174"/>
                      </a:lnTo>
                      <a:lnTo>
                        <a:pt x="175" y="171"/>
                      </a:lnTo>
                      <a:lnTo>
                        <a:pt x="173" y="166"/>
                      </a:lnTo>
                      <a:lnTo>
                        <a:pt x="172" y="164"/>
                      </a:lnTo>
                      <a:lnTo>
                        <a:pt x="172" y="163"/>
                      </a:lnTo>
                      <a:lnTo>
                        <a:pt x="171" y="162"/>
                      </a:lnTo>
                      <a:lnTo>
                        <a:pt x="170" y="161"/>
                      </a:lnTo>
                      <a:lnTo>
                        <a:pt x="166" y="161"/>
                      </a:lnTo>
                      <a:lnTo>
                        <a:pt x="161" y="161"/>
                      </a:lnTo>
                      <a:lnTo>
                        <a:pt x="156" y="161"/>
                      </a:lnTo>
                      <a:lnTo>
                        <a:pt x="150" y="162"/>
                      </a:lnTo>
                      <a:lnTo>
                        <a:pt x="145" y="162"/>
                      </a:lnTo>
                      <a:lnTo>
                        <a:pt x="139" y="160"/>
                      </a:lnTo>
                      <a:lnTo>
                        <a:pt x="125" y="156"/>
                      </a:lnTo>
                      <a:lnTo>
                        <a:pt x="112" y="152"/>
                      </a:lnTo>
                      <a:lnTo>
                        <a:pt x="100" y="147"/>
                      </a:lnTo>
                      <a:lnTo>
                        <a:pt x="91" y="143"/>
                      </a:lnTo>
                      <a:lnTo>
                        <a:pt x="87" y="140"/>
                      </a:lnTo>
                      <a:lnTo>
                        <a:pt x="85" y="137"/>
                      </a:lnTo>
                      <a:lnTo>
                        <a:pt x="82" y="134"/>
                      </a:lnTo>
                      <a:lnTo>
                        <a:pt x="81" y="129"/>
                      </a:lnTo>
                      <a:lnTo>
                        <a:pt x="81" y="125"/>
                      </a:lnTo>
                      <a:lnTo>
                        <a:pt x="81" y="121"/>
                      </a:lnTo>
                      <a:lnTo>
                        <a:pt x="83" y="116"/>
                      </a:lnTo>
                      <a:lnTo>
                        <a:pt x="87" y="111"/>
                      </a:lnTo>
                      <a:lnTo>
                        <a:pt x="63" y="108"/>
                      </a:lnTo>
                      <a:lnTo>
                        <a:pt x="38" y="104"/>
                      </a:lnTo>
                      <a:lnTo>
                        <a:pt x="27" y="103"/>
                      </a:lnTo>
                      <a:lnTo>
                        <a:pt x="18" y="103"/>
                      </a:lnTo>
                      <a:lnTo>
                        <a:pt x="13" y="104"/>
                      </a:lnTo>
                      <a:lnTo>
                        <a:pt x="9" y="105"/>
                      </a:lnTo>
                      <a:lnTo>
                        <a:pt x="4" y="108"/>
                      </a:lnTo>
                      <a:lnTo>
                        <a:pt x="0" y="111"/>
                      </a:lnTo>
                      <a:lnTo>
                        <a:pt x="0" y="80"/>
                      </a:lnTo>
                      <a:lnTo>
                        <a:pt x="30" y="82"/>
                      </a:lnTo>
                      <a:lnTo>
                        <a:pt x="51" y="85"/>
                      </a:lnTo>
                      <a:lnTo>
                        <a:pt x="60" y="86"/>
                      </a:lnTo>
                      <a:lnTo>
                        <a:pt x="68" y="86"/>
                      </a:lnTo>
                      <a:lnTo>
                        <a:pt x="77" y="84"/>
                      </a:lnTo>
                      <a:lnTo>
                        <a:pt x="87" y="80"/>
                      </a:lnTo>
                      <a:lnTo>
                        <a:pt x="64" y="76"/>
                      </a:lnTo>
                      <a:lnTo>
                        <a:pt x="44" y="71"/>
                      </a:lnTo>
                      <a:lnTo>
                        <a:pt x="23" y="68"/>
                      </a:lnTo>
                      <a:lnTo>
                        <a:pt x="0" y="67"/>
                      </a:lnTo>
                      <a:lnTo>
                        <a:pt x="9" y="62"/>
                      </a:lnTo>
                      <a:lnTo>
                        <a:pt x="16" y="55"/>
                      </a:lnTo>
                      <a:lnTo>
                        <a:pt x="22" y="49"/>
                      </a:lnTo>
                      <a:lnTo>
                        <a:pt x="27" y="4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2" name="Freeform 242">
                  <a:extLst>
                    <a:ext uri="{FF2B5EF4-FFF2-40B4-BE49-F238E27FC236}">
                      <a16:creationId xmlns:a16="http://schemas.microsoft.com/office/drawing/2014/main" xmlns="" id="{CC6DC03C-2EC4-443E-A4F9-1883D9803756}"/>
                    </a:ext>
                  </a:extLst>
                </p:cNvPr>
                <p:cNvSpPr>
                  <a:spLocks/>
                </p:cNvSpPr>
                <p:nvPr>
                  <p:custDataLst>
                    <p:tags r:id="rId169"/>
                  </p:custDataLst>
                </p:nvPr>
              </p:nvSpPr>
              <p:spPr bwMode="auto">
                <a:xfrm>
                  <a:off x="4340225" y="1862138"/>
                  <a:ext cx="14288" cy="57150"/>
                </a:xfrm>
                <a:custGeom>
                  <a:avLst/>
                  <a:gdLst>
                    <a:gd name="T0" fmla="*/ 0 w 28"/>
                    <a:gd name="T1" fmla="*/ 2147483646 h 73"/>
                    <a:gd name="T2" fmla="*/ 2147483646 w 28"/>
                    <a:gd name="T3" fmla="*/ 2147483646 h 73"/>
                    <a:gd name="T4" fmla="*/ 2147483646 w 28"/>
                    <a:gd name="T5" fmla="*/ 2147483646 h 73"/>
                    <a:gd name="T6" fmla="*/ 2147483646 w 28"/>
                    <a:gd name="T7" fmla="*/ 2147483646 h 73"/>
                    <a:gd name="T8" fmla="*/ 2147483646 w 28"/>
                    <a:gd name="T9" fmla="*/ 2147483646 h 73"/>
                    <a:gd name="T10" fmla="*/ 2147483646 w 28"/>
                    <a:gd name="T11" fmla="*/ 2147483646 h 73"/>
                    <a:gd name="T12" fmla="*/ 0 w 28"/>
                    <a:gd name="T13" fmla="*/ 0 h 73"/>
                    <a:gd name="T14" fmla="*/ 2147483646 w 28"/>
                    <a:gd name="T15" fmla="*/ 0 h 73"/>
                    <a:gd name="T16" fmla="*/ 2147483646 w 28"/>
                    <a:gd name="T17" fmla="*/ 2147483646 h 73"/>
                    <a:gd name="T18" fmla="*/ 2147483646 w 28"/>
                    <a:gd name="T19" fmla="*/ 2147483646 h 73"/>
                    <a:gd name="T20" fmla="*/ 2147483646 w 28"/>
                    <a:gd name="T21" fmla="*/ 2147483646 h 73"/>
                    <a:gd name="T22" fmla="*/ 2147483646 w 28"/>
                    <a:gd name="T23" fmla="*/ 2147483646 h 73"/>
                    <a:gd name="T24" fmla="*/ 0 w 28"/>
                    <a:gd name="T25" fmla="*/ 2147483646 h 7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8"/>
                    <a:gd name="T40" fmla="*/ 0 h 73"/>
                    <a:gd name="T41" fmla="*/ 28 w 28"/>
                    <a:gd name="T42" fmla="*/ 73 h 7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8" h="73">
                      <a:moveTo>
                        <a:pt x="0" y="73"/>
                      </a:moveTo>
                      <a:lnTo>
                        <a:pt x="2" y="47"/>
                      </a:lnTo>
                      <a:lnTo>
                        <a:pt x="6" y="28"/>
                      </a:lnTo>
                      <a:lnTo>
                        <a:pt x="7" y="20"/>
                      </a:lnTo>
                      <a:lnTo>
                        <a:pt x="6" y="13"/>
                      </a:lnTo>
                      <a:lnTo>
                        <a:pt x="4" y="7"/>
                      </a:lnTo>
                      <a:lnTo>
                        <a:pt x="0" y="0"/>
                      </a:lnTo>
                      <a:lnTo>
                        <a:pt x="28" y="0"/>
                      </a:lnTo>
                      <a:lnTo>
                        <a:pt x="22" y="16"/>
                      </a:lnTo>
                      <a:lnTo>
                        <a:pt x="17" y="30"/>
                      </a:lnTo>
                      <a:lnTo>
                        <a:pt x="12" y="43"/>
                      </a:lnTo>
                      <a:lnTo>
                        <a:pt x="7" y="55"/>
                      </a:lnTo>
                      <a:lnTo>
                        <a:pt x="0" y="7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3" name="Freeform 243">
                  <a:extLst>
                    <a:ext uri="{FF2B5EF4-FFF2-40B4-BE49-F238E27FC236}">
                      <a16:creationId xmlns:a16="http://schemas.microsoft.com/office/drawing/2014/main" xmlns="" id="{F1AA931C-41A5-4C3F-A0A7-6DA4669A2B64}"/>
                    </a:ext>
                  </a:extLst>
                </p:cNvPr>
                <p:cNvSpPr>
                  <a:spLocks/>
                </p:cNvSpPr>
                <p:nvPr>
                  <p:custDataLst>
                    <p:tags r:id="rId170"/>
                  </p:custDataLst>
                </p:nvPr>
              </p:nvSpPr>
              <p:spPr bwMode="auto">
                <a:xfrm>
                  <a:off x="4227513" y="1525588"/>
                  <a:ext cx="234950" cy="395287"/>
                </a:xfrm>
                <a:custGeom>
                  <a:avLst/>
                  <a:gdLst>
                    <a:gd name="T0" fmla="*/ 2147483646 w 531"/>
                    <a:gd name="T1" fmla="*/ 2147483646 h 757"/>
                    <a:gd name="T2" fmla="*/ 2147483646 w 531"/>
                    <a:gd name="T3" fmla="*/ 2147483646 h 757"/>
                    <a:gd name="T4" fmla="*/ 2147483646 w 531"/>
                    <a:gd name="T5" fmla="*/ 2147483646 h 757"/>
                    <a:gd name="T6" fmla="*/ 2147483646 w 531"/>
                    <a:gd name="T7" fmla="*/ 2147483646 h 757"/>
                    <a:gd name="T8" fmla="*/ 2147483646 w 531"/>
                    <a:gd name="T9" fmla="*/ 2147483646 h 757"/>
                    <a:gd name="T10" fmla="*/ 2147483646 w 531"/>
                    <a:gd name="T11" fmla="*/ 2147483646 h 757"/>
                    <a:gd name="T12" fmla="*/ 2147483646 w 531"/>
                    <a:gd name="T13" fmla="*/ 2147483646 h 757"/>
                    <a:gd name="T14" fmla="*/ 2147483646 w 531"/>
                    <a:gd name="T15" fmla="*/ 2147483646 h 757"/>
                    <a:gd name="T16" fmla="*/ 2147483646 w 531"/>
                    <a:gd name="T17" fmla="*/ 2147483646 h 757"/>
                    <a:gd name="T18" fmla="*/ 2147483646 w 531"/>
                    <a:gd name="T19" fmla="*/ 2147483646 h 757"/>
                    <a:gd name="T20" fmla="*/ 2147483646 w 531"/>
                    <a:gd name="T21" fmla="*/ 2147483646 h 757"/>
                    <a:gd name="T22" fmla="*/ 2147483646 w 531"/>
                    <a:gd name="T23" fmla="*/ 2147483646 h 757"/>
                    <a:gd name="T24" fmla="*/ 2147483646 w 531"/>
                    <a:gd name="T25" fmla="*/ 2147483646 h 757"/>
                    <a:gd name="T26" fmla="*/ 2147483646 w 531"/>
                    <a:gd name="T27" fmla="*/ 2147483646 h 757"/>
                    <a:gd name="T28" fmla="*/ 2147483646 w 531"/>
                    <a:gd name="T29" fmla="*/ 2147483646 h 757"/>
                    <a:gd name="T30" fmla="*/ 2147483646 w 531"/>
                    <a:gd name="T31" fmla="*/ 2147483646 h 757"/>
                    <a:gd name="T32" fmla="*/ 2147483646 w 531"/>
                    <a:gd name="T33" fmla="*/ 2147483646 h 757"/>
                    <a:gd name="T34" fmla="*/ 2147483646 w 531"/>
                    <a:gd name="T35" fmla="*/ 2147483646 h 757"/>
                    <a:gd name="T36" fmla="*/ 2147483646 w 531"/>
                    <a:gd name="T37" fmla="*/ 2147483646 h 757"/>
                    <a:gd name="T38" fmla="*/ 2147483646 w 531"/>
                    <a:gd name="T39" fmla="*/ 2147483646 h 757"/>
                    <a:gd name="T40" fmla="*/ 2147483646 w 531"/>
                    <a:gd name="T41" fmla="*/ 2147483646 h 757"/>
                    <a:gd name="T42" fmla="*/ 2147483646 w 531"/>
                    <a:gd name="T43" fmla="*/ 2147483646 h 757"/>
                    <a:gd name="T44" fmla="*/ 2147483646 w 531"/>
                    <a:gd name="T45" fmla="*/ 2147483646 h 757"/>
                    <a:gd name="T46" fmla="*/ 2147483646 w 531"/>
                    <a:gd name="T47" fmla="*/ 2147483646 h 757"/>
                    <a:gd name="T48" fmla="*/ 2147483646 w 531"/>
                    <a:gd name="T49" fmla="*/ 2147483646 h 757"/>
                    <a:gd name="T50" fmla="*/ 2147483646 w 531"/>
                    <a:gd name="T51" fmla="*/ 2147483646 h 757"/>
                    <a:gd name="T52" fmla="*/ 2147483646 w 531"/>
                    <a:gd name="T53" fmla="*/ 2147483646 h 757"/>
                    <a:gd name="T54" fmla="*/ 2147483646 w 531"/>
                    <a:gd name="T55" fmla="*/ 2147483646 h 757"/>
                    <a:gd name="T56" fmla="*/ 2147483646 w 531"/>
                    <a:gd name="T57" fmla="*/ 2147483646 h 757"/>
                    <a:gd name="T58" fmla="*/ 2147483646 w 531"/>
                    <a:gd name="T59" fmla="*/ 2147483646 h 757"/>
                    <a:gd name="T60" fmla="*/ 2147483646 w 531"/>
                    <a:gd name="T61" fmla="*/ 2147483646 h 757"/>
                    <a:gd name="T62" fmla="*/ 2147483646 w 531"/>
                    <a:gd name="T63" fmla="*/ 2147483646 h 757"/>
                    <a:gd name="T64" fmla="*/ 2147483646 w 531"/>
                    <a:gd name="T65" fmla="*/ 2147483646 h 757"/>
                    <a:gd name="T66" fmla="*/ 2147483646 w 531"/>
                    <a:gd name="T67" fmla="*/ 2147483646 h 757"/>
                    <a:gd name="T68" fmla="*/ 2147483646 w 531"/>
                    <a:gd name="T69" fmla="*/ 2147483646 h 757"/>
                    <a:gd name="T70" fmla="*/ 2147483646 w 531"/>
                    <a:gd name="T71" fmla="*/ 2147483646 h 757"/>
                    <a:gd name="T72" fmla="*/ 2147483646 w 531"/>
                    <a:gd name="T73" fmla="*/ 2147483646 h 757"/>
                    <a:gd name="T74" fmla="*/ 2147483646 w 531"/>
                    <a:gd name="T75" fmla="*/ 2147483646 h 757"/>
                    <a:gd name="T76" fmla="*/ 2147483646 w 531"/>
                    <a:gd name="T77" fmla="*/ 2147483646 h 757"/>
                    <a:gd name="T78" fmla="*/ 2147483646 w 531"/>
                    <a:gd name="T79" fmla="*/ 2147483646 h 757"/>
                    <a:gd name="T80" fmla="*/ 2147483646 w 531"/>
                    <a:gd name="T81" fmla="*/ 2147483646 h 757"/>
                    <a:gd name="T82" fmla="*/ 2147483646 w 531"/>
                    <a:gd name="T83" fmla="*/ 2147483646 h 757"/>
                    <a:gd name="T84" fmla="*/ 2147483646 w 531"/>
                    <a:gd name="T85" fmla="*/ 2147483646 h 757"/>
                    <a:gd name="T86" fmla="*/ 2147483646 w 531"/>
                    <a:gd name="T87" fmla="*/ 2147483646 h 757"/>
                    <a:gd name="T88" fmla="*/ 2147483646 w 531"/>
                    <a:gd name="T89" fmla="*/ 2147483646 h 757"/>
                    <a:gd name="T90" fmla="*/ 2147483646 w 531"/>
                    <a:gd name="T91" fmla="*/ 2147483646 h 757"/>
                    <a:gd name="T92" fmla="*/ 2147483646 w 531"/>
                    <a:gd name="T93" fmla="*/ 2147483646 h 757"/>
                    <a:gd name="T94" fmla="*/ 2147483646 w 531"/>
                    <a:gd name="T95" fmla="*/ 2147483646 h 757"/>
                    <a:gd name="T96" fmla="*/ 2147483646 w 531"/>
                    <a:gd name="T97" fmla="*/ 2147483646 h 757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531"/>
                    <a:gd name="T148" fmla="*/ 0 h 757"/>
                    <a:gd name="T149" fmla="*/ 531 w 531"/>
                    <a:gd name="T150" fmla="*/ 757 h 757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531" h="757">
                      <a:moveTo>
                        <a:pt x="531" y="190"/>
                      </a:moveTo>
                      <a:lnTo>
                        <a:pt x="432" y="190"/>
                      </a:lnTo>
                      <a:lnTo>
                        <a:pt x="428" y="194"/>
                      </a:lnTo>
                      <a:lnTo>
                        <a:pt x="419" y="203"/>
                      </a:lnTo>
                      <a:lnTo>
                        <a:pt x="413" y="208"/>
                      </a:lnTo>
                      <a:lnTo>
                        <a:pt x="409" y="213"/>
                      </a:lnTo>
                      <a:lnTo>
                        <a:pt x="407" y="218"/>
                      </a:lnTo>
                      <a:lnTo>
                        <a:pt x="406" y="221"/>
                      </a:lnTo>
                      <a:lnTo>
                        <a:pt x="404" y="226"/>
                      </a:lnTo>
                      <a:lnTo>
                        <a:pt x="403" y="230"/>
                      </a:lnTo>
                      <a:lnTo>
                        <a:pt x="403" y="233"/>
                      </a:lnTo>
                      <a:lnTo>
                        <a:pt x="404" y="237"/>
                      </a:lnTo>
                      <a:lnTo>
                        <a:pt x="407" y="244"/>
                      </a:lnTo>
                      <a:lnTo>
                        <a:pt x="412" y="252"/>
                      </a:lnTo>
                      <a:lnTo>
                        <a:pt x="397" y="264"/>
                      </a:lnTo>
                      <a:lnTo>
                        <a:pt x="382" y="275"/>
                      </a:lnTo>
                      <a:lnTo>
                        <a:pt x="367" y="284"/>
                      </a:lnTo>
                      <a:lnTo>
                        <a:pt x="353" y="291"/>
                      </a:lnTo>
                      <a:lnTo>
                        <a:pt x="339" y="299"/>
                      </a:lnTo>
                      <a:lnTo>
                        <a:pt x="325" y="306"/>
                      </a:lnTo>
                      <a:lnTo>
                        <a:pt x="311" y="315"/>
                      </a:lnTo>
                      <a:lnTo>
                        <a:pt x="299" y="325"/>
                      </a:lnTo>
                      <a:lnTo>
                        <a:pt x="277" y="338"/>
                      </a:lnTo>
                      <a:lnTo>
                        <a:pt x="252" y="354"/>
                      </a:lnTo>
                      <a:lnTo>
                        <a:pt x="248" y="358"/>
                      </a:lnTo>
                      <a:lnTo>
                        <a:pt x="242" y="361"/>
                      </a:lnTo>
                      <a:lnTo>
                        <a:pt x="239" y="365"/>
                      </a:lnTo>
                      <a:lnTo>
                        <a:pt x="237" y="369"/>
                      </a:lnTo>
                      <a:lnTo>
                        <a:pt x="237" y="372"/>
                      </a:lnTo>
                      <a:lnTo>
                        <a:pt x="238" y="375"/>
                      </a:lnTo>
                      <a:lnTo>
                        <a:pt x="241" y="378"/>
                      </a:lnTo>
                      <a:lnTo>
                        <a:pt x="245" y="381"/>
                      </a:lnTo>
                      <a:lnTo>
                        <a:pt x="245" y="391"/>
                      </a:lnTo>
                      <a:lnTo>
                        <a:pt x="245" y="400"/>
                      </a:lnTo>
                      <a:lnTo>
                        <a:pt x="243" y="413"/>
                      </a:lnTo>
                      <a:lnTo>
                        <a:pt x="240" y="424"/>
                      </a:lnTo>
                      <a:lnTo>
                        <a:pt x="238" y="430"/>
                      </a:lnTo>
                      <a:lnTo>
                        <a:pt x="238" y="436"/>
                      </a:lnTo>
                      <a:lnTo>
                        <a:pt x="238" y="443"/>
                      </a:lnTo>
                      <a:lnTo>
                        <a:pt x="239" y="449"/>
                      </a:lnTo>
                      <a:lnTo>
                        <a:pt x="243" y="456"/>
                      </a:lnTo>
                      <a:lnTo>
                        <a:pt x="249" y="461"/>
                      </a:lnTo>
                      <a:lnTo>
                        <a:pt x="255" y="465"/>
                      </a:lnTo>
                      <a:lnTo>
                        <a:pt x="262" y="468"/>
                      </a:lnTo>
                      <a:lnTo>
                        <a:pt x="277" y="473"/>
                      </a:lnTo>
                      <a:lnTo>
                        <a:pt x="293" y="477"/>
                      </a:lnTo>
                      <a:lnTo>
                        <a:pt x="308" y="480"/>
                      </a:lnTo>
                      <a:lnTo>
                        <a:pt x="320" y="485"/>
                      </a:lnTo>
                      <a:lnTo>
                        <a:pt x="326" y="488"/>
                      </a:lnTo>
                      <a:lnTo>
                        <a:pt x="329" y="492"/>
                      </a:lnTo>
                      <a:lnTo>
                        <a:pt x="331" y="499"/>
                      </a:lnTo>
                      <a:lnTo>
                        <a:pt x="332" y="505"/>
                      </a:lnTo>
                      <a:lnTo>
                        <a:pt x="332" y="517"/>
                      </a:lnTo>
                      <a:lnTo>
                        <a:pt x="332" y="529"/>
                      </a:lnTo>
                      <a:lnTo>
                        <a:pt x="321" y="530"/>
                      </a:lnTo>
                      <a:lnTo>
                        <a:pt x="310" y="531"/>
                      </a:lnTo>
                      <a:lnTo>
                        <a:pt x="299" y="534"/>
                      </a:lnTo>
                      <a:lnTo>
                        <a:pt x="289" y="537"/>
                      </a:lnTo>
                      <a:lnTo>
                        <a:pt x="280" y="542"/>
                      </a:lnTo>
                      <a:lnTo>
                        <a:pt x="272" y="547"/>
                      </a:lnTo>
                      <a:lnTo>
                        <a:pt x="270" y="551"/>
                      </a:lnTo>
                      <a:lnTo>
                        <a:pt x="267" y="554"/>
                      </a:lnTo>
                      <a:lnTo>
                        <a:pt x="266" y="557"/>
                      </a:lnTo>
                      <a:lnTo>
                        <a:pt x="265" y="560"/>
                      </a:lnTo>
                      <a:lnTo>
                        <a:pt x="264" y="576"/>
                      </a:lnTo>
                      <a:lnTo>
                        <a:pt x="262" y="593"/>
                      </a:lnTo>
                      <a:lnTo>
                        <a:pt x="258" y="612"/>
                      </a:lnTo>
                      <a:lnTo>
                        <a:pt x="252" y="631"/>
                      </a:lnTo>
                      <a:lnTo>
                        <a:pt x="248" y="651"/>
                      </a:lnTo>
                      <a:lnTo>
                        <a:pt x="243" y="673"/>
                      </a:lnTo>
                      <a:lnTo>
                        <a:pt x="240" y="695"/>
                      </a:lnTo>
                      <a:lnTo>
                        <a:pt x="239" y="721"/>
                      </a:lnTo>
                      <a:lnTo>
                        <a:pt x="224" y="721"/>
                      </a:lnTo>
                      <a:lnTo>
                        <a:pt x="206" y="722"/>
                      </a:lnTo>
                      <a:lnTo>
                        <a:pt x="189" y="724"/>
                      </a:lnTo>
                      <a:lnTo>
                        <a:pt x="173" y="727"/>
                      </a:lnTo>
                      <a:lnTo>
                        <a:pt x="166" y="730"/>
                      </a:lnTo>
                      <a:lnTo>
                        <a:pt x="161" y="732"/>
                      </a:lnTo>
                      <a:lnTo>
                        <a:pt x="155" y="735"/>
                      </a:lnTo>
                      <a:lnTo>
                        <a:pt x="152" y="738"/>
                      </a:lnTo>
                      <a:lnTo>
                        <a:pt x="150" y="742"/>
                      </a:lnTo>
                      <a:lnTo>
                        <a:pt x="149" y="747"/>
                      </a:lnTo>
                      <a:lnTo>
                        <a:pt x="150" y="751"/>
                      </a:lnTo>
                      <a:lnTo>
                        <a:pt x="153" y="757"/>
                      </a:lnTo>
                      <a:lnTo>
                        <a:pt x="142" y="757"/>
                      </a:lnTo>
                      <a:lnTo>
                        <a:pt x="127" y="757"/>
                      </a:lnTo>
                      <a:lnTo>
                        <a:pt x="113" y="757"/>
                      </a:lnTo>
                      <a:lnTo>
                        <a:pt x="106" y="757"/>
                      </a:lnTo>
                      <a:lnTo>
                        <a:pt x="104" y="757"/>
                      </a:lnTo>
                      <a:lnTo>
                        <a:pt x="101" y="756"/>
                      </a:lnTo>
                      <a:lnTo>
                        <a:pt x="98" y="754"/>
                      </a:lnTo>
                      <a:lnTo>
                        <a:pt x="95" y="752"/>
                      </a:lnTo>
                      <a:lnTo>
                        <a:pt x="90" y="746"/>
                      </a:lnTo>
                      <a:lnTo>
                        <a:pt x="84" y="738"/>
                      </a:lnTo>
                      <a:lnTo>
                        <a:pt x="77" y="729"/>
                      </a:lnTo>
                      <a:lnTo>
                        <a:pt x="71" y="718"/>
                      </a:lnTo>
                      <a:lnTo>
                        <a:pt x="65" y="706"/>
                      </a:lnTo>
                      <a:lnTo>
                        <a:pt x="60" y="693"/>
                      </a:lnTo>
                      <a:lnTo>
                        <a:pt x="49" y="667"/>
                      </a:lnTo>
                      <a:lnTo>
                        <a:pt x="41" y="640"/>
                      </a:lnTo>
                      <a:lnTo>
                        <a:pt x="38" y="628"/>
                      </a:lnTo>
                      <a:lnTo>
                        <a:pt x="35" y="616"/>
                      </a:lnTo>
                      <a:lnTo>
                        <a:pt x="34" y="606"/>
                      </a:lnTo>
                      <a:lnTo>
                        <a:pt x="34" y="597"/>
                      </a:lnTo>
                      <a:lnTo>
                        <a:pt x="27" y="596"/>
                      </a:lnTo>
                      <a:lnTo>
                        <a:pt x="22" y="594"/>
                      </a:lnTo>
                      <a:lnTo>
                        <a:pt x="17" y="590"/>
                      </a:lnTo>
                      <a:lnTo>
                        <a:pt x="14" y="586"/>
                      </a:lnTo>
                      <a:lnTo>
                        <a:pt x="8" y="576"/>
                      </a:lnTo>
                      <a:lnTo>
                        <a:pt x="0" y="566"/>
                      </a:lnTo>
                      <a:lnTo>
                        <a:pt x="9" y="563"/>
                      </a:lnTo>
                      <a:lnTo>
                        <a:pt x="19" y="561"/>
                      </a:lnTo>
                      <a:lnTo>
                        <a:pt x="27" y="560"/>
                      </a:lnTo>
                      <a:lnTo>
                        <a:pt x="34" y="560"/>
                      </a:lnTo>
                      <a:lnTo>
                        <a:pt x="34" y="548"/>
                      </a:lnTo>
                      <a:lnTo>
                        <a:pt x="36" y="538"/>
                      </a:lnTo>
                      <a:lnTo>
                        <a:pt x="38" y="528"/>
                      </a:lnTo>
                      <a:lnTo>
                        <a:pt x="42" y="519"/>
                      </a:lnTo>
                      <a:lnTo>
                        <a:pt x="47" y="511"/>
                      </a:lnTo>
                      <a:lnTo>
                        <a:pt x="53" y="504"/>
                      </a:lnTo>
                      <a:lnTo>
                        <a:pt x="59" y="498"/>
                      </a:lnTo>
                      <a:lnTo>
                        <a:pt x="67" y="492"/>
                      </a:lnTo>
                      <a:lnTo>
                        <a:pt x="62" y="480"/>
                      </a:lnTo>
                      <a:lnTo>
                        <a:pt x="61" y="471"/>
                      </a:lnTo>
                      <a:lnTo>
                        <a:pt x="61" y="464"/>
                      </a:lnTo>
                      <a:lnTo>
                        <a:pt x="61" y="457"/>
                      </a:lnTo>
                      <a:lnTo>
                        <a:pt x="63" y="450"/>
                      </a:lnTo>
                      <a:lnTo>
                        <a:pt x="64" y="441"/>
                      </a:lnTo>
                      <a:lnTo>
                        <a:pt x="65" y="428"/>
                      </a:lnTo>
                      <a:lnTo>
                        <a:pt x="67" y="412"/>
                      </a:lnTo>
                      <a:lnTo>
                        <a:pt x="62" y="410"/>
                      </a:lnTo>
                      <a:lnTo>
                        <a:pt x="58" y="408"/>
                      </a:lnTo>
                      <a:lnTo>
                        <a:pt x="54" y="404"/>
                      </a:lnTo>
                      <a:lnTo>
                        <a:pt x="51" y="400"/>
                      </a:lnTo>
                      <a:lnTo>
                        <a:pt x="47" y="390"/>
                      </a:lnTo>
                      <a:lnTo>
                        <a:pt x="43" y="377"/>
                      </a:lnTo>
                      <a:lnTo>
                        <a:pt x="40" y="354"/>
                      </a:lnTo>
                      <a:lnTo>
                        <a:pt x="40" y="338"/>
                      </a:lnTo>
                      <a:lnTo>
                        <a:pt x="60" y="277"/>
                      </a:lnTo>
                      <a:lnTo>
                        <a:pt x="74" y="276"/>
                      </a:lnTo>
                      <a:lnTo>
                        <a:pt x="88" y="275"/>
                      </a:lnTo>
                      <a:lnTo>
                        <a:pt x="94" y="274"/>
                      </a:lnTo>
                      <a:lnTo>
                        <a:pt x="99" y="274"/>
                      </a:lnTo>
                      <a:lnTo>
                        <a:pt x="103" y="275"/>
                      </a:lnTo>
                      <a:lnTo>
                        <a:pt x="106" y="277"/>
                      </a:lnTo>
                      <a:lnTo>
                        <a:pt x="107" y="261"/>
                      </a:lnTo>
                      <a:lnTo>
                        <a:pt x="109" y="247"/>
                      </a:lnTo>
                      <a:lnTo>
                        <a:pt x="113" y="234"/>
                      </a:lnTo>
                      <a:lnTo>
                        <a:pt x="118" y="222"/>
                      </a:lnTo>
                      <a:lnTo>
                        <a:pt x="124" y="211"/>
                      </a:lnTo>
                      <a:lnTo>
                        <a:pt x="130" y="201"/>
                      </a:lnTo>
                      <a:lnTo>
                        <a:pt x="137" y="192"/>
                      </a:lnTo>
                      <a:lnTo>
                        <a:pt x="144" y="183"/>
                      </a:lnTo>
                      <a:lnTo>
                        <a:pt x="160" y="168"/>
                      </a:lnTo>
                      <a:lnTo>
                        <a:pt x="173" y="152"/>
                      </a:lnTo>
                      <a:lnTo>
                        <a:pt x="180" y="145"/>
                      </a:lnTo>
                      <a:lnTo>
                        <a:pt x="185" y="138"/>
                      </a:lnTo>
                      <a:lnTo>
                        <a:pt x="189" y="130"/>
                      </a:lnTo>
                      <a:lnTo>
                        <a:pt x="193" y="123"/>
                      </a:lnTo>
                      <a:lnTo>
                        <a:pt x="198" y="111"/>
                      </a:lnTo>
                      <a:lnTo>
                        <a:pt x="205" y="97"/>
                      </a:lnTo>
                      <a:lnTo>
                        <a:pt x="213" y="83"/>
                      </a:lnTo>
                      <a:lnTo>
                        <a:pt x="220" y="71"/>
                      </a:lnTo>
                      <a:lnTo>
                        <a:pt x="228" y="60"/>
                      </a:lnTo>
                      <a:lnTo>
                        <a:pt x="237" y="51"/>
                      </a:lnTo>
                      <a:lnTo>
                        <a:pt x="241" y="47"/>
                      </a:lnTo>
                      <a:lnTo>
                        <a:pt x="244" y="44"/>
                      </a:lnTo>
                      <a:lnTo>
                        <a:pt x="249" y="43"/>
                      </a:lnTo>
                      <a:lnTo>
                        <a:pt x="252" y="42"/>
                      </a:lnTo>
                      <a:lnTo>
                        <a:pt x="272" y="36"/>
                      </a:lnTo>
                      <a:lnTo>
                        <a:pt x="291" y="32"/>
                      </a:lnTo>
                      <a:lnTo>
                        <a:pt x="309" y="29"/>
                      </a:lnTo>
                      <a:lnTo>
                        <a:pt x="327" y="25"/>
                      </a:lnTo>
                      <a:lnTo>
                        <a:pt x="344" y="22"/>
                      </a:lnTo>
                      <a:lnTo>
                        <a:pt x="361" y="16"/>
                      </a:lnTo>
                      <a:lnTo>
                        <a:pt x="368" y="13"/>
                      </a:lnTo>
                      <a:lnTo>
                        <a:pt x="376" y="9"/>
                      </a:lnTo>
                      <a:lnTo>
                        <a:pt x="384" y="5"/>
                      </a:lnTo>
                      <a:lnTo>
                        <a:pt x="392" y="0"/>
                      </a:lnTo>
                      <a:lnTo>
                        <a:pt x="401" y="5"/>
                      </a:lnTo>
                      <a:lnTo>
                        <a:pt x="409" y="11"/>
                      </a:lnTo>
                      <a:lnTo>
                        <a:pt x="416" y="18"/>
                      </a:lnTo>
                      <a:lnTo>
                        <a:pt x="423" y="25"/>
                      </a:lnTo>
                      <a:lnTo>
                        <a:pt x="431" y="32"/>
                      </a:lnTo>
                      <a:lnTo>
                        <a:pt x="441" y="37"/>
                      </a:lnTo>
                      <a:lnTo>
                        <a:pt x="445" y="39"/>
                      </a:lnTo>
                      <a:lnTo>
                        <a:pt x="452" y="41"/>
                      </a:lnTo>
                      <a:lnTo>
                        <a:pt x="457" y="42"/>
                      </a:lnTo>
                      <a:lnTo>
                        <a:pt x="465" y="42"/>
                      </a:lnTo>
                      <a:lnTo>
                        <a:pt x="487" y="72"/>
                      </a:lnTo>
                      <a:lnTo>
                        <a:pt x="508" y="102"/>
                      </a:lnTo>
                      <a:lnTo>
                        <a:pt x="513" y="111"/>
                      </a:lnTo>
                      <a:lnTo>
                        <a:pt x="518" y="120"/>
                      </a:lnTo>
                      <a:lnTo>
                        <a:pt x="521" y="129"/>
                      </a:lnTo>
                      <a:lnTo>
                        <a:pt x="524" y="139"/>
                      </a:lnTo>
                      <a:lnTo>
                        <a:pt x="528" y="150"/>
                      </a:lnTo>
                      <a:lnTo>
                        <a:pt x="530" y="163"/>
                      </a:lnTo>
                      <a:lnTo>
                        <a:pt x="531" y="176"/>
                      </a:lnTo>
                      <a:lnTo>
                        <a:pt x="531" y="19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4" name="Freeform 244">
                  <a:extLst>
                    <a:ext uri="{FF2B5EF4-FFF2-40B4-BE49-F238E27FC236}">
                      <a16:creationId xmlns:a16="http://schemas.microsoft.com/office/drawing/2014/main" xmlns="" id="{F0EB56EA-A7A0-49AA-BB43-11E16780E853}"/>
                    </a:ext>
                  </a:extLst>
                </p:cNvPr>
                <p:cNvSpPr>
                  <a:spLocks/>
                </p:cNvSpPr>
                <p:nvPr>
                  <p:custDataLst>
                    <p:tags r:id="rId171"/>
                  </p:custDataLst>
                </p:nvPr>
              </p:nvSpPr>
              <p:spPr bwMode="auto">
                <a:xfrm>
                  <a:off x="4365625" y="1839913"/>
                  <a:ext cx="26988" cy="57150"/>
                </a:xfrm>
                <a:custGeom>
                  <a:avLst/>
                  <a:gdLst>
                    <a:gd name="T0" fmla="*/ 0 w 60"/>
                    <a:gd name="T1" fmla="*/ 2147483646 h 51"/>
                    <a:gd name="T2" fmla="*/ 2147483646 w 60"/>
                    <a:gd name="T3" fmla="*/ 2147483646 h 51"/>
                    <a:gd name="T4" fmla="*/ 2147483646 w 60"/>
                    <a:gd name="T5" fmla="*/ 2147483646 h 51"/>
                    <a:gd name="T6" fmla="*/ 2147483646 w 60"/>
                    <a:gd name="T7" fmla="*/ 2147483646 h 51"/>
                    <a:gd name="T8" fmla="*/ 2147483646 w 60"/>
                    <a:gd name="T9" fmla="*/ 2147483646 h 51"/>
                    <a:gd name="T10" fmla="*/ 2147483646 w 60"/>
                    <a:gd name="T11" fmla="*/ 2147483646 h 51"/>
                    <a:gd name="T12" fmla="*/ 2147483646 w 60"/>
                    <a:gd name="T13" fmla="*/ 0 h 51"/>
                    <a:gd name="T14" fmla="*/ 2147483646 w 60"/>
                    <a:gd name="T15" fmla="*/ 2147483646 h 51"/>
                    <a:gd name="T16" fmla="*/ 2147483646 w 60"/>
                    <a:gd name="T17" fmla="*/ 2147483646 h 51"/>
                    <a:gd name="T18" fmla="*/ 2147483646 w 60"/>
                    <a:gd name="T19" fmla="*/ 2147483646 h 51"/>
                    <a:gd name="T20" fmla="*/ 2147483646 w 60"/>
                    <a:gd name="T21" fmla="*/ 2147483646 h 51"/>
                    <a:gd name="T22" fmla="*/ 2147483646 w 60"/>
                    <a:gd name="T23" fmla="*/ 2147483646 h 51"/>
                    <a:gd name="T24" fmla="*/ 2147483646 w 60"/>
                    <a:gd name="T25" fmla="*/ 2147483646 h 51"/>
                    <a:gd name="T26" fmla="*/ 2147483646 w 60"/>
                    <a:gd name="T27" fmla="*/ 2147483646 h 51"/>
                    <a:gd name="T28" fmla="*/ 2147483646 w 60"/>
                    <a:gd name="T29" fmla="*/ 2147483646 h 51"/>
                    <a:gd name="T30" fmla="*/ 2147483646 w 60"/>
                    <a:gd name="T31" fmla="*/ 2147483646 h 51"/>
                    <a:gd name="T32" fmla="*/ 2147483646 w 60"/>
                    <a:gd name="T33" fmla="*/ 2147483646 h 51"/>
                    <a:gd name="T34" fmla="*/ 2147483646 w 60"/>
                    <a:gd name="T35" fmla="*/ 2147483646 h 51"/>
                    <a:gd name="T36" fmla="*/ 2147483646 w 60"/>
                    <a:gd name="T37" fmla="*/ 2147483646 h 51"/>
                    <a:gd name="T38" fmla="*/ 2147483646 w 60"/>
                    <a:gd name="T39" fmla="*/ 2147483646 h 51"/>
                    <a:gd name="T40" fmla="*/ 2147483646 w 60"/>
                    <a:gd name="T41" fmla="*/ 2147483646 h 51"/>
                    <a:gd name="T42" fmla="*/ 2147483646 w 60"/>
                    <a:gd name="T43" fmla="*/ 2147483646 h 51"/>
                    <a:gd name="T44" fmla="*/ 0 w 60"/>
                    <a:gd name="T45" fmla="*/ 2147483646 h 51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60"/>
                    <a:gd name="T70" fmla="*/ 0 h 51"/>
                    <a:gd name="T71" fmla="*/ 60 w 60"/>
                    <a:gd name="T72" fmla="*/ 51 h 51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60" h="51">
                      <a:moveTo>
                        <a:pt x="0" y="37"/>
                      </a:moveTo>
                      <a:lnTo>
                        <a:pt x="6" y="30"/>
                      </a:lnTo>
                      <a:lnTo>
                        <a:pt x="15" y="19"/>
                      </a:lnTo>
                      <a:lnTo>
                        <a:pt x="20" y="13"/>
                      </a:lnTo>
                      <a:lnTo>
                        <a:pt x="27" y="8"/>
                      </a:lnTo>
                      <a:lnTo>
                        <a:pt x="33" y="4"/>
                      </a:lnTo>
                      <a:lnTo>
                        <a:pt x="40" y="0"/>
                      </a:lnTo>
                      <a:lnTo>
                        <a:pt x="50" y="7"/>
                      </a:lnTo>
                      <a:lnTo>
                        <a:pt x="60" y="13"/>
                      </a:lnTo>
                      <a:lnTo>
                        <a:pt x="59" y="20"/>
                      </a:lnTo>
                      <a:lnTo>
                        <a:pt x="56" y="29"/>
                      </a:lnTo>
                      <a:lnTo>
                        <a:pt x="54" y="34"/>
                      </a:lnTo>
                      <a:lnTo>
                        <a:pt x="52" y="38"/>
                      </a:lnTo>
                      <a:lnTo>
                        <a:pt x="49" y="42"/>
                      </a:lnTo>
                      <a:lnTo>
                        <a:pt x="45" y="45"/>
                      </a:lnTo>
                      <a:lnTo>
                        <a:pt x="41" y="48"/>
                      </a:lnTo>
                      <a:lnTo>
                        <a:pt x="37" y="50"/>
                      </a:lnTo>
                      <a:lnTo>
                        <a:pt x="31" y="51"/>
                      </a:lnTo>
                      <a:lnTo>
                        <a:pt x="27" y="51"/>
                      </a:lnTo>
                      <a:lnTo>
                        <a:pt x="20" y="50"/>
                      </a:lnTo>
                      <a:lnTo>
                        <a:pt x="15" y="47"/>
                      </a:lnTo>
                      <a:lnTo>
                        <a:pt x="7" y="43"/>
                      </a:lnTo>
                      <a:lnTo>
                        <a:pt x="0" y="3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5" name="Freeform 245">
                  <a:extLst>
                    <a:ext uri="{FF2B5EF4-FFF2-40B4-BE49-F238E27FC236}">
                      <a16:creationId xmlns:a16="http://schemas.microsoft.com/office/drawing/2014/main" xmlns="" id="{EA53E582-4263-4000-A4B6-C53F8FA6C87B}"/>
                    </a:ext>
                  </a:extLst>
                </p:cNvPr>
                <p:cNvSpPr>
                  <a:spLocks/>
                </p:cNvSpPr>
                <p:nvPr>
                  <p:custDataLst>
                    <p:tags r:id="rId172"/>
                  </p:custDataLst>
                </p:nvPr>
              </p:nvSpPr>
              <p:spPr bwMode="auto">
                <a:xfrm>
                  <a:off x="3810000" y="2001838"/>
                  <a:ext cx="28575" cy="57150"/>
                </a:xfrm>
                <a:custGeom>
                  <a:avLst/>
                  <a:gdLst>
                    <a:gd name="T0" fmla="*/ 2147483646 w 66"/>
                    <a:gd name="T1" fmla="*/ 2147483646 h 51"/>
                    <a:gd name="T2" fmla="*/ 2147483646 w 66"/>
                    <a:gd name="T3" fmla="*/ 2147483646 h 51"/>
                    <a:gd name="T4" fmla="*/ 2147483646 w 66"/>
                    <a:gd name="T5" fmla="*/ 2147483646 h 51"/>
                    <a:gd name="T6" fmla="*/ 2147483646 w 66"/>
                    <a:gd name="T7" fmla="*/ 2147483646 h 51"/>
                    <a:gd name="T8" fmla="*/ 2147483646 w 66"/>
                    <a:gd name="T9" fmla="*/ 2147483646 h 51"/>
                    <a:gd name="T10" fmla="*/ 2147483646 w 66"/>
                    <a:gd name="T11" fmla="*/ 2147483646 h 51"/>
                    <a:gd name="T12" fmla="*/ 2147483646 w 66"/>
                    <a:gd name="T13" fmla="*/ 2147483646 h 51"/>
                    <a:gd name="T14" fmla="*/ 2147483646 w 66"/>
                    <a:gd name="T15" fmla="*/ 2147483646 h 51"/>
                    <a:gd name="T16" fmla="*/ 2147483646 w 66"/>
                    <a:gd name="T17" fmla="*/ 2147483646 h 51"/>
                    <a:gd name="T18" fmla="*/ 0 w 66"/>
                    <a:gd name="T19" fmla="*/ 2147483646 h 51"/>
                    <a:gd name="T20" fmla="*/ 0 w 66"/>
                    <a:gd name="T21" fmla="*/ 2147483646 h 51"/>
                    <a:gd name="T22" fmla="*/ 2147483646 w 66"/>
                    <a:gd name="T23" fmla="*/ 2147483646 h 51"/>
                    <a:gd name="T24" fmla="*/ 2147483646 w 66"/>
                    <a:gd name="T25" fmla="*/ 2147483646 h 51"/>
                    <a:gd name="T26" fmla="*/ 2147483646 w 66"/>
                    <a:gd name="T27" fmla="*/ 2147483646 h 51"/>
                    <a:gd name="T28" fmla="*/ 2147483646 w 66"/>
                    <a:gd name="T29" fmla="*/ 2147483646 h 51"/>
                    <a:gd name="T30" fmla="*/ 2147483646 w 66"/>
                    <a:gd name="T31" fmla="*/ 2147483646 h 51"/>
                    <a:gd name="T32" fmla="*/ 2147483646 w 66"/>
                    <a:gd name="T33" fmla="*/ 0 h 51"/>
                    <a:gd name="T34" fmla="*/ 2147483646 w 66"/>
                    <a:gd name="T35" fmla="*/ 2147483646 h 51"/>
                    <a:gd name="T36" fmla="*/ 2147483646 w 66"/>
                    <a:gd name="T37" fmla="*/ 2147483646 h 51"/>
                    <a:gd name="T38" fmla="*/ 2147483646 w 66"/>
                    <a:gd name="T39" fmla="*/ 2147483646 h 51"/>
                    <a:gd name="T40" fmla="*/ 2147483646 w 66"/>
                    <a:gd name="T41" fmla="*/ 0 h 51"/>
                    <a:gd name="T42" fmla="*/ 2147483646 w 66"/>
                    <a:gd name="T43" fmla="*/ 2147483646 h 51"/>
                    <a:gd name="T44" fmla="*/ 2147483646 w 66"/>
                    <a:gd name="T45" fmla="*/ 2147483646 h 51"/>
                    <a:gd name="T46" fmla="*/ 2147483646 w 66"/>
                    <a:gd name="T47" fmla="*/ 2147483646 h 51"/>
                    <a:gd name="T48" fmla="*/ 2147483646 w 66"/>
                    <a:gd name="T49" fmla="*/ 2147483646 h 51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66"/>
                    <a:gd name="T76" fmla="*/ 0 h 51"/>
                    <a:gd name="T77" fmla="*/ 66 w 66"/>
                    <a:gd name="T78" fmla="*/ 51 h 51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66" h="51">
                      <a:moveTo>
                        <a:pt x="59" y="48"/>
                      </a:moveTo>
                      <a:lnTo>
                        <a:pt x="42" y="50"/>
                      </a:lnTo>
                      <a:lnTo>
                        <a:pt x="22" y="51"/>
                      </a:lnTo>
                      <a:lnTo>
                        <a:pt x="17" y="50"/>
                      </a:lnTo>
                      <a:lnTo>
                        <a:pt x="13" y="49"/>
                      </a:lnTo>
                      <a:lnTo>
                        <a:pt x="10" y="48"/>
                      </a:lnTo>
                      <a:lnTo>
                        <a:pt x="7" y="46"/>
                      </a:lnTo>
                      <a:lnTo>
                        <a:pt x="3" y="43"/>
                      </a:lnTo>
                      <a:lnTo>
                        <a:pt x="1" y="40"/>
                      </a:lnTo>
                      <a:lnTo>
                        <a:pt x="0" y="35"/>
                      </a:lnTo>
                      <a:lnTo>
                        <a:pt x="0" y="30"/>
                      </a:lnTo>
                      <a:lnTo>
                        <a:pt x="4" y="29"/>
                      </a:lnTo>
                      <a:lnTo>
                        <a:pt x="10" y="27"/>
                      </a:lnTo>
                      <a:lnTo>
                        <a:pt x="14" y="24"/>
                      </a:lnTo>
                      <a:lnTo>
                        <a:pt x="19" y="20"/>
                      </a:lnTo>
                      <a:lnTo>
                        <a:pt x="26" y="10"/>
                      </a:lnTo>
                      <a:lnTo>
                        <a:pt x="33" y="0"/>
                      </a:lnTo>
                      <a:lnTo>
                        <a:pt x="46" y="1"/>
                      </a:lnTo>
                      <a:lnTo>
                        <a:pt x="52" y="2"/>
                      </a:lnTo>
                      <a:lnTo>
                        <a:pt x="56" y="3"/>
                      </a:lnTo>
                      <a:lnTo>
                        <a:pt x="66" y="0"/>
                      </a:lnTo>
                      <a:lnTo>
                        <a:pt x="65" y="13"/>
                      </a:lnTo>
                      <a:lnTo>
                        <a:pt x="63" y="24"/>
                      </a:lnTo>
                      <a:lnTo>
                        <a:pt x="60" y="36"/>
                      </a:lnTo>
                      <a:lnTo>
                        <a:pt x="59" y="4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6" name="Freeform 246">
                  <a:extLst>
                    <a:ext uri="{FF2B5EF4-FFF2-40B4-BE49-F238E27FC236}">
                      <a16:creationId xmlns:a16="http://schemas.microsoft.com/office/drawing/2014/main" xmlns="" id="{82782493-88C0-4C94-B76C-7B027E48E76A}"/>
                    </a:ext>
                  </a:extLst>
                </p:cNvPr>
                <p:cNvSpPr>
                  <a:spLocks/>
                </p:cNvSpPr>
                <p:nvPr>
                  <p:custDataLst>
                    <p:tags r:id="rId173"/>
                  </p:custDataLst>
                </p:nvPr>
              </p:nvSpPr>
              <p:spPr bwMode="auto">
                <a:xfrm>
                  <a:off x="4762500" y="2530475"/>
                  <a:ext cx="50800" cy="57150"/>
                </a:xfrm>
                <a:custGeom>
                  <a:avLst/>
                  <a:gdLst>
                    <a:gd name="T0" fmla="*/ 0 w 113"/>
                    <a:gd name="T1" fmla="*/ 2147483646 h 74"/>
                    <a:gd name="T2" fmla="*/ 2147483646 w 113"/>
                    <a:gd name="T3" fmla="*/ 2147483646 h 74"/>
                    <a:gd name="T4" fmla="*/ 2147483646 w 113"/>
                    <a:gd name="T5" fmla="*/ 2147483646 h 74"/>
                    <a:gd name="T6" fmla="*/ 2147483646 w 113"/>
                    <a:gd name="T7" fmla="*/ 2147483646 h 74"/>
                    <a:gd name="T8" fmla="*/ 2147483646 w 113"/>
                    <a:gd name="T9" fmla="*/ 2147483646 h 74"/>
                    <a:gd name="T10" fmla="*/ 2147483646 w 113"/>
                    <a:gd name="T11" fmla="*/ 2147483646 h 74"/>
                    <a:gd name="T12" fmla="*/ 2147483646 w 113"/>
                    <a:gd name="T13" fmla="*/ 2147483646 h 74"/>
                    <a:gd name="T14" fmla="*/ 2147483646 w 113"/>
                    <a:gd name="T15" fmla="*/ 2147483646 h 74"/>
                    <a:gd name="T16" fmla="*/ 2147483646 w 113"/>
                    <a:gd name="T17" fmla="*/ 2147483646 h 74"/>
                    <a:gd name="T18" fmla="*/ 2147483646 w 113"/>
                    <a:gd name="T19" fmla="*/ 2147483646 h 74"/>
                    <a:gd name="T20" fmla="*/ 2147483646 w 113"/>
                    <a:gd name="T21" fmla="*/ 2147483646 h 74"/>
                    <a:gd name="T22" fmla="*/ 2147483646 w 113"/>
                    <a:gd name="T23" fmla="*/ 2147483646 h 74"/>
                    <a:gd name="T24" fmla="*/ 2147483646 w 113"/>
                    <a:gd name="T25" fmla="*/ 2147483646 h 74"/>
                    <a:gd name="T26" fmla="*/ 2147483646 w 113"/>
                    <a:gd name="T27" fmla="*/ 2147483646 h 74"/>
                    <a:gd name="T28" fmla="*/ 2147483646 w 113"/>
                    <a:gd name="T29" fmla="*/ 2147483646 h 74"/>
                    <a:gd name="T30" fmla="*/ 2147483646 w 113"/>
                    <a:gd name="T31" fmla="*/ 2147483646 h 74"/>
                    <a:gd name="T32" fmla="*/ 2147483646 w 113"/>
                    <a:gd name="T33" fmla="*/ 2147483646 h 74"/>
                    <a:gd name="T34" fmla="*/ 2147483646 w 113"/>
                    <a:gd name="T35" fmla="*/ 2147483646 h 74"/>
                    <a:gd name="T36" fmla="*/ 2147483646 w 113"/>
                    <a:gd name="T37" fmla="*/ 2147483646 h 74"/>
                    <a:gd name="T38" fmla="*/ 2147483646 w 113"/>
                    <a:gd name="T39" fmla="*/ 0 h 74"/>
                    <a:gd name="T40" fmla="*/ 2147483646 w 113"/>
                    <a:gd name="T41" fmla="*/ 2147483646 h 74"/>
                    <a:gd name="T42" fmla="*/ 2147483646 w 113"/>
                    <a:gd name="T43" fmla="*/ 2147483646 h 74"/>
                    <a:gd name="T44" fmla="*/ 2147483646 w 113"/>
                    <a:gd name="T45" fmla="*/ 2147483646 h 74"/>
                    <a:gd name="T46" fmla="*/ 2147483646 w 113"/>
                    <a:gd name="T47" fmla="*/ 2147483646 h 74"/>
                    <a:gd name="T48" fmla="*/ 2147483646 w 113"/>
                    <a:gd name="T49" fmla="*/ 2147483646 h 74"/>
                    <a:gd name="T50" fmla="*/ 0 w 113"/>
                    <a:gd name="T51" fmla="*/ 2147483646 h 7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13"/>
                    <a:gd name="T79" fmla="*/ 0 h 74"/>
                    <a:gd name="T80" fmla="*/ 113 w 113"/>
                    <a:gd name="T81" fmla="*/ 74 h 7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13" h="74">
                      <a:moveTo>
                        <a:pt x="0" y="44"/>
                      </a:moveTo>
                      <a:lnTo>
                        <a:pt x="20" y="74"/>
                      </a:lnTo>
                      <a:lnTo>
                        <a:pt x="37" y="69"/>
                      </a:lnTo>
                      <a:lnTo>
                        <a:pt x="51" y="65"/>
                      </a:lnTo>
                      <a:lnTo>
                        <a:pt x="64" y="59"/>
                      </a:lnTo>
                      <a:lnTo>
                        <a:pt x="74" y="53"/>
                      </a:lnTo>
                      <a:lnTo>
                        <a:pt x="78" y="49"/>
                      </a:lnTo>
                      <a:lnTo>
                        <a:pt x="83" y="45"/>
                      </a:lnTo>
                      <a:lnTo>
                        <a:pt x="86" y="41"/>
                      </a:lnTo>
                      <a:lnTo>
                        <a:pt x="88" y="37"/>
                      </a:lnTo>
                      <a:lnTo>
                        <a:pt x="90" y="32"/>
                      </a:lnTo>
                      <a:lnTo>
                        <a:pt x="91" y="26"/>
                      </a:lnTo>
                      <a:lnTo>
                        <a:pt x="93" y="19"/>
                      </a:lnTo>
                      <a:lnTo>
                        <a:pt x="94" y="13"/>
                      </a:lnTo>
                      <a:lnTo>
                        <a:pt x="99" y="12"/>
                      </a:lnTo>
                      <a:lnTo>
                        <a:pt x="106" y="9"/>
                      </a:lnTo>
                      <a:lnTo>
                        <a:pt x="108" y="7"/>
                      </a:lnTo>
                      <a:lnTo>
                        <a:pt x="111" y="5"/>
                      </a:lnTo>
                      <a:lnTo>
                        <a:pt x="112" y="3"/>
                      </a:lnTo>
                      <a:lnTo>
                        <a:pt x="113" y="0"/>
                      </a:lnTo>
                      <a:lnTo>
                        <a:pt x="98" y="4"/>
                      </a:lnTo>
                      <a:lnTo>
                        <a:pt x="82" y="8"/>
                      </a:lnTo>
                      <a:lnTo>
                        <a:pt x="65" y="13"/>
                      </a:lnTo>
                      <a:lnTo>
                        <a:pt x="49" y="19"/>
                      </a:lnTo>
                      <a:lnTo>
                        <a:pt x="20" y="33"/>
                      </a:lnTo>
                      <a:lnTo>
                        <a:pt x="0" y="4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7" name="Freeform 247">
                  <a:extLst>
                    <a:ext uri="{FF2B5EF4-FFF2-40B4-BE49-F238E27FC236}">
                      <a16:creationId xmlns:a16="http://schemas.microsoft.com/office/drawing/2014/main" xmlns="" id="{9842C85E-15BF-43AE-95DA-994038564455}"/>
                    </a:ext>
                  </a:extLst>
                </p:cNvPr>
                <p:cNvSpPr>
                  <a:spLocks/>
                </p:cNvSpPr>
                <p:nvPr>
                  <p:custDataLst>
                    <p:tags r:id="rId174"/>
                  </p:custDataLst>
                </p:nvPr>
              </p:nvSpPr>
              <p:spPr bwMode="auto">
                <a:xfrm>
                  <a:off x="4370388" y="3322638"/>
                  <a:ext cx="325437" cy="244475"/>
                </a:xfrm>
                <a:custGeom>
                  <a:avLst/>
                  <a:gdLst>
                    <a:gd name="T0" fmla="*/ 2147483646 w 746"/>
                    <a:gd name="T1" fmla="*/ 2147483646 h 469"/>
                    <a:gd name="T2" fmla="*/ 2147483646 w 746"/>
                    <a:gd name="T3" fmla="*/ 2147483646 h 469"/>
                    <a:gd name="T4" fmla="*/ 2147483646 w 746"/>
                    <a:gd name="T5" fmla="*/ 2147483646 h 469"/>
                    <a:gd name="T6" fmla="*/ 2147483646 w 746"/>
                    <a:gd name="T7" fmla="*/ 2147483646 h 469"/>
                    <a:gd name="T8" fmla="*/ 0 w 746"/>
                    <a:gd name="T9" fmla="*/ 2147483646 h 469"/>
                    <a:gd name="T10" fmla="*/ 2147483646 w 746"/>
                    <a:gd name="T11" fmla="*/ 2147483646 h 469"/>
                    <a:gd name="T12" fmla="*/ 2147483646 w 746"/>
                    <a:gd name="T13" fmla="*/ 2147483646 h 469"/>
                    <a:gd name="T14" fmla="*/ 2147483646 w 746"/>
                    <a:gd name="T15" fmla="*/ 2147483646 h 469"/>
                    <a:gd name="T16" fmla="*/ 2147483646 w 746"/>
                    <a:gd name="T17" fmla="*/ 2147483646 h 469"/>
                    <a:gd name="T18" fmla="*/ 2147483646 w 746"/>
                    <a:gd name="T19" fmla="*/ 2147483646 h 469"/>
                    <a:gd name="T20" fmla="*/ 2147483646 w 746"/>
                    <a:gd name="T21" fmla="*/ 2147483646 h 469"/>
                    <a:gd name="T22" fmla="*/ 2147483646 w 746"/>
                    <a:gd name="T23" fmla="*/ 2147483646 h 469"/>
                    <a:gd name="T24" fmla="*/ 2147483646 w 746"/>
                    <a:gd name="T25" fmla="*/ 2147483646 h 469"/>
                    <a:gd name="T26" fmla="*/ 2147483646 w 746"/>
                    <a:gd name="T27" fmla="*/ 2147483646 h 469"/>
                    <a:gd name="T28" fmla="*/ 2147483646 w 746"/>
                    <a:gd name="T29" fmla="*/ 2147483646 h 469"/>
                    <a:gd name="T30" fmla="*/ 2147483646 w 746"/>
                    <a:gd name="T31" fmla="*/ 2147483646 h 469"/>
                    <a:gd name="T32" fmla="*/ 2147483646 w 746"/>
                    <a:gd name="T33" fmla="*/ 2147483646 h 469"/>
                    <a:gd name="T34" fmla="*/ 2147483646 w 746"/>
                    <a:gd name="T35" fmla="*/ 2147483646 h 469"/>
                    <a:gd name="T36" fmla="*/ 2147483646 w 746"/>
                    <a:gd name="T37" fmla="*/ 2147483646 h 469"/>
                    <a:gd name="T38" fmla="*/ 2147483646 w 746"/>
                    <a:gd name="T39" fmla="*/ 0 h 469"/>
                    <a:gd name="T40" fmla="*/ 2147483646 w 746"/>
                    <a:gd name="T41" fmla="*/ 2147483646 h 469"/>
                    <a:gd name="T42" fmla="*/ 2147483646 w 746"/>
                    <a:gd name="T43" fmla="*/ 2147483646 h 469"/>
                    <a:gd name="T44" fmla="*/ 2147483646 w 746"/>
                    <a:gd name="T45" fmla="*/ 2147483646 h 469"/>
                    <a:gd name="T46" fmla="*/ 2147483646 w 746"/>
                    <a:gd name="T47" fmla="*/ 2147483646 h 469"/>
                    <a:gd name="T48" fmla="*/ 2147483646 w 746"/>
                    <a:gd name="T49" fmla="*/ 2147483646 h 469"/>
                    <a:gd name="T50" fmla="*/ 2147483646 w 746"/>
                    <a:gd name="T51" fmla="*/ 2147483646 h 469"/>
                    <a:gd name="T52" fmla="*/ 2147483646 w 746"/>
                    <a:gd name="T53" fmla="*/ 2147483646 h 469"/>
                    <a:gd name="T54" fmla="*/ 2147483646 w 746"/>
                    <a:gd name="T55" fmla="*/ 2147483646 h 469"/>
                    <a:gd name="T56" fmla="*/ 2147483646 w 746"/>
                    <a:gd name="T57" fmla="*/ 2147483646 h 469"/>
                    <a:gd name="T58" fmla="*/ 2147483646 w 746"/>
                    <a:gd name="T59" fmla="*/ 2147483646 h 469"/>
                    <a:gd name="T60" fmla="*/ 2147483646 w 746"/>
                    <a:gd name="T61" fmla="*/ 2147483646 h 469"/>
                    <a:gd name="T62" fmla="*/ 2147483646 w 746"/>
                    <a:gd name="T63" fmla="*/ 2147483646 h 469"/>
                    <a:gd name="T64" fmla="*/ 2147483646 w 746"/>
                    <a:gd name="T65" fmla="*/ 2147483646 h 469"/>
                    <a:gd name="T66" fmla="*/ 2147483646 w 746"/>
                    <a:gd name="T67" fmla="*/ 2147483646 h 469"/>
                    <a:gd name="T68" fmla="*/ 2147483646 w 746"/>
                    <a:gd name="T69" fmla="*/ 2147483646 h 469"/>
                    <a:gd name="T70" fmla="*/ 2147483646 w 746"/>
                    <a:gd name="T71" fmla="*/ 2147483646 h 469"/>
                    <a:gd name="T72" fmla="*/ 2147483646 w 746"/>
                    <a:gd name="T73" fmla="*/ 2147483646 h 469"/>
                    <a:gd name="T74" fmla="*/ 2147483646 w 746"/>
                    <a:gd name="T75" fmla="*/ 2147483646 h 469"/>
                    <a:gd name="T76" fmla="*/ 2147483646 w 746"/>
                    <a:gd name="T77" fmla="*/ 2147483646 h 469"/>
                    <a:gd name="T78" fmla="*/ 2147483646 w 746"/>
                    <a:gd name="T79" fmla="*/ 2147483646 h 469"/>
                    <a:gd name="T80" fmla="*/ 2147483646 w 746"/>
                    <a:gd name="T81" fmla="*/ 2147483646 h 469"/>
                    <a:gd name="T82" fmla="*/ 2147483646 w 746"/>
                    <a:gd name="T83" fmla="*/ 2147483646 h 469"/>
                    <a:gd name="T84" fmla="*/ 2147483646 w 746"/>
                    <a:gd name="T85" fmla="*/ 2147483646 h 469"/>
                    <a:gd name="T86" fmla="*/ 2147483646 w 746"/>
                    <a:gd name="T87" fmla="*/ 2147483646 h 469"/>
                    <a:gd name="T88" fmla="*/ 2147483646 w 746"/>
                    <a:gd name="T89" fmla="*/ 2147483646 h 469"/>
                    <a:gd name="T90" fmla="*/ 2147483646 w 746"/>
                    <a:gd name="T91" fmla="*/ 2147483646 h 469"/>
                    <a:gd name="T92" fmla="*/ 2147483646 w 746"/>
                    <a:gd name="T93" fmla="*/ 2147483646 h 469"/>
                    <a:gd name="T94" fmla="*/ 2147483646 w 746"/>
                    <a:gd name="T95" fmla="*/ 2147483646 h 469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746"/>
                    <a:gd name="T145" fmla="*/ 0 h 469"/>
                    <a:gd name="T146" fmla="*/ 746 w 746"/>
                    <a:gd name="T147" fmla="*/ 469 h 469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746" h="469">
                      <a:moveTo>
                        <a:pt x="114" y="469"/>
                      </a:moveTo>
                      <a:lnTo>
                        <a:pt x="109" y="463"/>
                      </a:lnTo>
                      <a:lnTo>
                        <a:pt x="103" y="456"/>
                      </a:lnTo>
                      <a:lnTo>
                        <a:pt x="98" y="452"/>
                      </a:lnTo>
                      <a:lnTo>
                        <a:pt x="92" y="449"/>
                      </a:lnTo>
                      <a:lnTo>
                        <a:pt x="79" y="445"/>
                      </a:lnTo>
                      <a:lnTo>
                        <a:pt x="67" y="442"/>
                      </a:lnTo>
                      <a:lnTo>
                        <a:pt x="54" y="440"/>
                      </a:lnTo>
                      <a:lnTo>
                        <a:pt x="39" y="437"/>
                      </a:lnTo>
                      <a:lnTo>
                        <a:pt x="33" y="435"/>
                      </a:lnTo>
                      <a:lnTo>
                        <a:pt x="26" y="433"/>
                      </a:lnTo>
                      <a:lnTo>
                        <a:pt x="21" y="429"/>
                      </a:lnTo>
                      <a:lnTo>
                        <a:pt x="14" y="425"/>
                      </a:lnTo>
                      <a:lnTo>
                        <a:pt x="11" y="422"/>
                      </a:lnTo>
                      <a:lnTo>
                        <a:pt x="8" y="418"/>
                      </a:lnTo>
                      <a:lnTo>
                        <a:pt x="5" y="413"/>
                      </a:lnTo>
                      <a:lnTo>
                        <a:pt x="3" y="408"/>
                      </a:lnTo>
                      <a:lnTo>
                        <a:pt x="1" y="396"/>
                      </a:lnTo>
                      <a:lnTo>
                        <a:pt x="0" y="385"/>
                      </a:lnTo>
                      <a:lnTo>
                        <a:pt x="0" y="363"/>
                      </a:lnTo>
                      <a:lnTo>
                        <a:pt x="1" y="345"/>
                      </a:lnTo>
                      <a:lnTo>
                        <a:pt x="1" y="332"/>
                      </a:lnTo>
                      <a:lnTo>
                        <a:pt x="3" y="320"/>
                      </a:lnTo>
                      <a:lnTo>
                        <a:pt x="5" y="309"/>
                      </a:lnTo>
                      <a:lnTo>
                        <a:pt x="10" y="299"/>
                      </a:lnTo>
                      <a:lnTo>
                        <a:pt x="13" y="289"/>
                      </a:lnTo>
                      <a:lnTo>
                        <a:pt x="19" y="281"/>
                      </a:lnTo>
                      <a:lnTo>
                        <a:pt x="23" y="273"/>
                      </a:lnTo>
                      <a:lnTo>
                        <a:pt x="30" y="265"/>
                      </a:lnTo>
                      <a:lnTo>
                        <a:pt x="41" y="251"/>
                      </a:lnTo>
                      <a:lnTo>
                        <a:pt x="52" y="236"/>
                      </a:lnTo>
                      <a:lnTo>
                        <a:pt x="56" y="228"/>
                      </a:lnTo>
                      <a:lnTo>
                        <a:pt x="60" y="220"/>
                      </a:lnTo>
                      <a:lnTo>
                        <a:pt x="65" y="212"/>
                      </a:lnTo>
                      <a:lnTo>
                        <a:pt x="67" y="204"/>
                      </a:lnTo>
                      <a:lnTo>
                        <a:pt x="121" y="204"/>
                      </a:lnTo>
                      <a:lnTo>
                        <a:pt x="131" y="198"/>
                      </a:lnTo>
                      <a:lnTo>
                        <a:pt x="142" y="194"/>
                      </a:lnTo>
                      <a:lnTo>
                        <a:pt x="154" y="191"/>
                      </a:lnTo>
                      <a:lnTo>
                        <a:pt x="166" y="188"/>
                      </a:lnTo>
                      <a:lnTo>
                        <a:pt x="190" y="184"/>
                      </a:lnTo>
                      <a:lnTo>
                        <a:pt x="213" y="178"/>
                      </a:lnTo>
                      <a:lnTo>
                        <a:pt x="224" y="176"/>
                      </a:lnTo>
                      <a:lnTo>
                        <a:pt x="235" y="173"/>
                      </a:lnTo>
                      <a:lnTo>
                        <a:pt x="244" y="170"/>
                      </a:lnTo>
                      <a:lnTo>
                        <a:pt x="251" y="165"/>
                      </a:lnTo>
                      <a:lnTo>
                        <a:pt x="258" y="160"/>
                      </a:lnTo>
                      <a:lnTo>
                        <a:pt x="262" y="153"/>
                      </a:lnTo>
                      <a:lnTo>
                        <a:pt x="265" y="150"/>
                      </a:lnTo>
                      <a:lnTo>
                        <a:pt x="266" y="145"/>
                      </a:lnTo>
                      <a:lnTo>
                        <a:pt x="267" y="141"/>
                      </a:lnTo>
                      <a:lnTo>
                        <a:pt x="267" y="136"/>
                      </a:lnTo>
                      <a:lnTo>
                        <a:pt x="267" y="126"/>
                      </a:lnTo>
                      <a:lnTo>
                        <a:pt x="267" y="117"/>
                      </a:lnTo>
                      <a:lnTo>
                        <a:pt x="280" y="119"/>
                      </a:lnTo>
                      <a:lnTo>
                        <a:pt x="292" y="120"/>
                      </a:lnTo>
                      <a:lnTo>
                        <a:pt x="303" y="120"/>
                      </a:lnTo>
                      <a:lnTo>
                        <a:pt x="313" y="119"/>
                      </a:lnTo>
                      <a:lnTo>
                        <a:pt x="323" y="117"/>
                      </a:lnTo>
                      <a:lnTo>
                        <a:pt x="332" y="115"/>
                      </a:lnTo>
                      <a:lnTo>
                        <a:pt x="339" y="112"/>
                      </a:lnTo>
                      <a:lnTo>
                        <a:pt x="347" y="109"/>
                      </a:lnTo>
                      <a:lnTo>
                        <a:pt x="354" y="105"/>
                      </a:lnTo>
                      <a:lnTo>
                        <a:pt x="359" y="101"/>
                      </a:lnTo>
                      <a:lnTo>
                        <a:pt x="366" y="96"/>
                      </a:lnTo>
                      <a:lnTo>
                        <a:pt x="370" y="91"/>
                      </a:lnTo>
                      <a:lnTo>
                        <a:pt x="380" y="80"/>
                      </a:lnTo>
                      <a:lnTo>
                        <a:pt x="389" y="67"/>
                      </a:lnTo>
                      <a:lnTo>
                        <a:pt x="397" y="56"/>
                      </a:lnTo>
                      <a:lnTo>
                        <a:pt x="405" y="44"/>
                      </a:lnTo>
                      <a:lnTo>
                        <a:pt x="414" y="32"/>
                      </a:lnTo>
                      <a:lnTo>
                        <a:pt x="425" y="22"/>
                      </a:lnTo>
                      <a:lnTo>
                        <a:pt x="430" y="18"/>
                      </a:lnTo>
                      <a:lnTo>
                        <a:pt x="436" y="13"/>
                      </a:lnTo>
                      <a:lnTo>
                        <a:pt x="442" y="9"/>
                      </a:lnTo>
                      <a:lnTo>
                        <a:pt x="450" y="6"/>
                      </a:lnTo>
                      <a:lnTo>
                        <a:pt x="458" y="3"/>
                      </a:lnTo>
                      <a:lnTo>
                        <a:pt x="467" y="1"/>
                      </a:lnTo>
                      <a:lnTo>
                        <a:pt x="475" y="0"/>
                      </a:lnTo>
                      <a:lnTo>
                        <a:pt x="486" y="0"/>
                      </a:lnTo>
                      <a:lnTo>
                        <a:pt x="486" y="6"/>
                      </a:lnTo>
                      <a:lnTo>
                        <a:pt x="492" y="14"/>
                      </a:lnTo>
                      <a:lnTo>
                        <a:pt x="498" y="22"/>
                      </a:lnTo>
                      <a:lnTo>
                        <a:pt x="507" y="29"/>
                      </a:lnTo>
                      <a:lnTo>
                        <a:pt x="515" y="35"/>
                      </a:lnTo>
                      <a:lnTo>
                        <a:pt x="523" y="41"/>
                      </a:lnTo>
                      <a:lnTo>
                        <a:pt x="530" y="49"/>
                      </a:lnTo>
                      <a:lnTo>
                        <a:pt x="532" y="53"/>
                      </a:lnTo>
                      <a:lnTo>
                        <a:pt x="536" y="57"/>
                      </a:lnTo>
                      <a:lnTo>
                        <a:pt x="538" y="62"/>
                      </a:lnTo>
                      <a:lnTo>
                        <a:pt x="539" y="67"/>
                      </a:lnTo>
                      <a:lnTo>
                        <a:pt x="553" y="107"/>
                      </a:lnTo>
                      <a:lnTo>
                        <a:pt x="564" y="141"/>
                      </a:lnTo>
                      <a:lnTo>
                        <a:pt x="569" y="148"/>
                      </a:lnTo>
                      <a:lnTo>
                        <a:pt x="573" y="154"/>
                      </a:lnTo>
                      <a:lnTo>
                        <a:pt x="579" y="159"/>
                      </a:lnTo>
                      <a:lnTo>
                        <a:pt x="585" y="164"/>
                      </a:lnTo>
                      <a:lnTo>
                        <a:pt x="593" y="168"/>
                      </a:lnTo>
                      <a:lnTo>
                        <a:pt x="602" y="170"/>
                      </a:lnTo>
                      <a:lnTo>
                        <a:pt x="613" y="172"/>
                      </a:lnTo>
                      <a:lnTo>
                        <a:pt x="626" y="172"/>
                      </a:lnTo>
                      <a:lnTo>
                        <a:pt x="626" y="179"/>
                      </a:lnTo>
                      <a:lnTo>
                        <a:pt x="627" y="187"/>
                      </a:lnTo>
                      <a:lnTo>
                        <a:pt x="628" y="193"/>
                      </a:lnTo>
                      <a:lnTo>
                        <a:pt x="630" y="199"/>
                      </a:lnTo>
                      <a:lnTo>
                        <a:pt x="636" y="211"/>
                      </a:lnTo>
                      <a:lnTo>
                        <a:pt x="642" y="222"/>
                      </a:lnTo>
                      <a:lnTo>
                        <a:pt x="650" y="233"/>
                      </a:lnTo>
                      <a:lnTo>
                        <a:pt x="660" y="244"/>
                      </a:lnTo>
                      <a:lnTo>
                        <a:pt x="670" y="254"/>
                      </a:lnTo>
                      <a:lnTo>
                        <a:pt x="681" y="263"/>
                      </a:lnTo>
                      <a:lnTo>
                        <a:pt x="702" y="279"/>
                      </a:lnTo>
                      <a:lnTo>
                        <a:pt x="720" y="294"/>
                      </a:lnTo>
                      <a:lnTo>
                        <a:pt x="729" y="302"/>
                      </a:lnTo>
                      <a:lnTo>
                        <a:pt x="736" y="309"/>
                      </a:lnTo>
                      <a:lnTo>
                        <a:pt x="741" y="315"/>
                      </a:lnTo>
                      <a:lnTo>
                        <a:pt x="746" y="321"/>
                      </a:lnTo>
                      <a:lnTo>
                        <a:pt x="738" y="345"/>
                      </a:lnTo>
                      <a:lnTo>
                        <a:pt x="728" y="345"/>
                      </a:lnTo>
                      <a:lnTo>
                        <a:pt x="711" y="345"/>
                      </a:lnTo>
                      <a:lnTo>
                        <a:pt x="706" y="345"/>
                      </a:lnTo>
                      <a:lnTo>
                        <a:pt x="700" y="344"/>
                      </a:lnTo>
                      <a:lnTo>
                        <a:pt x="695" y="343"/>
                      </a:lnTo>
                      <a:lnTo>
                        <a:pt x="691" y="342"/>
                      </a:lnTo>
                      <a:lnTo>
                        <a:pt x="685" y="339"/>
                      </a:lnTo>
                      <a:lnTo>
                        <a:pt x="682" y="335"/>
                      </a:lnTo>
                      <a:lnTo>
                        <a:pt x="680" y="329"/>
                      </a:lnTo>
                      <a:lnTo>
                        <a:pt x="679" y="321"/>
                      </a:lnTo>
                      <a:lnTo>
                        <a:pt x="666" y="321"/>
                      </a:lnTo>
                      <a:lnTo>
                        <a:pt x="659" y="321"/>
                      </a:lnTo>
                      <a:lnTo>
                        <a:pt x="654" y="325"/>
                      </a:lnTo>
                      <a:lnTo>
                        <a:pt x="651" y="330"/>
                      </a:lnTo>
                      <a:lnTo>
                        <a:pt x="648" y="334"/>
                      </a:lnTo>
                      <a:lnTo>
                        <a:pt x="647" y="338"/>
                      </a:lnTo>
                      <a:lnTo>
                        <a:pt x="642" y="345"/>
                      </a:lnTo>
                      <a:lnTo>
                        <a:pt x="639" y="352"/>
                      </a:lnTo>
                      <a:lnTo>
                        <a:pt x="630" y="354"/>
                      </a:lnTo>
                      <a:lnTo>
                        <a:pt x="621" y="355"/>
                      </a:lnTo>
                      <a:lnTo>
                        <a:pt x="613" y="355"/>
                      </a:lnTo>
                      <a:lnTo>
                        <a:pt x="604" y="356"/>
                      </a:lnTo>
                      <a:lnTo>
                        <a:pt x="586" y="355"/>
                      </a:lnTo>
                      <a:lnTo>
                        <a:pt x="570" y="355"/>
                      </a:lnTo>
                      <a:lnTo>
                        <a:pt x="561" y="355"/>
                      </a:lnTo>
                      <a:lnTo>
                        <a:pt x="553" y="356"/>
                      </a:lnTo>
                      <a:lnTo>
                        <a:pt x="545" y="357"/>
                      </a:lnTo>
                      <a:lnTo>
                        <a:pt x="537" y="359"/>
                      </a:lnTo>
                      <a:lnTo>
                        <a:pt x="529" y="361"/>
                      </a:lnTo>
                      <a:lnTo>
                        <a:pt x="522" y="365"/>
                      </a:lnTo>
                      <a:lnTo>
                        <a:pt x="514" y="370"/>
                      </a:lnTo>
                      <a:lnTo>
                        <a:pt x="506" y="376"/>
                      </a:lnTo>
                      <a:lnTo>
                        <a:pt x="501" y="381"/>
                      </a:lnTo>
                      <a:lnTo>
                        <a:pt x="496" y="387"/>
                      </a:lnTo>
                      <a:lnTo>
                        <a:pt x="493" y="390"/>
                      </a:lnTo>
                      <a:lnTo>
                        <a:pt x="491" y="392"/>
                      </a:lnTo>
                      <a:lnTo>
                        <a:pt x="489" y="394"/>
                      </a:lnTo>
                      <a:lnTo>
                        <a:pt x="486" y="394"/>
                      </a:lnTo>
                      <a:lnTo>
                        <a:pt x="466" y="395"/>
                      </a:lnTo>
                      <a:lnTo>
                        <a:pt x="451" y="397"/>
                      </a:lnTo>
                      <a:lnTo>
                        <a:pt x="439" y="399"/>
                      </a:lnTo>
                      <a:lnTo>
                        <a:pt x="426" y="400"/>
                      </a:lnTo>
                      <a:lnTo>
                        <a:pt x="417" y="400"/>
                      </a:lnTo>
                      <a:lnTo>
                        <a:pt x="410" y="398"/>
                      </a:lnTo>
                      <a:lnTo>
                        <a:pt x="403" y="395"/>
                      </a:lnTo>
                      <a:lnTo>
                        <a:pt x="396" y="392"/>
                      </a:lnTo>
                      <a:lnTo>
                        <a:pt x="384" y="383"/>
                      </a:lnTo>
                      <a:lnTo>
                        <a:pt x="373" y="373"/>
                      </a:lnTo>
                      <a:lnTo>
                        <a:pt x="361" y="363"/>
                      </a:lnTo>
                      <a:lnTo>
                        <a:pt x="349" y="354"/>
                      </a:lnTo>
                      <a:lnTo>
                        <a:pt x="343" y="351"/>
                      </a:lnTo>
                      <a:lnTo>
                        <a:pt x="336" y="347"/>
                      </a:lnTo>
                      <a:lnTo>
                        <a:pt x="328" y="345"/>
                      </a:lnTo>
                      <a:lnTo>
                        <a:pt x="319" y="345"/>
                      </a:lnTo>
                      <a:lnTo>
                        <a:pt x="313" y="345"/>
                      </a:lnTo>
                      <a:lnTo>
                        <a:pt x="305" y="347"/>
                      </a:lnTo>
                      <a:lnTo>
                        <a:pt x="299" y="351"/>
                      </a:lnTo>
                      <a:lnTo>
                        <a:pt x="291" y="355"/>
                      </a:lnTo>
                      <a:lnTo>
                        <a:pt x="284" y="360"/>
                      </a:lnTo>
                      <a:lnTo>
                        <a:pt x="278" y="365"/>
                      </a:lnTo>
                      <a:lnTo>
                        <a:pt x="272" y="371"/>
                      </a:lnTo>
                      <a:lnTo>
                        <a:pt x="266" y="377"/>
                      </a:lnTo>
                      <a:lnTo>
                        <a:pt x="255" y="392"/>
                      </a:lnTo>
                      <a:lnTo>
                        <a:pt x="244" y="408"/>
                      </a:lnTo>
                      <a:lnTo>
                        <a:pt x="235" y="423"/>
                      </a:lnTo>
                      <a:lnTo>
                        <a:pt x="227" y="437"/>
                      </a:lnTo>
                      <a:lnTo>
                        <a:pt x="197" y="437"/>
                      </a:lnTo>
                      <a:lnTo>
                        <a:pt x="176" y="437"/>
                      </a:lnTo>
                      <a:lnTo>
                        <a:pt x="160" y="437"/>
                      </a:lnTo>
                      <a:lnTo>
                        <a:pt x="150" y="439"/>
                      </a:lnTo>
                      <a:lnTo>
                        <a:pt x="146" y="440"/>
                      </a:lnTo>
                      <a:lnTo>
                        <a:pt x="143" y="442"/>
                      </a:lnTo>
                      <a:lnTo>
                        <a:pt x="139" y="445"/>
                      </a:lnTo>
                      <a:lnTo>
                        <a:pt x="135" y="448"/>
                      </a:lnTo>
                      <a:lnTo>
                        <a:pt x="126" y="456"/>
                      </a:lnTo>
                      <a:lnTo>
                        <a:pt x="114" y="46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8" name="Freeform 248">
                  <a:extLst>
                    <a:ext uri="{FF2B5EF4-FFF2-40B4-BE49-F238E27FC236}">
                      <a16:creationId xmlns:a16="http://schemas.microsoft.com/office/drawing/2014/main" xmlns="" id="{B79FCB32-BD7C-4DFA-9603-80F93647849F}"/>
                    </a:ext>
                  </a:extLst>
                </p:cNvPr>
                <p:cNvSpPr>
                  <a:spLocks/>
                </p:cNvSpPr>
                <p:nvPr>
                  <p:custDataLst>
                    <p:tags r:id="rId175"/>
                  </p:custDataLst>
                </p:nvPr>
              </p:nvSpPr>
              <p:spPr bwMode="auto">
                <a:xfrm>
                  <a:off x="4306888" y="3490913"/>
                  <a:ext cx="500062" cy="552450"/>
                </a:xfrm>
                <a:custGeom>
                  <a:avLst/>
                  <a:gdLst>
                    <a:gd name="T0" fmla="*/ 2147483646 w 1145"/>
                    <a:gd name="T1" fmla="*/ 2147483646 h 1053"/>
                    <a:gd name="T2" fmla="*/ 2147483646 w 1145"/>
                    <a:gd name="T3" fmla="*/ 2147483646 h 1053"/>
                    <a:gd name="T4" fmla="*/ 2147483646 w 1145"/>
                    <a:gd name="T5" fmla="*/ 2147483646 h 1053"/>
                    <a:gd name="T6" fmla="*/ 2147483646 w 1145"/>
                    <a:gd name="T7" fmla="*/ 2147483646 h 1053"/>
                    <a:gd name="T8" fmla="*/ 2147483646 w 1145"/>
                    <a:gd name="T9" fmla="*/ 2147483646 h 1053"/>
                    <a:gd name="T10" fmla="*/ 2147483646 w 1145"/>
                    <a:gd name="T11" fmla="*/ 2147483646 h 1053"/>
                    <a:gd name="T12" fmla="*/ 2147483646 w 1145"/>
                    <a:gd name="T13" fmla="*/ 2147483646 h 1053"/>
                    <a:gd name="T14" fmla="*/ 2147483646 w 1145"/>
                    <a:gd name="T15" fmla="*/ 2147483646 h 1053"/>
                    <a:gd name="T16" fmla="*/ 2147483646 w 1145"/>
                    <a:gd name="T17" fmla="*/ 2147483646 h 1053"/>
                    <a:gd name="T18" fmla="*/ 2147483646 w 1145"/>
                    <a:gd name="T19" fmla="*/ 2147483646 h 1053"/>
                    <a:gd name="T20" fmla="*/ 2147483646 w 1145"/>
                    <a:gd name="T21" fmla="*/ 2147483646 h 1053"/>
                    <a:gd name="T22" fmla="*/ 2147483646 w 1145"/>
                    <a:gd name="T23" fmla="*/ 2147483646 h 1053"/>
                    <a:gd name="T24" fmla="*/ 2147483646 w 1145"/>
                    <a:gd name="T25" fmla="*/ 2147483646 h 1053"/>
                    <a:gd name="T26" fmla="*/ 2147483646 w 1145"/>
                    <a:gd name="T27" fmla="*/ 2147483646 h 1053"/>
                    <a:gd name="T28" fmla="*/ 2147483646 w 1145"/>
                    <a:gd name="T29" fmla="*/ 2147483646 h 1053"/>
                    <a:gd name="T30" fmla="*/ 2147483646 w 1145"/>
                    <a:gd name="T31" fmla="*/ 2147483646 h 1053"/>
                    <a:gd name="T32" fmla="*/ 2147483646 w 1145"/>
                    <a:gd name="T33" fmla="*/ 2147483646 h 1053"/>
                    <a:gd name="T34" fmla="*/ 2147483646 w 1145"/>
                    <a:gd name="T35" fmla="*/ 2147483646 h 1053"/>
                    <a:gd name="T36" fmla="*/ 2147483646 w 1145"/>
                    <a:gd name="T37" fmla="*/ 2147483646 h 1053"/>
                    <a:gd name="T38" fmla="*/ 2147483646 w 1145"/>
                    <a:gd name="T39" fmla="*/ 2147483646 h 1053"/>
                    <a:gd name="T40" fmla="*/ 2147483646 w 1145"/>
                    <a:gd name="T41" fmla="*/ 2147483646 h 1053"/>
                    <a:gd name="T42" fmla="*/ 2147483646 w 1145"/>
                    <a:gd name="T43" fmla="*/ 2147483646 h 1053"/>
                    <a:gd name="T44" fmla="*/ 2147483646 w 1145"/>
                    <a:gd name="T45" fmla="*/ 2147483646 h 1053"/>
                    <a:gd name="T46" fmla="*/ 2147483646 w 1145"/>
                    <a:gd name="T47" fmla="*/ 2147483646 h 1053"/>
                    <a:gd name="T48" fmla="*/ 2147483646 w 1145"/>
                    <a:gd name="T49" fmla="*/ 2147483646 h 1053"/>
                    <a:gd name="T50" fmla="*/ 2147483646 w 1145"/>
                    <a:gd name="T51" fmla="*/ 2147483646 h 1053"/>
                    <a:gd name="T52" fmla="*/ 2147483646 w 1145"/>
                    <a:gd name="T53" fmla="*/ 2147483646 h 1053"/>
                    <a:gd name="T54" fmla="*/ 2147483646 w 1145"/>
                    <a:gd name="T55" fmla="*/ 2147483646 h 1053"/>
                    <a:gd name="T56" fmla="*/ 2147483646 w 1145"/>
                    <a:gd name="T57" fmla="*/ 2147483646 h 1053"/>
                    <a:gd name="T58" fmla="*/ 2147483646 w 1145"/>
                    <a:gd name="T59" fmla="*/ 2147483646 h 1053"/>
                    <a:gd name="T60" fmla="*/ 2147483646 w 1145"/>
                    <a:gd name="T61" fmla="*/ 2147483646 h 1053"/>
                    <a:gd name="T62" fmla="*/ 2147483646 w 1145"/>
                    <a:gd name="T63" fmla="*/ 2147483646 h 1053"/>
                    <a:gd name="T64" fmla="*/ 2147483646 w 1145"/>
                    <a:gd name="T65" fmla="*/ 2147483646 h 1053"/>
                    <a:gd name="T66" fmla="*/ 2147483646 w 1145"/>
                    <a:gd name="T67" fmla="*/ 2147483646 h 1053"/>
                    <a:gd name="T68" fmla="*/ 2147483646 w 1145"/>
                    <a:gd name="T69" fmla="*/ 2147483646 h 1053"/>
                    <a:gd name="T70" fmla="*/ 2147483646 w 1145"/>
                    <a:gd name="T71" fmla="*/ 2147483646 h 1053"/>
                    <a:gd name="T72" fmla="*/ 2147483646 w 1145"/>
                    <a:gd name="T73" fmla="*/ 2147483646 h 1053"/>
                    <a:gd name="T74" fmla="*/ 2147483646 w 1145"/>
                    <a:gd name="T75" fmla="*/ 2147483646 h 1053"/>
                    <a:gd name="T76" fmla="*/ 2147483646 w 1145"/>
                    <a:gd name="T77" fmla="*/ 2147483646 h 1053"/>
                    <a:gd name="T78" fmla="*/ 2147483646 w 1145"/>
                    <a:gd name="T79" fmla="*/ 2147483646 h 1053"/>
                    <a:gd name="T80" fmla="*/ 2147483646 w 1145"/>
                    <a:gd name="T81" fmla="*/ 2147483646 h 1053"/>
                    <a:gd name="T82" fmla="*/ 2147483646 w 1145"/>
                    <a:gd name="T83" fmla="*/ 2147483646 h 1053"/>
                    <a:gd name="T84" fmla="*/ 2147483646 w 1145"/>
                    <a:gd name="T85" fmla="*/ 2147483646 h 1053"/>
                    <a:gd name="T86" fmla="*/ 2147483646 w 1145"/>
                    <a:gd name="T87" fmla="*/ 2147483646 h 1053"/>
                    <a:gd name="T88" fmla="*/ 2147483646 w 1145"/>
                    <a:gd name="T89" fmla="*/ 2147483646 h 1053"/>
                    <a:gd name="T90" fmla="*/ 2147483646 w 1145"/>
                    <a:gd name="T91" fmla="*/ 2147483646 h 1053"/>
                    <a:gd name="T92" fmla="*/ 2147483646 w 1145"/>
                    <a:gd name="T93" fmla="*/ 2147483646 h 1053"/>
                    <a:gd name="T94" fmla="*/ 2147483646 w 1145"/>
                    <a:gd name="T95" fmla="*/ 2147483646 h 1053"/>
                    <a:gd name="T96" fmla="*/ 2147483646 w 1145"/>
                    <a:gd name="T97" fmla="*/ 2147483646 h 1053"/>
                    <a:gd name="T98" fmla="*/ 2147483646 w 1145"/>
                    <a:gd name="T99" fmla="*/ 2147483646 h 1053"/>
                    <a:gd name="T100" fmla="*/ 2147483646 w 1145"/>
                    <a:gd name="T101" fmla="*/ 2147483646 h 1053"/>
                    <a:gd name="T102" fmla="*/ 2147483646 w 1145"/>
                    <a:gd name="T103" fmla="*/ 2147483646 h 1053"/>
                    <a:gd name="T104" fmla="*/ 2147483646 w 1145"/>
                    <a:gd name="T105" fmla="*/ 2147483646 h 1053"/>
                    <a:gd name="T106" fmla="*/ 2147483646 w 1145"/>
                    <a:gd name="T107" fmla="*/ 2147483646 h 1053"/>
                    <a:gd name="T108" fmla="*/ 2147483646 w 1145"/>
                    <a:gd name="T109" fmla="*/ 2147483646 h 1053"/>
                    <a:gd name="T110" fmla="*/ 2147483646 w 1145"/>
                    <a:gd name="T111" fmla="*/ 2147483646 h 1053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1145"/>
                    <a:gd name="T169" fmla="*/ 0 h 1053"/>
                    <a:gd name="T170" fmla="*/ 1145 w 1145"/>
                    <a:gd name="T171" fmla="*/ 1053 h 1053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1145" h="1053">
                      <a:moveTo>
                        <a:pt x="894" y="24"/>
                      </a:moveTo>
                      <a:lnTo>
                        <a:pt x="894" y="32"/>
                      </a:lnTo>
                      <a:lnTo>
                        <a:pt x="895" y="38"/>
                      </a:lnTo>
                      <a:lnTo>
                        <a:pt x="896" y="44"/>
                      </a:lnTo>
                      <a:lnTo>
                        <a:pt x="897" y="49"/>
                      </a:lnTo>
                      <a:lnTo>
                        <a:pt x="900" y="53"/>
                      </a:lnTo>
                      <a:lnTo>
                        <a:pt x="902" y="57"/>
                      </a:lnTo>
                      <a:lnTo>
                        <a:pt x="906" y="61"/>
                      </a:lnTo>
                      <a:lnTo>
                        <a:pt x="909" y="64"/>
                      </a:lnTo>
                      <a:lnTo>
                        <a:pt x="918" y="68"/>
                      </a:lnTo>
                      <a:lnTo>
                        <a:pt x="926" y="71"/>
                      </a:lnTo>
                      <a:lnTo>
                        <a:pt x="936" y="72"/>
                      </a:lnTo>
                      <a:lnTo>
                        <a:pt x="947" y="72"/>
                      </a:lnTo>
                      <a:lnTo>
                        <a:pt x="993" y="66"/>
                      </a:lnTo>
                      <a:lnTo>
                        <a:pt x="1033" y="61"/>
                      </a:lnTo>
                      <a:lnTo>
                        <a:pt x="1038" y="61"/>
                      </a:lnTo>
                      <a:lnTo>
                        <a:pt x="1045" y="63"/>
                      </a:lnTo>
                      <a:lnTo>
                        <a:pt x="1051" y="64"/>
                      </a:lnTo>
                      <a:lnTo>
                        <a:pt x="1057" y="67"/>
                      </a:lnTo>
                      <a:lnTo>
                        <a:pt x="1069" y="73"/>
                      </a:lnTo>
                      <a:lnTo>
                        <a:pt x="1080" y="81"/>
                      </a:lnTo>
                      <a:lnTo>
                        <a:pt x="1099" y="98"/>
                      </a:lnTo>
                      <a:lnTo>
                        <a:pt x="1112" y="110"/>
                      </a:lnTo>
                      <a:lnTo>
                        <a:pt x="1113" y="124"/>
                      </a:lnTo>
                      <a:lnTo>
                        <a:pt x="1114" y="138"/>
                      </a:lnTo>
                      <a:lnTo>
                        <a:pt x="1117" y="152"/>
                      </a:lnTo>
                      <a:lnTo>
                        <a:pt x="1122" y="164"/>
                      </a:lnTo>
                      <a:lnTo>
                        <a:pt x="1126" y="175"/>
                      </a:lnTo>
                      <a:lnTo>
                        <a:pt x="1132" y="183"/>
                      </a:lnTo>
                      <a:lnTo>
                        <a:pt x="1135" y="186"/>
                      </a:lnTo>
                      <a:lnTo>
                        <a:pt x="1138" y="188"/>
                      </a:lnTo>
                      <a:lnTo>
                        <a:pt x="1142" y="190"/>
                      </a:lnTo>
                      <a:lnTo>
                        <a:pt x="1145" y="190"/>
                      </a:lnTo>
                      <a:lnTo>
                        <a:pt x="1139" y="202"/>
                      </a:lnTo>
                      <a:lnTo>
                        <a:pt x="1133" y="211"/>
                      </a:lnTo>
                      <a:lnTo>
                        <a:pt x="1125" y="220"/>
                      </a:lnTo>
                      <a:lnTo>
                        <a:pt x="1117" y="227"/>
                      </a:lnTo>
                      <a:lnTo>
                        <a:pt x="1100" y="240"/>
                      </a:lnTo>
                      <a:lnTo>
                        <a:pt x="1082" y="253"/>
                      </a:lnTo>
                      <a:lnTo>
                        <a:pt x="1074" y="259"/>
                      </a:lnTo>
                      <a:lnTo>
                        <a:pt x="1066" y="266"/>
                      </a:lnTo>
                      <a:lnTo>
                        <a:pt x="1058" y="272"/>
                      </a:lnTo>
                      <a:lnTo>
                        <a:pt x="1052" y="280"/>
                      </a:lnTo>
                      <a:lnTo>
                        <a:pt x="1046" y="288"/>
                      </a:lnTo>
                      <a:lnTo>
                        <a:pt x="1043" y="297"/>
                      </a:lnTo>
                      <a:lnTo>
                        <a:pt x="1040" y="308"/>
                      </a:lnTo>
                      <a:lnTo>
                        <a:pt x="1040" y="320"/>
                      </a:lnTo>
                      <a:lnTo>
                        <a:pt x="1041" y="339"/>
                      </a:lnTo>
                      <a:lnTo>
                        <a:pt x="1045" y="360"/>
                      </a:lnTo>
                      <a:lnTo>
                        <a:pt x="1046" y="371"/>
                      </a:lnTo>
                      <a:lnTo>
                        <a:pt x="1047" y="381"/>
                      </a:lnTo>
                      <a:lnTo>
                        <a:pt x="1047" y="391"/>
                      </a:lnTo>
                      <a:lnTo>
                        <a:pt x="1046" y="400"/>
                      </a:lnTo>
                      <a:lnTo>
                        <a:pt x="1034" y="410"/>
                      </a:lnTo>
                      <a:lnTo>
                        <a:pt x="1013" y="430"/>
                      </a:lnTo>
                      <a:lnTo>
                        <a:pt x="1003" y="440"/>
                      </a:lnTo>
                      <a:lnTo>
                        <a:pt x="995" y="450"/>
                      </a:lnTo>
                      <a:lnTo>
                        <a:pt x="991" y="455"/>
                      </a:lnTo>
                      <a:lnTo>
                        <a:pt x="988" y="460"/>
                      </a:lnTo>
                      <a:lnTo>
                        <a:pt x="987" y="464"/>
                      </a:lnTo>
                      <a:lnTo>
                        <a:pt x="986" y="467"/>
                      </a:lnTo>
                      <a:lnTo>
                        <a:pt x="987" y="470"/>
                      </a:lnTo>
                      <a:lnTo>
                        <a:pt x="990" y="476"/>
                      </a:lnTo>
                      <a:lnTo>
                        <a:pt x="995" y="481"/>
                      </a:lnTo>
                      <a:lnTo>
                        <a:pt x="999" y="486"/>
                      </a:lnTo>
                      <a:lnTo>
                        <a:pt x="1009" y="495"/>
                      </a:lnTo>
                      <a:lnTo>
                        <a:pt x="1012" y="499"/>
                      </a:lnTo>
                      <a:lnTo>
                        <a:pt x="1016" y="524"/>
                      </a:lnTo>
                      <a:lnTo>
                        <a:pt x="1019" y="550"/>
                      </a:lnTo>
                      <a:lnTo>
                        <a:pt x="1019" y="576"/>
                      </a:lnTo>
                      <a:lnTo>
                        <a:pt x="1019" y="610"/>
                      </a:lnTo>
                      <a:lnTo>
                        <a:pt x="1020" y="618"/>
                      </a:lnTo>
                      <a:lnTo>
                        <a:pt x="1022" y="625"/>
                      </a:lnTo>
                      <a:lnTo>
                        <a:pt x="1025" y="632"/>
                      </a:lnTo>
                      <a:lnTo>
                        <a:pt x="1026" y="640"/>
                      </a:lnTo>
                      <a:lnTo>
                        <a:pt x="1026" y="650"/>
                      </a:lnTo>
                      <a:lnTo>
                        <a:pt x="1026" y="664"/>
                      </a:lnTo>
                      <a:lnTo>
                        <a:pt x="1027" y="679"/>
                      </a:lnTo>
                      <a:lnTo>
                        <a:pt x="1031" y="696"/>
                      </a:lnTo>
                      <a:lnTo>
                        <a:pt x="1033" y="705"/>
                      </a:lnTo>
                      <a:lnTo>
                        <a:pt x="1035" y="713"/>
                      </a:lnTo>
                      <a:lnTo>
                        <a:pt x="1038" y="720"/>
                      </a:lnTo>
                      <a:lnTo>
                        <a:pt x="1043" y="726"/>
                      </a:lnTo>
                      <a:lnTo>
                        <a:pt x="1047" y="731"/>
                      </a:lnTo>
                      <a:lnTo>
                        <a:pt x="1053" y="735"/>
                      </a:lnTo>
                      <a:lnTo>
                        <a:pt x="1058" y="738"/>
                      </a:lnTo>
                      <a:lnTo>
                        <a:pt x="1066" y="739"/>
                      </a:lnTo>
                      <a:lnTo>
                        <a:pt x="1067" y="745"/>
                      </a:lnTo>
                      <a:lnTo>
                        <a:pt x="1070" y="751"/>
                      </a:lnTo>
                      <a:lnTo>
                        <a:pt x="1074" y="759"/>
                      </a:lnTo>
                      <a:lnTo>
                        <a:pt x="1079" y="765"/>
                      </a:lnTo>
                      <a:lnTo>
                        <a:pt x="1083" y="772"/>
                      </a:lnTo>
                      <a:lnTo>
                        <a:pt x="1088" y="780"/>
                      </a:lnTo>
                      <a:lnTo>
                        <a:pt x="1091" y="790"/>
                      </a:lnTo>
                      <a:lnTo>
                        <a:pt x="1092" y="800"/>
                      </a:lnTo>
                      <a:lnTo>
                        <a:pt x="1092" y="807"/>
                      </a:lnTo>
                      <a:lnTo>
                        <a:pt x="1092" y="816"/>
                      </a:lnTo>
                      <a:lnTo>
                        <a:pt x="1092" y="825"/>
                      </a:lnTo>
                      <a:lnTo>
                        <a:pt x="1092" y="831"/>
                      </a:lnTo>
                      <a:lnTo>
                        <a:pt x="1092" y="837"/>
                      </a:lnTo>
                      <a:lnTo>
                        <a:pt x="1080" y="836"/>
                      </a:lnTo>
                      <a:lnTo>
                        <a:pt x="1069" y="837"/>
                      </a:lnTo>
                      <a:lnTo>
                        <a:pt x="1059" y="840"/>
                      </a:lnTo>
                      <a:lnTo>
                        <a:pt x="1049" y="842"/>
                      </a:lnTo>
                      <a:lnTo>
                        <a:pt x="1040" y="844"/>
                      </a:lnTo>
                      <a:lnTo>
                        <a:pt x="1029" y="844"/>
                      </a:lnTo>
                      <a:lnTo>
                        <a:pt x="1023" y="844"/>
                      </a:lnTo>
                      <a:lnTo>
                        <a:pt x="1018" y="842"/>
                      </a:lnTo>
                      <a:lnTo>
                        <a:pt x="1012" y="840"/>
                      </a:lnTo>
                      <a:lnTo>
                        <a:pt x="1005" y="837"/>
                      </a:lnTo>
                      <a:lnTo>
                        <a:pt x="1001" y="846"/>
                      </a:lnTo>
                      <a:lnTo>
                        <a:pt x="997" y="856"/>
                      </a:lnTo>
                      <a:lnTo>
                        <a:pt x="993" y="869"/>
                      </a:lnTo>
                      <a:lnTo>
                        <a:pt x="990" y="883"/>
                      </a:lnTo>
                      <a:lnTo>
                        <a:pt x="982" y="914"/>
                      </a:lnTo>
                      <a:lnTo>
                        <a:pt x="975" y="947"/>
                      </a:lnTo>
                      <a:lnTo>
                        <a:pt x="970" y="962"/>
                      </a:lnTo>
                      <a:lnTo>
                        <a:pt x="966" y="978"/>
                      </a:lnTo>
                      <a:lnTo>
                        <a:pt x="960" y="992"/>
                      </a:lnTo>
                      <a:lnTo>
                        <a:pt x="955" y="1004"/>
                      </a:lnTo>
                      <a:lnTo>
                        <a:pt x="951" y="1009"/>
                      </a:lnTo>
                      <a:lnTo>
                        <a:pt x="947" y="1014"/>
                      </a:lnTo>
                      <a:lnTo>
                        <a:pt x="944" y="1018"/>
                      </a:lnTo>
                      <a:lnTo>
                        <a:pt x="940" y="1021"/>
                      </a:lnTo>
                      <a:lnTo>
                        <a:pt x="935" y="1024"/>
                      </a:lnTo>
                      <a:lnTo>
                        <a:pt x="930" y="1026"/>
                      </a:lnTo>
                      <a:lnTo>
                        <a:pt x="925" y="1028"/>
                      </a:lnTo>
                      <a:lnTo>
                        <a:pt x="920" y="1028"/>
                      </a:lnTo>
                      <a:lnTo>
                        <a:pt x="918" y="1029"/>
                      </a:lnTo>
                      <a:lnTo>
                        <a:pt x="912" y="1031"/>
                      </a:lnTo>
                      <a:lnTo>
                        <a:pt x="909" y="1032"/>
                      </a:lnTo>
                      <a:lnTo>
                        <a:pt x="906" y="1032"/>
                      </a:lnTo>
                      <a:lnTo>
                        <a:pt x="902" y="1031"/>
                      </a:lnTo>
                      <a:lnTo>
                        <a:pt x="900" y="1028"/>
                      </a:lnTo>
                      <a:lnTo>
                        <a:pt x="888" y="1035"/>
                      </a:lnTo>
                      <a:lnTo>
                        <a:pt x="873" y="1043"/>
                      </a:lnTo>
                      <a:lnTo>
                        <a:pt x="864" y="1047"/>
                      </a:lnTo>
                      <a:lnTo>
                        <a:pt x="856" y="1050"/>
                      </a:lnTo>
                      <a:lnTo>
                        <a:pt x="847" y="1052"/>
                      </a:lnTo>
                      <a:lnTo>
                        <a:pt x="840" y="1053"/>
                      </a:lnTo>
                      <a:lnTo>
                        <a:pt x="828" y="1053"/>
                      </a:lnTo>
                      <a:lnTo>
                        <a:pt x="816" y="1052"/>
                      </a:lnTo>
                      <a:lnTo>
                        <a:pt x="805" y="1049"/>
                      </a:lnTo>
                      <a:lnTo>
                        <a:pt x="795" y="1046"/>
                      </a:lnTo>
                      <a:lnTo>
                        <a:pt x="789" y="1043"/>
                      </a:lnTo>
                      <a:lnTo>
                        <a:pt x="786" y="1040"/>
                      </a:lnTo>
                      <a:lnTo>
                        <a:pt x="782" y="1037"/>
                      </a:lnTo>
                      <a:lnTo>
                        <a:pt x="779" y="1033"/>
                      </a:lnTo>
                      <a:lnTo>
                        <a:pt x="777" y="1027"/>
                      </a:lnTo>
                      <a:lnTo>
                        <a:pt x="775" y="1022"/>
                      </a:lnTo>
                      <a:lnTo>
                        <a:pt x="774" y="1016"/>
                      </a:lnTo>
                      <a:lnTo>
                        <a:pt x="774" y="1010"/>
                      </a:lnTo>
                      <a:lnTo>
                        <a:pt x="761" y="1011"/>
                      </a:lnTo>
                      <a:lnTo>
                        <a:pt x="743" y="1014"/>
                      </a:lnTo>
                      <a:lnTo>
                        <a:pt x="734" y="1014"/>
                      </a:lnTo>
                      <a:lnTo>
                        <a:pt x="727" y="1012"/>
                      </a:lnTo>
                      <a:lnTo>
                        <a:pt x="723" y="1011"/>
                      </a:lnTo>
                      <a:lnTo>
                        <a:pt x="719" y="1009"/>
                      </a:lnTo>
                      <a:lnTo>
                        <a:pt x="717" y="1007"/>
                      </a:lnTo>
                      <a:lnTo>
                        <a:pt x="713" y="1004"/>
                      </a:lnTo>
                      <a:lnTo>
                        <a:pt x="707" y="997"/>
                      </a:lnTo>
                      <a:lnTo>
                        <a:pt x="701" y="993"/>
                      </a:lnTo>
                      <a:lnTo>
                        <a:pt x="697" y="992"/>
                      </a:lnTo>
                      <a:lnTo>
                        <a:pt x="694" y="992"/>
                      </a:lnTo>
                      <a:lnTo>
                        <a:pt x="689" y="993"/>
                      </a:lnTo>
                      <a:lnTo>
                        <a:pt x="686" y="993"/>
                      </a:lnTo>
                      <a:lnTo>
                        <a:pt x="680" y="991"/>
                      </a:lnTo>
                      <a:lnTo>
                        <a:pt x="674" y="986"/>
                      </a:lnTo>
                      <a:lnTo>
                        <a:pt x="662" y="987"/>
                      </a:lnTo>
                      <a:lnTo>
                        <a:pt x="653" y="989"/>
                      </a:lnTo>
                      <a:lnTo>
                        <a:pt x="643" y="991"/>
                      </a:lnTo>
                      <a:lnTo>
                        <a:pt x="627" y="992"/>
                      </a:lnTo>
                      <a:lnTo>
                        <a:pt x="618" y="991"/>
                      </a:lnTo>
                      <a:lnTo>
                        <a:pt x="611" y="988"/>
                      </a:lnTo>
                      <a:lnTo>
                        <a:pt x="608" y="987"/>
                      </a:lnTo>
                      <a:lnTo>
                        <a:pt x="605" y="984"/>
                      </a:lnTo>
                      <a:lnTo>
                        <a:pt x="603" y="982"/>
                      </a:lnTo>
                      <a:lnTo>
                        <a:pt x="600" y="979"/>
                      </a:lnTo>
                      <a:lnTo>
                        <a:pt x="597" y="971"/>
                      </a:lnTo>
                      <a:lnTo>
                        <a:pt x="596" y="963"/>
                      </a:lnTo>
                      <a:lnTo>
                        <a:pt x="595" y="953"/>
                      </a:lnTo>
                      <a:lnTo>
                        <a:pt x="594" y="942"/>
                      </a:lnTo>
                      <a:lnTo>
                        <a:pt x="593" y="933"/>
                      </a:lnTo>
                      <a:lnTo>
                        <a:pt x="590" y="925"/>
                      </a:lnTo>
                      <a:lnTo>
                        <a:pt x="587" y="916"/>
                      </a:lnTo>
                      <a:lnTo>
                        <a:pt x="584" y="908"/>
                      </a:lnTo>
                      <a:lnTo>
                        <a:pt x="581" y="900"/>
                      </a:lnTo>
                      <a:lnTo>
                        <a:pt x="577" y="892"/>
                      </a:lnTo>
                      <a:lnTo>
                        <a:pt x="575" y="884"/>
                      </a:lnTo>
                      <a:lnTo>
                        <a:pt x="574" y="875"/>
                      </a:lnTo>
                      <a:lnTo>
                        <a:pt x="575" y="870"/>
                      </a:lnTo>
                      <a:lnTo>
                        <a:pt x="577" y="866"/>
                      </a:lnTo>
                      <a:lnTo>
                        <a:pt x="581" y="860"/>
                      </a:lnTo>
                      <a:lnTo>
                        <a:pt x="584" y="856"/>
                      </a:lnTo>
                      <a:lnTo>
                        <a:pt x="587" y="851"/>
                      </a:lnTo>
                      <a:lnTo>
                        <a:pt x="590" y="846"/>
                      </a:lnTo>
                      <a:lnTo>
                        <a:pt x="593" y="842"/>
                      </a:lnTo>
                      <a:lnTo>
                        <a:pt x="594" y="837"/>
                      </a:lnTo>
                      <a:lnTo>
                        <a:pt x="593" y="825"/>
                      </a:lnTo>
                      <a:lnTo>
                        <a:pt x="589" y="809"/>
                      </a:lnTo>
                      <a:lnTo>
                        <a:pt x="588" y="798"/>
                      </a:lnTo>
                      <a:lnTo>
                        <a:pt x="588" y="789"/>
                      </a:lnTo>
                      <a:lnTo>
                        <a:pt x="590" y="779"/>
                      </a:lnTo>
                      <a:lnTo>
                        <a:pt x="594" y="770"/>
                      </a:lnTo>
                      <a:lnTo>
                        <a:pt x="571" y="766"/>
                      </a:lnTo>
                      <a:lnTo>
                        <a:pt x="521" y="759"/>
                      </a:lnTo>
                      <a:lnTo>
                        <a:pt x="494" y="756"/>
                      </a:lnTo>
                      <a:lnTo>
                        <a:pt x="471" y="755"/>
                      </a:lnTo>
                      <a:lnTo>
                        <a:pt x="461" y="754"/>
                      </a:lnTo>
                      <a:lnTo>
                        <a:pt x="454" y="755"/>
                      </a:lnTo>
                      <a:lnTo>
                        <a:pt x="450" y="756"/>
                      </a:lnTo>
                      <a:lnTo>
                        <a:pt x="448" y="758"/>
                      </a:lnTo>
                      <a:lnTo>
                        <a:pt x="448" y="762"/>
                      </a:lnTo>
                      <a:lnTo>
                        <a:pt x="448" y="770"/>
                      </a:lnTo>
                      <a:lnTo>
                        <a:pt x="447" y="775"/>
                      </a:lnTo>
                      <a:lnTo>
                        <a:pt x="446" y="780"/>
                      </a:lnTo>
                      <a:lnTo>
                        <a:pt x="443" y="785"/>
                      </a:lnTo>
                      <a:lnTo>
                        <a:pt x="440" y="790"/>
                      </a:lnTo>
                      <a:lnTo>
                        <a:pt x="437" y="796"/>
                      </a:lnTo>
                      <a:lnTo>
                        <a:pt x="431" y="801"/>
                      </a:lnTo>
                      <a:lnTo>
                        <a:pt x="425" y="806"/>
                      </a:lnTo>
                      <a:lnTo>
                        <a:pt x="417" y="811"/>
                      </a:lnTo>
                      <a:lnTo>
                        <a:pt x="407" y="814"/>
                      </a:lnTo>
                      <a:lnTo>
                        <a:pt x="396" y="817"/>
                      </a:lnTo>
                      <a:lnTo>
                        <a:pt x="383" y="819"/>
                      </a:lnTo>
                      <a:lnTo>
                        <a:pt x="369" y="819"/>
                      </a:lnTo>
                      <a:lnTo>
                        <a:pt x="362" y="818"/>
                      </a:lnTo>
                      <a:lnTo>
                        <a:pt x="355" y="816"/>
                      </a:lnTo>
                      <a:lnTo>
                        <a:pt x="349" y="811"/>
                      </a:lnTo>
                      <a:lnTo>
                        <a:pt x="342" y="804"/>
                      </a:lnTo>
                      <a:lnTo>
                        <a:pt x="337" y="797"/>
                      </a:lnTo>
                      <a:lnTo>
                        <a:pt x="330" y="789"/>
                      </a:lnTo>
                      <a:lnTo>
                        <a:pt x="325" y="780"/>
                      </a:lnTo>
                      <a:lnTo>
                        <a:pt x="319" y="771"/>
                      </a:lnTo>
                      <a:lnTo>
                        <a:pt x="309" y="749"/>
                      </a:lnTo>
                      <a:lnTo>
                        <a:pt x="302" y="728"/>
                      </a:lnTo>
                      <a:lnTo>
                        <a:pt x="298" y="718"/>
                      </a:lnTo>
                      <a:lnTo>
                        <a:pt x="297" y="708"/>
                      </a:lnTo>
                      <a:lnTo>
                        <a:pt x="295" y="699"/>
                      </a:lnTo>
                      <a:lnTo>
                        <a:pt x="295" y="689"/>
                      </a:lnTo>
                      <a:lnTo>
                        <a:pt x="3" y="689"/>
                      </a:lnTo>
                      <a:lnTo>
                        <a:pt x="2" y="683"/>
                      </a:lnTo>
                      <a:lnTo>
                        <a:pt x="0" y="680"/>
                      </a:lnTo>
                      <a:lnTo>
                        <a:pt x="0" y="677"/>
                      </a:lnTo>
                      <a:lnTo>
                        <a:pt x="3" y="671"/>
                      </a:lnTo>
                      <a:lnTo>
                        <a:pt x="10" y="669"/>
                      </a:lnTo>
                      <a:lnTo>
                        <a:pt x="16" y="668"/>
                      </a:lnTo>
                      <a:lnTo>
                        <a:pt x="23" y="668"/>
                      </a:lnTo>
                      <a:lnTo>
                        <a:pt x="28" y="668"/>
                      </a:lnTo>
                      <a:lnTo>
                        <a:pt x="34" y="668"/>
                      </a:lnTo>
                      <a:lnTo>
                        <a:pt x="39" y="668"/>
                      </a:lnTo>
                      <a:lnTo>
                        <a:pt x="45" y="667"/>
                      </a:lnTo>
                      <a:lnTo>
                        <a:pt x="49" y="665"/>
                      </a:lnTo>
                      <a:lnTo>
                        <a:pt x="49" y="640"/>
                      </a:lnTo>
                      <a:lnTo>
                        <a:pt x="36" y="640"/>
                      </a:lnTo>
                      <a:lnTo>
                        <a:pt x="27" y="640"/>
                      </a:lnTo>
                      <a:lnTo>
                        <a:pt x="18" y="640"/>
                      </a:lnTo>
                      <a:lnTo>
                        <a:pt x="10" y="640"/>
                      </a:lnTo>
                      <a:lnTo>
                        <a:pt x="26" y="631"/>
                      </a:lnTo>
                      <a:lnTo>
                        <a:pt x="39" y="622"/>
                      </a:lnTo>
                      <a:lnTo>
                        <a:pt x="46" y="619"/>
                      </a:lnTo>
                      <a:lnTo>
                        <a:pt x="52" y="615"/>
                      </a:lnTo>
                      <a:lnTo>
                        <a:pt x="60" y="612"/>
                      </a:lnTo>
                      <a:lnTo>
                        <a:pt x="69" y="610"/>
                      </a:lnTo>
                      <a:lnTo>
                        <a:pt x="72" y="613"/>
                      </a:lnTo>
                      <a:lnTo>
                        <a:pt x="75" y="615"/>
                      </a:lnTo>
                      <a:lnTo>
                        <a:pt x="79" y="616"/>
                      </a:lnTo>
                      <a:lnTo>
                        <a:pt x="82" y="617"/>
                      </a:lnTo>
                      <a:lnTo>
                        <a:pt x="91" y="618"/>
                      </a:lnTo>
                      <a:lnTo>
                        <a:pt x="101" y="616"/>
                      </a:lnTo>
                      <a:lnTo>
                        <a:pt x="122" y="612"/>
                      </a:lnTo>
                      <a:lnTo>
                        <a:pt x="142" y="610"/>
                      </a:lnTo>
                      <a:lnTo>
                        <a:pt x="145" y="614"/>
                      </a:lnTo>
                      <a:lnTo>
                        <a:pt x="148" y="617"/>
                      </a:lnTo>
                      <a:lnTo>
                        <a:pt x="152" y="619"/>
                      </a:lnTo>
                      <a:lnTo>
                        <a:pt x="157" y="620"/>
                      </a:lnTo>
                      <a:lnTo>
                        <a:pt x="166" y="621"/>
                      </a:lnTo>
                      <a:lnTo>
                        <a:pt x="175" y="622"/>
                      </a:lnTo>
                      <a:lnTo>
                        <a:pt x="179" y="621"/>
                      </a:lnTo>
                      <a:lnTo>
                        <a:pt x="183" y="620"/>
                      </a:lnTo>
                      <a:lnTo>
                        <a:pt x="186" y="618"/>
                      </a:lnTo>
                      <a:lnTo>
                        <a:pt x="190" y="616"/>
                      </a:lnTo>
                      <a:lnTo>
                        <a:pt x="195" y="610"/>
                      </a:lnTo>
                      <a:lnTo>
                        <a:pt x="201" y="603"/>
                      </a:lnTo>
                      <a:lnTo>
                        <a:pt x="209" y="588"/>
                      </a:lnTo>
                      <a:lnTo>
                        <a:pt x="215" y="578"/>
                      </a:lnTo>
                      <a:lnTo>
                        <a:pt x="220" y="574"/>
                      </a:lnTo>
                      <a:lnTo>
                        <a:pt x="225" y="571"/>
                      </a:lnTo>
                      <a:lnTo>
                        <a:pt x="230" y="569"/>
                      </a:lnTo>
                      <a:lnTo>
                        <a:pt x="236" y="567"/>
                      </a:lnTo>
                      <a:lnTo>
                        <a:pt x="246" y="564"/>
                      </a:lnTo>
                      <a:lnTo>
                        <a:pt x="256" y="560"/>
                      </a:lnTo>
                      <a:lnTo>
                        <a:pt x="258" y="558"/>
                      </a:lnTo>
                      <a:lnTo>
                        <a:pt x="260" y="555"/>
                      </a:lnTo>
                      <a:lnTo>
                        <a:pt x="262" y="550"/>
                      </a:lnTo>
                      <a:lnTo>
                        <a:pt x="264" y="544"/>
                      </a:lnTo>
                      <a:lnTo>
                        <a:pt x="268" y="528"/>
                      </a:lnTo>
                      <a:lnTo>
                        <a:pt x="270" y="511"/>
                      </a:lnTo>
                      <a:lnTo>
                        <a:pt x="274" y="477"/>
                      </a:lnTo>
                      <a:lnTo>
                        <a:pt x="275" y="449"/>
                      </a:lnTo>
                      <a:lnTo>
                        <a:pt x="281" y="440"/>
                      </a:lnTo>
                      <a:lnTo>
                        <a:pt x="287" y="432"/>
                      </a:lnTo>
                      <a:lnTo>
                        <a:pt x="294" y="425"/>
                      </a:lnTo>
                      <a:lnTo>
                        <a:pt x="302" y="416"/>
                      </a:lnTo>
                      <a:lnTo>
                        <a:pt x="316" y="404"/>
                      </a:lnTo>
                      <a:lnTo>
                        <a:pt x="328" y="394"/>
                      </a:lnTo>
                      <a:lnTo>
                        <a:pt x="338" y="382"/>
                      </a:lnTo>
                      <a:lnTo>
                        <a:pt x="346" y="370"/>
                      </a:lnTo>
                      <a:lnTo>
                        <a:pt x="352" y="357"/>
                      </a:lnTo>
                      <a:lnTo>
                        <a:pt x="357" y="345"/>
                      </a:lnTo>
                      <a:lnTo>
                        <a:pt x="361" y="334"/>
                      </a:lnTo>
                      <a:lnTo>
                        <a:pt x="364" y="323"/>
                      </a:lnTo>
                      <a:lnTo>
                        <a:pt x="366" y="312"/>
                      </a:lnTo>
                      <a:lnTo>
                        <a:pt x="369" y="299"/>
                      </a:lnTo>
                      <a:lnTo>
                        <a:pt x="370" y="276"/>
                      </a:lnTo>
                      <a:lnTo>
                        <a:pt x="370" y="251"/>
                      </a:lnTo>
                      <a:lnTo>
                        <a:pt x="369" y="225"/>
                      </a:lnTo>
                      <a:lnTo>
                        <a:pt x="369" y="197"/>
                      </a:lnTo>
                      <a:lnTo>
                        <a:pt x="369" y="191"/>
                      </a:lnTo>
                      <a:lnTo>
                        <a:pt x="369" y="187"/>
                      </a:lnTo>
                      <a:lnTo>
                        <a:pt x="371" y="183"/>
                      </a:lnTo>
                      <a:lnTo>
                        <a:pt x="372" y="180"/>
                      </a:lnTo>
                      <a:lnTo>
                        <a:pt x="375" y="174"/>
                      </a:lnTo>
                      <a:lnTo>
                        <a:pt x="380" y="167"/>
                      </a:lnTo>
                      <a:lnTo>
                        <a:pt x="383" y="160"/>
                      </a:lnTo>
                      <a:lnTo>
                        <a:pt x="385" y="149"/>
                      </a:lnTo>
                      <a:lnTo>
                        <a:pt x="385" y="140"/>
                      </a:lnTo>
                      <a:lnTo>
                        <a:pt x="385" y="132"/>
                      </a:lnTo>
                      <a:lnTo>
                        <a:pt x="383" y="122"/>
                      </a:lnTo>
                      <a:lnTo>
                        <a:pt x="382" y="110"/>
                      </a:lnTo>
                      <a:lnTo>
                        <a:pt x="397" y="87"/>
                      </a:lnTo>
                      <a:lnTo>
                        <a:pt x="417" y="58"/>
                      </a:lnTo>
                      <a:lnTo>
                        <a:pt x="422" y="51"/>
                      </a:lnTo>
                      <a:lnTo>
                        <a:pt x="428" y="45"/>
                      </a:lnTo>
                      <a:lnTo>
                        <a:pt x="435" y="40"/>
                      </a:lnTo>
                      <a:lnTo>
                        <a:pt x="440" y="35"/>
                      </a:lnTo>
                      <a:lnTo>
                        <a:pt x="447" y="31"/>
                      </a:lnTo>
                      <a:lnTo>
                        <a:pt x="453" y="26"/>
                      </a:lnTo>
                      <a:lnTo>
                        <a:pt x="461" y="24"/>
                      </a:lnTo>
                      <a:lnTo>
                        <a:pt x="467" y="24"/>
                      </a:lnTo>
                      <a:lnTo>
                        <a:pt x="476" y="24"/>
                      </a:lnTo>
                      <a:lnTo>
                        <a:pt x="484" y="26"/>
                      </a:lnTo>
                      <a:lnTo>
                        <a:pt x="491" y="30"/>
                      </a:lnTo>
                      <a:lnTo>
                        <a:pt x="497" y="33"/>
                      </a:lnTo>
                      <a:lnTo>
                        <a:pt x="509" y="42"/>
                      </a:lnTo>
                      <a:lnTo>
                        <a:pt x="521" y="52"/>
                      </a:lnTo>
                      <a:lnTo>
                        <a:pt x="532" y="62"/>
                      </a:lnTo>
                      <a:lnTo>
                        <a:pt x="544" y="71"/>
                      </a:lnTo>
                      <a:lnTo>
                        <a:pt x="551" y="74"/>
                      </a:lnTo>
                      <a:lnTo>
                        <a:pt x="558" y="77"/>
                      </a:lnTo>
                      <a:lnTo>
                        <a:pt x="565" y="79"/>
                      </a:lnTo>
                      <a:lnTo>
                        <a:pt x="574" y="79"/>
                      </a:lnTo>
                      <a:lnTo>
                        <a:pt x="587" y="78"/>
                      </a:lnTo>
                      <a:lnTo>
                        <a:pt x="599" y="76"/>
                      </a:lnTo>
                      <a:lnTo>
                        <a:pt x="614" y="74"/>
                      </a:lnTo>
                      <a:lnTo>
                        <a:pt x="634" y="73"/>
                      </a:lnTo>
                      <a:lnTo>
                        <a:pt x="637" y="73"/>
                      </a:lnTo>
                      <a:lnTo>
                        <a:pt x="639" y="71"/>
                      </a:lnTo>
                      <a:lnTo>
                        <a:pt x="641" y="69"/>
                      </a:lnTo>
                      <a:lnTo>
                        <a:pt x="644" y="66"/>
                      </a:lnTo>
                      <a:lnTo>
                        <a:pt x="649" y="60"/>
                      </a:lnTo>
                      <a:lnTo>
                        <a:pt x="654" y="55"/>
                      </a:lnTo>
                      <a:lnTo>
                        <a:pt x="662" y="49"/>
                      </a:lnTo>
                      <a:lnTo>
                        <a:pt x="670" y="44"/>
                      </a:lnTo>
                      <a:lnTo>
                        <a:pt x="677" y="40"/>
                      </a:lnTo>
                      <a:lnTo>
                        <a:pt x="685" y="38"/>
                      </a:lnTo>
                      <a:lnTo>
                        <a:pt x="693" y="36"/>
                      </a:lnTo>
                      <a:lnTo>
                        <a:pt x="701" y="35"/>
                      </a:lnTo>
                      <a:lnTo>
                        <a:pt x="709" y="34"/>
                      </a:lnTo>
                      <a:lnTo>
                        <a:pt x="718" y="34"/>
                      </a:lnTo>
                      <a:lnTo>
                        <a:pt x="734" y="34"/>
                      </a:lnTo>
                      <a:lnTo>
                        <a:pt x="752" y="35"/>
                      </a:lnTo>
                      <a:lnTo>
                        <a:pt x="761" y="34"/>
                      </a:lnTo>
                      <a:lnTo>
                        <a:pt x="769" y="34"/>
                      </a:lnTo>
                      <a:lnTo>
                        <a:pt x="778" y="33"/>
                      </a:lnTo>
                      <a:lnTo>
                        <a:pt x="787" y="31"/>
                      </a:lnTo>
                      <a:lnTo>
                        <a:pt x="790" y="24"/>
                      </a:lnTo>
                      <a:lnTo>
                        <a:pt x="795" y="17"/>
                      </a:lnTo>
                      <a:lnTo>
                        <a:pt x="796" y="13"/>
                      </a:lnTo>
                      <a:lnTo>
                        <a:pt x="799" y="9"/>
                      </a:lnTo>
                      <a:lnTo>
                        <a:pt x="802" y="4"/>
                      </a:lnTo>
                      <a:lnTo>
                        <a:pt x="807" y="0"/>
                      </a:lnTo>
                      <a:lnTo>
                        <a:pt x="814" y="0"/>
                      </a:lnTo>
                      <a:lnTo>
                        <a:pt x="827" y="0"/>
                      </a:lnTo>
                      <a:lnTo>
                        <a:pt x="828" y="8"/>
                      </a:lnTo>
                      <a:lnTo>
                        <a:pt x="830" y="14"/>
                      </a:lnTo>
                      <a:lnTo>
                        <a:pt x="833" y="18"/>
                      </a:lnTo>
                      <a:lnTo>
                        <a:pt x="839" y="21"/>
                      </a:lnTo>
                      <a:lnTo>
                        <a:pt x="843" y="22"/>
                      </a:lnTo>
                      <a:lnTo>
                        <a:pt x="848" y="23"/>
                      </a:lnTo>
                      <a:lnTo>
                        <a:pt x="854" y="24"/>
                      </a:lnTo>
                      <a:lnTo>
                        <a:pt x="859" y="24"/>
                      </a:lnTo>
                      <a:lnTo>
                        <a:pt x="869" y="24"/>
                      </a:lnTo>
                      <a:lnTo>
                        <a:pt x="879" y="24"/>
                      </a:lnTo>
                      <a:lnTo>
                        <a:pt x="887" y="24"/>
                      </a:lnTo>
                      <a:lnTo>
                        <a:pt x="894" y="2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29" name="Freeform 249">
                  <a:extLst>
                    <a:ext uri="{FF2B5EF4-FFF2-40B4-BE49-F238E27FC236}">
                      <a16:creationId xmlns:a16="http://schemas.microsoft.com/office/drawing/2014/main" xmlns="" id="{6AF46811-62FF-4F8F-828C-A24A107F23A7}"/>
                    </a:ext>
                  </a:extLst>
                </p:cNvPr>
                <p:cNvSpPr>
                  <a:spLocks/>
                </p:cNvSpPr>
                <p:nvPr>
                  <p:custDataLst>
                    <p:tags r:id="rId176"/>
                  </p:custDataLst>
                </p:nvPr>
              </p:nvSpPr>
              <p:spPr bwMode="auto">
                <a:xfrm>
                  <a:off x="4243388" y="3590925"/>
                  <a:ext cx="55562" cy="55563"/>
                </a:xfrm>
                <a:custGeom>
                  <a:avLst/>
                  <a:gdLst>
                    <a:gd name="T0" fmla="*/ 2147483646 w 125"/>
                    <a:gd name="T1" fmla="*/ 0 h 81"/>
                    <a:gd name="T2" fmla="*/ 2147483646 w 125"/>
                    <a:gd name="T3" fmla="*/ 2147483646 h 81"/>
                    <a:gd name="T4" fmla="*/ 2147483646 w 125"/>
                    <a:gd name="T5" fmla="*/ 2147483646 h 81"/>
                    <a:gd name="T6" fmla="*/ 2147483646 w 125"/>
                    <a:gd name="T7" fmla="*/ 2147483646 h 81"/>
                    <a:gd name="T8" fmla="*/ 2147483646 w 125"/>
                    <a:gd name="T9" fmla="*/ 2147483646 h 81"/>
                    <a:gd name="T10" fmla="*/ 2147483646 w 125"/>
                    <a:gd name="T11" fmla="*/ 2147483646 h 81"/>
                    <a:gd name="T12" fmla="*/ 2147483646 w 125"/>
                    <a:gd name="T13" fmla="*/ 2147483646 h 81"/>
                    <a:gd name="T14" fmla="*/ 2147483646 w 125"/>
                    <a:gd name="T15" fmla="*/ 2147483646 h 81"/>
                    <a:gd name="T16" fmla="*/ 2147483646 w 125"/>
                    <a:gd name="T17" fmla="*/ 2147483646 h 81"/>
                    <a:gd name="T18" fmla="*/ 2147483646 w 125"/>
                    <a:gd name="T19" fmla="*/ 2147483646 h 81"/>
                    <a:gd name="T20" fmla="*/ 2147483646 w 125"/>
                    <a:gd name="T21" fmla="*/ 2147483646 h 81"/>
                    <a:gd name="T22" fmla="*/ 2147483646 w 125"/>
                    <a:gd name="T23" fmla="*/ 2147483646 h 81"/>
                    <a:gd name="T24" fmla="*/ 2147483646 w 125"/>
                    <a:gd name="T25" fmla="*/ 2147483646 h 81"/>
                    <a:gd name="T26" fmla="*/ 2147483646 w 125"/>
                    <a:gd name="T27" fmla="*/ 2147483646 h 81"/>
                    <a:gd name="T28" fmla="*/ 2147483646 w 125"/>
                    <a:gd name="T29" fmla="*/ 2147483646 h 81"/>
                    <a:gd name="T30" fmla="*/ 2147483646 w 125"/>
                    <a:gd name="T31" fmla="*/ 2147483646 h 81"/>
                    <a:gd name="T32" fmla="*/ 0 w 125"/>
                    <a:gd name="T33" fmla="*/ 2147483646 h 81"/>
                    <a:gd name="T34" fmla="*/ 0 w 125"/>
                    <a:gd name="T35" fmla="*/ 2147483646 h 81"/>
                    <a:gd name="T36" fmla="*/ 2147483646 w 125"/>
                    <a:gd name="T37" fmla="*/ 2147483646 h 81"/>
                    <a:gd name="T38" fmla="*/ 2147483646 w 125"/>
                    <a:gd name="T39" fmla="*/ 2147483646 h 81"/>
                    <a:gd name="T40" fmla="*/ 2147483646 w 125"/>
                    <a:gd name="T41" fmla="*/ 2147483646 h 81"/>
                    <a:gd name="T42" fmla="*/ 2147483646 w 125"/>
                    <a:gd name="T43" fmla="*/ 2147483646 h 81"/>
                    <a:gd name="T44" fmla="*/ 2147483646 w 125"/>
                    <a:gd name="T45" fmla="*/ 2147483646 h 81"/>
                    <a:gd name="T46" fmla="*/ 2147483646 w 125"/>
                    <a:gd name="T47" fmla="*/ 2147483646 h 81"/>
                    <a:gd name="T48" fmla="*/ 2147483646 w 125"/>
                    <a:gd name="T49" fmla="*/ 0 h 81"/>
                    <a:gd name="T50" fmla="*/ 2147483646 w 125"/>
                    <a:gd name="T51" fmla="*/ 0 h 81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25"/>
                    <a:gd name="T79" fmla="*/ 0 h 81"/>
                    <a:gd name="T80" fmla="*/ 125 w 125"/>
                    <a:gd name="T81" fmla="*/ 81 h 81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25" h="81">
                      <a:moveTo>
                        <a:pt x="120" y="0"/>
                      </a:moveTo>
                      <a:lnTo>
                        <a:pt x="121" y="27"/>
                      </a:lnTo>
                      <a:lnTo>
                        <a:pt x="124" y="46"/>
                      </a:lnTo>
                      <a:lnTo>
                        <a:pt x="125" y="53"/>
                      </a:lnTo>
                      <a:lnTo>
                        <a:pt x="125" y="59"/>
                      </a:lnTo>
                      <a:lnTo>
                        <a:pt x="125" y="65"/>
                      </a:lnTo>
                      <a:lnTo>
                        <a:pt x="123" y="69"/>
                      </a:lnTo>
                      <a:lnTo>
                        <a:pt x="119" y="72"/>
                      </a:lnTo>
                      <a:lnTo>
                        <a:pt x="112" y="74"/>
                      </a:lnTo>
                      <a:lnTo>
                        <a:pt x="103" y="76"/>
                      </a:lnTo>
                      <a:lnTo>
                        <a:pt x="91" y="77"/>
                      </a:lnTo>
                      <a:lnTo>
                        <a:pt x="57" y="79"/>
                      </a:lnTo>
                      <a:lnTo>
                        <a:pt x="7" y="81"/>
                      </a:lnTo>
                      <a:lnTo>
                        <a:pt x="5" y="79"/>
                      </a:lnTo>
                      <a:lnTo>
                        <a:pt x="3" y="72"/>
                      </a:lnTo>
                      <a:lnTo>
                        <a:pt x="1" y="59"/>
                      </a:lnTo>
                      <a:lnTo>
                        <a:pt x="0" y="43"/>
                      </a:lnTo>
                      <a:lnTo>
                        <a:pt x="0" y="37"/>
                      </a:lnTo>
                      <a:lnTo>
                        <a:pt x="1" y="31"/>
                      </a:lnTo>
                      <a:lnTo>
                        <a:pt x="2" y="25"/>
                      </a:lnTo>
                      <a:lnTo>
                        <a:pt x="4" y="20"/>
                      </a:lnTo>
                      <a:lnTo>
                        <a:pt x="8" y="15"/>
                      </a:lnTo>
                      <a:lnTo>
                        <a:pt x="11" y="10"/>
                      </a:lnTo>
                      <a:lnTo>
                        <a:pt x="14" y="5"/>
                      </a:lnTo>
                      <a:lnTo>
                        <a:pt x="20" y="0"/>
                      </a:lnTo>
                      <a:lnTo>
                        <a:pt x="12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30" name="Freeform 250">
                  <a:extLst>
                    <a:ext uri="{FF2B5EF4-FFF2-40B4-BE49-F238E27FC236}">
                      <a16:creationId xmlns:a16="http://schemas.microsoft.com/office/drawing/2014/main" xmlns="" id="{96D0B0BB-ECFD-4B7D-AEE1-2771A376B926}"/>
                    </a:ext>
                  </a:extLst>
                </p:cNvPr>
                <p:cNvSpPr>
                  <a:spLocks/>
                </p:cNvSpPr>
                <p:nvPr>
                  <p:custDataLst>
                    <p:tags r:id="rId177"/>
                  </p:custDataLst>
                </p:nvPr>
              </p:nvSpPr>
              <p:spPr bwMode="auto">
                <a:xfrm>
                  <a:off x="4225925" y="3590925"/>
                  <a:ext cx="152400" cy="201613"/>
                </a:xfrm>
                <a:custGeom>
                  <a:avLst/>
                  <a:gdLst>
                    <a:gd name="T0" fmla="*/ 2147483646 w 355"/>
                    <a:gd name="T1" fmla="*/ 2147483646 h 388"/>
                    <a:gd name="T2" fmla="*/ 2147483646 w 355"/>
                    <a:gd name="T3" fmla="*/ 2147483646 h 388"/>
                    <a:gd name="T4" fmla="*/ 2147483646 w 355"/>
                    <a:gd name="T5" fmla="*/ 2147483646 h 388"/>
                    <a:gd name="T6" fmla="*/ 2147483646 w 355"/>
                    <a:gd name="T7" fmla="*/ 2147483646 h 388"/>
                    <a:gd name="T8" fmla="*/ 2147483646 w 355"/>
                    <a:gd name="T9" fmla="*/ 2147483646 h 388"/>
                    <a:gd name="T10" fmla="*/ 2147483646 w 355"/>
                    <a:gd name="T11" fmla="*/ 2147483646 h 388"/>
                    <a:gd name="T12" fmla="*/ 2147483646 w 355"/>
                    <a:gd name="T13" fmla="*/ 2147483646 h 388"/>
                    <a:gd name="T14" fmla="*/ 2147483646 w 355"/>
                    <a:gd name="T15" fmla="*/ 2147483646 h 388"/>
                    <a:gd name="T16" fmla="*/ 2147483646 w 355"/>
                    <a:gd name="T17" fmla="*/ 2147483646 h 388"/>
                    <a:gd name="T18" fmla="*/ 2147483646 w 355"/>
                    <a:gd name="T19" fmla="*/ 2147483646 h 388"/>
                    <a:gd name="T20" fmla="*/ 2147483646 w 355"/>
                    <a:gd name="T21" fmla="*/ 2147483646 h 388"/>
                    <a:gd name="T22" fmla="*/ 2147483646 w 355"/>
                    <a:gd name="T23" fmla="*/ 2147483646 h 388"/>
                    <a:gd name="T24" fmla="*/ 2147483646 w 355"/>
                    <a:gd name="T25" fmla="*/ 2147483646 h 388"/>
                    <a:gd name="T26" fmla="*/ 2147483646 w 355"/>
                    <a:gd name="T27" fmla="*/ 2147483646 h 388"/>
                    <a:gd name="T28" fmla="*/ 2147483646 w 355"/>
                    <a:gd name="T29" fmla="*/ 2147483646 h 388"/>
                    <a:gd name="T30" fmla="*/ 2147483646 w 355"/>
                    <a:gd name="T31" fmla="*/ 2147483646 h 388"/>
                    <a:gd name="T32" fmla="*/ 2147483646 w 355"/>
                    <a:gd name="T33" fmla="*/ 2147483646 h 388"/>
                    <a:gd name="T34" fmla="*/ 2147483646 w 355"/>
                    <a:gd name="T35" fmla="*/ 2147483646 h 388"/>
                    <a:gd name="T36" fmla="*/ 2147483646 w 355"/>
                    <a:gd name="T37" fmla="*/ 2147483646 h 388"/>
                    <a:gd name="T38" fmla="*/ 2147483646 w 355"/>
                    <a:gd name="T39" fmla="*/ 2147483646 h 388"/>
                    <a:gd name="T40" fmla="*/ 2147483646 w 355"/>
                    <a:gd name="T41" fmla="*/ 2147483646 h 388"/>
                    <a:gd name="T42" fmla="*/ 2147483646 w 355"/>
                    <a:gd name="T43" fmla="*/ 2147483646 h 388"/>
                    <a:gd name="T44" fmla="*/ 2147483646 w 355"/>
                    <a:gd name="T45" fmla="*/ 2147483646 h 388"/>
                    <a:gd name="T46" fmla="*/ 2147483646 w 355"/>
                    <a:gd name="T47" fmla="*/ 2147483646 h 388"/>
                    <a:gd name="T48" fmla="*/ 2147483646 w 355"/>
                    <a:gd name="T49" fmla="*/ 2147483646 h 388"/>
                    <a:gd name="T50" fmla="*/ 2147483646 w 355"/>
                    <a:gd name="T51" fmla="*/ 2147483646 h 388"/>
                    <a:gd name="T52" fmla="*/ 2147483646 w 355"/>
                    <a:gd name="T53" fmla="*/ 2147483646 h 388"/>
                    <a:gd name="T54" fmla="*/ 2147483646 w 355"/>
                    <a:gd name="T55" fmla="*/ 2147483646 h 388"/>
                    <a:gd name="T56" fmla="*/ 2147483646 w 355"/>
                    <a:gd name="T57" fmla="*/ 2147483646 h 388"/>
                    <a:gd name="T58" fmla="*/ 2147483646 w 355"/>
                    <a:gd name="T59" fmla="*/ 2147483646 h 388"/>
                    <a:gd name="T60" fmla="*/ 2147483646 w 355"/>
                    <a:gd name="T61" fmla="*/ 2147483646 h 388"/>
                    <a:gd name="T62" fmla="*/ 2147483646 w 355"/>
                    <a:gd name="T63" fmla="*/ 2147483646 h 388"/>
                    <a:gd name="T64" fmla="*/ 2147483646 w 355"/>
                    <a:gd name="T65" fmla="*/ 2147483646 h 388"/>
                    <a:gd name="T66" fmla="*/ 2147483646 w 355"/>
                    <a:gd name="T67" fmla="*/ 2147483646 h 388"/>
                    <a:gd name="T68" fmla="*/ 2147483646 w 355"/>
                    <a:gd name="T69" fmla="*/ 2147483646 h 388"/>
                    <a:gd name="T70" fmla="*/ 2147483646 w 355"/>
                    <a:gd name="T71" fmla="*/ 2147483646 h 388"/>
                    <a:gd name="T72" fmla="*/ 2147483646 w 355"/>
                    <a:gd name="T73" fmla="*/ 2147483646 h 388"/>
                    <a:gd name="T74" fmla="*/ 2147483646 w 355"/>
                    <a:gd name="T75" fmla="*/ 2147483646 h 388"/>
                    <a:gd name="T76" fmla="*/ 2147483646 w 355"/>
                    <a:gd name="T77" fmla="*/ 2147483646 h 388"/>
                    <a:gd name="T78" fmla="*/ 2147483646 w 355"/>
                    <a:gd name="T79" fmla="*/ 2147483646 h 388"/>
                    <a:gd name="T80" fmla="*/ 2147483646 w 355"/>
                    <a:gd name="T81" fmla="*/ 2147483646 h 388"/>
                    <a:gd name="T82" fmla="*/ 2147483646 w 355"/>
                    <a:gd name="T83" fmla="*/ 2147483646 h 388"/>
                    <a:gd name="T84" fmla="*/ 2147483646 w 355"/>
                    <a:gd name="T85" fmla="*/ 2147483646 h 388"/>
                    <a:gd name="T86" fmla="*/ 2147483646 w 355"/>
                    <a:gd name="T87" fmla="*/ 2147483646 h 388"/>
                    <a:gd name="T88" fmla="*/ 2147483646 w 355"/>
                    <a:gd name="T89" fmla="*/ 2147483646 h 388"/>
                    <a:gd name="T90" fmla="*/ 2147483646 w 355"/>
                    <a:gd name="T91" fmla="*/ 2147483646 h 388"/>
                    <a:gd name="T92" fmla="*/ 2147483646 w 355"/>
                    <a:gd name="T93" fmla="*/ 2147483646 h 388"/>
                    <a:gd name="T94" fmla="*/ 2147483646 w 355"/>
                    <a:gd name="T95" fmla="*/ 2147483646 h 38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5"/>
                    <a:gd name="T145" fmla="*/ 0 h 388"/>
                    <a:gd name="T146" fmla="*/ 355 w 355"/>
                    <a:gd name="T147" fmla="*/ 388 h 38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5" h="388">
                      <a:moveTo>
                        <a:pt x="266" y="7"/>
                      </a:moveTo>
                      <a:lnTo>
                        <a:pt x="265" y="9"/>
                      </a:lnTo>
                      <a:lnTo>
                        <a:pt x="262" y="15"/>
                      </a:lnTo>
                      <a:lnTo>
                        <a:pt x="259" y="23"/>
                      </a:lnTo>
                      <a:lnTo>
                        <a:pt x="257" y="32"/>
                      </a:lnTo>
                      <a:lnTo>
                        <a:pt x="257" y="37"/>
                      </a:lnTo>
                      <a:lnTo>
                        <a:pt x="258" y="42"/>
                      </a:lnTo>
                      <a:lnTo>
                        <a:pt x="261" y="46"/>
                      </a:lnTo>
                      <a:lnTo>
                        <a:pt x="264" y="51"/>
                      </a:lnTo>
                      <a:lnTo>
                        <a:pt x="268" y="54"/>
                      </a:lnTo>
                      <a:lnTo>
                        <a:pt x="275" y="58"/>
                      </a:lnTo>
                      <a:lnTo>
                        <a:pt x="283" y="60"/>
                      </a:lnTo>
                      <a:lnTo>
                        <a:pt x="294" y="63"/>
                      </a:lnTo>
                      <a:lnTo>
                        <a:pt x="301" y="58"/>
                      </a:lnTo>
                      <a:lnTo>
                        <a:pt x="319" y="55"/>
                      </a:lnTo>
                      <a:lnTo>
                        <a:pt x="323" y="55"/>
                      </a:lnTo>
                      <a:lnTo>
                        <a:pt x="328" y="55"/>
                      </a:lnTo>
                      <a:lnTo>
                        <a:pt x="332" y="57"/>
                      </a:lnTo>
                      <a:lnTo>
                        <a:pt x="335" y="59"/>
                      </a:lnTo>
                      <a:lnTo>
                        <a:pt x="337" y="63"/>
                      </a:lnTo>
                      <a:lnTo>
                        <a:pt x="340" y="68"/>
                      </a:lnTo>
                      <a:lnTo>
                        <a:pt x="340" y="74"/>
                      </a:lnTo>
                      <a:lnTo>
                        <a:pt x="340" y="81"/>
                      </a:lnTo>
                      <a:lnTo>
                        <a:pt x="345" y="83"/>
                      </a:lnTo>
                      <a:lnTo>
                        <a:pt x="348" y="87"/>
                      </a:lnTo>
                      <a:lnTo>
                        <a:pt x="350" y="90"/>
                      </a:lnTo>
                      <a:lnTo>
                        <a:pt x="351" y="94"/>
                      </a:lnTo>
                      <a:lnTo>
                        <a:pt x="350" y="99"/>
                      </a:lnTo>
                      <a:lnTo>
                        <a:pt x="347" y="103"/>
                      </a:lnTo>
                      <a:lnTo>
                        <a:pt x="345" y="108"/>
                      </a:lnTo>
                      <a:lnTo>
                        <a:pt x="342" y="113"/>
                      </a:lnTo>
                      <a:lnTo>
                        <a:pt x="328" y="129"/>
                      </a:lnTo>
                      <a:lnTo>
                        <a:pt x="320" y="136"/>
                      </a:lnTo>
                      <a:lnTo>
                        <a:pt x="326" y="143"/>
                      </a:lnTo>
                      <a:lnTo>
                        <a:pt x="341" y="162"/>
                      </a:lnTo>
                      <a:lnTo>
                        <a:pt x="348" y="175"/>
                      </a:lnTo>
                      <a:lnTo>
                        <a:pt x="353" y="188"/>
                      </a:lnTo>
                      <a:lnTo>
                        <a:pt x="355" y="195"/>
                      </a:lnTo>
                      <a:lnTo>
                        <a:pt x="355" y="202"/>
                      </a:lnTo>
                      <a:lnTo>
                        <a:pt x="355" y="209"/>
                      </a:lnTo>
                      <a:lnTo>
                        <a:pt x="353" y="216"/>
                      </a:lnTo>
                      <a:lnTo>
                        <a:pt x="353" y="219"/>
                      </a:lnTo>
                      <a:lnTo>
                        <a:pt x="352" y="228"/>
                      </a:lnTo>
                      <a:lnTo>
                        <a:pt x="350" y="241"/>
                      </a:lnTo>
                      <a:lnTo>
                        <a:pt x="345" y="254"/>
                      </a:lnTo>
                      <a:lnTo>
                        <a:pt x="342" y="260"/>
                      </a:lnTo>
                      <a:lnTo>
                        <a:pt x="339" y="266"/>
                      </a:lnTo>
                      <a:lnTo>
                        <a:pt x="333" y="271"/>
                      </a:lnTo>
                      <a:lnTo>
                        <a:pt x="328" y="276"/>
                      </a:lnTo>
                      <a:lnTo>
                        <a:pt x="321" y="279"/>
                      </a:lnTo>
                      <a:lnTo>
                        <a:pt x="312" y="280"/>
                      </a:lnTo>
                      <a:lnTo>
                        <a:pt x="303" y="280"/>
                      </a:lnTo>
                      <a:lnTo>
                        <a:pt x="294" y="277"/>
                      </a:lnTo>
                      <a:lnTo>
                        <a:pt x="286" y="282"/>
                      </a:lnTo>
                      <a:lnTo>
                        <a:pt x="280" y="285"/>
                      </a:lnTo>
                      <a:lnTo>
                        <a:pt x="275" y="285"/>
                      </a:lnTo>
                      <a:lnTo>
                        <a:pt x="270" y="282"/>
                      </a:lnTo>
                      <a:lnTo>
                        <a:pt x="263" y="276"/>
                      </a:lnTo>
                      <a:lnTo>
                        <a:pt x="255" y="268"/>
                      </a:lnTo>
                      <a:lnTo>
                        <a:pt x="252" y="265"/>
                      </a:lnTo>
                      <a:lnTo>
                        <a:pt x="249" y="261"/>
                      </a:lnTo>
                      <a:lnTo>
                        <a:pt x="244" y="259"/>
                      </a:lnTo>
                      <a:lnTo>
                        <a:pt x="240" y="259"/>
                      </a:lnTo>
                      <a:lnTo>
                        <a:pt x="234" y="260"/>
                      </a:lnTo>
                      <a:lnTo>
                        <a:pt x="229" y="263"/>
                      </a:lnTo>
                      <a:lnTo>
                        <a:pt x="221" y="269"/>
                      </a:lnTo>
                      <a:lnTo>
                        <a:pt x="213" y="277"/>
                      </a:lnTo>
                      <a:lnTo>
                        <a:pt x="211" y="278"/>
                      </a:lnTo>
                      <a:lnTo>
                        <a:pt x="205" y="279"/>
                      </a:lnTo>
                      <a:lnTo>
                        <a:pt x="201" y="280"/>
                      </a:lnTo>
                      <a:lnTo>
                        <a:pt x="197" y="282"/>
                      </a:lnTo>
                      <a:lnTo>
                        <a:pt x="194" y="285"/>
                      </a:lnTo>
                      <a:lnTo>
                        <a:pt x="190" y="288"/>
                      </a:lnTo>
                      <a:lnTo>
                        <a:pt x="187" y="292"/>
                      </a:lnTo>
                      <a:lnTo>
                        <a:pt x="185" y="298"/>
                      </a:lnTo>
                      <a:lnTo>
                        <a:pt x="185" y="304"/>
                      </a:lnTo>
                      <a:lnTo>
                        <a:pt x="185" y="312"/>
                      </a:lnTo>
                      <a:lnTo>
                        <a:pt x="187" y="321"/>
                      </a:lnTo>
                      <a:lnTo>
                        <a:pt x="191" y="331"/>
                      </a:lnTo>
                      <a:lnTo>
                        <a:pt x="198" y="344"/>
                      </a:lnTo>
                      <a:lnTo>
                        <a:pt x="207" y="358"/>
                      </a:lnTo>
                      <a:lnTo>
                        <a:pt x="206" y="357"/>
                      </a:lnTo>
                      <a:lnTo>
                        <a:pt x="201" y="355"/>
                      </a:lnTo>
                      <a:lnTo>
                        <a:pt x="195" y="353"/>
                      </a:lnTo>
                      <a:lnTo>
                        <a:pt x="187" y="353"/>
                      </a:lnTo>
                      <a:lnTo>
                        <a:pt x="183" y="353"/>
                      </a:lnTo>
                      <a:lnTo>
                        <a:pt x="177" y="355"/>
                      </a:lnTo>
                      <a:lnTo>
                        <a:pt x="173" y="357"/>
                      </a:lnTo>
                      <a:lnTo>
                        <a:pt x="167" y="361"/>
                      </a:lnTo>
                      <a:lnTo>
                        <a:pt x="162" y="365"/>
                      </a:lnTo>
                      <a:lnTo>
                        <a:pt x="157" y="371"/>
                      </a:lnTo>
                      <a:lnTo>
                        <a:pt x="152" y="379"/>
                      </a:lnTo>
                      <a:lnTo>
                        <a:pt x="146" y="388"/>
                      </a:lnTo>
                      <a:lnTo>
                        <a:pt x="137" y="380"/>
                      </a:lnTo>
                      <a:lnTo>
                        <a:pt x="128" y="373"/>
                      </a:lnTo>
                      <a:lnTo>
                        <a:pt x="123" y="370"/>
                      </a:lnTo>
                      <a:lnTo>
                        <a:pt x="120" y="366"/>
                      </a:lnTo>
                      <a:lnTo>
                        <a:pt x="117" y="362"/>
                      </a:lnTo>
                      <a:lnTo>
                        <a:pt x="113" y="358"/>
                      </a:lnTo>
                      <a:lnTo>
                        <a:pt x="109" y="346"/>
                      </a:lnTo>
                      <a:lnTo>
                        <a:pt x="102" y="334"/>
                      </a:lnTo>
                      <a:lnTo>
                        <a:pt x="96" y="324"/>
                      </a:lnTo>
                      <a:lnTo>
                        <a:pt x="87" y="315"/>
                      </a:lnTo>
                      <a:lnTo>
                        <a:pt x="70" y="297"/>
                      </a:lnTo>
                      <a:lnTo>
                        <a:pt x="50" y="280"/>
                      </a:lnTo>
                      <a:lnTo>
                        <a:pt x="40" y="271"/>
                      </a:lnTo>
                      <a:lnTo>
                        <a:pt x="31" y="263"/>
                      </a:lnTo>
                      <a:lnTo>
                        <a:pt x="22" y="254"/>
                      </a:lnTo>
                      <a:lnTo>
                        <a:pt x="16" y="245"/>
                      </a:lnTo>
                      <a:lnTo>
                        <a:pt x="9" y="235"/>
                      </a:lnTo>
                      <a:lnTo>
                        <a:pt x="5" y="223"/>
                      </a:lnTo>
                      <a:lnTo>
                        <a:pt x="1" y="211"/>
                      </a:lnTo>
                      <a:lnTo>
                        <a:pt x="0" y="198"/>
                      </a:lnTo>
                      <a:lnTo>
                        <a:pt x="1" y="187"/>
                      </a:lnTo>
                      <a:lnTo>
                        <a:pt x="4" y="178"/>
                      </a:lnTo>
                      <a:lnTo>
                        <a:pt x="7" y="169"/>
                      </a:lnTo>
                      <a:lnTo>
                        <a:pt x="11" y="162"/>
                      </a:lnTo>
                      <a:lnTo>
                        <a:pt x="22" y="150"/>
                      </a:lnTo>
                      <a:lnTo>
                        <a:pt x="34" y="139"/>
                      </a:lnTo>
                      <a:lnTo>
                        <a:pt x="41" y="134"/>
                      </a:lnTo>
                      <a:lnTo>
                        <a:pt x="45" y="129"/>
                      </a:lnTo>
                      <a:lnTo>
                        <a:pt x="50" y="123"/>
                      </a:lnTo>
                      <a:lnTo>
                        <a:pt x="54" y="116"/>
                      </a:lnTo>
                      <a:lnTo>
                        <a:pt x="56" y="109"/>
                      </a:lnTo>
                      <a:lnTo>
                        <a:pt x="57" y="101"/>
                      </a:lnTo>
                      <a:lnTo>
                        <a:pt x="56" y="91"/>
                      </a:lnTo>
                      <a:lnTo>
                        <a:pt x="54" y="81"/>
                      </a:lnTo>
                      <a:lnTo>
                        <a:pt x="84" y="83"/>
                      </a:lnTo>
                      <a:lnTo>
                        <a:pt x="108" y="83"/>
                      </a:lnTo>
                      <a:lnTo>
                        <a:pt x="129" y="83"/>
                      </a:lnTo>
                      <a:lnTo>
                        <a:pt x="144" y="82"/>
                      </a:lnTo>
                      <a:lnTo>
                        <a:pt x="156" y="80"/>
                      </a:lnTo>
                      <a:lnTo>
                        <a:pt x="165" y="77"/>
                      </a:lnTo>
                      <a:lnTo>
                        <a:pt x="168" y="75"/>
                      </a:lnTo>
                      <a:lnTo>
                        <a:pt x="172" y="73"/>
                      </a:lnTo>
                      <a:lnTo>
                        <a:pt x="174" y="71"/>
                      </a:lnTo>
                      <a:lnTo>
                        <a:pt x="175" y="69"/>
                      </a:lnTo>
                      <a:lnTo>
                        <a:pt x="177" y="63"/>
                      </a:lnTo>
                      <a:lnTo>
                        <a:pt x="176" y="56"/>
                      </a:lnTo>
                      <a:lnTo>
                        <a:pt x="175" y="49"/>
                      </a:lnTo>
                      <a:lnTo>
                        <a:pt x="174" y="41"/>
                      </a:lnTo>
                      <a:lnTo>
                        <a:pt x="172" y="32"/>
                      </a:lnTo>
                      <a:lnTo>
                        <a:pt x="169" y="22"/>
                      </a:lnTo>
                      <a:lnTo>
                        <a:pt x="167" y="12"/>
                      </a:lnTo>
                      <a:lnTo>
                        <a:pt x="167" y="0"/>
                      </a:lnTo>
                      <a:lnTo>
                        <a:pt x="266" y="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31" name="Freeform 251">
                  <a:extLst>
                    <a:ext uri="{FF2B5EF4-FFF2-40B4-BE49-F238E27FC236}">
                      <a16:creationId xmlns:a16="http://schemas.microsoft.com/office/drawing/2014/main" xmlns="" id="{4D8B7430-E5FF-4BE8-A4A8-C620C6EBF655}"/>
                    </a:ext>
                  </a:extLst>
                </p:cNvPr>
                <p:cNvSpPr>
                  <a:spLocks/>
                </p:cNvSpPr>
                <p:nvPr>
                  <p:custDataLst>
                    <p:tags r:id="rId178"/>
                  </p:custDataLst>
                </p:nvPr>
              </p:nvSpPr>
              <p:spPr bwMode="auto">
                <a:xfrm>
                  <a:off x="4759325" y="3995738"/>
                  <a:ext cx="260350" cy="520700"/>
                </a:xfrm>
                <a:custGeom>
                  <a:avLst/>
                  <a:gdLst>
                    <a:gd name="T0" fmla="*/ 0 w 599"/>
                    <a:gd name="T1" fmla="*/ 2147483646 h 993"/>
                    <a:gd name="T2" fmla="*/ 2147483646 w 599"/>
                    <a:gd name="T3" fmla="*/ 2147483646 h 993"/>
                    <a:gd name="T4" fmla="*/ 2147483646 w 599"/>
                    <a:gd name="T5" fmla="*/ 2147483646 h 993"/>
                    <a:gd name="T6" fmla="*/ 2147483646 w 599"/>
                    <a:gd name="T7" fmla="*/ 2147483646 h 993"/>
                    <a:gd name="T8" fmla="*/ 2147483646 w 599"/>
                    <a:gd name="T9" fmla="*/ 2147483646 h 993"/>
                    <a:gd name="T10" fmla="*/ 2147483646 w 599"/>
                    <a:gd name="T11" fmla="*/ 2147483646 h 993"/>
                    <a:gd name="T12" fmla="*/ 2147483646 w 599"/>
                    <a:gd name="T13" fmla="*/ 2147483646 h 993"/>
                    <a:gd name="T14" fmla="*/ 2147483646 w 599"/>
                    <a:gd name="T15" fmla="*/ 2147483646 h 993"/>
                    <a:gd name="T16" fmla="*/ 2147483646 w 599"/>
                    <a:gd name="T17" fmla="*/ 2147483646 h 993"/>
                    <a:gd name="T18" fmla="*/ 2147483646 w 599"/>
                    <a:gd name="T19" fmla="*/ 2147483646 h 993"/>
                    <a:gd name="T20" fmla="*/ 2147483646 w 599"/>
                    <a:gd name="T21" fmla="*/ 2147483646 h 993"/>
                    <a:gd name="T22" fmla="*/ 2147483646 w 599"/>
                    <a:gd name="T23" fmla="*/ 2147483646 h 993"/>
                    <a:gd name="T24" fmla="*/ 2147483646 w 599"/>
                    <a:gd name="T25" fmla="*/ 2147483646 h 993"/>
                    <a:gd name="T26" fmla="*/ 2147483646 w 599"/>
                    <a:gd name="T27" fmla="*/ 2147483646 h 993"/>
                    <a:gd name="T28" fmla="*/ 2147483646 w 599"/>
                    <a:gd name="T29" fmla="*/ 2147483646 h 993"/>
                    <a:gd name="T30" fmla="*/ 2147483646 w 599"/>
                    <a:gd name="T31" fmla="*/ 2147483646 h 993"/>
                    <a:gd name="T32" fmla="*/ 2147483646 w 599"/>
                    <a:gd name="T33" fmla="*/ 2147483646 h 993"/>
                    <a:gd name="T34" fmla="*/ 2147483646 w 599"/>
                    <a:gd name="T35" fmla="*/ 2147483646 h 993"/>
                    <a:gd name="T36" fmla="*/ 2147483646 w 599"/>
                    <a:gd name="T37" fmla="*/ 2147483646 h 993"/>
                    <a:gd name="T38" fmla="*/ 2147483646 w 599"/>
                    <a:gd name="T39" fmla="*/ 2147483646 h 993"/>
                    <a:gd name="T40" fmla="*/ 2147483646 w 599"/>
                    <a:gd name="T41" fmla="*/ 2147483646 h 993"/>
                    <a:gd name="T42" fmla="*/ 2147483646 w 599"/>
                    <a:gd name="T43" fmla="*/ 2147483646 h 993"/>
                    <a:gd name="T44" fmla="*/ 2147483646 w 599"/>
                    <a:gd name="T45" fmla="*/ 2147483646 h 993"/>
                    <a:gd name="T46" fmla="*/ 2147483646 w 599"/>
                    <a:gd name="T47" fmla="*/ 2147483646 h 993"/>
                    <a:gd name="T48" fmla="*/ 2147483646 w 599"/>
                    <a:gd name="T49" fmla="*/ 2147483646 h 993"/>
                    <a:gd name="T50" fmla="*/ 2147483646 w 599"/>
                    <a:gd name="T51" fmla="*/ 2147483646 h 993"/>
                    <a:gd name="T52" fmla="*/ 2147483646 w 599"/>
                    <a:gd name="T53" fmla="*/ 2147483646 h 993"/>
                    <a:gd name="T54" fmla="*/ 2147483646 w 599"/>
                    <a:gd name="T55" fmla="*/ 2147483646 h 993"/>
                    <a:gd name="T56" fmla="*/ 2147483646 w 599"/>
                    <a:gd name="T57" fmla="*/ 2147483646 h 993"/>
                    <a:gd name="T58" fmla="*/ 2147483646 w 599"/>
                    <a:gd name="T59" fmla="*/ 2147483646 h 993"/>
                    <a:gd name="T60" fmla="*/ 2147483646 w 599"/>
                    <a:gd name="T61" fmla="*/ 2147483646 h 993"/>
                    <a:gd name="T62" fmla="*/ 2147483646 w 599"/>
                    <a:gd name="T63" fmla="*/ 2147483646 h 993"/>
                    <a:gd name="T64" fmla="*/ 2147483646 w 599"/>
                    <a:gd name="T65" fmla="*/ 2147483646 h 993"/>
                    <a:gd name="T66" fmla="*/ 2147483646 w 599"/>
                    <a:gd name="T67" fmla="*/ 2147483646 h 993"/>
                    <a:gd name="T68" fmla="*/ 2147483646 w 599"/>
                    <a:gd name="T69" fmla="*/ 2147483646 h 993"/>
                    <a:gd name="T70" fmla="*/ 2147483646 w 599"/>
                    <a:gd name="T71" fmla="*/ 2147483646 h 993"/>
                    <a:gd name="T72" fmla="*/ 2147483646 w 599"/>
                    <a:gd name="T73" fmla="*/ 2147483646 h 993"/>
                    <a:gd name="T74" fmla="*/ 2147483646 w 599"/>
                    <a:gd name="T75" fmla="*/ 2147483646 h 993"/>
                    <a:gd name="T76" fmla="*/ 2147483646 w 599"/>
                    <a:gd name="T77" fmla="*/ 2147483646 h 993"/>
                    <a:gd name="T78" fmla="*/ 2147483646 w 599"/>
                    <a:gd name="T79" fmla="*/ 2147483646 h 993"/>
                    <a:gd name="T80" fmla="*/ 2147483646 w 599"/>
                    <a:gd name="T81" fmla="*/ 2147483646 h 993"/>
                    <a:gd name="T82" fmla="*/ 2147483646 w 599"/>
                    <a:gd name="T83" fmla="*/ 2147483646 h 993"/>
                    <a:gd name="T84" fmla="*/ 2147483646 w 599"/>
                    <a:gd name="T85" fmla="*/ 2147483646 h 993"/>
                    <a:gd name="T86" fmla="*/ 2147483646 w 599"/>
                    <a:gd name="T87" fmla="*/ 2147483646 h 993"/>
                    <a:gd name="T88" fmla="*/ 2147483646 w 599"/>
                    <a:gd name="T89" fmla="*/ 2147483646 h 993"/>
                    <a:gd name="T90" fmla="*/ 2147483646 w 599"/>
                    <a:gd name="T91" fmla="*/ 2147483646 h 993"/>
                    <a:gd name="T92" fmla="*/ 2147483646 w 599"/>
                    <a:gd name="T93" fmla="*/ 2147483646 h 993"/>
                    <a:gd name="T94" fmla="*/ 2147483646 w 599"/>
                    <a:gd name="T95" fmla="*/ 2147483646 h 993"/>
                    <a:gd name="T96" fmla="*/ 2147483646 w 599"/>
                    <a:gd name="T97" fmla="*/ 2147483646 h 993"/>
                    <a:gd name="T98" fmla="*/ 2147483646 w 599"/>
                    <a:gd name="T99" fmla="*/ 2147483646 h 993"/>
                    <a:gd name="T100" fmla="*/ 2147483646 w 599"/>
                    <a:gd name="T101" fmla="*/ 2147483646 h 993"/>
                    <a:gd name="T102" fmla="*/ 2147483646 w 599"/>
                    <a:gd name="T103" fmla="*/ 2147483646 h 993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599"/>
                    <a:gd name="T157" fmla="*/ 0 h 993"/>
                    <a:gd name="T158" fmla="*/ 599 w 599"/>
                    <a:gd name="T159" fmla="*/ 993 h 993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599" h="993">
                      <a:moveTo>
                        <a:pt x="15" y="309"/>
                      </a:moveTo>
                      <a:lnTo>
                        <a:pt x="9" y="291"/>
                      </a:lnTo>
                      <a:lnTo>
                        <a:pt x="3" y="273"/>
                      </a:lnTo>
                      <a:lnTo>
                        <a:pt x="1" y="266"/>
                      </a:lnTo>
                      <a:lnTo>
                        <a:pt x="0" y="259"/>
                      </a:lnTo>
                      <a:lnTo>
                        <a:pt x="0" y="253"/>
                      </a:lnTo>
                      <a:lnTo>
                        <a:pt x="2" y="248"/>
                      </a:lnTo>
                      <a:lnTo>
                        <a:pt x="174" y="216"/>
                      </a:lnTo>
                      <a:lnTo>
                        <a:pt x="177" y="220"/>
                      </a:lnTo>
                      <a:lnTo>
                        <a:pt x="182" y="224"/>
                      </a:lnTo>
                      <a:lnTo>
                        <a:pt x="187" y="227"/>
                      </a:lnTo>
                      <a:lnTo>
                        <a:pt x="193" y="229"/>
                      </a:lnTo>
                      <a:lnTo>
                        <a:pt x="207" y="234"/>
                      </a:lnTo>
                      <a:lnTo>
                        <a:pt x="222" y="238"/>
                      </a:lnTo>
                      <a:lnTo>
                        <a:pt x="230" y="240"/>
                      </a:lnTo>
                      <a:lnTo>
                        <a:pt x="237" y="242"/>
                      </a:lnTo>
                      <a:lnTo>
                        <a:pt x="243" y="245"/>
                      </a:lnTo>
                      <a:lnTo>
                        <a:pt x="249" y="249"/>
                      </a:lnTo>
                      <a:lnTo>
                        <a:pt x="253" y="253"/>
                      </a:lnTo>
                      <a:lnTo>
                        <a:pt x="258" y="258"/>
                      </a:lnTo>
                      <a:lnTo>
                        <a:pt x="260" y="264"/>
                      </a:lnTo>
                      <a:lnTo>
                        <a:pt x="261" y="272"/>
                      </a:lnTo>
                      <a:lnTo>
                        <a:pt x="260" y="280"/>
                      </a:lnTo>
                      <a:lnTo>
                        <a:pt x="256" y="289"/>
                      </a:lnTo>
                      <a:lnTo>
                        <a:pt x="252" y="296"/>
                      </a:lnTo>
                      <a:lnTo>
                        <a:pt x="248" y="302"/>
                      </a:lnTo>
                      <a:lnTo>
                        <a:pt x="242" y="308"/>
                      </a:lnTo>
                      <a:lnTo>
                        <a:pt x="238" y="314"/>
                      </a:lnTo>
                      <a:lnTo>
                        <a:pt x="236" y="321"/>
                      </a:lnTo>
                      <a:lnTo>
                        <a:pt x="234" y="327"/>
                      </a:lnTo>
                      <a:lnTo>
                        <a:pt x="234" y="333"/>
                      </a:lnTo>
                      <a:lnTo>
                        <a:pt x="236" y="338"/>
                      </a:lnTo>
                      <a:lnTo>
                        <a:pt x="238" y="344"/>
                      </a:lnTo>
                      <a:lnTo>
                        <a:pt x="241" y="349"/>
                      </a:lnTo>
                      <a:lnTo>
                        <a:pt x="250" y="357"/>
                      </a:lnTo>
                      <a:lnTo>
                        <a:pt x="259" y="365"/>
                      </a:lnTo>
                      <a:lnTo>
                        <a:pt x="278" y="378"/>
                      </a:lnTo>
                      <a:lnTo>
                        <a:pt x="294" y="389"/>
                      </a:lnTo>
                      <a:lnTo>
                        <a:pt x="294" y="376"/>
                      </a:lnTo>
                      <a:lnTo>
                        <a:pt x="294" y="365"/>
                      </a:lnTo>
                      <a:lnTo>
                        <a:pt x="294" y="356"/>
                      </a:lnTo>
                      <a:lnTo>
                        <a:pt x="294" y="346"/>
                      </a:lnTo>
                      <a:lnTo>
                        <a:pt x="305" y="346"/>
                      </a:lnTo>
                      <a:lnTo>
                        <a:pt x="315" y="343"/>
                      </a:lnTo>
                      <a:lnTo>
                        <a:pt x="319" y="340"/>
                      </a:lnTo>
                      <a:lnTo>
                        <a:pt x="323" y="338"/>
                      </a:lnTo>
                      <a:lnTo>
                        <a:pt x="327" y="335"/>
                      </a:lnTo>
                      <a:lnTo>
                        <a:pt x="329" y="332"/>
                      </a:lnTo>
                      <a:lnTo>
                        <a:pt x="334" y="326"/>
                      </a:lnTo>
                      <a:lnTo>
                        <a:pt x="338" y="317"/>
                      </a:lnTo>
                      <a:lnTo>
                        <a:pt x="340" y="308"/>
                      </a:lnTo>
                      <a:lnTo>
                        <a:pt x="340" y="297"/>
                      </a:lnTo>
                      <a:lnTo>
                        <a:pt x="339" y="283"/>
                      </a:lnTo>
                      <a:lnTo>
                        <a:pt x="337" y="272"/>
                      </a:lnTo>
                      <a:lnTo>
                        <a:pt x="332" y="261"/>
                      </a:lnTo>
                      <a:lnTo>
                        <a:pt x="327" y="251"/>
                      </a:lnTo>
                      <a:lnTo>
                        <a:pt x="322" y="240"/>
                      </a:lnTo>
                      <a:lnTo>
                        <a:pt x="318" y="229"/>
                      </a:lnTo>
                      <a:lnTo>
                        <a:pt x="315" y="217"/>
                      </a:lnTo>
                      <a:lnTo>
                        <a:pt x="314" y="204"/>
                      </a:lnTo>
                      <a:lnTo>
                        <a:pt x="309" y="202"/>
                      </a:lnTo>
                      <a:lnTo>
                        <a:pt x="301" y="194"/>
                      </a:lnTo>
                      <a:lnTo>
                        <a:pt x="292" y="184"/>
                      </a:lnTo>
                      <a:lnTo>
                        <a:pt x="282" y="171"/>
                      </a:lnTo>
                      <a:lnTo>
                        <a:pt x="271" y="157"/>
                      </a:lnTo>
                      <a:lnTo>
                        <a:pt x="262" y="144"/>
                      </a:lnTo>
                      <a:lnTo>
                        <a:pt x="259" y="139"/>
                      </a:lnTo>
                      <a:lnTo>
                        <a:pt x="256" y="133"/>
                      </a:lnTo>
                      <a:lnTo>
                        <a:pt x="254" y="128"/>
                      </a:lnTo>
                      <a:lnTo>
                        <a:pt x="254" y="125"/>
                      </a:lnTo>
                      <a:lnTo>
                        <a:pt x="255" y="110"/>
                      </a:lnTo>
                      <a:lnTo>
                        <a:pt x="259" y="90"/>
                      </a:lnTo>
                      <a:lnTo>
                        <a:pt x="262" y="80"/>
                      </a:lnTo>
                      <a:lnTo>
                        <a:pt x="265" y="71"/>
                      </a:lnTo>
                      <a:lnTo>
                        <a:pt x="270" y="62"/>
                      </a:lnTo>
                      <a:lnTo>
                        <a:pt x="274" y="56"/>
                      </a:lnTo>
                      <a:lnTo>
                        <a:pt x="286" y="57"/>
                      </a:lnTo>
                      <a:lnTo>
                        <a:pt x="298" y="58"/>
                      </a:lnTo>
                      <a:lnTo>
                        <a:pt x="309" y="57"/>
                      </a:lnTo>
                      <a:lnTo>
                        <a:pt x="320" y="55"/>
                      </a:lnTo>
                      <a:lnTo>
                        <a:pt x="343" y="52"/>
                      </a:lnTo>
                      <a:lnTo>
                        <a:pt x="367" y="50"/>
                      </a:lnTo>
                      <a:lnTo>
                        <a:pt x="378" y="52"/>
                      </a:lnTo>
                      <a:lnTo>
                        <a:pt x="398" y="56"/>
                      </a:lnTo>
                      <a:lnTo>
                        <a:pt x="418" y="60"/>
                      </a:lnTo>
                      <a:lnTo>
                        <a:pt x="433" y="62"/>
                      </a:lnTo>
                      <a:lnTo>
                        <a:pt x="445" y="60"/>
                      </a:lnTo>
                      <a:lnTo>
                        <a:pt x="466" y="54"/>
                      </a:lnTo>
                      <a:lnTo>
                        <a:pt x="493" y="46"/>
                      </a:lnTo>
                      <a:lnTo>
                        <a:pt x="521" y="36"/>
                      </a:lnTo>
                      <a:lnTo>
                        <a:pt x="550" y="26"/>
                      </a:lnTo>
                      <a:lnTo>
                        <a:pt x="574" y="16"/>
                      </a:lnTo>
                      <a:lnTo>
                        <a:pt x="584" y="12"/>
                      </a:lnTo>
                      <a:lnTo>
                        <a:pt x="591" y="7"/>
                      </a:lnTo>
                      <a:lnTo>
                        <a:pt x="597" y="3"/>
                      </a:lnTo>
                      <a:lnTo>
                        <a:pt x="599" y="0"/>
                      </a:lnTo>
                      <a:lnTo>
                        <a:pt x="598" y="12"/>
                      </a:lnTo>
                      <a:lnTo>
                        <a:pt x="597" y="20"/>
                      </a:lnTo>
                      <a:lnTo>
                        <a:pt x="597" y="25"/>
                      </a:lnTo>
                      <a:lnTo>
                        <a:pt x="597" y="30"/>
                      </a:lnTo>
                      <a:lnTo>
                        <a:pt x="598" y="36"/>
                      </a:lnTo>
                      <a:lnTo>
                        <a:pt x="599" y="44"/>
                      </a:lnTo>
                      <a:lnTo>
                        <a:pt x="599" y="76"/>
                      </a:lnTo>
                      <a:lnTo>
                        <a:pt x="598" y="102"/>
                      </a:lnTo>
                      <a:lnTo>
                        <a:pt x="597" y="126"/>
                      </a:lnTo>
                      <a:lnTo>
                        <a:pt x="596" y="146"/>
                      </a:lnTo>
                      <a:lnTo>
                        <a:pt x="595" y="165"/>
                      </a:lnTo>
                      <a:lnTo>
                        <a:pt x="594" y="185"/>
                      </a:lnTo>
                      <a:lnTo>
                        <a:pt x="592" y="205"/>
                      </a:lnTo>
                      <a:lnTo>
                        <a:pt x="592" y="228"/>
                      </a:lnTo>
                      <a:lnTo>
                        <a:pt x="592" y="239"/>
                      </a:lnTo>
                      <a:lnTo>
                        <a:pt x="591" y="249"/>
                      </a:lnTo>
                      <a:lnTo>
                        <a:pt x="589" y="258"/>
                      </a:lnTo>
                      <a:lnTo>
                        <a:pt x="587" y="267"/>
                      </a:lnTo>
                      <a:lnTo>
                        <a:pt x="585" y="276"/>
                      </a:lnTo>
                      <a:lnTo>
                        <a:pt x="581" y="285"/>
                      </a:lnTo>
                      <a:lnTo>
                        <a:pt x="577" y="295"/>
                      </a:lnTo>
                      <a:lnTo>
                        <a:pt x="573" y="304"/>
                      </a:lnTo>
                      <a:lnTo>
                        <a:pt x="562" y="321"/>
                      </a:lnTo>
                      <a:lnTo>
                        <a:pt x="550" y="337"/>
                      </a:lnTo>
                      <a:lnTo>
                        <a:pt x="535" y="353"/>
                      </a:lnTo>
                      <a:lnTo>
                        <a:pt x="520" y="367"/>
                      </a:lnTo>
                      <a:lnTo>
                        <a:pt x="503" y="379"/>
                      </a:lnTo>
                      <a:lnTo>
                        <a:pt x="487" y="391"/>
                      </a:lnTo>
                      <a:lnTo>
                        <a:pt x="468" y="402"/>
                      </a:lnTo>
                      <a:lnTo>
                        <a:pt x="450" y="410"/>
                      </a:lnTo>
                      <a:lnTo>
                        <a:pt x="431" y="417"/>
                      </a:lnTo>
                      <a:lnTo>
                        <a:pt x="411" y="422"/>
                      </a:lnTo>
                      <a:lnTo>
                        <a:pt x="393" y="425"/>
                      </a:lnTo>
                      <a:lnTo>
                        <a:pt x="374" y="426"/>
                      </a:lnTo>
                      <a:lnTo>
                        <a:pt x="372" y="433"/>
                      </a:lnTo>
                      <a:lnTo>
                        <a:pt x="368" y="440"/>
                      </a:lnTo>
                      <a:lnTo>
                        <a:pt x="365" y="446"/>
                      </a:lnTo>
                      <a:lnTo>
                        <a:pt x="362" y="452"/>
                      </a:lnTo>
                      <a:lnTo>
                        <a:pt x="353" y="464"/>
                      </a:lnTo>
                      <a:lnTo>
                        <a:pt x="342" y="474"/>
                      </a:lnTo>
                      <a:lnTo>
                        <a:pt x="331" y="483"/>
                      </a:lnTo>
                      <a:lnTo>
                        <a:pt x="318" y="491"/>
                      </a:lnTo>
                      <a:lnTo>
                        <a:pt x="306" y="499"/>
                      </a:lnTo>
                      <a:lnTo>
                        <a:pt x="293" y="507"/>
                      </a:lnTo>
                      <a:lnTo>
                        <a:pt x="281" y="516"/>
                      </a:lnTo>
                      <a:lnTo>
                        <a:pt x="269" y="525"/>
                      </a:lnTo>
                      <a:lnTo>
                        <a:pt x="258" y="534"/>
                      </a:lnTo>
                      <a:lnTo>
                        <a:pt x="248" y="544"/>
                      </a:lnTo>
                      <a:lnTo>
                        <a:pt x="243" y="549"/>
                      </a:lnTo>
                      <a:lnTo>
                        <a:pt x="239" y="555"/>
                      </a:lnTo>
                      <a:lnTo>
                        <a:pt x="236" y="561"/>
                      </a:lnTo>
                      <a:lnTo>
                        <a:pt x="232" y="568"/>
                      </a:lnTo>
                      <a:lnTo>
                        <a:pt x="230" y="575"/>
                      </a:lnTo>
                      <a:lnTo>
                        <a:pt x="229" y="582"/>
                      </a:lnTo>
                      <a:lnTo>
                        <a:pt x="228" y="590"/>
                      </a:lnTo>
                      <a:lnTo>
                        <a:pt x="227" y="598"/>
                      </a:lnTo>
                      <a:lnTo>
                        <a:pt x="228" y="604"/>
                      </a:lnTo>
                      <a:lnTo>
                        <a:pt x="231" y="611"/>
                      </a:lnTo>
                      <a:lnTo>
                        <a:pt x="237" y="619"/>
                      </a:lnTo>
                      <a:lnTo>
                        <a:pt x="242" y="629"/>
                      </a:lnTo>
                      <a:lnTo>
                        <a:pt x="249" y="637"/>
                      </a:lnTo>
                      <a:lnTo>
                        <a:pt x="255" y="645"/>
                      </a:lnTo>
                      <a:lnTo>
                        <a:pt x="262" y="650"/>
                      </a:lnTo>
                      <a:lnTo>
                        <a:pt x="267" y="654"/>
                      </a:lnTo>
                      <a:lnTo>
                        <a:pt x="262" y="663"/>
                      </a:lnTo>
                      <a:lnTo>
                        <a:pt x="258" y="671"/>
                      </a:lnTo>
                      <a:lnTo>
                        <a:pt x="255" y="680"/>
                      </a:lnTo>
                      <a:lnTo>
                        <a:pt x="254" y="685"/>
                      </a:lnTo>
                      <a:lnTo>
                        <a:pt x="254" y="694"/>
                      </a:lnTo>
                      <a:lnTo>
                        <a:pt x="256" y="701"/>
                      </a:lnTo>
                      <a:lnTo>
                        <a:pt x="258" y="709"/>
                      </a:lnTo>
                      <a:lnTo>
                        <a:pt x="261" y="715"/>
                      </a:lnTo>
                      <a:lnTo>
                        <a:pt x="263" y="722"/>
                      </a:lnTo>
                      <a:lnTo>
                        <a:pt x="265" y="729"/>
                      </a:lnTo>
                      <a:lnTo>
                        <a:pt x="266" y="738"/>
                      </a:lnTo>
                      <a:lnTo>
                        <a:pt x="267" y="747"/>
                      </a:lnTo>
                      <a:lnTo>
                        <a:pt x="267" y="766"/>
                      </a:lnTo>
                      <a:lnTo>
                        <a:pt x="267" y="780"/>
                      </a:lnTo>
                      <a:lnTo>
                        <a:pt x="267" y="790"/>
                      </a:lnTo>
                      <a:lnTo>
                        <a:pt x="267" y="796"/>
                      </a:lnTo>
                      <a:lnTo>
                        <a:pt x="266" y="799"/>
                      </a:lnTo>
                      <a:lnTo>
                        <a:pt x="264" y="803"/>
                      </a:lnTo>
                      <a:lnTo>
                        <a:pt x="261" y="808"/>
                      </a:lnTo>
                      <a:lnTo>
                        <a:pt x="256" y="814"/>
                      </a:lnTo>
                      <a:lnTo>
                        <a:pt x="244" y="827"/>
                      </a:lnTo>
                      <a:lnTo>
                        <a:pt x="230" y="841"/>
                      </a:lnTo>
                      <a:lnTo>
                        <a:pt x="215" y="856"/>
                      </a:lnTo>
                      <a:lnTo>
                        <a:pt x="200" y="868"/>
                      </a:lnTo>
                      <a:lnTo>
                        <a:pt x="193" y="873"/>
                      </a:lnTo>
                      <a:lnTo>
                        <a:pt x="186" y="877"/>
                      </a:lnTo>
                      <a:lnTo>
                        <a:pt x="180" y="880"/>
                      </a:lnTo>
                      <a:lnTo>
                        <a:pt x="174" y="882"/>
                      </a:lnTo>
                      <a:lnTo>
                        <a:pt x="161" y="885"/>
                      </a:lnTo>
                      <a:lnTo>
                        <a:pt x="147" y="887"/>
                      </a:lnTo>
                      <a:lnTo>
                        <a:pt x="132" y="889"/>
                      </a:lnTo>
                      <a:lnTo>
                        <a:pt x="118" y="890"/>
                      </a:lnTo>
                      <a:lnTo>
                        <a:pt x="113" y="891"/>
                      </a:lnTo>
                      <a:lnTo>
                        <a:pt x="106" y="892"/>
                      </a:lnTo>
                      <a:lnTo>
                        <a:pt x="102" y="894"/>
                      </a:lnTo>
                      <a:lnTo>
                        <a:pt x="96" y="896"/>
                      </a:lnTo>
                      <a:lnTo>
                        <a:pt x="93" y="900"/>
                      </a:lnTo>
                      <a:lnTo>
                        <a:pt x="91" y="904"/>
                      </a:lnTo>
                      <a:lnTo>
                        <a:pt x="88" y="908"/>
                      </a:lnTo>
                      <a:lnTo>
                        <a:pt x="87" y="913"/>
                      </a:lnTo>
                      <a:lnTo>
                        <a:pt x="88" y="920"/>
                      </a:lnTo>
                      <a:lnTo>
                        <a:pt x="90" y="925"/>
                      </a:lnTo>
                      <a:lnTo>
                        <a:pt x="91" y="931"/>
                      </a:lnTo>
                      <a:lnTo>
                        <a:pt x="93" y="935"/>
                      </a:lnTo>
                      <a:lnTo>
                        <a:pt x="95" y="939"/>
                      </a:lnTo>
                      <a:lnTo>
                        <a:pt x="99" y="941"/>
                      </a:lnTo>
                      <a:lnTo>
                        <a:pt x="103" y="943"/>
                      </a:lnTo>
                      <a:lnTo>
                        <a:pt x="108" y="943"/>
                      </a:lnTo>
                      <a:lnTo>
                        <a:pt x="94" y="993"/>
                      </a:lnTo>
                      <a:lnTo>
                        <a:pt x="91" y="992"/>
                      </a:lnTo>
                      <a:lnTo>
                        <a:pt x="82" y="990"/>
                      </a:lnTo>
                      <a:lnTo>
                        <a:pt x="75" y="988"/>
                      </a:lnTo>
                      <a:lnTo>
                        <a:pt x="74" y="987"/>
                      </a:lnTo>
                      <a:lnTo>
                        <a:pt x="74" y="820"/>
                      </a:lnTo>
                      <a:lnTo>
                        <a:pt x="74" y="810"/>
                      </a:lnTo>
                      <a:lnTo>
                        <a:pt x="73" y="801"/>
                      </a:lnTo>
                      <a:lnTo>
                        <a:pt x="71" y="793"/>
                      </a:lnTo>
                      <a:lnTo>
                        <a:pt x="70" y="785"/>
                      </a:lnTo>
                      <a:lnTo>
                        <a:pt x="64" y="774"/>
                      </a:lnTo>
                      <a:lnTo>
                        <a:pt x="58" y="765"/>
                      </a:lnTo>
                      <a:lnTo>
                        <a:pt x="52" y="755"/>
                      </a:lnTo>
                      <a:lnTo>
                        <a:pt x="47" y="744"/>
                      </a:lnTo>
                      <a:lnTo>
                        <a:pt x="45" y="738"/>
                      </a:lnTo>
                      <a:lnTo>
                        <a:pt x="42" y="729"/>
                      </a:lnTo>
                      <a:lnTo>
                        <a:pt x="41" y="720"/>
                      </a:lnTo>
                      <a:lnTo>
                        <a:pt x="41" y="709"/>
                      </a:lnTo>
                      <a:lnTo>
                        <a:pt x="51" y="704"/>
                      </a:lnTo>
                      <a:lnTo>
                        <a:pt x="72" y="690"/>
                      </a:lnTo>
                      <a:lnTo>
                        <a:pt x="95" y="675"/>
                      </a:lnTo>
                      <a:lnTo>
                        <a:pt x="108" y="666"/>
                      </a:lnTo>
                      <a:lnTo>
                        <a:pt x="107" y="653"/>
                      </a:lnTo>
                      <a:lnTo>
                        <a:pt x="106" y="636"/>
                      </a:lnTo>
                      <a:lnTo>
                        <a:pt x="106" y="627"/>
                      </a:lnTo>
                      <a:lnTo>
                        <a:pt x="108" y="617"/>
                      </a:lnTo>
                      <a:lnTo>
                        <a:pt x="109" y="614"/>
                      </a:lnTo>
                      <a:lnTo>
                        <a:pt x="110" y="610"/>
                      </a:lnTo>
                      <a:lnTo>
                        <a:pt x="113" y="607"/>
                      </a:lnTo>
                      <a:lnTo>
                        <a:pt x="115" y="604"/>
                      </a:lnTo>
                      <a:lnTo>
                        <a:pt x="129" y="591"/>
                      </a:lnTo>
                      <a:lnTo>
                        <a:pt x="149" y="571"/>
                      </a:lnTo>
                      <a:lnTo>
                        <a:pt x="159" y="558"/>
                      </a:lnTo>
                      <a:lnTo>
                        <a:pt x="166" y="546"/>
                      </a:lnTo>
                      <a:lnTo>
                        <a:pt x="170" y="539"/>
                      </a:lnTo>
                      <a:lnTo>
                        <a:pt x="172" y="532"/>
                      </a:lnTo>
                      <a:lnTo>
                        <a:pt x="174" y="526"/>
                      </a:lnTo>
                      <a:lnTo>
                        <a:pt x="174" y="519"/>
                      </a:lnTo>
                      <a:lnTo>
                        <a:pt x="174" y="498"/>
                      </a:lnTo>
                      <a:lnTo>
                        <a:pt x="172" y="479"/>
                      </a:lnTo>
                      <a:lnTo>
                        <a:pt x="170" y="460"/>
                      </a:lnTo>
                      <a:lnTo>
                        <a:pt x="168" y="441"/>
                      </a:lnTo>
                      <a:lnTo>
                        <a:pt x="165" y="423"/>
                      </a:lnTo>
                      <a:lnTo>
                        <a:pt x="163" y="404"/>
                      </a:lnTo>
                      <a:lnTo>
                        <a:pt x="161" y="384"/>
                      </a:lnTo>
                      <a:lnTo>
                        <a:pt x="161" y="364"/>
                      </a:lnTo>
                      <a:lnTo>
                        <a:pt x="152" y="364"/>
                      </a:lnTo>
                      <a:lnTo>
                        <a:pt x="142" y="363"/>
                      </a:lnTo>
                      <a:lnTo>
                        <a:pt x="132" y="361"/>
                      </a:lnTo>
                      <a:lnTo>
                        <a:pt x="122" y="358"/>
                      </a:lnTo>
                      <a:lnTo>
                        <a:pt x="102" y="350"/>
                      </a:lnTo>
                      <a:lnTo>
                        <a:pt x="81" y="341"/>
                      </a:lnTo>
                      <a:lnTo>
                        <a:pt x="42" y="323"/>
                      </a:lnTo>
                      <a:lnTo>
                        <a:pt x="15" y="30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32" name="Freeform 252">
                  <a:extLst>
                    <a:ext uri="{FF2B5EF4-FFF2-40B4-BE49-F238E27FC236}">
                      <a16:creationId xmlns:a16="http://schemas.microsoft.com/office/drawing/2014/main" xmlns="" id="{1A6388EB-0F24-4BDA-8094-B9701D73F910}"/>
                    </a:ext>
                  </a:extLst>
                </p:cNvPr>
                <p:cNvSpPr>
                  <a:spLocks/>
                </p:cNvSpPr>
                <p:nvPr>
                  <p:custDataLst>
                    <p:tags r:id="rId179"/>
                  </p:custDataLst>
                </p:nvPr>
              </p:nvSpPr>
              <p:spPr bwMode="auto">
                <a:xfrm>
                  <a:off x="4494213" y="4235450"/>
                  <a:ext cx="238125" cy="287338"/>
                </a:xfrm>
                <a:custGeom>
                  <a:avLst/>
                  <a:gdLst>
                    <a:gd name="T0" fmla="*/ 2147483646 w 545"/>
                    <a:gd name="T1" fmla="*/ 2147483646 h 549"/>
                    <a:gd name="T2" fmla="*/ 2147483646 w 545"/>
                    <a:gd name="T3" fmla="*/ 2147483646 h 549"/>
                    <a:gd name="T4" fmla="*/ 2147483646 w 545"/>
                    <a:gd name="T5" fmla="*/ 2147483646 h 549"/>
                    <a:gd name="T6" fmla="*/ 2147483646 w 545"/>
                    <a:gd name="T7" fmla="*/ 2147483646 h 549"/>
                    <a:gd name="T8" fmla="*/ 2147483646 w 545"/>
                    <a:gd name="T9" fmla="*/ 2147483646 h 549"/>
                    <a:gd name="T10" fmla="*/ 2147483646 w 545"/>
                    <a:gd name="T11" fmla="*/ 2147483646 h 549"/>
                    <a:gd name="T12" fmla="*/ 2147483646 w 545"/>
                    <a:gd name="T13" fmla="*/ 2147483646 h 549"/>
                    <a:gd name="T14" fmla="*/ 2147483646 w 545"/>
                    <a:gd name="T15" fmla="*/ 2147483646 h 549"/>
                    <a:gd name="T16" fmla="*/ 2147483646 w 545"/>
                    <a:gd name="T17" fmla="*/ 2147483646 h 549"/>
                    <a:gd name="T18" fmla="*/ 2147483646 w 545"/>
                    <a:gd name="T19" fmla="*/ 2147483646 h 549"/>
                    <a:gd name="T20" fmla="*/ 2147483646 w 545"/>
                    <a:gd name="T21" fmla="*/ 2147483646 h 549"/>
                    <a:gd name="T22" fmla="*/ 2147483646 w 545"/>
                    <a:gd name="T23" fmla="*/ 2147483646 h 549"/>
                    <a:gd name="T24" fmla="*/ 2147483646 w 545"/>
                    <a:gd name="T25" fmla="*/ 2147483646 h 549"/>
                    <a:gd name="T26" fmla="*/ 2147483646 w 545"/>
                    <a:gd name="T27" fmla="*/ 2147483646 h 549"/>
                    <a:gd name="T28" fmla="*/ 2147483646 w 545"/>
                    <a:gd name="T29" fmla="*/ 2147483646 h 549"/>
                    <a:gd name="T30" fmla="*/ 2147483646 w 545"/>
                    <a:gd name="T31" fmla="*/ 2147483646 h 549"/>
                    <a:gd name="T32" fmla="*/ 2147483646 w 545"/>
                    <a:gd name="T33" fmla="*/ 2147483646 h 549"/>
                    <a:gd name="T34" fmla="*/ 2147483646 w 545"/>
                    <a:gd name="T35" fmla="*/ 2147483646 h 549"/>
                    <a:gd name="T36" fmla="*/ 2147483646 w 545"/>
                    <a:gd name="T37" fmla="*/ 2147483646 h 549"/>
                    <a:gd name="T38" fmla="*/ 2147483646 w 545"/>
                    <a:gd name="T39" fmla="*/ 2147483646 h 549"/>
                    <a:gd name="T40" fmla="*/ 2147483646 w 545"/>
                    <a:gd name="T41" fmla="*/ 2147483646 h 549"/>
                    <a:gd name="T42" fmla="*/ 2147483646 w 545"/>
                    <a:gd name="T43" fmla="*/ 2147483646 h 549"/>
                    <a:gd name="T44" fmla="*/ 2147483646 w 545"/>
                    <a:gd name="T45" fmla="*/ 2147483646 h 549"/>
                    <a:gd name="T46" fmla="*/ 2147483646 w 545"/>
                    <a:gd name="T47" fmla="*/ 2147483646 h 549"/>
                    <a:gd name="T48" fmla="*/ 2147483646 w 545"/>
                    <a:gd name="T49" fmla="*/ 2147483646 h 549"/>
                    <a:gd name="T50" fmla="*/ 2147483646 w 545"/>
                    <a:gd name="T51" fmla="*/ 2147483646 h 549"/>
                    <a:gd name="T52" fmla="*/ 2147483646 w 545"/>
                    <a:gd name="T53" fmla="*/ 2147483646 h 549"/>
                    <a:gd name="T54" fmla="*/ 2147483646 w 545"/>
                    <a:gd name="T55" fmla="*/ 2147483646 h 549"/>
                    <a:gd name="T56" fmla="*/ 2147483646 w 545"/>
                    <a:gd name="T57" fmla="*/ 2147483646 h 549"/>
                    <a:gd name="T58" fmla="*/ 2147483646 w 545"/>
                    <a:gd name="T59" fmla="*/ 2147483646 h 549"/>
                    <a:gd name="T60" fmla="*/ 2147483646 w 545"/>
                    <a:gd name="T61" fmla="*/ 2147483646 h 549"/>
                    <a:gd name="T62" fmla="*/ 2147483646 w 545"/>
                    <a:gd name="T63" fmla="*/ 2147483646 h 549"/>
                    <a:gd name="T64" fmla="*/ 2147483646 w 545"/>
                    <a:gd name="T65" fmla="*/ 0 h 549"/>
                    <a:gd name="T66" fmla="*/ 2147483646 w 545"/>
                    <a:gd name="T67" fmla="*/ 2147483646 h 549"/>
                    <a:gd name="T68" fmla="*/ 2147483646 w 545"/>
                    <a:gd name="T69" fmla="*/ 2147483646 h 549"/>
                    <a:gd name="T70" fmla="*/ 2147483646 w 545"/>
                    <a:gd name="T71" fmla="*/ 2147483646 h 549"/>
                    <a:gd name="T72" fmla="*/ 2147483646 w 545"/>
                    <a:gd name="T73" fmla="*/ 2147483646 h 549"/>
                    <a:gd name="T74" fmla="*/ 2147483646 w 545"/>
                    <a:gd name="T75" fmla="*/ 2147483646 h 549"/>
                    <a:gd name="T76" fmla="*/ 2147483646 w 545"/>
                    <a:gd name="T77" fmla="*/ 2147483646 h 549"/>
                    <a:gd name="T78" fmla="*/ 2147483646 w 545"/>
                    <a:gd name="T79" fmla="*/ 2147483646 h 549"/>
                    <a:gd name="T80" fmla="*/ 2147483646 w 545"/>
                    <a:gd name="T81" fmla="*/ 2147483646 h 549"/>
                    <a:gd name="T82" fmla="*/ 2147483646 w 545"/>
                    <a:gd name="T83" fmla="*/ 2147483646 h 549"/>
                    <a:gd name="T84" fmla="*/ 2147483646 w 545"/>
                    <a:gd name="T85" fmla="*/ 2147483646 h 549"/>
                    <a:gd name="T86" fmla="*/ 2147483646 w 545"/>
                    <a:gd name="T87" fmla="*/ 2147483646 h 549"/>
                    <a:gd name="T88" fmla="*/ 2147483646 w 545"/>
                    <a:gd name="T89" fmla="*/ 2147483646 h 549"/>
                    <a:gd name="T90" fmla="*/ 2147483646 w 545"/>
                    <a:gd name="T91" fmla="*/ 2147483646 h 549"/>
                    <a:gd name="T92" fmla="*/ 2147483646 w 545"/>
                    <a:gd name="T93" fmla="*/ 2147483646 h 549"/>
                    <a:gd name="T94" fmla="*/ 2147483646 w 545"/>
                    <a:gd name="T95" fmla="*/ 2147483646 h 549"/>
                    <a:gd name="T96" fmla="*/ 2147483646 w 545"/>
                    <a:gd name="T97" fmla="*/ 2147483646 h 549"/>
                    <a:gd name="T98" fmla="*/ 0 w 545"/>
                    <a:gd name="T99" fmla="*/ 2147483646 h 549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545"/>
                    <a:gd name="T151" fmla="*/ 0 h 549"/>
                    <a:gd name="T152" fmla="*/ 545 w 545"/>
                    <a:gd name="T153" fmla="*/ 549 h 549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545" h="549">
                      <a:moveTo>
                        <a:pt x="13" y="420"/>
                      </a:moveTo>
                      <a:lnTo>
                        <a:pt x="21" y="424"/>
                      </a:lnTo>
                      <a:lnTo>
                        <a:pt x="30" y="428"/>
                      </a:lnTo>
                      <a:lnTo>
                        <a:pt x="40" y="431"/>
                      </a:lnTo>
                      <a:lnTo>
                        <a:pt x="46" y="432"/>
                      </a:lnTo>
                      <a:lnTo>
                        <a:pt x="46" y="454"/>
                      </a:lnTo>
                      <a:lnTo>
                        <a:pt x="46" y="472"/>
                      </a:lnTo>
                      <a:lnTo>
                        <a:pt x="46" y="491"/>
                      </a:lnTo>
                      <a:lnTo>
                        <a:pt x="46" y="512"/>
                      </a:lnTo>
                      <a:lnTo>
                        <a:pt x="47" y="518"/>
                      </a:lnTo>
                      <a:lnTo>
                        <a:pt x="47" y="523"/>
                      </a:lnTo>
                      <a:lnTo>
                        <a:pt x="48" y="527"/>
                      </a:lnTo>
                      <a:lnTo>
                        <a:pt x="51" y="531"/>
                      </a:lnTo>
                      <a:lnTo>
                        <a:pt x="53" y="534"/>
                      </a:lnTo>
                      <a:lnTo>
                        <a:pt x="55" y="537"/>
                      </a:lnTo>
                      <a:lnTo>
                        <a:pt x="57" y="540"/>
                      </a:lnTo>
                      <a:lnTo>
                        <a:pt x="61" y="542"/>
                      </a:lnTo>
                      <a:lnTo>
                        <a:pt x="68" y="545"/>
                      </a:lnTo>
                      <a:lnTo>
                        <a:pt x="77" y="547"/>
                      </a:lnTo>
                      <a:lnTo>
                        <a:pt x="88" y="548"/>
                      </a:lnTo>
                      <a:lnTo>
                        <a:pt x="100" y="549"/>
                      </a:lnTo>
                      <a:lnTo>
                        <a:pt x="104" y="548"/>
                      </a:lnTo>
                      <a:lnTo>
                        <a:pt x="109" y="548"/>
                      </a:lnTo>
                      <a:lnTo>
                        <a:pt x="113" y="546"/>
                      </a:lnTo>
                      <a:lnTo>
                        <a:pt x="117" y="544"/>
                      </a:lnTo>
                      <a:lnTo>
                        <a:pt x="123" y="539"/>
                      </a:lnTo>
                      <a:lnTo>
                        <a:pt x="130" y="533"/>
                      </a:lnTo>
                      <a:lnTo>
                        <a:pt x="134" y="525"/>
                      </a:lnTo>
                      <a:lnTo>
                        <a:pt x="138" y="516"/>
                      </a:lnTo>
                      <a:lnTo>
                        <a:pt x="143" y="507"/>
                      </a:lnTo>
                      <a:lnTo>
                        <a:pt x="146" y="496"/>
                      </a:lnTo>
                      <a:lnTo>
                        <a:pt x="151" y="487"/>
                      </a:lnTo>
                      <a:lnTo>
                        <a:pt x="154" y="477"/>
                      </a:lnTo>
                      <a:lnTo>
                        <a:pt x="158" y="469"/>
                      </a:lnTo>
                      <a:lnTo>
                        <a:pt x="164" y="461"/>
                      </a:lnTo>
                      <a:lnTo>
                        <a:pt x="169" y="454"/>
                      </a:lnTo>
                      <a:lnTo>
                        <a:pt x="176" y="448"/>
                      </a:lnTo>
                      <a:lnTo>
                        <a:pt x="179" y="446"/>
                      </a:lnTo>
                      <a:lnTo>
                        <a:pt x="183" y="445"/>
                      </a:lnTo>
                      <a:lnTo>
                        <a:pt x="188" y="444"/>
                      </a:lnTo>
                      <a:lnTo>
                        <a:pt x="193" y="444"/>
                      </a:lnTo>
                      <a:lnTo>
                        <a:pt x="201" y="444"/>
                      </a:lnTo>
                      <a:lnTo>
                        <a:pt x="209" y="445"/>
                      </a:lnTo>
                      <a:lnTo>
                        <a:pt x="215" y="446"/>
                      </a:lnTo>
                      <a:lnTo>
                        <a:pt x="222" y="448"/>
                      </a:lnTo>
                      <a:lnTo>
                        <a:pt x="232" y="453"/>
                      </a:lnTo>
                      <a:lnTo>
                        <a:pt x="242" y="457"/>
                      </a:lnTo>
                      <a:lnTo>
                        <a:pt x="252" y="461"/>
                      </a:lnTo>
                      <a:lnTo>
                        <a:pt x="261" y="465"/>
                      </a:lnTo>
                      <a:lnTo>
                        <a:pt x="267" y="467"/>
                      </a:lnTo>
                      <a:lnTo>
                        <a:pt x="272" y="468"/>
                      </a:lnTo>
                      <a:lnTo>
                        <a:pt x="279" y="469"/>
                      </a:lnTo>
                      <a:lnTo>
                        <a:pt x="286" y="469"/>
                      </a:lnTo>
                      <a:lnTo>
                        <a:pt x="297" y="469"/>
                      </a:lnTo>
                      <a:lnTo>
                        <a:pt x="305" y="468"/>
                      </a:lnTo>
                      <a:lnTo>
                        <a:pt x="313" y="466"/>
                      </a:lnTo>
                      <a:lnTo>
                        <a:pt x="319" y="464"/>
                      </a:lnTo>
                      <a:lnTo>
                        <a:pt x="324" y="461"/>
                      </a:lnTo>
                      <a:lnTo>
                        <a:pt x="328" y="457"/>
                      </a:lnTo>
                      <a:lnTo>
                        <a:pt x="332" y="453"/>
                      </a:lnTo>
                      <a:lnTo>
                        <a:pt x="335" y="447"/>
                      </a:lnTo>
                      <a:lnTo>
                        <a:pt x="345" y="422"/>
                      </a:lnTo>
                      <a:lnTo>
                        <a:pt x="359" y="388"/>
                      </a:lnTo>
                      <a:lnTo>
                        <a:pt x="365" y="380"/>
                      </a:lnTo>
                      <a:lnTo>
                        <a:pt x="373" y="372"/>
                      </a:lnTo>
                      <a:lnTo>
                        <a:pt x="382" y="363"/>
                      </a:lnTo>
                      <a:lnTo>
                        <a:pt x="393" y="353"/>
                      </a:lnTo>
                      <a:lnTo>
                        <a:pt x="418" y="333"/>
                      </a:lnTo>
                      <a:lnTo>
                        <a:pt x="447" y="314"/>
                      </a:lnTo>
                      <a:lnTo>
                        <a:pt x="476" y="296"/>
                      </a:lnTo>
                      <a:lnTo>
                        <a:pt x="503" y="278"/>
                      </a:lnTo>
                      <a:lnTo>
                        <a:pt x="527" y="264"/>
                      </a:lnTo>
                      <a:lnTo>
                        <a:pt x="545" y="253"/>
                      </a:lnTo>
                      <a:lnTo>
                        <a:pt x="538" y="235"/>
                      </a:lnTo>
                      <a:lnTo>
                        <a:pt x="528" y="232"/>
                      </a:lnTo>
                      <a:lnTo>
                        <a:pt x="518" y="229"/>
                      </a:lnTo>
                      <a:lnTo>
                        <a:pt x="511" y="223"/>
                      </a:lnTo>
                      <a:lnTo>
                        <a:pt x="503" y="218"/>
                      </a:lnTo>
                      <a:lnTo>
                        <a:pt x="496" y="212"/>
                      </a:lnTo>
                      <a:lnTo>
                        <a:pt x="491" y="206"/>
                      </a:lnTo>
                      <a:lnTo>
                        <a:pt x="485" y="199"/>
                      </a:lnTo>
                      <a:lnTo>
                        <a:pt x="480" y="191"/>
                      </a:lnTo>
                      <a:lnTo>
                        <a:pt x="470" y="175"/>
                      </a:lnTo>
                      <a:lnTo>
                        <a:pt x="460" y="157"/>
                      </a:lnTo>
                      <a:lnTo>
                        <a:pt x="454" y="149"/>
                      </a:lnTo>
                      <a:lnTo>
                        <a:pt x="447" y="141"/>
                      </a:lnTo>
                      <a:lnTo>
                        <a:pt x="440" y="132"/>
                      </a:lnTo>
                      <a:lnTo>
                        <a:pt x="432" y="124"/>
                      </a:lnTo>
                      <a:lnTo>
                        <a:pt x="404" y="101"/>
                      </a:lnTo>
                      <a:lnTo>
                        <a:pt x="377" y="76"/>
                      </a:lnTo>
                      <a:lnTo>
                        <a:pt x="370" y="69"/>
                      </a:lnTo>
                      <a:lnTo>
                        <a:pt x="365" y="62"/>
                      </a:lnTo>
                      <a:lnTo>
                        <a:pt x="359" y="53"/>
                      </a:lnTo>
                      <a:lnTo>
                        <a:pt x="355" y="44"/>
                      </a:lnTo>
                      <a:lnTo>
                        <a:pt x="350" y="35"/>
                      </a:lnTo>
                      <a:lnTo>
                        <a:pt x="348" y="24"/>
                      </a:lnTo>
                      <a:lnTo>
                        <a:pt x="346" y="13"/>
                      </a:lnTo>
                      <a:lnTo>
                        <a:pt x="346" y="0"/>
                      </a:lnTo>
                      <a:lnTo>
                        <a:pt x="319" y="0"/>
                      </a:lnTo>
                      <a:lnTo>
                        <a:pt x="293" y="0"/>
                      </a:lnTo>
                      <a:lnTo>
                        <a:pt x="268" y="1"/>
                      </a:lnTo>
                      <a:lnTo>
                        <a:pt x="244" y="2"/>
                      </a:lnTo>
                      <a:lnTo>
                        <a:pt x="221" y="6"/>
                      </a:lnTo>
                      <a:lnTo>
                        <a:pt x="198" y="9"/>
                      </a:lnTo>
                      <a:lnTo>
                        <a:pt x="176" y="13"/>
                      </a:lnTo>
                      <a:lnTo>
                        <a:pt x="153" y="19"/>
                      </a:lnTo>
                      <a:lnTo>
                        <a:pt x="123" y="21"/>
                      </a:lnTo>
                      <a:lnTo>
                        <a:pt x="95" y="22"/>
                      </a:lnTo>
                      <a:lnTo>
                        <a:pt x="84" y="23"/>
                      </a:lnTo>
                      <a:lnTo>
                        <a:pt x="75" y="25"/>
                      </a:lnTo>
                      <a:lnTo>
                        <a:pt x="71" y="27"/>
                      </a:lnTo>
                      <a:lnTo>
                        <a:pt x="68" y="30"/>
                      </a:lnTo>
                      <a:lnTo>
                        <a:pt x="67" y="33"/>
                      </a:lnTo>
                      <a:lnTo>
                        <a:pt x="67" y="38"/>
                      </a:lnTo>
                      <a:lnTo>
                        <a:pt x="67" y="44"/>
                      </a:lnTo>
                      <a:lnTo>
                        <a:pt x="69" y="50"/>
                      </a:lnTo>
                      <a:lnTo>
                        <a:pt x="73" y="56"/>
                      </a:lnTo>
                      <a:lnTo>
                        <a:pt x="77" y="63"/>
                      </a:lnTo>
                      <a:lnTo>
                        <a:pt x="80" y="68"/>
                      </a:lnTo>
                      <a:lnTo>
                        <a:pt x="84" y="74"/>
                      </a:lnTo>
                      <a:lnTo>
                        <a:pt x="86" y="80"/>
                      </a:lnTo>
                      <a:lnTo>
                        <a:pt x="87" y="87"/>
                      </a:lnTo>
                      <a:lnTo>
                        <a:pt x="86" y="107"/>
                      </a:lnTo>
                      <a:lnTo>
                        <a:pt x="82" y="129"/>
                      </a:lnTo>
                      <a:lnTo>
                        <a:pt x="78" y="150"/>
                      </a:lnTo>
                      <a:lnTo>
                        <a:pt x="74" y="171"/>
                      </a:lnTo>
                      <a:lnTo>
                        <a:pt x="68" y="193"/>
                      </a:lnTo>
                      <a:lnTo>
                        <a:pt x="64" y="214"/>
                      </a:lnTo>
                      <a:lnTo>
                        <a:pt x="62" y="237"/>
                      </a:lnTo>
                      <a:lnTo>
                        <a:pt x="61" y="259"/>
                      </a:lnTo>
                      <a:lnTo>
                        <a:pt x="54" y="261"/>
                      </a:lnTo>
                      <a:lnTo>
                        <a:pt x="47" y="263"/>
                      </a:lnTo>
                      <a:lnTo>
                        <a:pt x="42" y="266"/>
                      </a:lnTo>
                      <a:lnTo>
                        <a:pt x="36" y="269"/>
                      </a:lnTo>
                      <a:lnTo>
                        <a:pt x="26" y="277"/>
                      </a:lnTo>
                      <a:lnTo>
                        <a:pt x="18" y="287"/>
                      </a:lnTo>
                      <a:lnTo>
                        <a:pt x="10" y="297"/>
                      </a:lnTo>
                      <a:lnTo>
                        <a:pt x="5" y="307"/>
                      </a:lnTo>
                      <a:lnTo>
                        <a:pt x="1" y="317"/>
                      </a:lnTo>
                      <a:lnTo>
                        <a:pt x="0" y="327"/>
                      </a:lnTo>
                      <a:lnTo>
                        <a:pt x="1" y="339"/>
                      </a:lnTo>
                      <a:lnTo>
                        <a:pt x="3" y="349"/>
                      </a:lnTo>
                      <a:lnTo>
                        <a:pt x="6" y="358"/>
                      </a:lnTo>
                      <a:lnTo>
                        <a:pt x="8" y="367"/>
                      </a:lnTo>
                      <a:lnTo>
                        <a:pt x="9" y="376"/>
                      </a:lnTo>
                      <a:lnTo>
                        <a:pt x="9" y="386"/>
                      </a:lnTo>
                      <a:lnTo>
                        <a:pt x="8" y="391"/>
                      </a:lnTo>
                      <a:lnTo>
                        <a:pt x="6" y="397"/>
                      </a:lnTo>
                      <a:lnTo>
                        <a:pt x="3" y="402"/>
                      </a:lnTo>
                      <a:lnTo>
                        <a:pt x="0" y="408"/>
                      </a:lnTo>
                      <a:lnTo>
                        <a:pt x="13" y="42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33" name="Freeform 253">
                  <a:extLst>
                    <a:ext uri="{FF2B5EF4-FFF2-40B4-BE49-F238E27FC236}">
                      <a16:creationId xmlns:a16="http://schemas.microsoft.com/office/drawing/2014/main" xmlns="" id="{77FB7FEF-4F5C-4814-9D68-B22BB70E3F2F}"/>
                    </a:ext>
                  </a:extLst>
                </p:cNvPr>
                <p:cNvSpPr>
                  <a:spLocks/>
                </p:cNvSpPr>
                <p:nvPr>
                  <p:custDataLst>
                    <p:tags r:id="rId180"/>
                  </p:custDataLst>
                </p:nvPr>
              </p:nvSpPr>
              <p:spPr bwMode="auto">
                <a:xfrm>
                  <a:off x="5067300" y="4037013"/>
                  <a:ext cx="196850" cy="434975"/>
                </a:xfrm>
                <a:custGeom>
                  <a:avLst/>
                  <a:gdLst>
                    <a:gd name="T0" fmla="*/ 2147483646 w 452"/>
                    <a:gd name="T1" fmla="*/ 2147483646 h 832"/>
                    <a:gd name="T2" fmla="*/ 2147483646 w 452"/>
                    <a:gd name="T3" fmla="*/ 2147483646 h 832"/>
                    <a:gd name="T4" fmla="*/ 2147483646 w 452"/>
                    <a:gd name="T5" fmla="*/ 2147483646 h 832"/>
                    <a:gd name="T6" fmla="*/ 2147483646 w 452"/>
                    <a:gd name="T7" fmla="*/ 2147483646 h 832"/>
                    <a:gd name="T8" fmla="*/ 2147483646 w 452"/>
                    <a:gd name="T9" fmla="*/ 2147483646 h 832"/>
                    <a:gd name="T10" fmla="*/ 2147483646 w 452"/>
                    <a:gd name="T11" fmla="*/ 2147483646 h 832"/>
                    <a:gd name="T12" fmla="*/ 2147483646 w 452"/>
                    <a:gd name="T13" fmla="*/ 2147483646 h 832"/>
                    <a:gd name="T14" fmla="*/ 2147483646 w 452"/>
                    <a:gd name="T15" fmla="*/ 2147483646 h 832"/>
                    <a:gd name="T16" fmla="*/ 2147483646 w 452"/>
                    <a:gd name="T17" fmla="*/ 2147483646 h 832"/>
                    <a:gd name="T18" fmla="*/ 2147483646 w 452"/>
                    <a:gd name="T19" fmla="*/ 2147483646 h 832"/>
                    <a:gd name="T20" fmla="*/ 2147483646 w 452"/>
                    <a:gd name="T21" fmla="*/ 2147483646 h 832"/>
                    <a:gd name="T22" fmla="*/ 2147483646 w 452"/>
                    <a:gd name="T23" fmla="*/ 2147483646 h 832"/>
                    <a:gd name="T24" fmla="*/ 2147483646 w 452"/>
                    <a:gd name="T25" fmla="*/ 0 h 832"/>
                    <a:gd name="T26" fmla="*/ 2147483646 w 452"/>
                    <a:gd name="T27" fmla="*/ 2147483646 h 832"/>
                    <a:gd name="T28" fmla="*/ 2147483646 w 452"/>
                    <a:gd name="T29" fmla="*/ 2147483646 h 832"/>
                    <a:gd name="T30" fmla="*/ 2147483646 w 452"/>
                    <a:gd name="T31" fmla="*/ 2147483646 h 832"/>
                    <a:gd name="T32" fmla="*/ 2147483646 w 452"/>
                    <a:gd name="T33" fmla="*/ 2147483646 h 832"/>
                    <a:gd name="T34" fmla="*/ 2147483646 w 452"/>
                    <a:gd name="T35" fmla="*/ 2147483646 h 832"/>
                    <a:gd name="T36" fmla="*/ 2147483646 w 452"/>
                    <a:gd name="T37" fmla="*/ 2147483646 h 832"/>
                    <a:gd name="T38" fmla="*/ 2147483646 w 452"/>
                    <a:gd name="T39" fmla="*/ 2147483646 h 832"/>
                    <a:gd name="T40" fmla="*/ 2147483646 w 452"/>
                    <a:gd name="T41" fmla="*/ 2147483646 h 832"/>
                    <a:gd name="T42" fmla="*/ 2147483646 w 452"/>
                    <a:gd name="T43" fmla="*/ 2147483646 h 832"/>
                    <a:gd name="T44" fmla="*/ 2147483646 w 452"/>
                    <a:gd name="T45" fmla="*/ 2147483646 h 832"/>
                    <a:gd name="T46" fmla="*/ 2147483646 w 452"/>
                    <a:gd name="T47" fmla="*/ 2147483646 h 832"/>
                    <a:gd name="T48" fmla="*/ 2147483646 w 452"/>
                    <a:gd name="T49" fmla="*/ 2147483646 h 832"/>
                    <a:gd name="T50" fmla="*/ 2147483646 w 452"/>
                    <a:gd name="T51" fmla="*/ 2147483646 h 832"/>
                    <a:gd name="T52" fmla="*/ 2147483646 w 452"/>
                    <a:gd name="T53" fmla="*/ 2147483646 h 832"/>
                    <a:gd name="T54" fmla="*/ 2147483646 w 452"/>
                    <a:gd name="T55" fmla="*/ 2147483646 h 832"/>
                    <a:gd name="T56" fmla="*/ 2147483646 w 452"/>
                    <a:gd name="T57" fmla="*/ 2147483646 h 832"/>
                    <a:gd name="T58" fmla="*/ 2147483646 w 452"/>
                    <a:gd name="T59" fmla="*/ 2147483646 h 832"/>
                    <a:gd name="T60" fmla="*/ 2147483646 w 452"/>
                    <a:gd name="T61" fmla="*/ 2147483646 h 832"/>
                    <a:gd name="T62" fmla="*/ 2147483646 w 452"/>
                    <a:gd name="T63" fmla="*/ 2147483646 h 832"/>
                    <a:gd name="T64" fmla="*/ 2147483646 w 452"/>
                    <a:gd name="T65" fmla="*/ 2147483646 h 832"/>
                    <a:gd name="T66" fmla="*/ 2147483646 w 452"/>
                    <a:gd name="T67" fmla="*/ 2147483646 h 832"/>
                    <a:gd name="T68" fmla="*/ 2147483646 w 452"/>
                    <a:gd name="T69" fmla="*/ 2147483646 h 832"/>
                    <a:gd name="T70" fmla="*/ 2147483646 w 452"/>
                    <a:gd name="T71" fmla="*/ 2147483646 h 832"/>
                    <a:gd name="T72" fmla="*/ 2147483646 w 452"/>
                    <a:gd name="T73" fmla="*/ 2147483646 h 832"/>
                    <a:gd name="T74" fmla="*/ 2147483646 w 452"/>
                    <a:gd name="T75" fmla="*/ 2147483646 h 832"/>
                    <a:gd name="T76" fmla="*/ 2147483646 w 452"/>
                    <a:gd name="T77" fmla="*/ 2147483646 h 832"/>
                    <a:gd name="T78" fmla="*/ 2147483646 w 452"/>
                    <a:gd name="T79" fmla="*/ 2147483646 h 832"/>
                    <a:gd name="T80" fmla="*/ 2147483646 w 452"/>
                    <a:gd name="T81" fmla="*/ 2147483646 h 832"/>
                    <a:gd name="T82" fmla="*/ 2147483646 w 452"/>
                    <a:gd name="T83" fmla="*/ 2147483646 h 832"/>
                    <a:gd name="T84" fmla="*/ 2147483646 w 452"/>
                    <a:gd name="T85" fmla="*/ 2147483646 h 832"/>
                    <a:gd name="T86" fmla="*/ 2147483646 w 452"/>
                    <a:gd name="T87" fmla="*/ 2147483646 h 832"/>
                    <a:gd name="T88" fmla="*/ 2147483646 w 452"/>
                    <a:gd name="T89" fmla="*/ 2147483646 h 832"/>
                    <a:gd name="T90" fmla="*/ 2147483646 w 452"/>
                    <a:gd name="T91" fmla="*/ 2147483646 h 832"/>
                    <a:gd name="T92" fmla="*/ 0 w 452"/>
                    <a:gd name="T93" fmla="*/ 2147483646 h 832"/>
                    <a:gd name="T94" fmla="*/ 2147483646 w 452"/>
                    <a:gd name="T95" fmla="*/ 2147483646 h 832"/>
                    <a:gd name="T96" fmla="*/ 2147483646 w 452"/>
                    <a:gd name="T97" fmla="*/ 2147483646 h 832"/>
                    <a:gd name="T98" fmla="*/ 2147483646 w 452"/>
                    <a:gd name="T99" fmla="*/ 2147483646 h 832"/>
                    <a:gd name="T100" fmla="*/ 0 w 452"/>
                    <a:gd name="T101" fmla="*/ 2147483646 h 832"/>
                    <a:gd name="T102" fmla="*/ 2147483646 w 452"/>
                    <a:gd name="T103" fmla="*/ 2147483646 h 832"/>
                    <a:gd name="T104" fmla="*/ 2147483646 w 452"/>
                    <a:gd name="T105" fmla="*/ 2147483646 h 832"/>
                    <a:gd name="T106" fmla="*/ 2147483646 w 452"/>
                    <a:gd name="T107" fmla="*/ 2147483646 h 832"/>
                    <a:gd name="T108" fmla="*/ 2147483646 w 452"/>
                    <a:gd name="T109" fmla="*/ 2147483646 h 832"/>
                    <a:gd name="T110" fmla="*/ 2147483646 w 452"/>
                    <a:gd name="T111" fmla="*/ 2147483646 h 832"/>
                    <a:gd name="T112" fmla="*/ 2147483646 w 452"/>
                    <a:gd name="T113" fmla="*/ 2147483646 h 832"/>
                    <a:gd name="T114" fmla="*/ 2147483646 w 452"/>
                    <a:gd name="T115" fmla="*/ 2147483646 h 832"/>
                    <a:gd name="T116" fmla="*/ 2147483646 w 452"/>
                    <a:gd name="T117" fmla="*/ 2147483646 h 832"/>
                    <a:gd name="T118" fmla="*/ 2147483646 w 452"/>
                    <a:gd name="T119" fmla="*/ 2147483646 h 832"/>
                    <a:gd name="T120" fmla="*/ 2147483646 w 452"/>
                    <a:gd name="T121" fmla="*/ 2147483646 h 832"/>
                    <a:gd name="T122" fmla="*/ 2147483646 w 452"/>
                    <a:gd name="T123" fmla="*/ 2147483646 h 832"/>
                    <a:gd name="T124" fmla="*/ 2147483646 w 452"/>
                    <a:gd name="T125" fmla="*/ 2147483646 h 83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452"/>
                    <a:gd name="T190" fmla="*/ 0 h 832"/>
                    <a:gd name="T191" fmla="*/ 452 w 452"/>
                    <a:gd name="T192" fmla="*/ 832 h 832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452" h="832">
                      <a:moveTo>
                        <a:pt x="93" y="264"/>
                      </a:moveTo>
                      <a:lnTo>
                        <a:pt x="103" y="263"/>
                      </a:lnTo>
                      <a:lnTo>
                        <a:pt x="112" y="261"/>
                      </a:lnTo>
                      <a:lnTo>
                        <a:pt x="120" y="257"/>
                      </a:lnTo>
                      <a:lnTo>
                        <a:pt x="129" y="252"/>
                      </a:lnTo>
                      <a:lnTo>
                        <a:pt x="138" y="248"/>
                      </a:lnTo>
                      <a:lnTo>
                        <a:pt x="147" y="244"/>
                      </a:lnTo>
                      <a:lnTo>
                        <a:pt x="157" y="241"/>
                      </a:lnTo>
                      <a:lnTo>
                        <a:pt x="165" y="240"/>
                      </a:lnTo>
                      <a:lnTo>
                        <a:pt x="175" y="239"/>
                      </a:lnTo>
                      <a:lnTo>
                        <a:pt x="184" y="236"/>
                      </a:lnTo>
                      <a:lnTo>
                        <a:pt x="192" y="232"/>
                      </a:lnTo>
                      <a:lnTo>
                        <a:pt x="199" y="227"/>
                      </a:lnTo>
                      <a:lnTo>
                        <a:pt x="206" y="222"/>
                      </a:lnTo>
                      <a:lnTo>
                        <a:pt x="215" y="217"/>
                      </a:lnTo>
                      <a:lnTo>
                        <a:pt x="222" y="213"/>
                      </a:lnTo>
                      <a:lnTo>
                        <a:pt x="232" y="209"/>
                      </a:lnTo>
                      <a:lnTo>
                        <a:pt x="232" y="200"/>
                      </a:lnTo>
                      <a:lnTo>
                        <a:pt x="232" y="191"/>
                      </a:lnTo>
                      <a:lnTo>
                        <a:pt x="232" y="184"/>
                      </a:lnTo>
                      <a:lnTo>
                        <a:pt x="232" y="179"/>
                      </a:lnTo>
                      <a:lnTo>
                        <a:pt x="248" y="179"/>
                      </a:lnTo>
                      <a:lnTo>
                        <a:pt x="259" y="179"/>
                      </a:lnTo>
                      <a:lnTo>
                        <a:pt x="265" y="178"/>
                      </a:lnTo>
                      <a:lnTo>
                        <a:pt x="271" y="177"/>
                      </a:lnTo>
                      <a:lnTo>
                        <a:pt x="276" y="175"/>
                      </a:lnTo>
                      <a:lnTo>
                        <a:pt x="282" y="173"/>
                      </a:lnTo>
                      <a:lnTo>
                        <a:pt x="287" y="170"/>
                      </a:lnTo>
                      <a:lnTo>
                        <a:pt x="293" y="166"/>
                      </a:lnTo>
                      <a:lnTo>
                        <a:pt x="298" y="162"/>
                      </a:lnTo>
                      <a:lnTo>
                        <a:pt x="303" y="157"/>
                      </a:lnTo>
                      <a:lnTo>
                        <a:pt x="311" y="145"/>
                      </a:lnTo>
                      <a:lnTo>
                        <a:pt x="320" y="133"/>
                      </a:lnTo>
                      <a:lnTo>
                        <a:pt x="329" y="120"/>
                      </a:lnTo>
                      <a:lnTo>
                        <a:pt x="336" y="106"/>
                      </a:lnTo>
                      <a:lnTo>
                        <a:pt x="350" y="75"/>
                      </a:lnTo>
                      <a:lnTo>
                        <a:pt x="361" y="46"/>
                      </a:lnTo>
                      <a:lnTo>
                        <a:pt x="371" y="20"/>
                      </a:lnTo>
                      <a:lnTo>
                        <a:pt x="378" y="0"/>
                      </a:lnTo>
                      <a:lnTo>
                        <a:pt x="379" y="7"/>
                      </a:lnTo>
                      <a:lnTo>
                        <a:pt x="383" y="13"/>
                      </a:lnTo>
                      <a:lnTo>
                        <a:pt x="385" y="19"/>
                      </a:lnTo>
                      <a:lnTo>
                        <a:pt x="389" y="25"/>
                      </a:lnTo>
                      <a:lnTo>
                        <a:pt x="397" y="36"/>
                      </a:lnTo>
                      <a:lnTo>
                        <a:pt x="407" y="47"/>
                      </a:lnTo>
                      <a:lnTo>
                        <a:pt x="430" y="65"/>
                      </a:lnTo>
                      <a:lnTo>
                        <a:pt x="452" y="80"/>
                      </a:lnTo>
                      <a:lnTo>
                        <a:pt x="448" y="85"/>
                      </a:lnTo>
                      <a:lnTo>
                        <a:pt x="444" y="91"/>
                      </a:lnTo>
                      <a:lnTo>
                        <a:pt x="442" y="96"/>
                      </a:lnTo>
                      <a:lnTo>
                        <a:pt x="440" y="103"/>
                      </a:lnTo>
                      <a:lnTo>
                        <a:pt x="440" y="114"/>
                      </a:lnTo>
                      <a:lnTo>
                        <a:pt x="442" y="125"/>
                      </a:lnTo>
                      <a:lnTo>
                        <a:pt x="444" y="138"/>
                      </a:lnTo>
                      <a:lnTo>
                        <a:pt x="448" y="151"/>
                      </a:lnTo>
                      <a:lnTo>
                        <a:pt x="451" y="168"/>
                      </a:lnTo>
                      <a:lnTo>
                        <a:pt x="452" y="185"/>
                      </a:lnTo>
                      <a:lnTo>
                        <a:pt x="451" y="192"/>
                      </a:lnTo>
                      <a:lnTo>
                        <a:pt x="450" y="199"/>
                      </a:lnTo>
                      <a:lnTo>
                        <a:pt x="448" y="206"/>
                      </a:lnTo>
                      <a:lnTo>
                        <a:pt x="444" y="213"/>
                      </a:lnTo>
                      <a:lnTo>
                        <a:pt x="437" y="224"/>
                      </a:lnTo>
                      <a:lnTo>
                        <a:pt x="428" y="234"/>
                      </a:lnTo>
                      <a:lnTo>
                        <a:pt x="420" y="244"/>
                      </a:lnTo>
                      <a:lnTo>
                        <a:pt x="412" y="255"/>
                      </a:lnTo>
                      <a:lnTo>
                        <a:pt x="409" y="261"/>
                      </a:lnTo>
                      <a:lnTo>
                        <a:pt x="407" y="269"/>
                      </a:lnTo>
                      <a:lnTo>
                        <a:pt x="406" y="276"/>
                      </a:lnTo>
                      <a:lnTo>
                        <a:pt x="405" y="283"/>
                      </a:lnTo>
                      <a:lnTo>
                        <a:pt x="402" y="289"/>
                      </a:lnTo>
                      <a:lnTo>
                        <a:pt x="397" y="302"/>
                      </a:lnTo>
                      <a:lnTo>
                        <a:pt x="393" y="308"/>
                      </a:lnTo>
                      <a:lnTo>
                        <a:pt x="388" y="314"/>
                      </a:lnTo>
                      <a:lnTo>
                        <a:pt x="386" y="316"/>
                      </a:lnTo>
                      <a:lnTo>
                        <a:pt x="383" y="318"/>
                      </a:lnTo>
                      <a:lnTo>
                        <a:pt x="381" y="319"/>
                      </a:lnTo>
                      <a:lnTo>
                        <a:pt x="378" y="320"/>
                      </a:lnTo>
                      <a:lnTo>
                        <a:pt x="377" y="332"/>
                      </a:lnTo>
                      <a:lnTo>
                        <a:pt x="376" y="343"/>
                      </a:lnTo>
                      <a:lnTo>
                        <a:pt x="373" y="354"/>
                      </a:lnTo>
                      <a:lnTo>
                        <a:pt x="368" y="364"/>
                      </a:lnTo>
                      <a:lnTo>
                        <a:pt x="360" y="386"/>
                      </a:lnTo>
                      <a:lnTo>
                        <a:pt x="349" y="406"/>
                      </a:lnTo>
                      <a:lnTo>
                        <a:pt x="338" y="427"/>
                      </a:lnTo>
                      <a:lnTo>
                        <a:pt x="328" y="449"/>
                      </a:lnTo>
                      <a:lnTo>
                        <a:pt x="325" y="459"/>
                      </a:lnTo>
                      <a:lnTo>
                        <a:pt x="321" y="470"/>
                      </a:lnTo>
                      <a:lnTo>
                        <a:pt x="319" y="481"/>
                      </a:lnTo>
                      <a:lnTo>
                        <a:pt x="319" y="493"/>
                      </a:lnTo>
                      <a:lnTo>
                        <a:pt x="318" y="500"/>
                      </a:lnTo>
                      <a:lnTo>
                        <a:pt x="316" y="509"/>
                      </a:lnTo>
                      <a:lnTo>
                        <a:pt x="314" y="520"/>
                      </a:lnTo>
                      <a:lnTo>
                        <a:pt x="310" y="531"/>
                      </a:lnTo>
                      <a:lnTo>
                        <a:pt x="300" y="559"/>
                      </a:lnTo>
                      <a:lnTo>
                        <a:pt x="288" y="587"/>
                      </a:lnTo>
                      <a:lnTo>
                        <a:pt x="281" y="602"/>
                      </a:lnTo>
                      <a:lnTo>
                        <a:pt x="274" y="615"/>
                      </a:lnTo>
                      <a:lnTo>
                        <a:pt x="266" y="627"/>
                      </a:lnTo>
                      <a:lnTo>
                        <a:pt x="260" y="637"/>
                      </a:lnTo>
                      <a:lnTo>
                        <a:pt x="252" y="646"/>
                      </a:lnTo>
                      <a:lnTo>
                        <a:pt x="245" y="653"/>
                      </a:lnTo>
                      <a:lnTo>
                        <a:pt x="242" y="655"/>
                      </a:lnTo>
                      <a:lnTo>
                        <a:pt x="239" y="658"/>
                      </a:lnTo>
                      <a:lnTo>
                        <a:pt x="236" y="659"/>
                      </a:lnTo>
                      <a:lnTo>
                        <a:pt x="232" y="660"/>
                      </a:lnTo>
                      <a:lnTo>
                        <a:pt x="231" y="678"/>
                      </a:lnTo>
                      <a:lnTo>
                        <a:pt x="230" y="696"/>
                      </a:lnTo>
                      <a:lnTo>
                        <a:pt x="228" y="714"/>
                      </a:lnTo>
                      <a:lnTo>
                        <a:pt x="225" y="730"/>
                      </a:lnTo>
                      <a:lnTo>
                        <a:pt x="220" y="745"/>
                      </a:lnTo>
                      <a:lnTo>
                        <a:pt x="215" y="759"/>
                      </a:lnTo>
                      <a:lnTo>
                        <a:pt x="207" y="773"/>
                      </a:lnTo>
                      <a:lnTo>
                        <a:pt x="199" y="785"/>
                      </a:lnTo>
                      <a:lnTo>
                        <a:pt x="191" y="795"/>
                      </a:lnTo>
                      <a:lnTo>
                        <a:pt x="181" y="805"/>
                      </a:lnTo>
                      <a:lnTo>
                        <a:pt x="169" y="812"/>
                      </a:lnTo>
                      <a:lnTo>
                        <a:pt x="157" y="819"/>
                      </a:lnTo>
                      <a:lnTo>
                        <a:pt x="142" y="825"/>
                      </a:lnTo>
                      <a:lnTo>
                        <a:pt x="127" y="829"/>
                      </a:lnTo>
                      <a:lnTo>
                        <a:pt x="110" y="831"/>
                      </a:lnTo>
                      <a:lnTo>
                        <a:pt x="93" y="832"/>
                      </a:lnTo>
                      <a:lnTo>
                        <a:pt x="86" y="831"/>
                      </a:lnTo>
                      <a:lnTo>
                        <a:pt x="80" y="827"/>
                      </a:lnTo>
                      <a:lnTo>
                        <a:pt x="77" y="825"/>
                      </a:lnTo>
                      <a:lnTo>
                        <a:pt x="75" y="821"/>
                      </a:lnTo>
                      <a:lnTo>
                        <a:pt x="73" y="817"/>
                      </a:lnTo>
                      <a:lnTo>
                        <a:pt x="73" y="813"/>
                      </a:lnTo>
                      <a:lnTo>
                        <a:pt x="61" y="812"/>
                      </a:lnTo>
                      <a:lnTo>
                        <a:pt x="50" y="810"/>
                      </a:lnTo>
                      <a:lnTo>
                        <a:pt x="41" y="807"/>
                      </a:lnTo>
                      <a:lnTo>
                        <a:pt x="34" y="803"/>
                      </a:lnTo>
                      <a:lnTo>
                        <a:pt x="26" y="798"/>
                      </a:lnTo>
                      <a:lnTo>
                        <a:pt x="20" y="791"/>
                      </a:lnTo>
                      <a:lnTo>
                        <a:pt x="15" y="785"/>
                      </a:lnTo>
                      <a:lnTo>
                        <a:pt x="12" y="777"/>
                      </a:lnTo>
                      <a:lnTo>
                        <a:pt x="8" y="769"/>
                      </a:lnTo>
                      <a:lnTo>
                        <a:pt x="5" y="760"/>
                      </a:lnTo>
                      <a:lnTo>
                        <a:pt x="3" y="752"/>
                      </a:lnTo>
                      <a:lnTo>
                        <a:pt x="2" y="743"/>
                      </a:lnTo>
                      <a:lnTo>
                        <a:pt x="0" y="726"/>
                      </a:lnTo>
                      <a:lnTo>
                        <a:pt x="0" y="708"/>
                      </a:lnTo>
                      <a:lnTo>
                        <a:pt x="1" y="702"/>
                      </a:lnTo>
                      <a:lnTo>
                        <a:pt x="2" y="697"/>
                      </a:lnTo>
                      <a:lnTo>
                        <a:pt x="4" y="694"/>
                      </a:lnTo>
                      <a:lnTo>
                        <a:pt x="7" y="691"/>
                      </a:lnTo>
                      <a:lnTo>
                        <a:pt x="14" y="685"/>
                      </a:lnTo>
                      <a:lnTo>
                        <a:pt x="19" y="678"/>
                      </a:lnTo>
                      <a:lnTo>
                        <a:pt x="17" y="677"/>
                      </a:lnTo>
                      <a:lnTo>
                        <a:pt x="14" y="675"/>
                      </a:lnTo>
                      <a:lnTo>
                        <a:pt x="11" y="672"/>
                      </a:lnTo>
                      <a:lnTo>
                        <a:pt x="7" y="668"/>
                      </a:lnTo>
                      <a:lnTo>
                        <a:pt x="2" y="660"/>
                      </a:lnTo>
                      <a:lnTo>
                        <a:pt x="0" y="652"/>
                      </a:lnTo>
                      <a:lnTo>
                        <a:pt x="1" y="642"/>
                      </a:lnTo>
                      <a:lnTo>
                        <a:pt x="3" y="635"/>
                      </a:lnTo>
                      <a:lnTo>
                        <a:pt x="5" y="628"/>
                      </a:lnTo>
                      <a:lnTo>
                        <a:pt x="7" y="622"/>
                      </a:lnTo>
                      <a:lnTo>
                        <a:pt x="8" y="616"/>
                      </a:lnTo>
                      <a:lnTo>
                        <a:pt x="8" y="610"/>
                      </a:lnTo>
                      <a:lnTo>
                        <a:pt x="5" y="602"/>
                      </a:lnTo>
                      <a:lnTo>
                        <a:pt x="0" y="591"/>
                      </a:lnTo>
                      <a:lnTo>
                        <a:pt x="5" y="591"/>
                      </a:lnTo>
                      <a:lnTo>
                        <a:pt x="9" y="590"/>
                      </a:lnTo>
                      <a:lnTo>
                        <a:pt x="14" y="589"/>
                      </a:lnTo>
                      <a:lnTo>
                        <a:pt x="18" y="587"/>
                      </a:lnTo>
                      <a:lnTo>
                        <a:pt x="27" y="582"/>
                      </a:lnTo>
                      <a:lnTo>
                        <a:pt x="36" y="575"/>
                      </a:lnTo>
                      <a:lnTo>
                        <a:pt x="43" y="568"/>
                      </a:lnTo>
                      <a:lnTo>
                        <a:pt x="50" y="559"/>
                      </a:lnTo>
                      <a:lnTo>
                        <a:pt x="57" y="549"/>
                      </a:lnTo>
                      <a:lnTo>
                        <a:pt x="63" y="538"/>
                      </a:lnTo>
                      <a:lnTo>
                        <a:pt x="68" y="527"/>
                      </a:lnTo>
                      <a:lnTo>
                        <a:pt x="73" y="516"/>
                      </a:lnTo>
                      <a:lnTo>
                        <a:pt x="76" y="506"/>
                      </a:lnTo>
                      <a:lnTo>
                        <a:pt x="80" y="496"/>
                      </a:lnTo>
                      <a:lnTo>
                        <a:pt x="84" y="476"/>
                      </a:lnTo>
                      <a:lnTo>
                        <a:pt x="86" y="462"/>
                      </a:lnTo>
                      <a:lnTo>
                        <a:pt x="85" y="453"/>
                      </a:lnTo>
                      <a:lnTo>
                        <a:pt x="84" y="445"/>
                      </a:lnTo>
                      <a:lnTo>
                        <a:pt x="83" y="438"/>
                      </a:lnTo>
                      <a:lnTo>
                        <a:pt x="81" y="430"/>
                      </a:lnTo>
                      <a:lnTo>
                        <a:pt x="75" y="419"/>
                      </a:lnTo>
                      <a:lnTo>
                        <a:pt x="70" y="408"/>
                      </a:lnTo>
                      <a:lnTo>
                        <a:pt x="63" y="398"/>
                      </a:lnTo>
                      <a:lnTo>
                        <a:pt x="58" y="388"/>
                      </a:lnTo>
                      <a:lnTo>
                        <a:pt x="56" y="382"/>
                      </a:lnTo>
                      <a:lnTo>
                        <a:pt x="54" y="376"/>
                      </a:lnTo>
                      <a:lnTo>
                        <a:pt x="53" y="370"/>
                      </a:lnTo>
                      <a:lnTo>
                        <a:pt x="53" y="363"/>
                      </a:lnTo>
                      <a:lnTo>
                        <a:pt x="93" y="26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34" name="Freeform 254">
                  <a:extLst>
                    <a:ext uri="{FF2B5EF4-FFF2-40B4-BE49-F238E27FC236}">
                      <a16:creationId xmlns:a16="http://schemas.microsoft.com/office/drawing/2014/main" xmlns="" id="{2CFED4E3-E2CB-4E87-BA97-770997606EB0}"/>
                    </a:ext>
                  </a:extLst>
                </p:cNvPr>
                <p:cNvSpPr>
                  <a:spLocks/>
                </p:cNvSpPr>
                <p:nvPr>
                  <p:custDataLst>
                    <p:tags r:id="rId181"/>
                  </p:custDataLst>
                </p:nvPr>
              </p:nvSpPr>
              <p:spPr bwMode="auto">
                <a:xfrm>
                  <a:off x="4743450" y="3735388"/>
                  <a:ext cx="36513" cy="66675"/>
                </a:xfrm>
                <a:custGeom>
                  <a:avLst/>
                  <a:gdLst>
                    <a:gd name="T0" fmla="*/ 2147483646 w 80"/>
                    <a:gd name="T1" fmla="*/ 2147483646 h 126"/>
                    <a:gd name="T2" fmla="*/ 2147483646 w 80"/>
                    <a:gd name="T3" fmla="*/ 2147483646 h 126"/>
                    <a:gd name="T4" fmla="*/ 2147483646 w 80"/>
                    <a:gd name="T5" fmla="*/ 2147483646 h 126"/>
                    <a:gd name="T6" fmla="*/ 2147483646 w 80"/>
                    <a:gd name="T7" fmla="*/ 2147483646 h 126"/>
                    <a:gd name="T8" fmla="*/ 2147483646 w 80"/>
                    <a:gd name="T9" fmla="*/ 2147483646 h 126"/>
                    <a:gd name="T10" fmla="*/ 2147483646 w 80"/>
                    <a:gd name="T11" fmla="*/ 2147483646 h 126"/>
                    <a:gd name="T12" fmla="*/ 2147483646 w 80"/>
                    <a:gd name="T13" fmla="*/ 2147483646 h 126"/>
                    <a:gd name="T14" fmla="*/ 2147483646 w 80"/>
                    <a:gd name="T15" fmla="*/ 2147483646 h 126"/>
                    <a:gd name="T16" fmla="*/ 2147483646 w 80"/>
                    <a:gd name="T17" fmla="*/ 2147483646 h 126"/>
                    <a:gd name="T18" fmla="*/ 2147483646 w 80"/>
                    <a:gd name="T19" fmla="*/ 2147483646 h 126"/>
                    <a:gd name="T20" fmla="*/ 2147483646 w 80"/>
                    <a:gd name="T21" fmla="*/ 2147483646 h 126"/>
                    <a:gd name="T22" fmla="*/ 0 w 80"/>
                    <a:gd name="T23" fmla="*/ 2147483646 h 126"/>
                    <a:gd name="T24" fmla="*/ 2147483646 w 80"/>
                    <a:gd name="T25" fmla="*/ 2147483646 h 126"/>
                    <a:gd name="T26" fmla="*/ 2147483646 w 80"/>
                    <a:gd name="T27" fmla="*/ 2147483646 h 126"/>
                    <a:gd name="T28" fmla="*/ 2147483646 w 80"/>
                    <a:gd name="T29" fmla="*/ 2147483646 h 126"/>
                    <a:gd name="T30" fmla="*/ 2147483646 w 80"/>
                    <a:gd name="T31" fmla="*/ 2147483646 h 126"/>
                    <a:gd name="T32" fmla="*/ 2147483646 w 80"/>
                    <a:gd name="T33" fmla="*/ 2147483646 h 126"/>
                    <a:gd name="T34" fmla="*/ 2147483646 w 80"/>
                    <a:gd name="T35" fmla="*/ 0 h 126"/>
                    <a:gd name="T36" fmla="*/ 2147483646 w 80"/>
                    <a:gd name="T37" fmla="*/ 0 h 126"/>
                    <a:gd name="T38" fmla="*/ 2147483646 w 80"/>
                    <a:gd name="T39" fmla="*/ 2147483646 h 126"/>
                    <a:gd name="T40" fmla="*/ 2147483646 w 80"/>
                    <a:gd name="T41" fmla="*/ 2147483646 h 12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80"/>
                    <a:gd name="T64" fmla="*/ 0 h 126"/>
                    <a:gd name="T65" fmla="*/ 80 w 80"/>
                    <a:gd name="T66" fmla="*/ 126 h 12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80" h="126">
                      <a:moveTo>
                        <a:pt x="80" y="2"/>
                      </a:moveTo>
                      <a:lnTo>
                        <a:pt x="80" y="101"/>
                      </a:lnTo>
                      <a:lnTo>
                        <a:pt x="78" y="104"/>
                      </a:lnTo>
                      <a:lnTo>
                        <a:pt x="75" y="107"/>
                      </a:lnTo>
                      <a:lnTo>
                        <a:pt x="70" y="109"/>
                      </a:lnTo>
                      <a:lnTo>
                        <a:pt x="67" y="111"/>
                      </a:lnTo>
                      <a:lnTo>
                        <a:pt x="58" y="114"/>
                      </a:lnTo>
                      <a:lnTo>
                        <a:pt x="48" y="116"/>
                      </a:lnTo>
                      <a:lnTo>
                        <a:pt x="36" y="117"/>
                      </a:lnTo>
                      <a:lnTo>
                        <a:pt x="25" y="119"/>
                      </a:lnTo>
                      <a:lnTo>
                        <a:pt x="13" y="123"/>
                      </a:lnTo>
                      <a:lnTo>
                        <a:pt x="0" y="126"/>
                      </a:lnTo>
                      <a:lnTo>
                        <a:pt x="7" y="40"/>
                      </a:lnTo>
                      <a:lnTo>
                        <a:pt x="23" y="27"/>
                      </a:lnTo>
                      <a:lnTo>
                        <a:pt x="41" y="12"/>
                      </a:lnTo>
                      <a:lnTo>
                        <a:pt x="51" y="5"/>
                      </a:lnTo>
                      <a:lnTo>
                        <a:pt x="60" y="1"/>
                      </a:lnTo>
                      <a:lnTo>
                        <a:pt x="65" y="0"/>
                      </a:lnTo>
                      <a:lnTo>
                        <a:pt x="70" y="0"/>
                      </a:lnTo>
                      <a:lnTo>
                        <a:pt x="75" y="1"/>
                      </a:lnTo>
                      <a:lnTo>
                        <a:pt x="80" y="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35" name="Freeform 255">
                  <a:extLst>
                    <a:ext uri="{FF2B5EF4-FFF2-40B4-BE49-F238E27FC236}">
                      <a16:creationId xmlns:a16="http://schemas.microsoft.com/office/drawing/2014/main" xmlns="" id="{95C519AC-8D5F-477E-AAC3-92CA7909AE25}"/>
                    </a:ext>
                  </a:extLst>
                </p:cNvPr>
                <p:cNvSpPr>
                  <a:spLocks/>
                </p:cNvSpPr>
                <p:nvPr>
                  <p:custDataLst>
                    <p:tags r:id="rId182"/>
                  </p:custDataLst>
                </p:nvPr>
              </p:nvSpPr>
              <p:spPr bwMode="auto">
                <a:xfrm>
                  <a:off x="4732338" y="3695700"/>
                  <a:ext cx="55562" cy="60325"/>
                </a:xfrm>
                <a:custGeom>
                  <a:avLst/>
                  <a:gdLst>
                    <a:gd name="T0" fmla="*/ 2147483646 w 124"/>
                    <a:gd name="T1" fmla="*/ 0 h 117"/>
                    <a:gd name="T2" fmla="*/ 2147483646 w 124"/>
                    <a:gd name="T3" fmla="*/ 2147483646 h 117"/>
                    <a:gd name="T4" fmla="*/ 2147483646 w 124"/>
                    <a:gd name="T5" fmla="*/ 2147483646 h 117"/>
                    <a:gd name="T6" fmla="*/ 2147483646 w 124"/>
                    <a:gd name="T7" fmla="*/ 2147483646 h 117"/>
                    <a:gd name="T8" fmla="*/ 2147483646 w 124"/>
                    <a:gd name="T9" fmla="*/ 2147483646 h 117"/>
                    <a:gd name="T10" fmla="*/ 2147483646 w 124"/>
                    <a:gd name="T11" fmla="*/ 2147483646 h 117"/>
                    <a:gd name="T12" fmla="*/ 2147483646 w 124"/>
                    <a:gd name="T13" fmla="*/ 2147483646 h 117"/>
                    <a:gd name="T14" fmla="*/ 2147483646 w 124"/>
                    <a:gd name="T15" fmla="*/ 2147483646 h 117"/>
                    <a:gd name="T16" fmla="*/ 2147483646 w 124"/>
                    <a:gd name="T17" fmla="*/ 2147483646 h 117"/>
                    <a:gd name="T18" fmla="*/ 2147483646 w 124"/>
                    <a:gd name="T19" fmla="*/ 2147483646 h 117"/>
                    <a:gd name="T20" fmla="*/ 2147483646 w 124"/>
                    <a:gd name="T21" fmla="*/ 2147483646 h 117"/>
                    <a:gd name="T22" fmla="*/ 2147483646 w 124"/>
                    <a:gd name="T23" fmla="*/ 2147483646 h 117"/>
                    <a:gd name="T24" fmla="*/ 2147483646 w 124"/>
                    <a:gd name="T25" fmla="*/ 2147483646 h 117"/>
                    <a:gd name="T26" fmla="*/ 2147483646 w 124"/>
                    <a:gd name="T27" fmla="*/ 2147483646 h 117"/>
                    <a:gd name="T28" fmla="*/ 2147483646 w 124"/>
                    <a:gd name="T29" fmla="*/ 2147483646 h 117"/>
                    <a:gd name="T30" fmla="*/ 2147483646 w 124"/>
                    <a:gd name="T31" fmla="*/ 2147483646 h 117"/>
                    <a:gd name="T32" fmla="*/ 2147483646 w 124"/>
                    <a:gd name="T33" fmla="*/ 2147483646 h 117"/>
                    <a:gd name="T34" fmla="*/ 2147483646 w 124"/>
                    <a:gd name="T35" fmla="*/ 2147483646 h 117"/>
                    <a:gd name="T36" fmla="*/ 2147483646 w 124"/>
                    <a:gd name="T37" fmla="*/ 2147483646 h 117"/>
                    <a:gd name="T38" fmla="*/ 2147483646 w 124"/>
                    <a:gd name="T39" fmla="*/ 2147483646 h 117"/>
                    <a:gd name="T40" fmla="*/ 0 w 124"/>
                    <a:gd name="T41" fmla="*/ 2147483646 h 117"/>
                    <a:gd name="T42" fmla="*/ 2147483646 w 124"/>
                    <a:gd name="T43" fmla="*/ 2147483646 h 117"/>
                    <a:gd name="T44" fmla="*/ 2147483646 w 124"/>
                    <a:gd name="T45" fmla="*/ 2147483646 h 117"/>
                    <a:gd name="T46" fmla="*/ 2147483646 w 124"/>
                    <a:gd name="T47" fmla="*/ 2147483646 h 117"/>
                    <a:gd name="T48" fmla="*/ 2147483646 w 124"/>
                    <a:gd name="T49" fmla="*/ 2147483646 h 117"/>
                    <a:gd name="T50" fmla="*/ 2147483646 w 124"/>
                    <a:gd name="T51" fmla="*/ 2147483646 h 117"/>
                    <a:gd name="T52" fmla="*/ 2147483646 w 124"/>
                    <a:gd name="T53" fmla="*/ 2147483646 h 117"/>
                    <a:gd name="T54" fmla="*/ 2147483646 w 124"/>
                    <a:gd name="T55" fmla="*/ 2147483646 h 117"/>
                    <a:gd name="T56" fmla="*/ 2147483646 w 124"/>
                    <a:gd name="T57" fmla="*/ 2147483646 h 117"/>
                    <a:gd name="T58" fmla="*/ 2147483646 w 124"/>
                    <a:gd name="T59" fmla="*/ 2147483646 h 117"/>
                    <a:gd name="T60" fmla="*/ 2147483646 w 124"/>
                    <a:gd name="T61" fmla="*/ 2147483646 h 117"/>
                    <a:gd name="T62" fmla="*/ 2147483646 w 124"/>
                    <a:gd name="T63" fmla="*/ 2147483646 h 117"/>
                    <a:gd name="T64" fmla="*/ 2147483646 w 124"/>
                    <a:gd name="T65" fmla="*/ 0 h 11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24"/>
                    <a:gd name="T100" fmla="*/ 0 h 117"/>
                    <a:gd name="T101" fmla="*/ 124 w 124"/>
                    <a:gd name="T102" fmla="*/ 117 h 11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24" h="117">
                      <a:moveTo>
                        <a:pt x="113" y="0"/>
                      </a:moveTo>
                      <a:lnTo>
                        <a:pt x="116" y="15"/>
                      </a:lnTo>
                      <a:lnTo>
                        <a:pt x="122" y="35"/>
                      </a:lnTo>
                      <a:lnTo>
                        <a:pt x="124" y="45"/>
                      </a:lnTo>
                      <a:lnTo>
                        <a:pt x="124" y="54"/>
                      </a:lnTo>
                      <a:lnTo>
                        <a:pt x="124" y="59"/>
                      </a:lnTo>
                      <a:lnTo>
                        <a:pt x="123" y="64"/>
                      </a:lnTo>
                      <a:lnTo>
                        <a:pt x="122" y="69"/>
                      </a:lnTo>
                      <a:lnTo>
                        <a:pt x="119" y="73"/>
                      </a:lnTo>
                      <a:lnTo>
                        <a:pt x="114" y="72"/>
                      </a:lnTo>
                      <a:lnTo>
                        <a:pt x="108" y="71"/>
                      </a:lnTo>
                      <a:lnTo>
                        <a:pt x="103" y="72"/>
                      </a:lnTo>
                      <a:lnTo>
                        <a:pt x="96" y="73"/>
                      </a:lnTo>
                      <a:lnTo>
                        <a:pt x="83" y="78"/>
                      </a:lnTo>
                      <a:lnTo>
                        <a:pt x="71" y="85"/>
                      </a:lnTo>
                      <a:lnTo>
                        <a:pt x="46" y="103"/>
                      </a:lnTo>
                      <a:lnTo>
                        <a:pt x="26" y="117"/>
                      </a:lnTo>
                      <a:lnTo>
                        <a:pt x="23" y="112"/>
                      </a:lnTo>
                      <a:lnTo>
                        <a:pt x="13" y="101"/>
                      </a:lnTo>
                      <a:lnTo>
                        <a:pt x="4" y="89"/>
                      </a:lnTo>
                      <a:lnTo>
                        <a:pt x="0" y="79"/>
                      </a:lnTo>
                      <a:lnTo>
                        <a:pt x="1" y="76"/>
                      </a:lnTo>
                      <a:lnTo>
                        <a:pt x="2" y="72"/>
                      </a:lnTo>
                      <a:lnTo>
                        <a:pt x="5" y="67"/>
                      </a:lnTo>
                      <a:lnTo>
                        <a:pt x="9" y="62"/>
                      </a:lnTo>
                      <a:lnTo>
                        <a:pt x="17" y="52"/>
                      </a:lnTo>
                      <a:lnTo>
                        <a:pt x="27" y="42"/>
                      </a:lnTo>
                      <a:lnTo>
                        <a:pt x="48" y="22"/>
                      </a:lnTo>
                      <a:lnTo>
                        <a:pt x="60" y="12"/>
                      </a:lnTo>
                      <a:lnTo>
                        <a:pt x="73" y="12"/>
                      </a:lnTo>
                      <a:lnTo>
                        <a:pt x="86" y="12"/>
                      </a:lnTo>
                      <a:lnTo>
                        <a:pt x="100" y="6"/>
                      </a:lnTo>
                      <a:lnTo>
                        <a:pt x="11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36" name="Freeform 256">
                  <a:extLst>
                    <a:ext uri="{FF2B5EF4-FFF2-40B4-BE49-F238E27FC236}">
                      <a16:creationId xmlns:a16="http://schemas.microsoft.com/office/drawing/2014/main" xmlns="" id="{26494E66-3976-41C2-AED6-DDF590814654}"/>
                    </a:ext>
                  </a:extLst>
                </p:cNvPr>
                <p:cNvSpPr>
                  <a:spLocks/>
                </p:cNvSpPr>
                <p:nvPr>
                  <p:custDataLst>
                    <p:tags r:id="rId183"/>
                  </p:custDataLst>
                </p:nvPr>
              </p:nvSpPr>
              <p:spPr bwMode="auto">
                <a:xfrm>
                  <a:off x="5041900" y="2395538"/>
                  <a:ext cx="503238" cy="473075"/>
                </a:xfrm>
                <a:custGeom>
                  <a:avLst/>
                  <a:gdLst>
                    <a:gd name="T0" fmla="*/ 2147483646 w 1156"/>
                    <a:gd name="T1" fmla="*/ 2147483646 h 900"/>
                    <a:gd name="T2" fmla="*/ 2147483646 w 1156"/>
                    <a:gd name="T3" fmla="*/ 2147483646 h 900"/>
                    <a:gd name="T4" fmla="*/ 2147483646 w 1156"/>
                    <a:gd name="T5" fmla="*/ 2147483646 h 900"/>
                    <a:gd name="T6" fmla="*/ 2147483646 w 1156"/>
                    <a:gd name="T7" fmla="*/ 2147483646 h 900"/>
                    <a:gd name="T8" fmla="*/ 2147483646 w 1156"/>
                    <a:gd name="T9" fmla="*/ 2147483646 h 900"/>
                    <a:gd name="T10" fmla="*/ 2147483646 w 1156"/>
                    <a:gd name="T11" fmla="*/ 2147483646 h 900"/>
                    <a:gd name="T12" fmla="*/ 2147483646 w 1156"/>
                    <a:gd name="T13" fmla="*/ 2147483646 h 900"/>
                    <a:gd name="T14" fmla="*/ 2147483646 w 1156"/>
                    <a:gd name="T15" fmla="*/ 2147483646 h 900"/>
                    <a:gd name="T16" fmla="*/ 2147483646 w 1156"/>
                    <a:gd name="T17" fmla="*/ 2147483646 h 900"/>
                    <a:gd name="T18" fmla="*/ 2147483646 w 1156"/>
                    <a:gd name="T19" fmla="*/ 2147483646 h 900"/>
                    <a:gd name="T20" fmla="*/ 2147483646 w 1156"/>
                    <a:gd name="T21" fmla="*/ 2147483646 h 900"/>
                    <a:gd name="T22" fmla="*/ 2147483646 w 1156"/>
                    <a:gd name="T23" fmla="*/ 2147483646 h 900"/>
                    <a:gd name="T24" fmla="*/ 2147483646 w 1156"/>
                    <a:gd name="T25" fmla="*/ 2147483646 h 900"/>
                    <a:gd name="T26" fmla="*/ 2147483646 w 1156"/>
                    <a:gd name="T27" fmla="*/ 2147483646 h 900"/>
                    <a:gd name="T28" fmla="*/ 2147483646 w 1156"/>
                    <a:gd name="T29" fmla="*/ 2147483646 h 900"/>
                    <a:gd name="T30" fmla="*/ 2147483646 w 1156"/>
                    <a:gd name="T31" fmla="*/ 2147483646 h 900"/>
                    <a:gd name="T32" fmla="*/ 2147483646 w 1156"/>
                    <a:gd name="T33" fmla="*/ 2147483646 h 900"/>
                    <a:gd name="T34" fmla="*/ 2147483646 w 1156"/>
                    <a:gd name="T35" fmla="*/ 2147483646 h 900"/>
                    <a:gd name="T36" fmla="*/ 2147483646 w 1156"/>
                    <a:gd name="T37" fmla="*/ 2147483646 h 900"/>
                    <a:gd name="T38" fmla="*/ 2147483646 w 1156"/>
                    <a:gd name="T39" fmla="*/ 2147483646 h 900"/>
                    <a:gd name="T40" fmla="*/ 2147483646 w 1156"/>
                    <a:gd name="T41" fmla="*/ 2147483646 h 900"/>
                    <a:gd name="T42" fmla="*/ 2147483646 w 1156"/>
                    <a:gd name="T43" fmla="*/ 2147483646 h 900"/>
                    <a:gd name="T44" fmla="*/ 2147483646 w 1156"/>
                    <a:gd name="T45" fmla="*/ 2147483646 h 900"/>
                    <a:gd name="T46" fmla="*/ 2147483646 w 1156"/>
                    <a:gd name="T47" fmla="*/ 2147483646 h 900"/>
                    <a:gd name="T48" fmla="*/ 2147483646 w 1156"/>
                    <a:gd name="T49" fmla="*/ 2147483646 h 900"/>
                    <a:gd name="T50" fmla="*/ 2147483646 w 1156"/>
                    <a:gd name="T51" fmla="*/ 2147483646 h 900"/>
                    <a:gd name="T52" fmla="*/ 2147483646 w 1156"/>
                    <a:gd name="T53" fmla="*/ 2147483646 h 900"/>
                    <a:gd name="T54" fmla="*/ 2147483646 w 1156"/>
                    <a:gd name="T55" fmla="*/ 2147483646 h 900"/>
                    <a:gd name="T56" fmla="*/ 2147483646 w 1156"/>
                    <a:gd name="T57" fmla="*/ 2147483646 h 900"/>
                    <a:gd name="T58" fmla="*/ 2147483646 w 1156"/>
                    <a:gd name="T59" fmla="*/ 2147483646 h 900"/>
                    <a:gd name="T60" fmla="*/ 2147483646 w 1156"/>
                    <a:gd name="T61" fmla="*/ 2147483646 h 900"/>
                    <a:gd name="T62" fmla="*/ 2147483646 w 1156"/>
                    <a:gd name="T63" fmla="*/ 2147483646 h 900"/>
                    <a:gd name="T64" fmla="*/ 2147483646 w 1156"/>
                    <a:gd name="T65" fmla="*/ 2147483646 h 900"/>
                    <a:gd name="T66" fmla="*/ 2147483646 w 1156"/>
                    <a:gd name="T67" fmla="*/ 2147483646 h 900"/>
                    <a:gd name="T68" fmla="*/ 2147483646 w 1156"/>
                    <a:gd name="T69" fmla="*/ 2147483646 h 900"/>
                    <a:gd name="T70" fmla="*/ 2147483646 w 1156"/>
                    <a:gd name="T71" fmla="*/ 2147483646 h 900"/>
                    <a:gd name="T72" fmla="*/ 2147483646 w 1156"/>
                    <a:gd name="T73" fmla="*/ 2147483646 h 900"/>
                    <a:gd name="T74" fmla="*/ 2147483646 w 1156"/>
                    <a:gd name="T75" fmla="*/ 2147483646 h 900"/>
                    <a:gd name="T76" fmla="*/ 2147483646 w 1156"/>
                    <a:gd name="T77" fmla="*/ 2147483646 h 900"/>
                    <a:gd name="T78" fmla="*/ 2147483646 w 1156"/>
                    <a:gd name="T79" fmla="*/ 2147483646 h 900"/>
                    <a:gd name="T80" fmla="*/ 2147483646 w 1156"/>
                    <a:gd name="T81" fmla="*/ 2147483646 h 900"/>
                    <a:gd name="T82" fmla="*/ 2147483646 w 1156"/>
                    <a:gd name="T83" fmla="*/ 2147483646 h 900"/>
                    <a:gd name="T84" fmla="*/ 2147483646 w 1156"/>
                    <a:gd name="T85" fmla="*/ 2147483646 h 900"/>
                    <a:gd name="T86" fmla="*/ 2147483646 w 1156"/>
                    <a:gd name="T87" fmla="*/ 2147483646 h 900"/>
                    <a:gd name="T88" fmla="*/ 2147483646 w 1156"/>
                    <a:gd name="T89" fmla="*/ 2147483646 h 900"/>
                    <a:gd name="T90" fmla="*/ 2147483646 w 1156"/>
                    <a:gd name="T91" fmla="*/ 2147483646 h 900"/>
                    <a:gd name="T92" fmla="*/ 2147483646 w 1156"/>
                    <a:gd name="T93" fmla="*/ 2147483646 h 900"/>
                    <a:gd name="T94" fmla="*/ 2147483646 w 1156"/>
                    <a:gd name="T95" fmla="*/ 2147483646 h 900"/>
                    <a:gd name="T96" fmla="*/ 2147483646 w 1156"/>
                    <a:gd name="T97" fmla="*/ 2147483646 h 900"/>
                    <a:gd name="T98" fmla="*/ 2147483646 w 1156"/>
                    <a:gd name="T99" fmla="*/ 2147483646 h 900"/>
                    <a:gd name="T100" fmla="*/ 2147483646 w 1156"/>
                    <a:gd name="T101" fmla="*/ 2147483646 h 900"/>
                    <a:gd name="T102" fmla="*/ 2147483646 w 1156"/>
                    <a:gd name="T103" fmla="*/ 2147483646 h 900"/>
                    <a:gd name="T104" fmla="*/ 2147483646 w 1156"/>
                    <a:gd name="T105" fmla="*/ 2147483646 h 900"/>
                    <a:gd name="T106" fmla="*/ 2147483646 w 1156"/>
                    <a:gd name="T107" fmla="*/ 2147483646 h 900"/>
                    <a:gd name="T108" fmla="*/ 2147483646 w 1156"/>
                    <a:gd name="T109" fmla="*/ 2147483646 h 90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156"/>
                    <a:gd name="T166" fmla="*/ 0 h 900"/>
                    <a:gd name="T167" fmla="*/ 1156 w 1156"/>
                    <a:gd name="T168" fmla="*/ 900 h 90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156" h="900">
                      <a:moveTo>
                        <a:pt x="963" y="271"/>
                      </a:moveTo>
                      <a:lnTo>
                        <a:pt x="954" y="252"/>
                      </a:lnTo>
                      <a:lnTo>
                        <a:pt x="948" y="234"/>
                      </a:lnTo>
                      <a:lnTo>
                        <a:pt x="941" y="213"/>
                      </a:lnTo>
                      <a:lnTo>
                        <a:pt x="937" y="191"/>
                      </a:lnTo>
                      <a:lnTo>
                        <a:pt x="928" y="191"/>
                      </a:lnTo>
                      <a:lnTo>
                        <a:pt x="920" y="190"/>
                      </a:lnTo>
                      <a:lnTo>
                        <a:pt x="913" y="189"/>
                      </a:lnTo>
                      <a:lnTo>
                        <a:pt x="906" y="187"/>
                      </a:lnTo>
                      <a:lnTo>
                        <a:pt x="893" y="183"/>
                      </a:lnTo>
                      <a:lnTo>
                        <a:pt x="881" y="177"/>
                      </a:lnTo>
                      <a:lnTo>
                        <a:pt x="859" y="162"/>
                      </a:lnTo>
                      <a:lnTo>
                        <a:pt x="839" y="145"/>
                      </a:lnTo>
                      <a:lnTo>
                        <a:pt x="828" y="137"/>
                      </a:lnTo>
                      <a:lnTo>
                        <a:pt x="816" y="129"/>
                      </a:lnTo>
                      <a:lnTo>
                        <a:pt x="803" y="122"/>
                      </a:lnTo>
                      <a:lnTo>
                        <a:pt x="789" y="116"/>
                      </a:lnTo>
                      <a:lnTo>
                        <a:pt x="773" y="111"/>
                      </a:lnTo>
                      <a:lnTo>
                        <a:pt x="755" y="106"/>
                      </a:lnTo>
                      <a:lnTo>
                        <a:pt x="745" y="105"/>
                      </a:lnTo>
                      <a:lnTo>
                        <a:pt x="734" y="104"/>
                      </a:lnTo>
                      <a:lnTo>
                        <a:pt x="723" y="104"/>
                      </a:lnTo>
                      <a:lnTo>
                        <a:pt x="711" y="104"/>
                      </a:lnTo>
                      <a:lnTo>
                        <a:pt x="617" y="104"/>
                      </a:lnTo>
                      <a:lnTo>
                        <a:pt x="609" y="113"/>
                      </a:lnTo>
                      <a:lnTo>
                        <a:pt x="587" y="129"/>
                      </a:lnTo>
                      <a:lnTo>
                        <a:pt x="576" y="138"/>
                      </a:lnTo>
                      <a:lnTo>
                        <a:pt x="565" y="146"/>
                      </a:lnTo>
                      <a:lnTo>
                        <a:pt x="556" y="152"/>
                      </a:lnTo>
                      <a:lnTo>
                        <a:pt x="551" y="154"/>
                      </a:lnTo>
                      <a:lnTo>
                        <a:pt x="542" y="155"/>
                      </a:lnTo>
                      <a:lnTo>
                        <a:pt x="532" y="157"/>
                      </a:lnTo>
                      <a:lnTo>
                        <a:pt x="522" y="159"/>
                      </a:lnTo>
                      <a:lnTo>
                        <a:pt x="512" y="160"/>
                      </a:lnTo>
                      <a:lnTo>
                        <a:pt x="518" y="173"/>
                      </a:lnTo>
                      <a:lnTo>
                        <a:pt x="504" y="179"/>
                      </a:lnTo>
                      <a:lnTo>
                        <a:pt x="490" y="184"/>
                      </a:lnTo>
                      <a:lnTo>
                        <a:pt x="478" y="188"/>
                      </a:lnTo>
                      <a:lnTo>
                        <a:pt x="465" y="192"/>
                      </a:lnTo>
                      <a:lnTo>
                        <a:pt x="453" y="194"/>
                      </a:lnTo>
                      <a:lnTo>
                        <a:pt x="439" y="196"/>
                      </a:lnTo>
                      <a:lnTo>
                        <a:pt x="426" y="197"/>
                      </a:lnTo>
                      <a:lnTo>
                        <a:pt x="412" y="197"/>
                      </a:lnTo>
                      <a:lnTo>
                        <a:pt x="405" y="198"/>
                      </a:lnTo>
                      <a:lnTo>
                        <a:pt x="398" y="199"/>
                      </a:lnTo>
                      <a:lnTo>
                        <a:pt x="393" y="200"/>
                      </a:lnTo>
                      <a:lnTo>
                        <a:pt x="389" y="200"/>
                      </a:lnTo>
                      <a:lnTo>
                        <a:pt x="383" y="199"/>
                      </a:lnTo>
                      <a:lnTo>
                        <a:pt x="379" y="197"/>
                      </a:lnTo>
                      <a:lnTo>
                        <a:pt x="371" y="194"/>
                      </a:lnTo>
                      <a:lnTo>
                        <a:pt x="367" y="190"/>
                      </a:lnTo>
                      <a:lnTo>
                        <a:pt x="363" y="184"/>
                      </a:lnTo>
                      <a:lnTo>
                        <a:pt x="358" y="179"/>
                      </a:lnTo>
                      <a:lnTo>
                        <a:pt x="355" y="173"/>
                      </a:lnTo>
                      <a:lnTo>
                        <a:pt x="351" y="168"/>
                      </a:lnTo>
                      <a:lnTo>
                        <a:pt x="345" y="163"/>
                      </a:lnTo>
                      <a:lnTo>
                        <a:pt x="338" y="160"/>
                      </a:lnTo>
                      <a:lnTo>
                        <a:pt x="316" y="153"/>
                      </a:lnTo>
                      <a:lnTo>
                        <a:pt x="280" y="142"/>
                      </a:lnTo>
                      <a:lnTo>
                        <a:pt x="260" y="136"/>
                      </a:lnTo>
                      <a:lnTo>
                        <a:pt x="244" y="128"/>
                      </a:lnTo>
                      <a:lnTo>
                        <a:pt x="237" y="124"/>
                      </a:lnTo>
                      <a:lnTo>
                        <a:pt x="232" y="120"/>
                      </a:lnTo>
                      <a:lnTo>
                        <a:pt x="228" y="116"/>
                      </a:lnTo>
                      <a:lnTo>
                        <a:pt x="225" y="111"/>
                      </a:lnTo>
                      <a:lnTo>
                        <a:pt x="228" y="86"/>
                      </a:lnTo>
                      <a:lnTo>
                        <a:pt x="228" y="65"/>
                      </a:lnTo>
                      <a:lnTo>
                        <a:pt x="228" y="56"/>
                      </a:lnTo>
                      <a:lnTo>
                        <a:pt x="226" y="46"/>
                      </a:lnTo>
                      <a:lnTo>
                        <a:pt x="224" y="37"/>
                      </a:lnTo>
                      <a:lnTo>
                        <a:pt x="222" y="30"/>
                      </a:lnTo>
                      <a:lnTo>
                        <a:pt x="220" y="23"/>
                      </a:lnTo>
                      <a:lnTo>
                        <a:pt x="217" y="17"/>
                      </a:lnTo>
                      <a:lnTo>
                        <a:pt x="212" y="12"/>
                      </a:lnTo>
                      <a:lnTo>
                        <a:pt x="207" y="8"/>
                      </a:lnTo>
                      <a:lnTo>
                        <a:pt x="201" y="5"/>
                      </a:lnTo>
                      <a:lnTo>
                        <a:pt x="195" y="2"/>
                      </a:lnTo>
                      <a:lnTo>
                        <a:pt x="188" y="1"/>
                      </a:lnTo>
                      <a:lnTo>
                        <a:pt x="179" y="0"/>
                      </a:lnTo>
                      <a:lnTo>
                        <a:pt x="174" y="1"/>
                      </a:lnTo>
                      <a:lnTo>
                        <a:pt x="168" y="3"/>
                      </a:lnTo>
                      <a:lnTo>
                        <a:pt x="164" y="7"/>
                      </a:lnTo>
                      <a:lnTo>
                        <a:pt x="161" y="11"/>
                      </a:lnTo>
                      <a:lnTo>
                        <a:pt x="155" y="21"/>
                      </a:lnTo>
                      <a:lnTo>
                        <a:pt x="151" y="34"/>
                      </a:lnTo>
                      <a:lnTo>
                        <a:pt x="147" y="46"/>
                      </a:lnTo>
                      <a:lnTo>
                        <a:pt x="144" y="57"/>
                      </a:lnTo>
                      <a:lnTo>
                        <a:pt x="142" y="62"/>
                      </a:lnTo>
                      <a:lnTo>
                        <a:pt x="139" y="65"/>
                      </a:lnTo>
                      <a:lnTo>
                        <a:pt x="136" y="67"/>
                      </a:lnTo>
                      <a:lnTo>
                        <a:pt x="133" y="68"/>
                      </a:lnTo>
                      <a:lnTo>
                        <a:pt x="125" y="68"/>
                      </a:lnTo>
                      <a:lnTo>
                        <a:pt x="118" y="66"/>
                      </a:lnTo>
                      <a:lnTo>
                        <a:pt x="109" y="64"/>
                      </a:lnTo>
                      <a:lnTo>
                        <a:pt x="100" y="62"/>
                      </a:lnTo>
                      <a:lnTo>
                        <a:pt x="79" y="54"/>
                      </a:lnTo>
                      <a:lnTo>
                        <a:pt x="58" y="46"/>
                      </a:lnTo>
                      <a:lnTo>
                        <a:pt x="39" y="38"/>
                      </a:lnTo>
                      <a:lnTo>
                        <a:pt x="21" y="29"/>
                      </a:lnTo>
                      <a:lnTo>
                        <a:pt x="15" y="24"/>
                      </a:lnTo>
                      <a:lnTo>
                        <a:pt x="8" y="20"/>
                      </a:lnTo>
                      <a:lnTo>
                        <a:pt x="4" y="16"/>
                      </a:lnTo>
                      <a:lnTo>
                        <a:pt x="0" y="12"/>
                      </a:lnTo>
                      <a:lnTo>
                        <a:pt x="0" y="25"/>
                      </a:lnTo>
                      <a:lnTo>
                        <a:pt x="0" y="37"/>
                      </a:lnTo>
                      <a:lnTo>
                        <a:pt x="0" y="49"/>
                      </a:lnTo>
                      <a:lnTo>
                        <a:pt x="1" y="62"/>
                      </a:lnTo>
                      <a:lnTo>
                        <a:pt x="5" y="72"/>
                      </a:lnTo>
                      <a:lnTo>
                        <a:pt x="7" y="81"/>
                      </a:lnTo>
                      <a:lnTo>
                        <a:pt x="15" y="96"/>
                      </a:lnTo>
                      <a:lnTo>
                        <a:pt x="24" y="111"/>
                      </a:lnTo>
                      <a:lnTo>
                        <a:pt x="33" y="124"/>
                      </a:lnTo>
                      <a:lnTo>
                        <a:pt x="42" y="138"/>
                      </a:lnTo>
                      <a:lnTo>
                        <a:pt x="45" y="146"/>
                      </a:lnTo>
                      <a:lnTo>
                        <a:pt x="49" y="156"/>
                      </a:lnTo>
                      <a:lnTo>
                        <a:pt x="52" y="167"/>
                      </a:lnTo>
                      <a:lnTo>
                        <a:pt x="53" y="179"/>
                      </a:lnTo>
                      <a:lnTo>
                        <a:pt x="60" y="179"/>
                      </a:lnTo>
                      <a:lnTo>
                        <a:pt x="64" y="190"/>
                      </a:lnTo>
                      <a:lnTo>
                        <a:pt x="73" y="205"/>
                      </a:lnTo>
                      <a:lnTo>
                        <a:pt x="83" y="223"/>
                      </a:lnTo>
                      <a:lnTo>
                        <a:pt x="96" y="241"/>
                      </a:lnTo>
                      <a:lnTo>
                        <a:pt x="109" y="258"/>
                      </a:lnTo>
                      <a:lnTo>
                        <a:pt x="122" y="273"/>
                      </a:lnTo>
                      <a:lnTo>
                        <a:pt x="129" y="280"/>
                      </a:lnTo>
                      <a:lnTo>
                        <a:pt x="135" y="284"/>
                      </a:lnTo>
                      <a:lnTo>
                        <a:pt x="141" y="288"/>
                      </a:lnTo>
                      <a:lnTo>
                        <a:pt x="146" y="290"/>
                      </a:lnTo>
                      <a:lnTo>
                        <a:pt x="139" y="296"/>
                      </a:lnTo>
                      <a:lnTo>
                        <a:pt x="130" y="304"/>
                      </a:lnTo>
                      <a:lnTo>
                        <a:pt x="127" y="310"/>
                      </a:lnTo>
                      <a:lnTo>
                        <a:pt x="122" y="316"/>
                      </a:lnTo>
                      <a:lnTo>
                        <a:pt x="120" y="324"/>
                      </a:lnTo>
                      <a:lnTo>
                        <a:pt x="120" y="332"/>
                      </a:lnTo>
                      <a:lnTo>
                        <a:pt x="120" y="341"/>
                      </a:lnTo>
                      <a:lnTo>
                        <a:pt x="123" y="350"/>
                      </a:lnTo>
                      <a:lnTo>
                        <a:pt x="128" y="360"/>
                      </a:lnTo>
                      <a:lnTo>
                        <a:pt x="133" y="370"/>
                      </a:lnTo>
                      <a:lnTo>
                        <a:pt x="140" y="380"/>
                      </a:lnTo>
                      <a:lnTo>
                        <a:pt x="147" y="391"/>
                      </a:lnTo>
                      <a:lnTo>
                        <a:pt x="157" y="401"/>
                      </a:lnTo>
                      <a:lnTo>
                        <a:pt x="167" y="410"/>
                      </a:lnTo>
                      <a:lnTo>
                        <a:pt x="177" y="420"/>
                      </a:lnTo>
                      <a:lnTo>
                        <a:pt x="188" y="428"/>
                      </a:lnTo>
                      <a:lnTo>
                        <a:pt x="200" y="436"/>
                      </a:lnTo>
                      <a:lnTo>
                        <a:pt x="212" y="442"/>
                      </a:lnTo>
                      <a:lnTo>
                        <a:pt x="224" y="449"/>
                      </a:lnTo>
                      <a:lnTo>
                        <a:pt x="236" y="453"/>
                      </a:lnTo>
                      <a:lnTo>
                        <a:pt x="247" y="455"/>
                      </a:lnTo>
                      <a:lnTo>
                        <a:pt x="259" y="456"/>
                      </a:lnTo>
                      <a:lnTo>
                        <a:pt x="260" y="469"/>
                      </a:lnTo>
                      <a:lnTo>
                        <a:pt x="264" y="483"/>
                      </a:lnTo>
                      <a:lnTo>
                        <a:pt x="265" y="490"/>
                      </a:lnTo>
                      <a:lnTo>
                        <a:pt x="265" y="500"/>
                      </a:lnTo>
                      <a:lnTo>
                        <a:pt x="263" y="511"/>
                      </a:lnTo>
                      <a:lnTo>
                        <a:pt x="259" y="524"/>
                      </a:lnTo>
                      <a:lnTo>
                        <a:pt x="305" y="573"/>
                      </a:lnTo>
                      <a:lnTo>
                        <a:pt x="312" y="574"/>
                      </a:lnTo>
                      <a:lnTo>
                        <a:pt x="319" y="576"/>
                      </a:lnTo>
                      <a:lnTo>
                        <a:pt x="324" y="578"/>
                      </a:lnTo>
                      <a:lnTo>
                        <a:pt x="330" y="580"/>
                      </a:lnTo>
                      <a:lnTo>
                        <a:pt x="335" y="581"/>
                      </a:lnTo>
                      <a:lnTo>
                        <a:pt x="342" y="581"/>
                      </a:lnTo>
                      <a:lnTo>
                        <a:pt x="349" y="578"/>
                      </a:lnTo>
                      <a:lnTo>
                        <a:pt x="358" y="573"/>
                      </a:lnTo>
                      <a:lnTo>
                        <a:pt x="372" y="593"/>
                      </a:lnTo>
                      <a:lnTo>
                        <a:pt x="404" y="639"/>
                      </a:lnTo>
                      <a:lnTo>
                        <a:pt x="423" y="664"/>
                      </a:lnTo>
                      <a:lnTo>
                        <a:pt x="439" y="687"/>
                      </a:lnTo>
                      <a:lnTo>
                        <a:pt x="447" y="697"/>
                      </a:lnTo>
                      <a:lnTo>
                        <a:pt x="455" y="705"/>
                      </a:lnTo>
                      <a:lnTo>
                        <a:pt x="460" y="711"/>
                      </a:lnTo>
                      <a:lnTo>
                        <a:pt x="465" y="714"/>
                      </a:lnTo>
                      <a:lnTo>
                        <a:pt x="471" y="720"/>
                      </a:lnTo>
                      <a:lnTo>
                        <a:pt x="479" y="727"/>
                      </a:lnTo>
                      <a:lnTo>
                        <a:pt x="483" y="729"/>
                      </a:lnTo>
                      <a:lnTo>
                        <a:pt x="488" y="731"/>
                      </a:lnTo>
                      <a:lnTo>
                        <a:pt x="493" y="733"/>
                      </a:lnTo>
                      <a:lnTo>
                        <a:pt x="498" y="733"/>
                      </a:lnTo>
                      <a:lnTo>
                        <a:pt x="504" y="733"/>
                      </a:lnTo>
                      <a:lnTo>
                        <a:pt x="512" y="733"/>
                      </a:lnTo>
                      <a:lnTo>
                        <a:pt x="522" y="733"/>
                      </a:lnTo>
                      <a:lnTo>
                        <a:pt x="532" y="733"/>
                      </a:lnTo>
                      <a:lnTo>
                        <a:pt x="533" y="741"/>
                      </a:lnTo>
                      <a:lnTo>
                        <a:pt x="537" y="748"/>
                      </a:lnTo>
                      <a:lnTo>
                        <a:pt x="542" y="755"/>
                      </a:lnTo>
                      <a:lnTo>
                        <a:pt x="547" y="761"/>
                      </a:lnTo>
                      <a:lnTo>
                        <a:pt x="554" y="766"/>
                      </a:lnTo>
                      <a:lnTo>
                        <a:pt x="561" y="771"/>
                      </a:lnTo>
                      <a:lnTo>
                        <a:pt x="570" y="776"/>
                      </a:lnTo>
                      <a:lnTo>
                        <a:pt x="579" y="781"/>
                      </a:lnTo>
                      <a:lnTo>
                        <a:pt x="598" y="787"/>
                      </a:lnTo>
                      <a:lnTo>
                        <a:pt x="616" y="791"/>
                      </a:lnTo>
                      <a:lnTo>
                        <a:pt x="635" y="794"/>
                      </a:lnTo>
                      <a:lnTo>
                        <a:pt x="651" y="795"/>
                      </a:lnTo>
                      <a:lnTo>
                        <a:pt x="663" y="795"/>
                      </a:lnTo>
                      <a:lnTo>
                        <a:pt x="671" y="795"/>
                      </a:lnTo>
                      <a:lnTo>
                        <a:pt x="685" y="795"/>
                      </a:lnTo>
                      <a:lnTo>
                        <a:pt x="700" y="793"/>
                      </a:lnTo>
                      <a:lnTo>
                        <a:pt x="706" y="792"/>
                      </a:lnTo>
                      <a:lnTo>
                        <a:pt x="713" y="790"/>
                      </a:lnTo>
                      <a:lnTo>
                        <a:pt x="718" y="787"/>
                      </a:lnTo>
                      <a:lnTo>
                        <a:pt x="724" y="783"/>
                      </a:lnTo>
                      <a:lnTo>
                        <a:pt x="732" y="780"/>
                      </a:lnTo>
                      <a:lnTo>
                        <a:pt x="742" y="773"/>
                      </a:lnTo>
                      <a:lnTo>
                        <a:pt x="749" y="769"/>
                      </a:lnTo>
                      <a:lnTo>
                        <a:pt x="756" y="766"/>
                      </a:lnTo>
                      <a:lnTo>
                        <a:pt x="763" y="764"/>
                      </a:lnTo>
                      <a:lnTo>
                        <a:pt x="771" y="764"/>
                      </a:lnTo>
                      <a:lnTo>
                        <a:pt x="779" y="764"/>
                      </a:lnTo>
                      <a:lnTo>
                        <a:pt x="785" y="767"/>
                      </a:lnTo>
                      <a:lnTo>
                        <a:pt x="790" y="771"/>
                      </a:lnTo>
                      <a:lnTo>
                        <a:pt x="794" y="775"/>
                      </a:lnTo>
                      <a:lnTo>
                        <a:pt x="796" y="782"/>
                      </a:lnTo>
                      <a:lnTo>
                        <a:pt x="798" y="789"/>
                      </a:lnTo>
                      <a:lnTo>
                        <a:pt x="801" y="796"/>
                      </a:lnTo>
                      <a:lnTo>
                        <a:pt x="802" y="804"/>
                      </a:lnTo>
                      <a:lnTo>
                        <a:pt x="803" y="820"/>
                      </a:lnTo>
                      <a:lnTo>
                        <a:pt x="805" y="837"/>
                      </a:lnTo>
                      <a:lnTo>
                        <a:pt x="807" y="845"/>
                      </a:lnTo>
                      <a:lnTo>
                        <a:pt x="809" y="851"/>
                      </a:lnTo>
                      <a:lnTo>
                        <a:pt x="813" y="857"/>
                      </a:lnTo>
                      <a:lnTo>
                        <a:pt x="817" y="862"/>
                      </a:lnTo>
                      <a:lnTo>
                        <a:pt x="822" y="865"/>
                      </a:lnTo>
                      <a:lnTo>
                        <a:pt x="828" y="867"/>
                      </a:lnTo>
                      <a:lnTo>
                        <a:pt x="838" y="869"/>
                      </a:lnTo>
                      <a:lnTo>
                        <a:pt x="849" y="871"/>
                      </a:lnTo>
                      <a:lnTo>
                        <a:pt x="874" y="874"/>
                      </a:lnTo>
                      <a:lnTo>
                        <a:pt x="897" y="875"/>
                      </a:lnTo>
                      <a:lnTo>
                        <a:pt x="925" y="876"/>
                      </a:lnTo>
                      <a:lnTo>
                        <a:pt x="948" y="878"/>
                      </a:lnTo>
                      <a:lnTo>
                        <a:pt x="970" y="882"/>
                      </a:lnTo>
                      <a:lnTo>
                        <a:pt x="991" y="887"/>
                      </a:lnTo>
                      <a:lnTo>
                        <a:pt x="1011" y="892"/>
                      </a:lnTo>
                      <a:lnTo>
                        <a:pt x="1035" y="896"/>
                      </a:lnTo>
                      <a:lnTo>
                        <a:pt x="1047" y="898"/>
                      </a:lnTo>
                      <a:lnTo>
                        <a:pt x="1060" y="899"/>
                      </a:lnTo>
                      <a:lnTo>
                        <a:pt x="1074" y="900"/>
                      </a:lnTo>
                      <a:lnTo>
                        <a:pt x="1089" y="900"/>
                      </a:lnTo>
                      <a:lnTo>
                        <a:pt x="1091" y="879"/>
                      </a:lnTo>
                      <a:lnTo>
                        <a:pt x="1093" y="865"/>
                      </a:lnTo>
                      <a:lnTo>
                        <a:pt x="1095" y="854"/>
                      </a:lnTo>
                      <a:lnTo>
                        <a:pt x="1096" y="844"/>
                      </a:lnTo>
                      <a:lnTo>
                        <a:pt x="1096" y="840"/>
                      </a:lnTo>
                      <a:lnTo>
                        <a:pt x="1097" y="836"/>
                      </a:lnTo>
                      <a:lnTo>
                        <a:pt x="1099" y="831"/>
                      </a:lnTo>
                      <a:lnTo>
                        <a:pt x="1102" y="827"/>
                      </a:lnTo>
                      <a:lnTo>
                        <a:pt x="1108" y="820"/>
                      </a:lnTo>
                      <a:lnTo>
                        <a:pt x="1116" y="814"/>
                      </a:lnTo>
                      <a:lnTo>
                        <a:pt x="1136" y="802"/>
                      </a:lnTo>
                      <a:lnTo>
                        <a:pt x="1156" y="789"/>
                      </a:lnTo>
                      <a:lnTo>
                        <a:pt x="1156" y="770"/>
                      </a:lnTo>
                      <a:lnTo>
                        <a:pt x="1151" y="769"/>
                      </a:lnTo>
                      <a:lnTo>
                        <a:pt x="1147" y="768"/>
                      </a:lnTo>
                      <a:lnTo>
                        <a:pt x="1143" y="766"/>
                      </a:lnTo>
                      <a:lnTo>
                        <a:pt x="1140" y="764"/>
                      </a:lnTo>
                      <a:lnTo>
                        <a:pt x="1136" y="758"/>
                      </a:lnTo>
                      <a:lnTo>
                        <a:pt x="1132" y="750"/>
                      </a:lnTo>
                      <a:lnTo>
                        <a:pt x="1130" y="734"/>
                      </a:lnTo>
                      <a:lnTo>
                        <a:pt x="1129" y="720"/>
                      </a:lnTo>
                      <a:lnTo>
                        <a:pt x="1121" y="719"/>
                      </a:lnTo>
                      <a:lnTo>
                        <a:pt x="1114" y="717"/>
                      </a:lnTo>
                      <a:lnTo>
                        <a:pt x="1105" y="713"/>
                      </a:lnTo>
                      <a:lnTo>
                        <a:pt x="1096" y="708"/>
                      </a:lnTo>
                      <a:lnTo>
                        <a:pt x="1087" y="701"/>
                      </a:lnTo>
                      <a:lnTo>
                        <a:pt x="1077" y="694"/>
                      </a:lnTo>
                      <a:lnTo>
                        <a:pt x="1069" y="686"/>
                      </a:lnTo>
                      <a:lnTo>
                        <a:pt x="1061" y="678"/>
                      </a:lnTo>
                      <a:lnTo>
                        <a:pt x="1044" y="660"/>
                      </a:lnTo>
                      <a:lnTo>
                        <a:pt x="1031" y="643"/>
                      </a:lnTo>
                      <a:lnTo>
                        <a:pt x="1026" y="635"/>
                      </a:lnTo>
                      <a:lnTo>
                        <a:pt x="1021" y="628"/>
                      </a:lnTo>
                      <a:lnTo>
                        <a:pt x="1018" y="622"/>
                      </a:lnTo>
                      <a:lnTo>
                        <a:pt x="1016" y="616"/>
                      </a:lnTo>
                      <a:lnTo>
                        <a:pt x="1017" y="609"/>
                      </a:lnTo>
                      <a:lnTo>
                        <a:pt x="1018" y="603"/>
                      </a:lnTo>
                      <a:lnTo>
                        <a:pt x="1019" y="598"/>
                      </a:lnTo>
                      <a:lnTo>
                        <a:pt x="1021" y="593"/>
                      </a:lnTo>
                      <a:lnTo>
                        <a:pt x="1027" y="584"/>
                      </a:lnTo>
                      <a:lnTo>
                        <a:pt x="1033" y="576"/>
                      </a:lnTo>
                      <a:lnTo>
                        <a:pt x="1039" y="568"/>
                      </a:lnTo>
                      <a:lnTo>
                        <a:pt x="1044" y="559"/>
                      </a:lnTo>
                      <a:lnTo>
                        <a:pt x="1047" y="553"/>
                      </a:lnTo>
                      <a:lnTo>
                        <a:pt x="1048" y="548"/>
                      </a:lnTo>
                      <a:lnTo>
                        <a:pt x="1049" y="542"/>
                      </a:lnTo>
                      <a:lnTo>
                        <a:pt x="1050" y="536"/>
                      </a:lnTo>
                      <a:lnTo>
                        <a:pt x="1049" y="531"/>
                      </a:lnTo>
                      <a:lnTo>
                        <a:pt x="1048" y="526"/>
                      </a:lnTo>
                      <a:lnTo>
                        <a:pt x="1047" y="522"/>
                      </a:lnTo>
                      <a:lnTo>
                        <a:pt x="1044" y="519"/>
                      </a:lnTo>
                      <a:lnTo>
                        <a:pt x="1041" y="517"/>
                      </a:lnTo>
                      <a:lnTo>
                        <a:pt x="1038" y="515"/>
                      </a:lnTo>
                      <a:lnTo>
                        <a:pt x="1035" y="513"/>
                      </a:lnTo>
                      <a:lnTo>
                        <a:pt x="1030" y="512"/>
                      </a:lnTo>
                      <a:lnTo>
                        <a:pt x="1013" y="511"/>
                      </a:lnTo>
                      <a:lnTo>
                        <a:pt x="996" y="512"/>
                      </a:lnTo>
                      <a:lnTo>
                        <a:pt x="993" y="511"/>
                      </a:lnTo>
                      <a:lnTo>
                        <a:pt x="990" y="510"/>
                      </a:lnTo>
                      <a:lnTo>
                        <a:pt x="986" y="509"/>
                      </a:lnTo>
                      <a:lnTo>
                        <a:pt x="983" y="507"/>
                      </a:lnTo>
                      <a:lnTo>
                        <a:pt x="976" y="501"/>
                      </a:lnTo>
                      <a:lnTo>
                        <a:pt x="971" y="493"/>
                      </a:lnTo>
                      <a:lnTo>
                        <a:pt x="966" y="485"/>
                      </a:lnTo>
                      <a:lnTo>
                        <a:pt x="962" y="475"/>
                      </a:lnTo>
                      <a:lnTo>
                        <a:pt x="958" y="464"/>
                      </a:lnTo>
                      <a:lnTo>
                        <a:pt x="954" y="453"/>
                      </a:lnTo>
                      <a:lnTo>
                        <a:pt x="950" y="429"/>
                      </a:lnTo>
                      <a:lnTo>
                        <a:pt x="946" y="407"/>
                      </a:lnTo>
                      <a:lnTo>
                        <a:pt x="943" y="389"/>
                      </a:lnTo>
                      <a:lnTo>
                        <a:pt x="943" y="375"/>
                      </a:lnTo>
                      <a:lnTo>
                        <a:pt x="940" y="375"/>
                      </a:lnTo>
                      <a:lnTo>
                        <a:pt x="937" y="373"/>
                      </a:lnTo>
                      <a:lnTo>
                        <a:pt x="934" y="371"/>
                      </a:lnTo>
                      <a:lnTo>
                        <a:pt x="931" y="369"/>
                      </a:lnTo>
                      <a:lnTo>
                        <a:pt x="928" y="366"/>
                      </a:lnTo>
                      <a:lnTo>
                        <a:pt x="926" y="363"/>
                      </a:lnTo>
                      <a:lnTo>
                        <a:pt x="924" y="360"/>
                      </a:lnTo>
                      <a:lnTo>
                        <a:pt x="924" y="357"/>
                      </a:lnTo>
                      <a:lnTo>
                        <a:pt x="924" y="354"/>
                      </a:lnTo>
                      <a:lnTo>
                        <a:pt x="925" y="351"/>
                      </a:lnTo>
                      <a:lnTo>
                        <a:pt x="926" y="348"/>
                      </a:lnTo>
                      <a:lnTo>
                        <a:pt x="928" y="345"/>
                      </a:lnTo>
                      <a:lnTo>
                        <a:pt x="934" y="339"/>
                      </a:lnTo>
                      <a:lnTo>
                        <a:pt x="940" y="334"/>
                      </a:lnTo>
                      <a:lnTo>
                        <a:pt x="946" y="328"/>
                      </a:lnTo>
                      <a:lnTo>
                        <a:pt x="951" y="323"/>
                      </a:lnTo>
                      <a:lnTo>
                        <a:pt x="955" y="318"/>
                      </a:lnTo>
                      <a:lnTo>
                        <a:pt x="957" y="314"/>
                      </a:lnTo>
                      <a:lnTo>
                        <a:pt x="958" y="301"/>
                      </a:lnTo>
                      <a:lnTo>
                        <a:pt x="960" y="293"/>
                      </a:lnTo>
                      <a:lnTo>
                        <a:pt x="962" y="285"/>
                      </a:lnTo>
                      <a:lnTo>
                        <a:pt x="963" y="27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37" name="Freeform 257">
                  <a:extLst>
                    <a:ext uri="{FF2B5EF4-FFF2-40B4-BE49-F238E27FC236}">
                      <a16:creationId xmlns:a16="http://schemas.microsoft.com/office/drawing/2014/main" xmlns="" id="{08FBCE76-12B8-46A0-AE34-58AD89B06DF6}"/>
                    </a:ext>
                  </a:extLst>
                </p:cNvPr>
                <p:cNvSpPr>
                  <a:spLocks/>
                </p:cNvSpPr>
                <p:nvPr>
                  <p:custDataLst>
                    <p:tags r:id="rId184"/>
                  </p:custDataLst>
                </p:nvPr>
              </p:nvSpPr>
              <p:spPr bwMode="auto">
                <a:xfrm>
                  <a:off x="5065713" y="3052763"/>
                  <a:ext cx="247650" cy="228600"/>
                </a:xfrm>
                <a:custGeom>
                  <a:avLst/>
                  <a:gdLst>
                    <a:gd name="T0" fmla="*/ 2147483646 w 571"/>
                    <a:gd name="T1" fmla="*/ 2147483646 h 443"/>
                    <a:gd name="T2" fmla="*/ 2147483646 w 571"/>
                    <a:gd name="T3" fmla="*/ 2147483646 h 443"/>
                    <a:gd name="T4" fmla="*/ 2147483646 w 571"/>
                    <a:gd name="T5" fmla="*/ 2147483646 h 443"/>
                    <a:gd name="T6" fmla="*/ 2147483646 w 571"/>
                    <a:gd name="T7" fmla="*/ 2147483646 h 443"/>
                    <a:gd name="T8" fmla="*/ 2147483646 w 571"/>
                    <a:gd name="T9" fmla="*/ 2147483646 h 443"/>
                    <a:gd name="T10" fmla="*/ 2147483646 w 571"/>
                    <a:gd name="T11" fmla="*/ 2147483646 h 443"/>
                    <a:gd name="T12" fmla="*/ 2147483646 w 571"/>
                    <a:gd name="T13" fmla="*/ 2147483646 h 443"/>
                    <a:gd name="T14" fmla="*/ 2147483646 w 571"/>
                    <a:gd name="T15" fmla="*/ 2147483646 h 443"/>
                    <a:gd name="T16" fmla="*/ 2147483646 w 571"/>
                    <a:gd name="T17" fmla="*/ 2147483646 h 443"/>
                    <a:gd name="T18" fmla="*/ 2147483646 w 571"/>
                    <a:gd name="T19" fmla="*/ 2147483646 h 443"/>
                    <a:gd name="T20" fmla="*/ 2147483646 w 571"/>
                    <a:gd name="T21" fmla="*/ 2147483646 h 443"/>
                    <a:gd name="T22" fmla="*/ 2147483646 w 571"/>
                    <a:gd name="T23" fmla="*/ 2147483646 h 443"/>
                    <a:gd name="T24" fmla="*/ 2147483646 w 571"/>
                    <a:gd name="T25" fmla="*/ 2147483646 h 443"/>
                    <a:gd name="T26" fmla="*/ 2147483646 w 571"/>
                    <a:gd name="T27" fmla="*/ 2147483646 h 443"/>
                    <a:gd name="T28" fmla="*/ 2147483646 w 571"/>
                    <a:gd name="T29" fmla="*/ 2147483646 h 443"/>
                    <a:gd name="T30" fmla="*/ 2147483646 w 571"/>
                    <a:gd name="T31" fmla="*/ 2147483646 h 443"/>
                    <a:gd name="T32" fmla="*/ 2147483646 w 571"/>
                    <a:gd name="T33" fmla="*/ 2147483646 h 443"/>
                    <a:gd name="T34" fmla="*/ 2147483646 w 571"/>
                    <a:gd name="T35" fmla="*/ 2147483646 h 443"/>
                    <a:gd name="T36" fmla="*/ 2147483646 w 571"/>
                    <a:gd name="T37" fmla="*/ 2147483646 h 443"/>
                    <a:gd name="T38" fmla="*/ 2147483646 w 571"/>
                    <a:gd name="T39" fmla="*/ 2147483646 h 443"/>
                    <a:gd name="T40" fmla="*/ 2147483646 w 571"/>
                    <a:gd name="T41" fmla="*/ 2147483646 h 443"/>
                    <a:gd name="T42" fmla="*/ 2147483646 w 571"/>
                    <a:gd name="T43" fmla="*/ 2147483646 h 443"/>
                    <a:gd name="T44" fmla="*/ 2147483646 w 571"/>
                    <a:gd name="T45" fmla="*/ 2147483646 h 443"/>
                    <a:gd name="T46" fmla="*/ 2147483646 w 571"/>
                    <a:gd name="T47" fmla="*/ 2147483646 h 443"/>
                    <a:gd name="T48" fmla="*/ 2147483646 w 571"/>
                    <a:gd name="T49" fmla="*/ 2147483646 h 443"/>
                    <a:gd name="T50" fmla="*/ 2147483646 w 571"/>
                    <a:gd name="T51" fmla="*/ 2147483646 h 443"/>
                    <a:gd name="T52" fmla="*/ 2147483646 w 571"/>
                    <a:gd name="T53" fmla="*/ 2147483646 h 443"/>
                    <a:gd name="T54" fmla="*/ 2147483646 w 571"/>
                    <a:gd name="T55" fmla="*/ 2147483646 h 443"/>
                    <a:gd name="T56" fmla="*/ 2147483646 w 571"/>
                    <a:gd name="T57" fmla="*/ 2147483646 h 443"/>
                    <a:gd name="T58" fmla="*/ 2147483646 w 571"/>
                    <a:gd name="T59" fmla="*/ 2147483646 h 443"/>
                    <a:gd name="T60" fmla="*/ 2147483646 w 571"/>
                    <a:gd name="T61" fmla="*/ 2147483646 h 443"/>
                    <a:gd name="T62" fmla="*/ 2147483646 w 571"/>
                    <a:gd name="T63" fmla="*/ 2147483646 h 443"/>
                    <a:gd name="T64" fmla="*/ 2147483646 w 571"/>
                    <a:gd name="T65" fmla="*/ 2147483646 h 443"/>
                    <a:gd name="T66" fmla="*/ 2147483646 w 571"/>
                    <a:gd name="T67" fmla="*/ 2147483646 h 443"/>
                    <a:gd name="T68" fmla="*/ 2147483646 w 571"/>
                    <a:gd name="T69" fmla="*/ 2147483646 h 443"/>
                    <a:gd name="T70" fmla="*/ 2147483646 w 571"/>
                    <a:gd name="T71" fmla="*/ 2147483646 h 443"/>
                    <a:gd name="T72" fmla="*/ 2147483646 w 571"/>
                    <a:gd name="T73" fmla="*/ 2147483646 h 443"/>
                    <a:gd name="T74" fmla="*/ 2147483646 w 571"/>
                    <a:gd name="T75" fmla="*/ 2147483646 h 443"/>
                    <a:gd name="T76" fmla="*/ 2147483646 w 571"/>
                    <a:gd name="T77" fmla="*/ 2147483646 h 443"/>
                    <a:gd name="T78" fmla="*/ 2147483646 w 571"/>
                    <a:gd name="T79" fmla="*/ 2147483646 h 443"/>
                    <a:gd name="T80" fmla="*/ 2147483646 w 571"/>
                    <a:gd name="T81" fmla="*/ 2147483646 h 443"/>
                    <a:gd name="T82" fmla="*/ 0 w 571"/>
                    <a:gd name="T83" fmla="*/ 2147483646 h 44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571"/>
                    <a:gd name="T127" fmla="*/ 0 h 443"/>
                    <a:gd name="T128" fmla="*/ 571 w 571"/>
                    <a:gd name="T129" fmla="*/ 443 h 44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571" h="443">
                      <a:moveTo>
                        <a:pt x="0" y="196"/>
                      </a:moveTo>
                      <a:lnTo>
                        <a:pt x="26" y="190"/>
                      </a:lnTo>
                      <a:lnTo>
                        <a:pt x="33" y="184"/>
                      </a:lnTo>
                      <a:lnTo>
                        <a:pt x="37" y="177"/>
                      </a:lnTo>
                      <a:lnTo>
                        <a:pt x="39" y="171"/>
                      </a:lnTo>
                      <a:lnTo>
                        <a:pt x="41" y="164"/>
                      </a:lnTo>
                      <a:lnTo>
                        <a:pt x="41" y="149"/>
                      </a:lnTo>
                      <a:lnTo>
                        <a:pt x="39" y="129"/>
                      </a:lnTo>
                      <a:lnTo>
                        <a:pt x="41" y="124"/>
                      </a:lnTo>
                      <a:lnTo>
                        <a:pt x="44" y="120"/>
                      </a:lnTo>
                      <a:lnTo>
                        <a:pt x="49" y="116"/>
                      </a:lnTo>
                      <a:lnTo>
                        <a:pt x="55" y="112"/>
                      </a:lnTo>
                      <a:lnTo>
                        <a:pt x="61" y="109"/>
                      </a:lnTo>
                      <a:lnTo>
                        <a:pt x="68" y="107"/>
                      </a:lnTo>
                      <a:lnTo>
                        <a:pt x="75" y="105"/>
                      </a:lnTo>
                      <a:lnTo>
                        <a:pt x="80" y="104"/>
                      </a:lnTo>
                      <a:lnTo>
                        <a:pt x="92" y="105"/>
                      </a:lnTo>
                      <a:lnTo>
                        <a:pt x="103" y="106"/>
                      </a:lnTo>
                      <a:lnTo>
                        <a:pt x="114" y="107"/>
                      </a:lnTo>
                      <a:lnTo>
                        <a:pt x="124" y="109"/>
                      </a:lnTo>
                      <a:lnTo>
                        <a:pt x="142" y="113"/>
                      </a:lnTo>
                      <a:lnTo>
                        <a:pt x="158" y="120"/>
                      </a:lnTo>
                      <a:lnTo>
                        <a:pt x="172" y="127"/>
                      </a:lnTo>
                      <a:lnTo>
                        <a:pt x="184" y="135"/>
                      </a:lnTo>
                      <a:lnTo>
                        <a:pt x="195" y="145"/>
                      </a:lnTo>
                      <a:lnTo>
                        <a:pt x="206" y="154"/>
                      </a:lnTo>
                      <a:lnTo>
                        <a:pt x="227" y="127"/>
                      </a:lnTo>
                      <a:lnTo>
                        <a:pt x="254" y="92"/>
                      </a:lnTo>
                      <a:lnTo>
                        <a:pt x="276" y="62"/>
                      </a:lnTo>
                      <a:lnTo>
                        <a:pt x="285" y="49"/>
                      </a:lnTo>
                      <a:lnTo>
                        <a:pt x="538" y="0"/>
                      </a:lnTo>
                      <a:lnTo>
                        <a:pt x="538" y="43"/>
                      </a:lnTo>
                      <a:lnTo>
                        <a:pt x="548" y="60"/>
                      </a:lnTo>
                      <a:lnTo>
                        <a:pt x="557" y="78"/>
                      </a:lnTo>
                      <a:lnTo>
                        <a:pt x="560" y="87"/>
                      </a:lnTo>
                      <a:lnTo>
                        <a:pt x="562" y="98"/>
                      </a:lnTo>
                      <a:lnTo>
                        <a:pt x="564" y="110"/>
                      </a:lnTo>
                      <a:lnTo>
                        <a:pt x="564" y="123"/>
                      </a:lnTo>
                      <a:lnTo>
                        <a:pt x="565" y="136"/>
                      </a:lnTo>
                      <a:lnTo>
                        <a:pt x="568" y="151"/>
                      </a:lnTo>
                      <a:lnTo>
                        <a:pt x="570" y="164"/>
                      </a:lnTo>
                      <a:lnTo>
                        <a:pt x="571" y="178"/>
                      </a:lnTo>
                      <a:lnTo>
                        <a:pt x="568" y="180"/>
                      </a:lnTo>
                      <a:lnTo>
                        <a:pt x="564" y="180"/>
                      </a:lnTo>
                      <a:lnTo>
                        <a:pt x="563" y="179"/>
                      </a:lnTo>
                      <a:lnTo>
                        <a:pt x="562" y="179"/>
                      </a:lnTo>
                      <a:lnTo>
                        <a:pt x="561" y="179"/>
                      </a:lnTo>
                      <a:lnTo>
                        <a:pt x="558" y="184"/>
                      </a:lnTo>
                      <a:lnTo>
                        <a:pt x="553" y="196"/>
                      </a:lnTo>
                      <a:lnTo>
                        <a:pt x="548" y="207"/>
                      </a:lnTo>
                      <a:lnTo>
                        <a:pt x="541" y="217"/>
                      </a:lnTo>
                      <a:lnTo>
                        <a:pt x="534" y="225"/>
                      </a:lnTo>
                      <a:lnTo>
                        <a:pt x="525" y="232"/>
                      </a:lnTo>
                      <a:lnTo>
                        <a:pt x="515" y="239"/>
                      </a:lnTo>
                      <a:lnTo>
                        <a:pt x="505" y="244"/>
                      </a:lnTo>
                      <a:lnTo>
                        <a:pt x="494" y="249"/>
                      </a:lnTo>
                      <a:lnTo>
                        <a:pt x="449" y="267"/>
                      </a:lnTo>
                      <a:lnTo>
                        <a:pt x="405" y="283"/>
                      </a:lnTo>
                      <a:lnTo>
                        <a:pt x="374" y="296"/>
                      </a:lnTo>
                      <a:lnTo>
                        <a:pt x="347" y="307"/>
                      </a:lnTo>
                      <a:lnTo>
                        <a:pt x="321" y="318"/>
                      </a:lnTo>
                      <a:lnTo>
                        <a:pt x="295" y="328"/>
                      </a:lnTo>
                      <a:lnTo>
                        <a:pt x="270" y="337"/>
                      </a:lnTo>
                      <a:lnTo>
                        <a:pt x="245" y="345"/>
                      </a:lnTo>
                      <a:lnTo>
                        <a:pt x="216" y="354"/>
                      </a:lnTo>
                      <a:lnTo>
                        <a:pt x="186" y="363"/>
                      </a:lnTo>
                      <a:lnTo>
                        <a:pt x="177" y="366"/>
                      </a:lnTo>
                      <a:lnTo>
                        <a:pt x="167" y="371"/>
                      </a:lnTo>
                      <a:lnTo>
                        <a:pt x="158" y="376"/>
                      </a:lnTo>
                      <a:lnTo>
                        <a:pt x="149" y="381"/>
                      </a:lnTo>
                      <a:lnTo>
                        <a:pt x="134" y="392"/>
                      </a:lnTo>
                      <a:lnTo>
                        <a:pt x="119" y="403"/>
                      </a:lnTo>
                      <a:lnTo>
                        <a:pt x="105" y="414"/>
                      </a:lnTo>
                      <a:lnTo>
                        <a:pt x="92" y="426"/>
                      </a:lnTo>
                      <a:lnTo>
                        <a:pt x="79" y="435"/>
                      </a:lnTo>
                      <a:lnTo>
                        <a:pt x="67" y="443"/>
                      </a:lnTo>
                      <a:lnTo>
                        <a:pt x="58" y="410"/>
                      </a:lnTo>
                      <a:lnTo>
                        <a:pt x="50" y="378"/>
                      </a:lnTo>
                      <a:lnTo>
                        <a:pt x="42" y="345"/>
                      </a:lnTo>
                      <a:lnTo>
                        <a:pt x="33" y="313"/>
                      </a:lnTo>
                      <a:lnTo>
                        <a:pt x="24" y="282"/>
                      </a:lnTo>
                      <a:lnTo>
                        <a:pt x="16" y="251"/>
                      </a:lnTo>
                      <a:lnTo>
                        <a:pt x="8" y="223"/>
                      </a:lnTo>
                      <a:lnTo>
                        <a:pt x="0" y="19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38" name="Freeform 258">
                  <a:extLst>
                    <a:ext uri="{FF2B5EF4-FFF2-40B4-BE49-F238E27FC236}">
                      <a16:creationId xmlns:a16="http://schemas.microsoft.com/office/drawing/2014/main" xmlns="" id="{E8F815AD-A5AF-45F7-B083-CD3CA7471C7F}"/>
                    </a:ext>
                  </a:extLst>
                </p:cNvPr>
                <p:cNvSpPr>
                  <a:spLocks/>
                </p:cNvSpPr>
                <p:nvPr>
                  <p:custDataLst>
                    <p:tags r:id="rId185"/>
                  </p:custDataLst>
                </p:nvPr>
              </p:nvSpPr>
              <p:spPr bwMode="auto">
                <a:xfrm>
                  <a:off x="5260975" y="2827338"/>
                  <a:ext cx="120650" cy="120650"/>
                </a:xfrm>
                <a:custGeom>
                  <a:avLst/>
                  <a:gdLst>
                    <a:gd name="T0" fmla="*/ 0 w 286"/>
                    <a:gd name="T1" fmla="*/ 2147483646 h 228"/>
                    <a:gd name="T2" fmla="*/ 2147483646 w 286"/>
                    <a:gd name="T3" fmla="*/ 2147483646 h 228"/>
                    <a:gd name="T4" fmla="*/ 2147483646 w 286"/>
                    <a:gd name="T5" fmla="*/ 2147483646 h 228"/>
                    <a:gd name="T6" fmla="*/ 2147483646 w 286"/>
                    <a:gd name="T7" fmla="*/ 2147483646 h 228"/>
                    <a:gd name="T8" fmla="*/ 2147483646 w 286"/>
                    <a:gd name="T9" fmla="*/ 2147483646 h 228"/>
                    <a:gd name="T10" fmla="*/ 2147483646 w 286"/>
                    <a:gd name="T11" fmla="*/ 2147483646 h 228"/>
                    <a:gd name="T12" fmla="*/ 2147483646 w 286"/>
                    <a:gd name="T13" fmla="*/ 2147483646 h 228"/>
                    <a:gd name="T14" fmla="*/ 2147483646 w 286"/>
                    <a:gd name="T15" fmla="*/ 2147483646 h 228"/>
                    <a:gd name="T16" fmla="*/ 2147483646 w 286"/>
                    <a:gd name="T17" fmla="*/ 2147483646 h 228"/>
                    <a:gd name="T18" fmla="*/ 2147483646 w 286"/>
                    <a:gd name="T19" fmla="*/ 2147483646 h 228"/>
                    <a:gd name="T20" fmla="*/ 2147483646 w 286"/>
                    <a:gd name="T21" fmla="*/ 2147483646 h 228"/>
                    <a:gd name="T22" fmla="*/ 2147483646 w 286"/>
                    <a:gd name="T23" fmla="*/ 2147483646 h 228"/>
                    <a:gd name="T24" fmla="*/ 2147483646 w 286"/>
                    <a:gd name="T25" fmla="*/ 2147483646 h 228"/>
                    <a:gd name="T26" fmla="*/ 2147483646 w 286"/>
                    <a:gd name="T27" fmla="*/ 2147483646 h 228"/>
                    <a:gd name="T28" fmla="*/ 2147483646 w 286"/>
                    <a:gd name="T29" fmla="*/ 2147483646 h 228"/>
                    <a:gd name="T30" fmla="*/ 2147483646 w 286"/>
                    <a:gd name="T31" fmla="*/ 2147483646 h 228"/>
                    <a:gd name="T32" fmla="*/ 2147483646 w 286"/>
                    <a:gd name="T33" fmla="*/ 2147483646 h 228"/>
                    <a:gd name="T34" fmla="*/ 2147483646 w 286"/>
                    <a:gd name="T35" fmla="*/ 2147483646 h 228"/>
                    <a:gd name="T36" fmla="*/ 2147483646 w 286"/>
                    <a:gd name="T37" fmla="*/ 2147483646 h 228"/>
                    <a:gd name="T38" fmla="*/ 2147483646 w 286"/>
                    <a:gd name="T39" fmla="*/ 2147483646 h 228"/>
                    <a:gd name="T40" fmla="*/ 2147483646 w 286"/>
                    <a:gd name="T41" fmla="*/ 2147483646 h 228"/>
                    <a:gd name="T42" fmla="*/ 2147483646 w 286"/>
                    <a:gd name="T43" fmla="*/ 2147483646 h 228"/>
                    <a:gd name="T44" fmla="*/ 2147483646 w 286"/>
                    <a:gd name="T45" fmla="*/ 2147483646 h 228"/>
                    <a:gd name="T46" fmla="*/ 2147483646 w 286"/>
                    <a:gd name="T47" fmla="*/ 2147483646 h 228"/>
                    <a:gd name="T48" fmla="*/ 2147483646 w 286"/>
                    <a:gd name="T49" fmla="*/ 2147483646 h 228"/>
                    <a:gd name="T50" fmla="*/ 2147483646 w 286"/>
                    <a:gd name="T51" fmla="*/ 2147483646 h 228"/>
                    <a:gd name="T52" fmla="*/ 2147483646 w 286"/>
                    <a:gd name="T53" fmla="*/ 2147483646 h 228"/>
                    <a:gd name="T54" fmla="*/ 2147483646 w 286"/>
                    <a:gd name="T55" fmla="*/ 2147483646 h 228"/>
                    <a:gd name="T56" fmla="*/ 2147483646 w 286"/>
                    <a:gd name="T57" fmla="*/ 0 h 228"/>
                    <a:gd name="T58" fmla="*/ 2147483646 w 286"/>
                    <a:gd name="T59" fmla="*/ 2147483646 h 228"/>
                    <a:gd name="T60" fmla="*/ 2147483646 w 286"/>
                    <a:gd name="T61" fmla="*/ 2147483646 h 228"/>
                    <a:gd name="T62" fmla="*/ 2147483646 w 286"/>
                    <a:gd name="T63" fmla="*/ 2147483646 h 228"/>
                    <a:gd name="T64" fmla="*/ 2147483646 w 286"/>
                    <a:gd name="T65" fmla="*/ 2147483646 h 228"/>
                    <a:gd name="T66" fmla="*/ 2147483646 w 286"/>
                    <a:gd name="T67" fmla="*/ 2147483646 h 228"/>
                    <a:gd name="T68" fmla="*/ 2147483646 w 286"/>
                    <a:gd name="T69" fmla="*/ 2147483646 h 228"/>
                    <a:gd name="T70" fmla="*/ 2147483646 w 286"/>
                    <a:gd name="T71" fmla="*/ 2147483646 h 228"/>
                    <a:gd name="T72" fmla="*/ 2147483646 w 286"/>
                    <a:gd name="T73" fmla="*/ 2147483646 h 228"/>
                    <a:gd name="T74" fmla="*/ 2147483646 w 286"/>
                    <a:gd name="T75" fmla="*/ 2147483646 h 228"/>
                    <a:gd name="T76" fmla="*/ 0 w 286"/>
                    <a:gd name="T77" fmla="*/ 2147483646 h 22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86"/>
                    <a:gd name="T118" fmla="*/ 0 h 228"/>
                    <a:gd name="T119" fmla="*/ 286 w 286"/>
                    <a:gd name="T120" fmla="*/ 228 h 22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86" h="228">
                      <a:moveTo>
                        <a:pt x="0" y="111"/>
                      </a:moveTo>
                      <a:lnTo>
                        <a:pt x="4" y="109"/>
                      </a:lnTo>
                      <a:lnTo>
                        <a:pt x="7" y="109"/>
                      </a:lnTo>
                      <a:lnTo>
                        <a:pt x="10" y="110"/>
                      </a:lnTo>
                      <a:lnTo>
                        <a:pt x="11" y="111"/>
                      </a:lnTo>
                      <a:lnTo>
                        <a:pt x="12" y="117"/>
                      </a:lnTo>
                      <a:lnTo>
                        <a:pt x="13" y="123"/>
                      </a:lnTo>
                      <a:lnTo>
                        <a:pt x="14" y="128"/>
                      </a:lnTo>
                      <a:lnTo>
                        <a:pt x="16" y="131"/>
                      </a:lnTo>
                      <a:lnTo>
                        <a:pt x="19" y="134"/>
                      </a:lnTo>
                      <a:lnTo>
                        <a:pt x="24" y="136"/>
                      </a:lnTo>
                      <a:lnTo>
                        <a:pt x="29" y="137"/>
                      </a:lnTo>
                      <a:lnTo>
                        <a:pt x="37" y="138"/>
                      </a:lnTo>
                      <a:lnTo>
                        <a:pt x="48" y="138"/>
                      </a:lnTo>
                      <a:lnTo>
                        <a:pt x="60" y="136"/>
                      </a:lnTo>
                      <a:lnTo>
                        <a:pt x="98" y="130"/>
                      </a:lnTo>
                      <a:lnTo>
                        <a:pt x="129" y="122"/>
                      </a:lnTo>
                      <a:lnTo>
                        <a:pt x="143" y="118"/>
                      </a:lnTo>
                      <a:lnTo>
                        <a:pt x="156" y="114"/>
                      </a:lnTo>
                      <a:lnTo>
                        <a:pt x="167" y="109"/>
                      </a:lnTo>
                      <a:lnTo>
                        <a:pt x="178" y="103"/>
                      </a:lnTo>
                      <a:lnTo>
                        <a:pt x="188" y="96"/>
                      </a:lnTo>
                      <a:lnTo>
                        <a:pt x="198" y="87"/>
                      </a:lnTo>
                      <a:lnTo>
                        <a:pt x="208" y="78"/>
                      </a:lnTo>
                      <a:lnTo>
                        <a:pt x="219" y="65"/>
                      </a:lnTo>
                      <a:lnTo>
                        <a:pt x="229" y="52"/>
                      </a:lnTo>
                      <a:lnTo>
                        <a:pt x="241" y="37"/>
                      </a:lnTo>
                      <a:lnTo>
                        <a:pt x="253" y="20"/>
                      </a:lnTo>
                      <a:lnTo>
                        <a:pt x="266" y="0"/>
                      </a:lnTo>
                      <a:lnTo>
                        <a:pt x="270" y="7"/>
                      </a:lnTo>
                      <a:lnTo>
                        <a:pt x="274" y="13"/>
                      </a:lnTo>
                      <a:lnTo>
                        <a:pt x="276" y="20"/>
                      </a:lnTo>
                      <a:lnTo>
                        <a:pt x="279" y="27"/>
                      </a:lnTo>
                      <a:lnTo>
                        <a:pt x="282" y="42"/>
                      </a:lnTo>
                      <a:lnTo>
                        <a:pt x="286" y="62"/>
                      </a:lnTo>
                      <a:lnTo>
                        <a:pt x="246" y="198"/>
                      </a:lnTo>
                      <a:lnTo>
                        <a:pt x="226" y="228"/>
                      </a:lnTo>
                      <a:lnTo>
                        <a:pt x="53" y="210"/>
                      </a:lnTo>
                      <a:lnTo>
                        <a:pt x="0" y="111"/>
                      </a:ln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39" name="Freeform 259">
                  <a:extLst>
                    <a:ext uri="{FF2B5EF4-FFF2-40B4-BE49-F238E27FC236}">
                      <a16:creationId xmlns:a16="http://schemas.microsoft.com/office/drawing/2014/main" xmlns="" id="{15A8D55E-DFD2-4BF3-B276-0CD87AFA317F}"/>
                    </a:ext>
                  </a:extLst>
                </p:cNvPr>
                <p:cNvSpPr>
                  <a:spLocks/>
                </p:cNvSpPr>
                <p:nvPr>
                  <p:custDataLst>
                    <p:tags r:id="rId186"/>
                  </p:custDataLst>
                </p:nvPr>
              </p:nvSpPr>
              <p:spPr bwMode="auto">
                <a:xfrm>
                  <a:off x="4948238" y="2479675"/>
                  <a:ext cx="222250" cy="263525"/>
                </a:xfrm>
                <a:custGeom>
                  <a:avLst/>
                  <a:gdLst>
                    <a:gd name="T0" fmla="*/ 2147483646 w 524"/>
                    <a:gd name="T1" fmla="*/ 2147483646 h 505"/>
                    <a:gd name="T2" fmla="*/ 2147483646 w 524"/>
                    <a:gd name="T3" fmla="*/ 2147483646 h 505"/>
                    <a:gd name="T4" fmla="*/ 2147483646 w 524"/>
                    <a:gd name="T5" fmla="*/ 2147483646 h 505"/>
                    <a:gd name="T6" fmla="*/ 2147483646 w 524"/>
                    <a:gd name="T7" fmla="*/ 2147483646 h 505"/>
                    <a:gd name="T8" fmla="*/ 2147483646 w 524"/>
                    <a:gd name="T9" fmla="*/ 2147483646 h 505"/>
                    <a:gd name="T10" fmla="*/ 2147483646 w 524"/>
                    <a:gd name="T11" fmla="*/ 2147483646 h 505"/>
                    <a:gd name="T12" fmla="*/ 2147483646 w 524"/>
                    <a:gd name="T13" fmla="*/ 2147483646 h 505"/>
                    <a:gd name="T14" fmla="*/ 2147483646 w 524"/>
                    <a:gd name="T15" fmla="*/ 2147483646 h 505"/>
                    <a:gd name="T16" fmla="*/ 2147483646 w 524"/>
                    <a:gd name="T17" fmla="*/ 2147483646 h 505"/>
                    <a:gd name="T18" fmla="*/ 2147483646 w 524"/>
                    <a:gd name="T19" fmla="*/ 2147483646 h 505"/>
                    <a:gd name="T20" fmla="*/ 2147483646 w 524"/>
                    <a:gd name="T21" fmla="*/ 2147483646 h 505"/>
                    <a:gd name="T22" fmla="*/ 2147483646 w 524"/>
                    <a:gd name="T23" fmla="*/ 2147483646 h 505"/>
                    <a:gd name="T24" fmla="*/ 2147483646 w 524"/>
                    <a:gd name="T25" fmla="*/ 2147483646 h 505"/>
                    <a:gd name="T26" fmla="*/ 2147483646 w 524"/>
                    <a:gd name="T27" fmla="*/ 2147483646 h 505"/>
                    <a:gd name="T28" fmla="*/ 2147483646 w 524"/>
                    <a:gd name="T29" fmla="*/ 2147483646 h 505"/>
                    <a:gd name="T30" fmla="*/ 2147483646 w 524"/>
                    <a:gd name="T31" fmla="*/ 2147483646 h 505"/>
                    <a:gd name="T32" fmla="*/ 2147483646 w 524"/>
                    <a:gd name="T33" fmla="*/ 2147483646 h 505"/>
                    <a:gd name="T34" fmla="*/ 2147483646 w 524"/>
                    <a:gd name="T35" fmla="*/ 2147483646 h 505"/>
                    <a:gd name="T36" fmla="*/ 2147483646 w 524"/>
                    <a:gd name="T37" fmla="*/ 2147483646 h 505"/>
                    <a:gd name="T38" fmla="*/ 2147483646 w 524"/>
                    <a:gd name="T39" fmla="*/ 2147483646 h 505"/>
                    <a:gd name="T40" fmla="*/ 2147483646 w 524"/>
                    <a:gd name="T41" fmla="*/ 2147483646 h 505"/>
                    <a:gd name="T42" fmla="*/ 2147483646 w 524"/>
                    <a:gd name="T43" fmla="*/ 2147483646 h 505"/>
                    <a:gd name="T44" fmla="*/ 2147483646 w 524"/>
                    <a:gd name="T45" fmla="*/ 2147483646 h 505"/>
                    <a:gd name="T46" fmla="*/ 2147483646 w 524"/>
                    <a:gd name="T47" fmla="*/ 2147483646 h 505"/>
                    <a:gd name="T48" fmla="*/ 2147483646 w 524"/>
                    <a:gd name="T49" fmla="*/ 2147483646 h 505"/>
                    <a:gd name="T50" fmla="*/ 2147483646 w 524"/>
                    <a:gd name="T51" fmla="*/ 2147483646 h 505"/>
                    <a:gd name="T52" fmla="*/ 2147483646 w 524"/>
                    <a:gd name="T53" fmla="*/ 2147483646 h 505"/>
                    <a:gd name="T54" fmla="*/ 2147483646 w 524"/>
                    <a:gd name="T55" fmla="*/ 2147483646 h 505"/>
                    <a:gd name="T56" fmla="*/ 2147483646 w 524"/>
                    <a:gd name="T57" fmla="*/ 2147483646 h 505"/>
                    <a:gd name="T58" fmla="*/ 2147483646 w 524"/>
                    <a:gd name="T59" fmla="*/ 2147483646 h 505"/>
                    <a:gd name="T60" fmla="*/ 2147483646 w 524"/>
                    <a:gd name="T61" fmla="*/ 2147483646 h 505"/>
                    <a:gd name="T62" fmla="*/ 2147483646 w 524"/>
                    <a:gd name="T63" fmla="*/ 2147483646 h 505"/>
                    <a:gd name="T64" fmla="*/ 2147483646 w 524"/>
                    <a:gd name="T65" fmla="*/ 2147483646 h 505"/>
                    <a:gd name="T66" fmla="*/ 2147483646 w 524"/>
                    <a:gd name="T67" fmla="*/ 2147483646 h 505"/>
                    <a:gd name="T68" fmla="*/ 2147483646 w 524"/>
                    <a:gd name="T69" fmla="*/ 2147483646 h 505"/>
                    <a:gd name="T70" fmla="*/ 2147483646 w 524"/>
                    <a:gd name="T71" fmla="*/ 2147483646 h 505"/>
                    <a:gd name="T72" fmla="*/ 2147483646 w 524"/>
                    <a:gd name="T73" fmla="*/ 2147483646 h 505"/>
                    <a:gd name="T74" fmla="*/ 2147483646 w 524"/>
                    <a:gd name="T75" fmla="*/ 2147483646 h 505"/>
                    <a:gd name="T76" fmla="*/ 0 w 524"/>
                    <a:gd name="T77" fmla="*/ 2147483646 h 505"/>
                    <a:gd name="T78" fmla="*/ 0 w 524"/>
                    <a:gd name="T79" fmla="*/ 2147483646 h 505"/>
                    <a:gd name="T80" fmla="*/ 2147483646 w 524"/>
                    <a:gd name="T81" fmla="*/ 2147483646 h 505"/>
                    <a:gd name="T82" fmla="*/ 2147483646 w 524"/>
                    <a:gd name="T83" fmla="*/ 2147483646 h 505"/>
                    <a:gd name="T84" fmla="*/ 2147483646 w 524"/>
                    <a:gd name="T85" fmla="*/ 2147483646 h 505"/>
                    <a:gd name="T86" fmla="*/ 2147483646 w 524"/>
                    <a:gd name="T87" fmla="*/ 2147483646 h 505"/>
                    <a:gd name="T88" fmla="*/ 2147483646 w 524"/>
                    <a:gd name="T89" fmla="*/ 2147483646 h 505"/>
                    <a:gd name="T90" fmla="*/ 2147483646 w 524"/>
                    <a:gd name="T91" fmla="*/ 2147483646 h 505"/>
                    <a:gd name="T92" fmla="*/ 2147483646 w 524"/>
                    <a:gd name="T93" fmla="*/ 2147483646 h 505"/>
                    <a:gd name="T94" fmla="*/ 2147483646 w 524"/>
                    <a:gd name="T95" fmla="*/ 2147483646 h 505"/>
                    <a:gd name="T96" fmla="*/ 2147483646 w 524"/>
                    <a:gd name="T97" fmla="*/ 2147483646 h 505"/>
                    <a:gd name="T98" fmla="*/ 2147483646 w 524"/>
                    <a:gd name="T99" fmla="*/ 2147483646 h 505"/>
                    <a:gd name="T100" fmla="*/ 2147483646 w 524"/>
                    <a:gd name="T101" fmla="*/ 2147483646 h 505"/>
                    <a:gd name="T102" fmla="*/ 2147483646 w 524"/>
                    <a:gd name="T103" fmla="*/ 2147483646 h 505"/>
                    <a:gd name="T104" fmla="*/ 2147483646 w 524"/>
                    <a:gd name="T105" fmla="*/ 2147483646 h 505"/>
                    <a:gd name="T106" fmla="*/ 2147483646 w 524"/>
                    <a:gd name="T107" fmla="*/ 2147483646 h 505"/>
                    <a:gd name="T108" fmla="*/ 2147483646 w 524"/>
                    <a:gd name="T109" fmla="*/ 2147483646 h 505"/>
                    <a:gd name="T110" fmla="*/ 2147483646 w 524"/>
                    <a:gd name="T111" fmla="*/ 2147483646 h 505"/>
                    <a:gd name="T112" fmla="*/ 2147483646 w 524"/>
                    <a:gd name="T113" fmla="*/ 2147483646 h 505"/>
                    <a:gd name="T114" fmla="*/ 2147483646 w 524"/>
                    <a:gd name="T115" fmla="*/ 2147483646 h 505"/>
                    <a:gd name="T116" fmla="*/ 2147483646 w 524"/>
                    <a:gd name="T117" fmla="*/ 2147483646 h 505"/>
                    <a:gd name="T118" fmla="*/ 2147483646 w 524"/>
                    <a:gd name="T119" fmla="*/ 2147483646 h 505"/>
                    <a:gd name="T120" fmla="*/ 2147483646 w 524"/>
                    <a:gd name="T121" fmla="*/ 2147483646 h 505"/>
                    <a:gd name="T122" fmla="*/ 2147483646 w 524"/>
                    <a:gd name="T123" fmla="*/ 2147483646 h 505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524"/>
                    <a:gd name="T187" fmla="*/ 0 h 505"/>
                    <a:gd name="T188" fmla="*/ 524 w 524"/>
                    <a:gd name="T189" fmla="*/ 505 h 505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524" h="505">
                      <a:moveTo>
                        <a:pt x="524" y="419"/>
                      </a:moveTo>
                      <a:lnTo>
                        <a:pt x="478" y="370"/>
                      </a:lnTo>
                      <a:lnTo>
                        <a:pt x="482" y="357"/>
                      </a:lnTo>
                      <a:lnTo>
                        <a:pt x="484" y="346"/>
                      </a:lnTo>
                      <a:lnTo>
                        <a:pt x="484" y="336"/>
                      </a:lnTo>
                      <a:lnTo>
                        <a:pt x="483" y="329"/>
                      </a:lnTo>
                      <a:lnTo>
                        <a:pt x="479" y="315"/>
                      </a:lnTo>
                      <a:lnTo>
                        <a:pt x="478" y="302"/>
                      </a:lnTo>
                      <a:lnTo>
                        <a:pt x="466" y="301"/>
                      </a:lnTo>
                      <a:lnTo>
                        <a:pt x="455" y="299"/>
                      </a:lnTo>
                      <a:lnTo>
                        <a:pt x="443" y="295"/>
                      </a:lnTo>
                      <a:lnTo>
                        <a:pt x="431" y="288"/>
                      </a:lnTo>
                      <a:lnTo>
                        <a:pt x="419" y="282"/>
                      </a:lnTo>
                      <a:lnTo>
                        <a:pt x="407" y="274"/>
                      </a:lnTo>
                      <a:lnTo>
                        <a:pt x="396" y="266"/>
                      </a:lnTo>
                      <a:lnTo>
                        <a:pt x="386" y="256"/>
                      </a:lnTo>
                      <a:lnTo>
                        <a:pt x="376" y="247"/>
                      </a:lnTo>
                      <a:lnTo>
                        <a:pt x="366" y="237"/>
                      </a:lnTo>
                      <a:lnTo>
                        <a:pt x="359" y="226"/>
                      </a:lnTo>
                      <a:lnTo>
                        <a:pt x="352" y="216"/>
                      </a:lnTo>
                      <a:lnTo>
                        <a:pt x="347" y="206"/>
                      </a:lnTo>
                      <a:lnTo>
                        <a:pt x="342" y="196"/>
                      </a:lnTo>
                      <a:lnTo>
                        <a:pt x="339" y="187"/>
                      </a:lnTo>
                      <a:lnTo>
                        <a:pt x="339" y="178"/>
                      </a:lnTo>
                      <a:lnTo>
                        <a:pt x="339" y="170"/>
                      </a:lnTo>
                      <a:lnTo>
                        <a:pt x="341" y="162"/>
                      </a:lnTo>
                      <a:lnTo>
                        <a:pt x="346" y="156"/>
                      </a:lnTo>
                      <a:lnTo>
                        <a:pt x="349" y="150"/>
                      </a:lnTo>
                      <a:lnTo>
                        <a:pt x="358" y="142"/>
                      </a:lnTo>
                      <a:lnTo>
                        <a:pt x="365" y="136"/>
                      </a:lnTo>
                      <a:lnTo>
                        <a:pt x="360" y="134"/>
                      </a:lnTo>
                      <a:lnTo>
                        <a:pt x="354" y="130"/>
                      </a:lnTo>
                      <a:lnTo>
                        <a:pt x="348" y="126"/>
                      </a:lnTo>
                      <a:lnTo>
                        <a:pt x="341" y="119"/>
                      </a:lnTo>
                      <a:lnTo>
                        <a:pt x="328" y="104"/>
                      </a:lnTo>
                      <a:lnTo>
                        <a:pt x="315" y="87"/>
                      </a:lnTo>
                      <a:lnTo>
                        <a:pt x="302" y="69"/>
                      </a:lnTo>
                      <a:lnTo>
                        <a:pt x="292" y="51"/>
                      </a:lnTo>
                      <a:lnTo>
                        <a:pt x="283" y="36"/>
                      </a:lnTo>
                      <a:lnTo>
                        <a:pt x="279" y="25"/>
                      </a:lnTo>
                      <a:lnTo>
                        <a:pt x="272" y="25"/>
                      </a:lnTo>
                      <a:lnTo>
                        <a:pt x="260" y="24"/>
                      </a:lnTo>
                      <a:lnTo>
                        <a:pt x="249" y="22"/>
                      </a:lnTo>
                      <a:lnTo>
                        <a:pt x="239" y="19"/>
                      </a:lnTo>
                      <a:lnTo>
                        <a:pt x="229" y="16"/>
                      </a:lnTo>
                      <a:lnTo>
                        <a:pt x="219" y="11"/>
                      </a:lnTo>
                      <a:lnTo>
                        <a:pt x="208" y="9"/>
                      </a:lnTo>
                      <a:lnTo>
                        <a:pt x="197" y="6"/>
                      </a:lnTo>
                      <a:lnTo>
                        <a:pt x="185" y="6"/>
                      </a:lnTo>
                      <a:lnTo>
                        <a:pt x="170" y="3"/>
                      </a:lnTo>
                      <a:lnTo>
                        <a:pt x="159" y="0"/>
                      </a:lnTo>
                      <a:lnTo>
                        <a:pt x="149" y="8"/>
                      </a:lnTo>
                      <a:lnTo>
                        <a:pt x="126" y="29"/>
                      </a:lnTo>
                      <a:lnTo>
                        <a:pt x="114" y="41"/>
                      </a:lnTo>
                      <a:lnTo>
                        <a:pt x="103" y="52"/>
                      </a:lnTo>
                      <a:lnTo>
                        <a:pt x="98" y="57"/>
                      </a:lnTo>
                      <a:lnTo>
                        <a:pt x="95" y="61"/>
                      </a:lnTo>
                      <a:lnTo>
                        <a:pt x="93" y="64"/>
                      </a:lnTo>
                      <a:lnTo>
                        <a:pt x="93" y="68"/>
                      </a:lnTo>
                      <a:lnTo>
                        <a:pt x="94" y="94"/>
                      </a:lnTo>
                      <a:lnTo>
                        <a:pt x="95" y="125"/>
                      </a:lnTo>
                      <a:lnTo>
                        <a:pt x="95" y="140"/>
                      </a:lnTo>
                      <a:lnTo>
                        <a:pt x="95" y="153"/>
                      </a:lnTo>
                      <a:lnTo>
                        <a:pt x="94" y="164"/>
                      </a:lnTo>
                      <a:lnTo>
                        <a:pt x="93" y="172"/>
                      </a:lnTo>
                      <a:lnTo>
                        <a:pt x="86" y="180"/>
                      </a:lnTo>
                      <a:lnTo>
                        <a:pt x="78" y="188"/>
                      </a:lnTo>
                      <a:lnTo>
                        <a:pt x="67" y="197"/>
                      </a:lnTo>
                      <a:lnTo>
                        <a:pt x="53" y="206"/>
                      </a:lnTo>
                      <a:lnTo>
                        <a:pt x="40" y="214"/>
                      </a:lnTo>
                      <a:lnTo>
                        <a:pt x="26" y="222"/>
                      </a:lnTo>
                      <a:lnTo>
                        <a:pt x="13" y="228"/>
                      </a:lnTo>
                      <a:lnTo>
                        <a:pt x="0" y="235"/>
                      </a:lnTo>
                      <a:lnTo>
                        <a:pt x="2" y="246"/>
                      </a:lnTo>
                      <a:lnTo>
                        <a:pt x="3" y="256"/>
                      </a:lnTo>
                      <a:lnTo>
                        <a:pt x="2" y="264"/>
                      </a:lnTo>
                      <a:lnTo>
                        <a:pt x="1" y="272"/>
                      </a:lnTo>
                      <a:lnTo>
                        <a:pt x="0" y="278"/>
                      </a:lnTo>
                      <a:lnTo>
                        <a:pt x="0" y="284"/>
                      </a:lnTo>
                      <a:lnTo>
                        <a:pt x="0" y="289"/>
                      </a:lnTo>
                      <a:lnTo>
                        <a:pt x="2" y="295"/>
                      </a:lnTo>
                      <a:lnTo>
                        <a:pt x="7" y="301"/>
                      </a:lnTo>
                      <a:lnTo>
                        <a:pt x="15" y="307"/>
                      </a:lnTo>
                      <a:lnTo>
                        <a:pt x="26" y="314"/>
                      </a:lnTo>
                      <a:lnTo>
                        <a:pt x="41" y="321"/>
                      </a:lnTo>
                      <a:lnTo>
                        <a:pt x="62" y="331"/>
                      </a:lnTo>
                      <a:lnTo>
                        <a:pt x="89" y="341"/>
                      </a:lnTo>
                      <a:lnTo>
                        <a:pt x="120" y="355"/>
                      </a:lnTo>
                      <a:lnTo>
                        <a:pt x="159" y="370"/>
                      </a:lnTo>
                      <a:lnTo>
                        <a:pt x="180" y="374"/>
                      </a:lnTo>
                      <a:lnTo>
                        <a:pt x="198" y="379"/>
                      </a:lnTo>
                      <a:lnTo>
                        <a:pt x="214" y="385"/>
                      </a:lnTo>
                      <a:lnTo>
                        <a:pt x="226" y="393"/>
                      </a:lnTo>
                      <a:lnTo>
                        <a:pt x="237" y="400"/>
                      </a:lnTo>
                      <a:lnTo>
                        <a:pt x="246" y="410"/>
                      </a:lnTo>
                      <a:lnTo>
                        <a:pt x="252" y="418"/>
                      </a:lnTo>
                      <a:lnTo>
                        <a:pt x="258" y="427"/>
                      </a:lnTo>
                      <a:lnTo>
                        <a:pt x="262" y="435"/>
                      </a:lnTo>
                      <a:lnTo>
                        <a:pt x="265" y="443"/>
                      </a:lnTo>
                      <a:lnTo>
                        <a:pt x="266" y="451"/>
                      </a:lnTo>
                      <a:lnTo>
                        <a:pt x="269" y="458"/>
                      </a:lnTo>
                      <a:lnTo>
                        <a:pt x="270" y="469"/>
                      </a:lnTo>
                      <a:lnTo>
                        <a:pt x="272" y="475"/>
                      </a:lnTo>
                      <a:lnTo>
                        <a:pt x="277" y="481"/>
                      </a:lnTo>
                      <a:lnTo>
                        <a:pt x="282" y="485"/>
                      </a:lnTo>
                      <a:lnTo>
                        <a:pt x="287" y="489"/>
                      </a:lnTo>
                      <a:lnTo>
                        <a:pt x="294" y="492"/>
                      </a:lnTo>
                      <a:lnTo>
                        <a:pt x="307" y="497"/>
                      </a:lnTo>
                      <a:lnTo>
                        <a:pt x="325" y="505"/>
                      </a:lnTo>
                      <a:lnTo>
                        <a:pt x="328" y="503"/>
                      </a:lnTo>
                      <a:lnTo>
                        <a:pt x="331" y="501"/>
                      </a:lnTo>
                      <a:lnTo>
                        <a:pt x="335" y="500"/>
                      </a:lnTo>
                      <a:lnTo>
                        <a:pt x="338" y="500"/>
                      </a:lnTo>
                      <a:lnTo>
                        <a:pt x="346" y="499"/>
                      </a:lnTo>
                      <a:lnTo>
                        <a:pt x="353" y="500"/>
                      </a:lnTo>
                      <a:lnTo>
                        <a:pt x="366" y="503"/>
                      </a:lnTo>
                      <a:lnTo>
                        <a:pt x="372" y="505"/>
                      </a:lnTo>
                      <a:lnTo>
                        <a:pt x="383" y="505"/>
                      </a:lnTo>
                      <a:lnTo>
                        <a:pt x="407" y="505"/>
                      </a:lnTo>
                      <a:lnTo>
                        <a:pt x="437" y="505"/>
                      </a:lnTo>
                      <a:lnTo>
                        <a:pt x="458" y="505"/>
                      </a:lnTo>
                      <a:lnTo>
                        <a:pt x="465" y="449"/>
                      </a:lnTo>
                      <a:lnTo>
                        <a:pt x="478" y="443"/>
                      </a:lnTo>
                      <a:lnTo>
                        <a:pt x="492" y="437"/>
                      </a:lnTo>
                      <a:lnTo>
                        <a:pt x="524" y="41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0" name="Freeform 260">
                  <a:extLst>
                    <a:ext uri="{FF2B5EF4-FFF2-40B4-BE49-F238E27FC236}">
                      <a16:creationId xmlns:a16="http://schemas.microsoft.com/office/drawing/2014/main" xmlns="" id="{5A33DB37-5755-4EA5-83EF-86C99C72E322}"/>
                    </a:ext>
                  </a:extLst>
                </p:cNvPr>
                <p:cNvSpPr>
                  <a:spLocks/>
                </p:cNvSpPr>
                <p:nvPr>
                  <p:custDataLst>
                    <p:tags r:id="rId187"/>
                  </p:custDataLst>
                </p:nvPr>
              </p:nvSpPr>
              <p:spPr bwMode="auto">
                <a:xfrm>
                  <a:off x="5448300" y="2439988"/>
                  <a:ext cx="331788" cy="290512"/>
                </a:xfrm>
                <a:custGeom>
                  <a:avLst/>
                  <a:gdLst>
                    <a:gd name="T0" fmla="*/ 2147483646 w 764"/>
                    <a:gd name="T1" fmla="*/ 2147483646 h 555"/>
                    <a:gd name="T2" fmla="*/ 2147483646 w 764"/>
                    <a:gd name="T3" fmla="*/ 2147483646 h 555"/>
                    <a:gd name="T4" fmla="*/ 2147483646 w 764"/>
                    <a:gd name="T5" fmla="*/ 2147483646 h 555"/>
                    <a:gd name="T6" fmla="*/ 2147483646 w 764"/>
                    <a:gd name="T7" fmla="*/ 2147483646 h 555"/>
                    <a:gd name="T8" fmla="*/ 2147483646 w 764"/>
                    <a:gd name="T9" fmla="*/ 2147483646 h 555"/>
                    <a:gd name="T10" fmla="*/ 2147483646 w 764"/>
                    <a:gd name="T11" fmla="*/ 2147483646 h 555"/>
                    <a:gd name="T12" fmla="*/ 2147483646 w 764"/>
                    <a:gd name="T13" fmla="*/ 2147483646 h 555"/>
                    <a:gd name="T14" fmla="*/ 2147483646 w 764"/>
                    <a:gd name="T15" fmla="*/ 2147483646 h 555"/>
                    <a:gd name="T16" fmla="*/ 2147483646 w 764"/>
                    <a:gd name="T17" fmla="*/ 2147483646 h 555"/>
                    <a:gd name="T18" fmla="*/ 2147483646 w 764"/>
                    <a:gd name="T19" fmla="*/ 2147483646 h 555"/>
                    <a:gd name="T20" fmla="*/ 2147483646 w 764"/>
                    <a:gd name="T21" fmla="*/ 2147483646 h 555"/>
                    <a:gd name="T22" fmla="*/ 2147483646 w 764"/>
                    <a:gd name="T23" fmla="*/ 2147483646 h 555"/>
                    <a:gd name="T24" fmla="*/ 2147483646 w 764"/>
                    <a:gd name="T25" fmla="*/ 2147483646 h 555"/>
                    <a:gd name="T26" fmla="*/ 2147483646 w 764"/>
                    <a:gd name="T27" fmla="*/ 2147483646 h 555"/>
                    <a:gd name="T28" fmla="*/ 2147483646 w 764"/>
                    <a:gd name="T29" fmla="*/ 2147483646 h 555"/>
                    <a:gd name="T30" fmla="*/ 2147483646 w 764"/>
                    <a:gd name="T31" fmla="*/ 2147483646 h 555"/>
                    <a:gd name="T32" fmla="*/ 2147483646 w 764"/>
                    <a:gd name="T33" fmla="*/ 2147483646 h 555"/>
                    <a:gd name="T34" fmla="*/ 2147483646 w 764"/>
                    <a:gd name="T35" fmla="*/ 2147483646 h 555"/>
                    <a:gd name="T36" fmla="*/ 2147483646 w 764"/>
                    <a:gd name="T37" fmla="*/ 2147483646 h 555"/>
                    <a:gd name="T38" fmla="*/ 2147483646 w 764"/>
                    <a:gd name="T39" fmla="*/ 2147483646 h 555"/>
                    <a:gd name="T40" fmla="*/ 2147483646 w 764"/>
                    <a:gd name="T41" fmla="*/ 2147483646 h 555"/>
                    <a:gd name="T42" fmla="*/ 2147483646 w 764"/>
                    <a:gd name="T43" fmla="*/ 2147483646 h 555"/>
                    <a:gd name="T44" fmla="*/ 2147483646 w 764"/>
                    <a:gd name="T45" fmla="*/ 2147483646 h 555"/>
                    <a:gd name="T46" fmla="*/ 2147483646 w 764"/>
                    <a:gd name="T47" fmla="*/ 2147483646 h 555"/>
                    <a:gd name="T48" fmla="*/ 2147483646 w 764"/>
                    <a:gd name="T49" fmla="*/ 2147483646 h 555"/>
                    <a:gd name="T50" fmla="*/ 2147483646 w 764"/>
                    <a:gd name="T51" fmla="*/ 2147483646 h 555"/>
                    <a:gd name="T52" fmla="*/ 2147483646 w 764"/>
                    <a:gd name="T53" fmla="*/ 2147483646 h 555"/>
                    <a:gd name="T54" fmla="*/ 2147483646 w 764"/>
                    <a:gd name="T55" fmla="*/ 2147483646 h 555"/>
                    <a:gd name="T56" fmla="*/ 2147483646 w 764"/>
                    <a:gd name="T57" fmla="*/ 2147483646 h 555"/>
                    <a:gd name="T58" fmla="*/ 2147483646 w 764"/>
                    <a:gd name="T59" fmla="*/ 2147483646 h 555"/>
                    <a:gd name="T60" fmla="*/ 2147483646 w 764"/>
                    <a:gd name="T61" fmla="*/ 2147483646 h 555"/>
                    <a:gd name="T62" fmla="*/ 2147483646 w 764"/>
                    <a:gd name="T63" fmla="*/ 2147483646 h 555"/>
                    <a:gd name="T64" fmla="*/ 2147483646 w 764"/>
                    <a:gd name="T65" fmla="*/ 2147483646 h 555"/>
                    <a:gd name="T66" fmla="*/ 2147483646 w 764"/>
                    <a:gd name="T67" fmla="*/ 2147483646 h 555"/>
                    <a:gd name="T68" fmla="*/ 2147483646 w 764"/>
                    <a:gd name="T69" fmla="*/ 2147483646 h 555"/>
                    <a:gd name="T70" fmla="*/ 2147483646 w 764"/>
                    <a:gd name="T71" fmla="*/ 2147483646 h 555"/>
                    <a:gd name="T72" fmla="*/ 2147483646 w 764"/>
                    <a:gd name="T73" fmla="*/ 2147483646 h 555"/>
                    <a:gd name="T74" fmla="*/ 2147483646 w 764"/>
                    <a:gd name="T75" fmla="*/ 2147483646 h 555"/>
                    <a:gd name="T76" fmla="*/ 2147483646 w 764"/>
                    <a:gd name="T77" fmla="*/ 2147483646 h 555"/>
                    <a:gd name="T78" fmla="*/ 2147483646 w 764"/>
                    <a:gd name="T79" fmla="*/ 2147483646 h 555"/>
                    <a:gd name="T80" fmla="*/ 2147483646 w 764"/>
                    <a:gd name="T81" fmla="*/ 2147483646 h 555"/>
                    <a:gd name="T82" fmla="*/ 2147483646 w 764"/>
                    <a:gd name="T83" fmla="*/ 2147483646 h 555"/>
                    <a:gd name="T84" fmla="*/ 2147483646 w 764"/>
                    <a:gd name="T85" fmla="*/ 2147483646 h 555"/>
                    <a:gd name="T86" fmla="*/ 2147483646 w 764"/>
                    <a:gd name="T87" fmla="*/ 2147483646 h 555"/>
                    <a:gd name="T88" fmla="*/ 2147483646 w 764"/>
                    <a:gd name="T89" fmla="*/ 2147483646 h 555"/>
                    <a:gd name="T90" fmla="*/ 2147483646 w 764"/>
                    <a:gd name="T91" fmla="*/ 2147483646 h 555"/>
                    <a:gd name="T92" fmla="*/ 2147483646 w 764"/>
                    <a:gd name="T93" fmla="*/ 2147483646 h 555"/>
                    <a:gd name="T94" fmla="*/ 2147483646 w 764"/>
                    <a:gd name="T95" fmla="*/ 2147483646 h 555"/>
                    <a:gd name="T96" fmla="*/ 2147483646 w 764"/>
                    <a:gd name="T97" fmla="*/ 2147483646 h 555"/>
                    <a:gd name="T98" fmla="*/ 2147483646 w 764"/>
                    <a:gd name="T99" fmla="*/ 2147483646 h 555"/>
                    <a:gd name="T100" fmla="*/ 2147483646 w 764"/>
                    <a:gd name="T101" fmla="*/ 2147483646 h 555"/>
                    <a:gd name="T102" fmla="*/ 2147483646 w 764"/>
                    <a:gd name="T103" fmla="*/ 2147483646 h 555"/>
                    <a:gd name="T104" fmla="*/ 2147483646 w 764"/>
                    <a:gd name="T105" fmla="*/ 2147483646 h 555"/>
                    <a:gd name="T106" fmla="*/ 2147483646 w 764"/>
                    <a:gd name="T107" fmla="*/ 2147483646 h 555"/>
                    <a:gd name="T108" fmla="*/ 2147483646 w 764"/>
                    <a:gd name="T109" fmla="*/ 2147483646 h 555"/>
                    <a:gd name="T110" fmla="*/ 2147483646 w 764"/>
                    <a:gd name="T111" fmla="*/ 2147483646 h 555"/>
                    <a:gd name="T112" fmla="*/ 2147483646 w 764"/>
                    <a:gd name="T113" fmla="*/ 2147483646 h 555"/>
                    <a:gd name="T114" fmla="*/ 2147483646 w 764"/>
                    <a:gd name="T115" fmla="*/ 2147483646 h 555"/>
                    <a:gd name="T116" fmla="*/ 2147483646 w 764"/>
                    <a:gd name="T117" fmla="*/ 2147483646 h 555"/>
                    <a:gd name="T118" fmla="*/ 0 w 764"/>
                    <a:gd name="T119" fmla="*/ 2147483646 h 555"/>
                    <a:gd name="T120" fmla="*/ 2147483646 w 764"/>
                    <a:gd name="T121" fmla="*/ 2147483646 h 555"/>
                    <a:gd name="T122" fmla="*/ 2147483646 w 764"/>
                    <a:gd name="T123" fmla="*/ 2147483646 h 555"/>
                    <a:gd name="T124" fmla="*/ 2147483646 w 764"/>
                    <a:gd name="T125" fmla="*/ 2147483646 h 55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764"/>
                    <a:gd name="T190" fmla="*/ 0 h 555"/>
                    <a:gd name="T191" fmla="*/ 764 w 764"/>
                    <a:gd name="T192" fmla="*/ 555 h 555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764" h="555">
                      <a:moveTo>
                        <a:pt x="39" y="191"/>
                      </a:moveTo>
                      <a:lnTo>
                        <a:pt x="48" y="194"/>
                      </a:lnTo>
                      <a:lnTo>
                        <a:pt x="56" y="196"/>
                      </a:lnTo>
                      <a:lnTo>
                        <a:pt x="62" y="196"/>
                      </a:lnTo>
                      <a:lnTo>
                        <a:pt x="68" y="195"/>
                      </a:lnTo>
                      <a:lnTo>
                        <a:pt x="77" y="192"/>
                      </a:lnTo>
                      <a:lnTo>
                        <a:pt x="85" y="191"/>
                      </a:lnTo>
                      <a:lnTo>
                        <a:pt x="93" y="190"/>
                      </a:lnTo>
                      <a:lnTo>
                        <a:pt x="101" y="190"/>
                      </a:lnTo>
                      <a:lnTo>
                        <a:pt x="107" y="188"/>
                      </a:lnTo>
                      <a:lnTo>
                        <a:pt x="114" y="186"/>
                      </a:lnTo>
                      <a:lnTo>
                        <a:pt x="128" y="182"/>
                      </a:lnTo>
                      <a:lnTo>
                        <a:pt x="140" y="175"/>
                      </a:lnTo>
                      <a:lnTo>
                        <a:pt x="152" y="168"/>
                      </a:lnTo>
                      <a:lnTo>
                        <a:pt x="164" y="160"/>
                      </a:lnTo>
                      <a:lnTo>
                        <a:pt x="175" y="151"/>
                      </a:lnTo>
                      <a:lnTo>
                        <a:pt x="185" y="142"/>
                      </a:lnTo>
                      <a:lnTo>
                        <a:pt x="189" y="136"/>
                      </a:lnTo>
                      <a:lnTo>
                        <a:pt x="192" y="131"/>
                      </a:lnTo>
                      <a:lnTo>
                        <a:pt x="194" y="126"/>
                      </a:lnTo>
                      <a:lnTo>
                        <a:pt x="195" y="120"/>
                      </a:lnTo>
                      <a:lnTo>
                        <a:pt x="197" y="109"/>
                      </a:lnTo>
                      <a:lnTo>
                        <a:pt x="198" y="98"/>
                      </a:lnTo>
                      <a:lnTo>
                        <a:pt x="199" y="88"/>
                      </a:lnTo>
                      <a:lnTo>
                        <a:pt x="202" y="78"/>
                      </a:lnTo>
                      <a:lnTo>
                        <a:pt x="204" y="74"/>
                      </a:lnTo>
                      <a:lnTo>
                        <a:pt x="206" y="71"/>
                      </a:lnTo>
                      <a:lnTo>
                        <a:pt x="208" y="69"/>
                      </a:lnTo>
                      <a:lnTo>
                        <a:pt x="212" y="68"/>
                      </a:lnTo>
                      <a:lnTo>
                        <a:pt x="221" y="64"/>
                      </a:lnTo>
                      <a:lnTo>
                        <a:pt x="231" y="62"/>
                      </a:lnTo>
                      <a:lnTo>
                        <a:pt x="240" y="60"/>
                      </a:lnTo>
                      <a:lnTo>
                        <a:pt x="249" y="60"/>
                      </a:lnTo>
                      <a:lnTo>
                        <a:pt x="266" y="61"/>
                      </a:lnTo>
                      <a:lnTo>
                        <a:pt x="285" y="61"/>
                      </a:lnTo>
                      <a:lnTo>
                        <a:pt x="294" y="62"/>
                      </a:lnTo>
                      <a:lnTo>
                        <a:pt x="303" y="63"/>
                      </a:lnTo>
                      <a:lnTo>
                        <a:pt x="310" y="64"/>
                      </a:lnTo>
                      <a:lnTo>
                        <a:pt x="317" y="66"/>
                      </a:lnTo>
                      <a:lnTo>
                        <a:pt x="329" y="71"/>
                      </a:lnTo>
                      <a:lnTo>
                        <a:pt x="339" y="77"/>
                      </a:lnTo>
                      <a:lnTo>
                        <a:pt x="348" y="82"/>
                      </a:lnTo>
                      <a:lnTo>
                        <a:pt x="357" y="88"/>
                      </a:lnTo>
                      <a:lnTo>
                        <a:pt x="362" y="90"/>
                      </a:lnTo>
                      <a:lnTo>
                        <a:pt x="366" y="91"/>
                      </a:lnTo>
                      <a:lnTo>
                        <a:pt x="372" y="92"/>
                      </a:lnTo>
                      <a:lnTo>
                        <a:pt x="378" y="93"/>
                      </a:lnTo>
                      <a:lnTo>
                        <a:pt x="386" y="93"/>
                      </a:lnTo>
                      <a:lnTo>
                        <a:pt x="394" y="92"/>
                      </a:lnTo>
                      <a:lnTo>
                        <a:pt x="402" y="90"/>
                      </a:lnTo>
                      <a:lnTo>
                        <a:pt x="407" y="89"/>
                      </a:lnTo>
                      <a:lnTo>
                        <a:pt x="419" y="84"/>
                      </a:lnTo>
                      <a:lnTo>
                        <a:pt x="429" y="78"/>
                      </a:lnTo>
                      <a:lnTo>
                        <a:pt x="439" y="72"/>
                      </a:lnTo>
                      <a:lnTo>
                        <a:pt x="449" y="66"/>
                      </a:lnTo>
                      <a:lnTo>
                        <a:pt x="460" y="61"/>
                      </a:lnTo>
                      <a:lnTo>
                        <a:pt x="471" y="55"/>
                      </a:lnTo>
                      <a:lnTo>
                        <a:pt x="472" y="48"/>
                      </a:lnTo>
                      <a:lnTo>
                        <a:pt x="475" y="41"/>
                      </a:lnTo>
                      <a:lnTo>
                        <a:pt x="479" y="33"/>
                      </a:lnTo>
                      <a:lnTo>
                        <a:pt x="485" y="25"/>
                      </a:lnTo>
                      <a:lnTo>
                        <a:pt x="496" y="11"/>
                      </a:lnTo>
                      <a:lnTo>
                        <a:pt x="505" y="0"/>
                      </a:lnTo>
                      <a:lnTo>
                        <a:pt x="508" y="4"/>
                      </a:lnTo>
                      <a:lnTo>
                        <a:pt x="512" y="8"/>
                      </a:lnTo>
                      <a:lnTo>
                        <a:pt x="518" y="12"/>
                      </a:lnTo>
                      <a:lnTo>
                        <a:pt x="525" y="15"/>
                      </a:lnTo>
                      <a:lnTo>
                        <a:pt x="530" y="19"/>
                      </a:lnTo>
                      <a:lnTo>
                        <a:pt x="537" y="22"/>
                      </a:lnTo>
                      <a:lnTo>
                        <a:pt x="541" y="26"/>
                      </a:lnTo>
                      <a:lnTo>
                        <a:pt x="544" y="31"/>
                      </a:lnTo>
                      <a:lnTo>
                        <a:pt x="550" y="45"/>
                      </a:lnTo>
                      <a:lnTo>
                        <a:pt x="554" y="58"/>
                      </a:lnTo>
                      <a:lnTo>
                        <a:pt x="556" y="70"/>
                      </a:lnTo>
                      <a:lnTo>
                        <a:pt x="559" y="81"/>
                      </a:lnTo>
                      <a:lnTo>
                        <a:pt x="561" y="87"/>
                      </a:lnTo>
                      <a:lnTo>
                        <a:pt x="562" y="91"/>
                      </a:lnTo>
                      <a:lnTo>
                        <a:pt x="564" y="95"/>
                      </a:lnTo>
                      <a:lnTo>
                        <a:pt x="566" y="99"/>
                      </a:lnTo>
                      <a:lnTo>
                        <a:pt x="570" y="101"/>
                      </a:lnTo>
                      <a:lnTo>
                        <a:pt x="574" y="103"/>
                      </a:lnTo>
                      <a:lnTo>
                        <a:pt x="578" y="104"/>
                      </a:lnTo>
                      <a:lnTo>
                        <a:pt x="584" y="105"/>
                      </a:lnTo>
                      <a:lnTo>
                        <a:pt x="589" y="104"/>
                      </a:lnTo>
                      <a:lnTo>
                        <a:pt x="596" y="100"/>
                      </a:lnTo>
                      <a:lnTo>
                        <a:pt x="602" y="95"/>
                      </a:lnTo>
                      <a:lnTo>
                        <a:pt x="610" y="88"/>
                      </a:lnTo>
                      <a:lnTo>
                        <a:pt x="622" y="73"/>
                      </a:lnTo>
                      <a:lnTo>
                        <a:pt x="631" y="61"/>
                      </a:lnTo>
                      <a:lnTo>
                        <a:pt x="723" y="61"/>
                      </a:lnTo>
                      <a:lnTo>
                        <a:pt x="736" y="61"/>
                      </a:lnTo>
                      <a:lnTo>
                        <a:pt x="743" y="66"/>
                      </a:lnTo>
                      <a:lnTo>
                        <a:pt x="748" y="70"/>
                      </a:lnTo>
                      <a:lnTo>
                        <a:pt x="752" y="75"/>
                      </a:lnTo>
                      <a:lnTo>
                        <a:pt x="755" y="79"/>
                      </a:lnTo>
                      <a:lnTo>
                        <a:pt x="759" y="87"/>
                      </a:lnTo>
                      <a:lnTo>
                        <a:pt x="764" y="93"/>
                      </a:lnTo>
                      <a:lnTo>
                        <a:pt x="740" y="95"/>
                      </a:lnTo>
                      <a:lnTo>
                        <a:pt x="711" y="97"/>
                      </a:lnTo>
                      <a:lnTo>
                        <a:pt x="679" y="100"/>
                      </a:lnTo>
                      <a:lnTo>
                        <a:pt x="647" y="103"/>
                      </a:lnTo>
                      <a:lnTo>
                        <a:pt x="632" y="106"/>
                      </a:lnTo>
                      <a:lnTo>
                        <a:pt x="618" y="109"/>
                      </a:lnTo>
                      <a:lnTo>
                        <a:pt x="605" y="112"/>
                      </a:lnTo>
                      <a:lnTo>
                        <a:pt x="594" y="117"/>
                      </a:lnTo>
                      <a:lnTo>
                        <a:pt x="584" y="122"/>
                      </a:lnTo>
                      <a:lnTo>
                        <a:pt x="577" y="127"/>
                      </a:lnTo>
                      <a:lnTo>
                        <a:pt x="574" y="130"/>
                      </a:lnTo>
                      <a:lnTo>
                        <a:pt x="572" y="134"/>
                      </a:lnTo>
                      <a:lnTo>
                        <a:pt x="571" y="137"/>
                      </a:lnTo>
                      <a:lnTo>
                        <a:pt x="571" y="142"/>
                      </a:lnTo>
                      <a:lnTo>
                        <a:pt x="571" y="147"/>
                      </a:lnTo>
                      <a:lnTo>
                        <a:pt x="572" y="152"/>
                      </a:lnTo>
                      <a:lnTo>
                        <a:pt x="574" y="156"/>
                      </a:lnTo>
                      <a:lnTo>
                        <a:pt x="576" y="159"/>
                      </a:lnTo>
                      <a:lnTo>
                        <a:pt x="582" y="164"/>
                      </a:lnTo>
                      <a:lnTo>
                        <a:pt x="587" y="169"/>
                      </a:lnTo>
                      <a:lnTo>
                        <a:pt x="594" y="173"/>
                      </a:lnTo>
                      <a:lnTo>
                        <a:pt x="599" y="177"/>
                      </a:lnTo>
                      <a:lnTo>
                        <a:pt x="601" y="180"/>
                      </a:lnTo>
                      <a:lnTo>
                        <a:pt x="602" y="183"/>
                      </a:lnTo>
                      <a:lnTo>
                        <a:pt x="604" y="186"/>
                      </a:lnTo>
                      <a:lnTo>
                        <a:pt x="604" y="191"/>
                      </a:lnTo>
                      <a:lnTo>
                        <a:pt x="604" y="195"/>
                      </a:lnTo>
                      <a:lnTo>
                        <a:pt x="602" y="200"/>
                      </a:lnTo>
                      <a:lnTo>
                        <a:pt x="601" y="204"/>
                      </a:lnTo>
                      <a:lnTo>
                        <a:pt x="599" y="207"/>
                      </a:lnTo>
                      <a:lnTo>
                        <a:pt x="594" y="213"/>
                      </a:lnTo>
                      <a:lnTo>
                        <a:pt x="587" y="220"/>
                      </a:lnTo>
                      <a:lnTo>
                        <a:pt x="582" y="226"/>
                      </a:lnTo>
                      <a:lnTo>
                        <a:pt x="576" y="233"/>
                      </a:lnTo>
                      <a:lnTo>
                        <a:pt x="574" y="237"/>
                      </a:lnTo>
                      <a:lnTo>
                        <a:pt x="572" y="242"/>
                      </a:lnTo>
                      <a:lnTo>
                        <a:pt x="571" y="247"/>
                      </a:lnTo>
                      <a:lnTo>
                        <a:pt x="571" y="252"/>
                      </a:lnTo>
                      <a:lnTo>
                        <a:pt x="565" y="255"/>
                      </a:lnTo>
                      <a:lnTo>
                        <a:pt x="560" y="256"/>
                      </a:lnTo>
                      <a:lnTo>
                        <a:pt x="555" y="259"/>
                      </a:lnTo>
                      <a:lnTo>
                        <a:pt x="551" y="262"/>
                      </a:lnTo>
                      <a:lnTo>
                        <a:pt x="542" y="269"/>
                      </a:lnTo>
                      <a:lnTo>
                        <a:pt x="535" y="277"/>
                      </a:lnTo>
                      <a:lnTo>
                        <a:pt x="529" y="287"/>
                      </a:lnTo>
                      <a:lnTo>
                        <a:pt x="523" y="298"/>
                      </a:lnTo>
                      <a:lnTo>
                        <a:pt x="519" y="310"/>
                      </a:lnTo>
                      <a:lnTo>
                        <a:pt x="515" y="323"/>
                      </a:lnTo>
                      <a:lnTo>
                        <a:pt x="512" y="336"/>
                      </a:lnTo>
                      <a:lnTo>
                        <a:pt x="509" y="349"/>
                      </a:lnTo>
                      <a:lnTo>
                        <a:pt x="508" y="363"/>
                      </a:lnTo>
                      <a:lnTo>
                        <a:pt x="506" y="377"/>
                      </a:lnTo>
                      <a:lnTo>
                        <a:pt x="505" y="402"/>
                      </a:lnTo>
                      <a:lnTo>
                        <a:pt x="505" y="425"/>
                      </a:lnTo>
                      <a:lnTo>
                        <a:pt x="497" y="425"/>
                      </a:lnTo>
                      <a:lnTo>
                        <a:pt x="492" y="423"/>
                      </a:lnTo>
                      <a:lnTo>
                        <a:pt x="486" y="420"/>
                      </a:lnTo>
                      <a:lnTo>
                        <a:pt x="482" y="415"/>
                      </a:lnTo>
                      <a:lnTo>
                        <a:pt x="477" y="412"/>
                      </a:lnTo>
                      <a:lnTo>
                        <a:pt x="473" y="409"/>
                      </a:lnTo>
                      <a:lnTo>
                        <a:pt x="470" y="407"/>
                      </a:lnTo>
                      <a:lnTo>
                        <a:pt x="464" y="406"/>
                      </a:lnTo>
                      <a:lnTo>
                        <a:pt x="460" y="407"/>
                      </a:lnTo>
                      <a:lnTo>
                        <a:pt x="455" y="408"/>
                      </a:lnTo>
                      <a:lnTo>
                        <a:pt x="451" y="410"/>
                      </a:lnTo>
                      <a:lnTo>
                        <a:pt x="447" y="412"/>
                      </a:lnTo>
                      <a:lnTo>
                        <a:pt x="439" y="418"/>
                      </a:lnTo>
                      <a:lnTo>
                        <a:pt x="431" y="425"/>
                      </a:lnTo>
                      <a:lnTo>
                        <a:pt x="423" y="432"/>
                      </a:lnTo>
                      <a:lnTo>
                        <a:pt x="416" y="438"/>
                      </a:lnTo>
                      <a:lnTo>
                        <a:pt x="411" y="440"/>
                      </a:lnTo>
                      <a:lnTo>
                        <a:pt x="407" y="442"/>
                      </a:lnTo>
                      <a:lnTo>
                        <a:pt x="403" y="443"/>
                      </a:lnTo>
                      <a:lnTo>
                        <a:pt x="398" y="444"/>
                      </a:lnTo>
                      <a:lnTo>
                        <a:pt x="393" y="444"/>
                      </a:lnTo>
                      <a:lnTo>
                        <a:pt x="388" y="446"/>
                      </a:lnTo>
                      <a:lnTo>
                        <a:pt x="385" y="449"/>
                      </a:lnTo>
                      <a:lnTo>
                        <a:pt x="382" y="453"/>
                      </a:lnTo>
                      <a:lnTo>
                        <a:pt x="375" y="463"/>
                      </a:lnTo>
                      <a:lnTo>
                        <a:pt x="372" y="476"/>
                      </a:lnTo>
                      <a:lnTo>
                        <a:pt x="369" y="489"/>
                      </a:lnTo>
                      <a:lnTo>
                        <a:pt x="366" y="501"/>
                      </a:lnTo>
                      <a:lnTo>
                        <a:pt x="365" y="511"/>
                      </a:lnTo>
                      <a:lnTo>
                        <a:pt x="365" y="517"/>
                      </a:lnTo>
                      <a:lnTo>
                        <a:pt x="362" y="520"/>
                      </a:lnTo>
                      <a:lnTo>
                        <a:pt x="358" y="522"/>
                      </a:lnTo>
                      <a:lnTo>
                        <a:pt x="350" y="525"/>
                      </a:lnTo>
                      <a:lnTo>
                        <a:pt x="342" y="528"/>
                      </a:lnTo>
                      <a:lnTo>
                        <a:pt x="320" y="535"/>
                      </a:lnTo>
                      <a:lnTo>
                        <a:pt x="296" y="541"/>
                      </a:lnTo>
                      <a:lnTo>
                        <a:pt x="270" y="546"/>
                      </a:lnTo>
                      <a:lnTo>
                        <a:pt x="246" y="551"/>
                      </a:lnTo>
                      <a:lnTo>
                        <a:pt x="226" y="554"/>
                      </a:lnTo>
                      <a:lnTo>
                        <a:pt x="212" y="555"/>
                      </a:lnTo>
                      <a:lnTo>
                        <a:pt x="194" y="554"/>
                      </a:lnTo>
                      <a:lnTo>
                        <a:pt x="176" y="553"/>
                      </a:lnTo>
                      <a:lnTo>
                        <a:pt x="159" y="550"/>
                      </a:lnTo>
                      <a:lnTo>
                        <a:pt x="142" y="548"/>
                      </a:lnTo>
                      <a:lnTo>
                        <a:pt x="113" y="542"/>
                      </a:lnTo>
                      <a:lnTo>
                        <a:pt x="92" y="536"/>
                      </a:lnTo>
                      <a:lnTo>
                        <a:pt x="93" y="529"/>
                      </a:lnTo>
                      <a:lnTo>
                        <a:pt x="94" y="523"/>
                      </a:lnTo>
                      <a:lnTo>
                        <a:pt x="95" y="518"/>
                      </a:lnTo>
                      <a:lnTo>
                        <a:pt x="97" y="513"/>
                      </a:lnTo>
                      <a:lnTo>
                        <a:pt x="103" y="504"/>
                      </a:lnTo>
                      <a:lnTo>
                        <a:pt x="109" y="496"/>
                      </a:lnTo>
                      <a:lnTo>
                        <a:pt x="115" y="488"/>
                      </a:lnTo>
                      <a:lnTo>
                        <a:pt x="120" y="479"/>
                      </a:lnTo>
                      <a:lnTo>
                        <a:pt x="123" y="473"/>
                      </a:lnTo>
                      <a:lnTo>
                        <a:pt x="124" y="468"/>
                      </a:lnTo>
                      <a:lnTo>
                        <a:pt x="125" y="462"/>
                      </a:lnTo>
                      <a:lnTo>
                        <a:pt x="126" y="456"/>
                      </a:lnTo>
                      <a:lnTo>
                        <a:pt x="125" y="451"/>
                      </a:lnTo>
                      <a:lnTo>
                        <a:pt x="124" y="446"/>
                      </a:lnTo>
                      <a:lnTo>
                        <a:pt x="123" y="442"/>
                      </a:lnTo>
                      <a:lnTo>
                        <a:pt x="120" y="439"/>
                      </a:lnTo>
                      <a:lnTo>
                        <a:pt x="117" y="437"/>
                      </a:lnTo>
                      <a:lnTo>
                        <a:pt x="114" y="435"/>
                      </a:lnTo>
                      <a:lnTo>
                        <a:pt x="111" y="433"/>
                      </a:lnTo>
                      <a:lnTo>
                        <a:pt x="106" y="432"/>
                      </a:lnTo>
                      <a:lnTo>
                        <a:pt x="89" y="431"/>
                      </a:lnTo>
                      <a:lnTo>
                        <a:pt x="72" y="432"/>
                      </a:lnTo>
                      <a:lnTo>
                        <a:pt x="69" y="431"/>
                      </a:lnTo>
                      <a:lnTo>
                        <a:pt x="66" y="430"/>
                      </a:lnTo>
                      <a:lnTo>
                        <a:pt x="62" y="429"/>
                      </a:lnTo>
                      <a:lnTo>
                        <a:pt x="59" y="427"/>
                      </a:lnTo>
                      <a:lnTo>
                        <a:pt x="52" y="421"/>
                      </a:lnTo>
                      <a:lnTo>
                        <a:pt x="47" y="413"/>
                      </a:lnTo>
                      <a:lnTo>
                        <a:pt x="42" y="405"/>
                      </a:lnTo>
                      <a:lnTo>
                        <a:pt x="38" y="395"/>
                      </a:lnTo>
                      <a:lnTo>
                        <a:pt x="34" y="384"/>
                      </a:lnTo>
                      <a:lnTo>
                        <a:pt x="30" y="373"/>
                      </a:lnTo>
                      <a:lnTo>
                        <a:pt x="26" y="349"/>
                      </a:lnTo>
                      <a:lnTo>
                        <a:pt x="22" y="327"/>
                      </a:lnTo>
                      <a:lnTo>
                        <a:pt x="19" y="309"/>
                      </a:lnTo>
                      <a:lnTo>
                        <a:pt x="19" y="295"/>
                      </a:lnTo>
                      <a:lnTo>
                        <a:pt x="16" y="295"/>
                      </a:lnTo>
                      <a:lnTo>
                        <a:pt x="13" y="293"/>
                      </a:lnTo>
                      <a:lnTo>
                        <a:pt x="10" y="291"/>
                      </a:lnTo>
                      <a:lnTo>
                        <a:pt x="7" y="289"/>
                      </a:lnTo>
                      <a:lnTo>
                        <a:pt x="4" y="286"/>
                      </a:lnTo>
                      <a:lnTo>
                        <a:pt x="2" y="283"/>
                      </a:lnTo>
                      <a:lnTo>
                        <a:pt x="0" y="280"/>
                      </a:lnTo>
                      <a:lnTo>
                        <a:pt x="0" y="277"/>
                      </a:lnTo>
                      <a:lnTo>
                        <a:pt x="0" y="274"/>
                      </a:lnTo>
                      <a:lnTo>
                        <a:pt x="1" y="271"/>
                      </a:lnTo>
                      <a:lnTo>
                        <a:pt x="2" y="268"/>
                      </a:lnTo>
                      <a:lnTo>
                        <a:pt x="4" y="265"/>
                      </a:lnTo>
                      <a:lnTo>
                        <a:pt x="10" y="259"/>
                      </a:lnTo>
                      <a:lnTo>
                        <a:pt x="16" y="254"/>
                      </a:lnTo>
                      <a:lnTo>
                        <a:pt x="22" y="248"/>
                      </a:lnTo>
                      <a:lnTo>
                        <a:pt x="27" y="243"/>
                      </a:lnTo>
                      <a:lnTo>
                        <a:pt x="31" y="238"/>
                      </a:lnTo>
                      <a:lnTo>
                        <a:pt x="33" y="234"/>
                      </a:lnTo>
                      <a:lnTo>
                        <a:pt x="34" y="221"/>
                      </a:lnTo>
                      <a:lnTo>
                        <a:pt x="36" y="213"/>
                      </a:lnTo>
                      <a:lnTo>
                        <a:pt x="38" y="205"/>
                      </a:lnTo>
                      <a:lnTo>
                        <a:pt x="39" y="19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1" name="Freeform 261">
                  <a:extLst>
                    <a:ext uri="{FF2B5EF4-FFF2-40B4-BE49-F238E27FC236}">
                      <a16:creationId xmlns:a16="http://schemas.microsoft.com/office/drawing/2014/main" xmlns="" id="{E8B006BE-2A6D-4DC7-BF8D-FF32EAC64D27}"/>
                    </a:ext>
                  </a:extLst>
                </p:cNvPr>
                <p:cNvSpPr>
                  <a:spLocks/>
                </p:cNvSpPr>
                <p:nvPr>
                  <p:custDataLst>
                    <p:tags r:id="rId188"/>
                  </p:custDataLst>
                </p:nvPr>
              </p:nvSpPr>
              <p:spPr bwMode="auto">
                <a:xfrm>
                  <a:off x="5480050" y="2489200"/>
                  <a:ext cx="365125" cy="423863"/>
                </a:xfrm>
                <a:custGeom>
                  <a:avLst/>
                  <a:gdLst>
                    <a:gd name="T0" fmla="*/ 2147483646 w 831"/>
                    <a:gd name="T1" fmla="*/ 2147483646 h 812"/>
                    <a:gd name="T2" fmla="*/ 2147483646 w 831"/>
                    <a:gd name="T3" fmla="*/ 2147483646 h 812"/>
                    <a:gd name="T4" fmla="*/ 2147483646 w 831"/>
                    <a:gd name="T5" fmla="*/ 2147483646 h 812"/>
                    <a:gd name="T6" fmla="*/ 2147483646 w 831"/>
                    <a:gd name="T7" fmla="*/ 2147483646 h 812"/>
                    <a:gd name="T8" fmla="*/ 2147483646 w 831"/>
                    <a:gd name="T9" fmla="*/ 2147483646 h 812"/>
                    <a:gd name="T10" fmla="*/ 2147483646 w 831"/>
                    <a:gd name="T11" fmla="*/ 2147483646 h 812"/>
                    <a:gd name="T12" fmla="*/ 2147483646 w 831"/>
                    <a:gd name="T13" fmla="*/ 2147483646 h 812"/>
                    <a:gd name="T14" fmla="*/ 2147483646 w 831"/>
                    <a:gd name="T15" fmla="*/ 2147483646 h 812"/>
                    <a:gd name="T16" fmla="*/ 2147483646 w 831"/>
                    <a:gd name="T17" fmla="*/ 2147483646 h 812"/>
                    <a:gd name="T18" fmla="*/ 2147483646 w 831"/>
                    <a:gd name="T19" fmla="*/ 2147483646 h 812"/>
                    <a:gd name="T20" fmla="*/ 2147483646 w 831"/>
                    <a:gd name="T21" fmla="*/ 2147483646 h 812"/>
                    <a:gd name="T22" fmla="*/ 2147483646 w 831"/>
                    <a:gd name="T23" fmla="*/ 2147483646 h 812"/>
                    <a:gd name="T24" fmla="*/ 2147483646 w 831"/>
                    <a:gd name="T25" fmla="*/ 2147483646 h 812"/>
                    <a:gd name="T26" fmla="*/ 2147483646 w 831"/>
                    <a:gd name="T27" fmla="*/ 2147483646 h 812"/>
                    <a:gd name="T28" fmla="*/ 2147483646 w 831"/>
                    <a:gd name="T29" fmla="*/ 2147483646 h 812"/>
                    <a:gd name="T30" fmla="*/ 2147483646 w 831"/>
                    <a:gd name="T31" fmla="*/ 2147483646 h 812"/>
                    <a:gd name="T32" fmla="*/ 2147483646 w 831"/>
                    <a:gd name="T33" fmla="*/ 2147483646 h 812"/>
                    <a:gd name="T34" fmla="*/ 2147483646 w 831"/>
                    <a:gd name="T35" fmla="*/ 2147483646 h 812"/>
                    <a:gd name="T36" fmla="*/ 2147483646 w 831"/>
                    <a:gd name="T37" fmla="*/ 2147483646 h 812"/>
                    <a:gd name="T38" fmla="*/ 2147483646 w 831"/>
                    <a:gd name="T39" fmla="*/ 2147483646 h 812"/>
                    <a:gd name="T40" fmla="*/ 2147483646 w 831"/>
                    <a:gd name="T41" fmla="*/ 2147483646 h 812"/>
                    <a:gd name="T42" fmla="*/ 2147483646 w 831"/>
                    <a:gd name="T43" fmla="*/ 2147483646 h 812"/>
                    <a:gd name="T44" fmla="*/ 2147483646 w 831"/>
                    <a:gd name="T45" fmla="*/ 2147483646 h 812"/>
                    <a:gd name="T46" fmla="*/ 2147483646 w 831"/>
                    <a:gd name="T47" fmla="*/ 2147483646 h 812"/>
                    <a:gd name="T48" fmla="*/ 2147483646 w 831"/>
                    <a:gd name="T49" fmla="*/ 2147483646 h 812"/>
                    <a:gd name="T50" fmla="*/ 2147483646 w 831"/>
                    <a:gd name="T51" fmla="*/ 2147483646 h 812"/>
                    <a:gd name="T52" fmla="*/ 2147483646 w 831"/>
                    <a:gd name="T53" fmla="*/ 2147483646 h 812"/>
                    <a:gd name="T54" fmla="*/ 2147483646 w 831"/>
                    <a:gd name="T55" fmla="*/ 2147483646 h 812"/>
                    <a:gd name="T56" fmla="*/ 2147483646 w 831"/>
                    <a:gd name="T57" fmla="*/ 2147483646 h 812"/>
                    <a:gd name="T58" fmla="*/ 2147483646 w 831"/>
                    <a:gd name="T59" fmla="*/ 2147483646 h 812"/>
                    <a:gd name="T60" fmla="*/ 2147483646 w 831"/>
                    <a:gd name="T61" fmla="*/ 2147483646 h 812"/>
                    <a:gd name="T62" fmla="*/ 2147483646 w 831"/>
                    <a:gd name="T63" fmla="*/ 2147483646 h 812"/>
                    <a:gd name="T64" fmla="*/ 2147483646 w 831"/>
                    <a:gd name="T65" fmla="*/ 2147483646 h 812"/>
                    <a:gd name="T66" fmla="*/ 2147483646 w 831"/>
                    <a:gd name="T67" fmla="*/ 2147483646 h 812"/>
                    <a:gd name="T68" fmla="*/ 2147483646 w 831"/>
                    <a:gd name="T69" fmla="*/ 2147483646 h 812"/>
                    <a:gd name="T70" fmla="*/ 2147483646 w 831"/>
                    <a:gd name="T71" fmla="*/ 2147483646 h 812"/>
                    <a:gd name="T72" fmla="*/ 2147483646 w 831"/>
                    <a:gd name="T73" fmla="*/ 2147483646 h 812"/>
                    <a:gd name="T74" fmla="*/ 2147483646 w 831"/>
                    <a:gd name="T75" fmla="*/ 2147483646 h 812"/>
                    <a:gd name="T76" fmla="*/ 2147483646 w 831"/>
                    <a:gd name="T77" fmla="*/ 2147483646 h 812"/>
                    <a:gd name="T78" fmla="*/ 2147483646 w 831"/>
                    <a:gd name="T79" fmla="*/ 2147483646 h 812"/>
                    <a:gd name="T80" fmla="*/ 2147483646 w 831"/>
                    <a:gd name="T81" fmla="*/ 2147483646 h 812"/>
                    <a:gd name="T82" fmla="*/ 2147483646 w 831"/>
                    <a:gd name="T83" fmla="*/ 2147483646 h 812"/>
                    <a:gd name="T84" fmla="*/ 2147483646 w 831"/>
                    <a:gd name="T85" fmla="*/ 2147483646 h 812"/>
                    <a:gd name="T86" fmla="*/ 2147483646 w 831"/>
                    <a:gd name="T87" fmla="*/ 2147483646 h 812"/>
                    <a:gd name="T88" fmla="*/ 2147483646 w 831"/>
                    <a:gd name="T89" fmla="*/ 2147483646 h 812"/>
                    <a:gd name="T90" fmla="*/ 2147483646 w 831"/>
                    <a:gd name="T91" fmla="*/ 2147483646 h 812"/>
                    <a:gd name="T92" fmla="*/ 2147483646 w 831"/>
                    <a:gd name="T93" fmla="*/ 2147483646 h 812"/>
                    <a:gd name="T94" fmla="*/ 2147483646 w 831"/>
                    <a:gd name="T95" fmla="*/ 2147483646 h 812"/>
                    <a:gd name="T96" fmla="*/ 2147483646 w 831"/>
                    <a:gd name="T97" fmla="*/ 2147483646 h 812"/>
                    <a:gd name="T98" fmla="*/ 2147483646 w 831"/>
                    <a:gd name="T99" fmla="*/ 2147483646 h 812"/>
                    <a:gd name="T100" fmla="*/ 2147483646 w 831"/>
                    <a:gd name="T101" fmla="*/ 2147483646 h 812"/>
                    <a:gd name="T102" fmla="*/ 2147483646 w 831"/>
                    <a:gd name="T103" fmla="*/ 2147483646 h 812"/>
                    <a:gd name="T104" fmla="*/ 2147483646 w 831"/>
                    <a:gd name="T105" fmla="*/ 2147483646 h 812"/>
                    <a:gd name="T106" fmla="*/ 2147483646 w 831"/>
                    <a:gd name="T107" fmla="*/ 2147483646 h 81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831"/>
                    <a:gd name="T163" fmla="*/ 0 h 812"/>
                    <a:gd name="T164" fmla="*/ 831 w 831"/>
                    <a:gd name="T165" fmla="*/ 812 h 812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831" h="812">
                      <a:moveTo>
                        <a:pt x="831" y="98"/>
                      </a:moveTo>
                      <a:lnTo>
                        <a:pt x="817" y="95"/>
                      </a:lnTo>
                      <a:lnTo>
                        <a:pt x="803" y="91"/>
                      </a:lnTo>
                      <a:lnTo>
                        <a:pt x="791" y="87"/>
                      </a:lnTo>
                      <a:lnTo>
                        <a:pt x="779" y="82"/>
                      </a:lnTo>
                      <a:lnTo>
                        <a:pt x="769" y="77"/>
                      </a:lnTo>
                      <a:lnTo>
                        <a:pt x="758" y="71"/>
                      </a:lnTo>
                      <a:lnTo>
                        <a:pt x="749" y="65"/>
                      </a:lnTo>
                      <a:lnTo>
                        <a:pt x="740" y="58"/>
                      </a:lnTo>
                      <a:lnTo>
                        <a:pt x="707" y="29"/>
                      </a:lnTo>
                      <a:lnTo>
                        <a:pt x="679" y="0"/>
                      </a:lnTo>
                      <a:lnTo>
                        <a:pt x="655" y="2"/>
                      </a:lnTo>
                      <a:lnTo>
                        <a:pt x="626" y="4"/>
                      </a:lnTo>
                      <a:lnTo>
                        <a:pt x="594" y="7"/>
                      </a:lnTo>
                      <a:lnTo>
                        <a:pt x="562" y="10"/>
                      </a:lnTo>
                      <a:lnTo>
                        <a:pt x="547" y="13"/>
                      </a:lnTo>
                      <a:lnTo>
                        <a:pt x="533" y="16"/>
                      </a:lnTo>
                      <a:lnTo>
                        <a:pt x="520" y="19"/>
                      </a:lnTo>
                      <a:lnTo>
                        <a:pt x="509" y="24"/>
                      </a:lnTo>
                      <a:lnTo>
                        <a:pt x="499" y="29"/>
                      </a:lnTo>
                      <a:lnTo>
                        <a:pt x="492" y="34"/>
                      </a:lnTo>
                      <a:lnTo>
                        <a:pt x="489" y="37"/>
                      </a:lnTo>
                      <a:lnTo>
                        <a:pt x="487" y="41"/>
                      </a:lnTo>
                      <a:lnTo>
                        <a:pt x="486" y="44"/>
                      </a:lnTo>
                      <a:lnTo>
                        <a:pt x="486" y="49"/>
                      </a:lnTo>
                      <a:lnTo>
                        <a:pt x="486" y="54"/>
                      </a:lnTo>
                      <a:lnTo>
                        <a:pt x="487" y="59"/>
                      </a:lnTo>
                      <a:lnTo>
                        <a:pt x="489" y="63"/>
                      </a:lnTo>
                      <a:lnTo>
                        <a:pt x="491" y="66"/>
                      </a:lnTo>
                      <a:lnTo>
                        <a:pt x="497" y="71"/>
                      </a:lnTo>
                      <a:lnTo>
                        <a:pt x="502" y="76"/>
                      </a:lnTo>
                      <a:lnTo>
                        <a:pt x="509" y="80"/>
                      </a:lnTo>
                      <a:lnTo>
                        <a:pt x="514" y="84"/>
                      </a:lnTo>
                      <a:lnTo>
                        <a:pt x="516" y="87"/>
                      </a:lnTo>
                      <a:lnTo>
                        <a:pt x="517" y="90"/>
                      </a:lnTo>
                      <a:lnTo>
                        <a:pt x="519" y="93"/>
                      </a:lnTo>
                      <a:lnTo>
                        <a:pt x="519" y="98"/>
                      </a:lnTo>
                      <a:lnTo>
                        <a:pt x="519" y="102"/>
                      </a:lnTo>
                      <a:lnTo>
                        <a:pt x="517" y="107"/>
                      </a:lnTo>
                      <a:lnTo>
                        <a:pt x="516" y="111"/>
                      </a:lnTo>
                      <a:lnTo>
                        <a:pt x="514" y="114"/>
                      </a:lnTo>
                      <a:lnTo>
                        <a:pt x="509" y="120"/>
                      </a:lnTo>
                      <a:lnTo>
                        <a:pt x="502" y="127"/>
                      </a:lnTo>
                      <a:lnTo>
                        <a:pt x="497" y="133"/>
                      </a:lnTo>
                      <a:lnTo>
                        <a:pt x="491" y="140"/>
                      </a:lnTo>
                      <a:lnTo>
                        <a:pt x="489" y="144"/>
                      </a:lnTo>
                      <a:lnTo>
                        <a:pt x="487" y="149"/>
                      </a:lnTo>
                      <a:lnTo>
                        <a:pt x="486" y="154"/>
                      </a:lnTo>
                      <a:lnTo>
                        <a:pt x="486" y="159"/>
                      </a:lnTo>
                      <a:lnTo>
                        <a:pt x="480" y="162"/>
                      </a:lnTo>
                      <a:lnTo>
                        <a:pt x="475" y="163"/>
                      </a:lnTo>
                      <a:lnTo>
                        <a:pt x="470" y="166"/>
                      </a:lnTo>
                      <a:lnTo>
                        <a:pt x="466" y="169"/>
                      </a:lnTo>
                      <a:lnTo>
                        <a:pt x="457" y="176"/>
                      </a:lnTo>
                      <a:lnTo>
                        <a:pt x="450" y="184"/>
                      </a:lnTo>
                      <a:lnTo>
                        <a:pt x="444" y="194"/>
                      </a:lnTo>
                      <a:lnTo>
                        <a:pt x="438" y="205"/>
                      </a:lnTo>
                      <a:lnTo>
                        <a:pt x="434" y="217"/>
                      </a:lnTo>
                      <a:lnTo>
                        <a:pt x="430" y="230"/>
                      </a:lnTo>
                      <a:lnTo>
                        <a:pt x="427" y="243"/>
                      </a:lnTo>
                      <a:lnTo>
                        <a:pt x="424" y="256"/>
                      </a:lnTo>
                      <a:lnTo>
                        <a:pt x="423" y="270"/>
                      </a:lnTo>
                      <a:lnTo>
                        <a:pt x="421" y="284"/>
                      </a:lnTo>
                      <a:lnTo>
                        <a:pt x="420" y="309"/>
                      </a:lnTo>
                      <a:lnTo>
                        <a:pt x="420" y="332"/>
                      </a:lnTo>
                      <a:lnTo>
                        <a:pt x="412" y="332"/>
                      </a:lnTo>
                      <a:lnTo>
                        <a:pt x="407" y="330"/>
                      </a:lnTo>
                      <a:lnTo>
                        <a:pt x="401" y="327"/>
                      </a:lnTo>
                      <a:lnTo>
                        <a:pt x="397" y="322"/>
                      </a:lnTo>
                      <a:lnTo>
                        <a:pt x="392" y="319"/>
                      </a:lnTo>
                      <a:lnTo>
                        <a:pt x="388" y="316"/>
                      </a:lnTo>
                      <a:lnTo>
                        <a:pt x="385" y="314"/>
                      </a:lnTo>
                      <a:lnTo>
                        <a:pt x="379" y="313"/>
                      </a:lnTo>
                      <a:lnTo>
                        <a:pt x="375" y="314"/>
                      </a:lnTo>
                      <a:lnTo>
                        <a:pt x="370" y="315"/>
                      </a:lnTo>
                      <a:lnTo>
                        <a:pt x="366" y="317"/>
                      </a:lnTo>
                      <a:lnTo>
                        <a:pt x="362" y="319"/>
                      </a:lnTo>
                      <a:lnTo>
                        <a:pt x="354" y="325"/>
                      </a:lnTo>
                      <a:lnTo>
                        <a:pt x="346" y="332"/>
                      </a:lnTo>
                      <a:lnTo>
                        <a:pt x="338" y="339"/>
                      </a:lnTo>
                      <a:lnTo>
                        <a:pt x="331" y="345"/>
                      </a:lnTo>
                      <a:lnTo>
                        <a:pt x="326" y="347"/>
                      </a:lnTo>
                      <a:lnTo>
                        <a:pt x="322" y="349"/>
                      </a:lnTo>
                      <a:lnTo>
                        <a:pt x="318" y="350"/>
                      </a:lnTo>
                      <a:lnTo>
                        <a:pt x="313" y="351"/>
                      </a:lnTo>
                      <a:lnTo>
                        <a:pt x="308" y="351"/>
                      </a:lnTo>
                      <a:lnTo>
                        <a:pt x="303" y="353"/>
                      </a:lnTo>
                      <a:lnTo>
                        <a:pt x="300" y="356"/>
                      </a:lnTo>
                      <a:lnTo>
                        <a:pt x="297" y="360"/>
                      </a:lnTo>
                      <a:lnTo>
                        <a:pt x="290" y="370"/>
                      </a:lnTo>
                      <a:lnTo>
                        <a:pt x="287" y="383"/>
                      </a:lnTo>
                      <a:lnTo>
                        <a:pt x="284" y="396"/>
                      </a:lnTo>
                      <a:lnTo>
                        <a:pt x="281" y="408"/>
                      </a:lnTo>
                      <a:lnTo>
                        <a:pt x="280" y="418"/>
                      </a:lnTo>
                      <a:lnTo>
                        <a:pt x="280" y="424"/>
                      </a:lnTo>
                      <a:lnTo>
                        <a:pt x="277" y="427"/>
                      </a:lnTo>
                      <a:lnTo>
                        <a:pt x="273" y="429"/>
                      </a:lnTo>
                      <a:lnTo>
                        <a:pt x="265" y="432"/>
                      </a:lnTo>
                      <a:lnTo>
                        <a:pt x="257" y="435"/>
                      </a:lnTo>
                      <a:lnTo>
                        <a:pt x="235" y="442"/>
                      </a:lnTo>
                      <a:lnTo>
                        <a:pt x="211" y="448"/>
                      </a:lnTo>
                      <a:lnTo>
                        <a:pt x="185" y="453"/>
                      </a:lnTo>
                      <a:lnTo>
                        <a:pt x="161" y="458"/>
                      </a:lnTo>
                      <a:lnTo>
                        <a:pt x="141" y="461"/>
                      </a:lnTo>
                      <a:lnTo>
                        <a:pt x="127" y="462"/>
                      </a:lnTo>
                      <a:lnTo>
                        <a:pt x="109" y="461"/>
                      </a:lnTo>
                      <a:lnTo>
                        <a:pt x="91" y="460"/>
                      </a:lnTo>
                      <a:lnTo>
                        <a:pt x="74" y="457"/>
                      </a:lnTo>
                      <a:lnTo>
                        <a:pt x="56" y="455"/>
                      </a:lnTo>
                      <a:lnTo>
                        <a:pt x="26" y="449"/>
                      </a:lnTo>
                      <a:lnTo>
                        <a:pt x="0" y="443"/>
                      </a:lnTo>
                      <a:lnTo>
                        <a:pt x="8" y="455"/>
                      </a:lnTo>
                      <a:lnTo>
                        <a:pt x="19" y="470"/>
                      </a:lnTo>
                      <a:lnTo>
                        <a:pt x="34" y="487"/>
                      </a:lnTo>
                      <a:lnTo>
                        <a:pt x="51" y="505"/>
                      </a:lnTo>
                      <a:lnTo>
                        <a:pt x="60" y="513"/>
                      </a:lnTo>
                      <a:lnTo>
                        <a:pt x="68" y="521"/>
                      </a:lnTo>
                      <a:lnTo>
                        <a:pt x="77" y="528"/>
                      </a:lnTo>
                      <a:lnTo>
                        <a:pt x="87" y="535"/>
                      </a:lnTo>
                      <a:lnTo>
                        <a:pt x="96" y="540"/>
                      </a:lnTo>
                      <a:lnTo>
                        <a:pt x="105" y="544"/>
                      </a:lnTo>
                      <a:lnTo>
                        <a:pt x="112" y="546"/>
                      </a:lnTo>
                      <a:lnTo>
                        <a:pt x="120" y="547"/>
                      </a:lnTo>
                      <a:lnTo>
                        <a:pt x="121" y="561"/>
                      </a:lnTo>
                      <a:lnTo>
                        <a:pt x="123" y="577"/>
                      </a:lnTo>
                      <a:lnTo>
                        <a:pt x="127" y="585"/>
                      </a:lnTo>
                      <a:lnTo>
                        <a:pt x="131" y="591"/>
                      </a:lnTo>
                      <a:lnTo>
                        <a:pt x="134" y="593"/>
                      </a:lnTo>
                      <a:lnTo>
                        <a:pt x="138" y="595"/>
                      </a:lnTo>
                      <a:lnTo>
                        <a:pt x="142" y="596"/>
                      </a:lnTo>
                      <a:lnTo>
                        <a:pt x="147" y="597"/>
                      </a:lnTo>
                      <a:lnTo>
                        <a:pt x="147" y="616"/>
                      </a:lnTo>
                      <a:lnTo>
                        <a:pt x="127" y="629"/>
                      </a:lnTo>
                      <a:lnTo>
                        <a:pt x="107" y="641"/>
                      </a:lnTo>
                      <a:lnTo>
                        <a:pt x="99" y="647"/>
                      </a:lnTo>
                      <a:lnTo>
                        <a:pt x="93" y="654"/>
                      </a:lnTo>
                      <a:lnTo>
                        <a:pt x="90" y="658"/>
                      </a:lnTo>
                      <a:lnTo>
                        <a:pt x="88" y="663"/>
                      </a:lnTo>
                      <a:lnTo>
                        <a:pt x="87" y="667"/>
                      </a:lnTo>
                      <a:lnTo>
                        <a:pt x="87" y="671"/>
                      </a:lnTo>
                      <a:lnTo>
                        <a:pt x="87" y="680"/>
                      </a:lnTo>
                      <a:lnTo>
                        <a:pt x="87" y="689"/>
                      </a:lnTo>
                      <a:lnTo>
                        <a:pt x="87" y="701"/>
                      </a:lnTo>
                      <a:lnTo>
                        <a:pt x="87" y="721"/>
                      </a:lnTo>
                      <a:lnTo>
                        <a:pt x="109" y="720"/>
                      </a:lnTo>
                      <a:lnTo>
                        <a:pt x="132" y="719"/>
                      </a:lnTo>
                      <a:lnTo>
                        <a:pt x="154" y="717"/>
                      </a:lnTo>
                      <a:lnTo>
                        <a:pt x="177" y="714"/>
                      </a:lnTo>
                      <a:lnTo>
                        <a:pt x="199" y="711"/>
                      </a:lnTo>
                      <a:lnTo>
                        <a:pt x="222" y="710"/>
                      </a:lnTo>
                      <a:lnTo>
                        <a:pt x="244" y="708"/>
                      </a:lnTo>
                      <a:lnTo>
                        <a:pt x="266" y="708"/>
                      </a:lnTo>
                      <a:lnTo>
                        <a:pt x="284" y="707"/>
                      </a:lnTo>
                      <a:lnTo>
                        <a:pt x="297" y="705"/>
                      </a:lnTo>
                      <a:lnTo>
                        <a:pt x="302" y="705"/>
                      </a:lnTo>
                      <a:lnTo>
                        <a:pt x="310" y="705"/>
                      </a:lnTo>
                      <a:lnTo>
                        <a:pt x="318" y="706"/>
                      </a:lnTo>
                      <a:lnTo>
                        <a:pt x="326" y="708"/>
                      </a:lnTo>
                      <a:lnTo>
                        <a:pt x="328" y="714"/>
                      </a:lnTo>
                      <a:lnTo>
                        <a:pt x="330" y="721"/>
                      </a:lnTo>
                      <a:lnTo>
                        <a:pt x="333" y="728"/>
                      </a:lnTo>
                      <a:lnTo>
                        <a:pt x="338" y="735"/>
                      </a:lnTo>
                      <a:lnTo>
                        <a:pt x="345" y="742"/>
                      </a:lnTo>
                      <a:lnTo>
                        <a:pt x="352" y="749"/>
                      </a:lnTo>
                      <a:lnTo>
                        <a:pt x="359" y="756"/>
                      </a:lnTo>
                      <a:lnTo>
                        <a:pt x="368" y="762"/>
                      </a:lnTo>
                      <a:lnTo>
                        <a:pt x="378" y="769"/>
                      </a:lnTo>
                      <a:lnTo>
                        <a:pt x="388" y="776"/>
                      </a:lnTo>
                      <a:lnTo>
                        <a:pt x="398" y="781"/>
                      </a:lnTo>
                      <a:lnTo>
                        <a:pt x="408" y="785"/>
                      </a:lnTo>
                      <a:lnTo>
                        <a:pt x="418" y="789"/>
                      </a:lnTo>
                      <a:lnTo>
                        <a:pt x="427" y="792"/>
                      </a:lnTo>
                      <a:lnTo>
                        <a:pt x="437" y="794"/>
                      </a:lnTo>
                      <a:lnTo>
                        <a:pt x="446" y="794"/>
                      </a:lnTo>
                      <a:lnTo>
                        <a:pt x="449" y="803"/>
                      </a:lnTo>
                      <a:lnTo>
                        <a:pt x="453" y="812"/>
                      </a:lnTo>
                      <a:lnTo>
                        <a:pt x="454" y="806"/>
                      </a:lnTo>
                      <a:lnTo>
                        <a:pt x="455" y="800"/>
                      </a:lnTo>
                      <a:lnTo>
                        <a:pt x="457" y="795"/>
                      </a:lnTo>
                      <a:lnTo>
                        <a:pt x="460" y="791"/>
                      </a:lnTo>
                      <a:lnTo>
                        <a:pt x="464" y="787"/>
                      </a:lnTo>
                      <a:lnTo>
                        <a:pt x="467" y="783"/>
                      </a:lnTo>
                      <a:lnTo>
                        <a:pt x="471" y="780"/>
                      </a:lnTo>
                      <a:lnTo>
                        <a:pt x="477" y="778"/>
                      </a:lnTo>
                      <a:lnTo>
                        <a:pt x="487" y="774"/>
                      </a:lnTo>
                      <a:lnTo>
                        <a:pt x="499" y="770"/>
                      </a:lnTo>
                      <a:lnTo>
                        <a:pt x="512" y="768"/>
                      </a:lnTo>
                      <a:lnTo>
                        <a:pt x="525" y="767"/>
                      </a:lnTo>
                      <a:lnTo>
                        <a:pt x="539" y="765"/>
                      </a:lnTo>
                      <a:lnTo>
                        <a:pt x="554" y="764"/>
                      </a:lnTo>
                      <a:lnTo>
                        <a:pt x="567" y="761"/>
                      </a:lnTo>
                      <a:lnTo>
                        <a:pt x="580" y="758"/>
                      </a:lnTo>
                      <a:lnTo>
                        <a:pt x="586" y="756"/>
                      </a:lnTo>
                      <a:lnTo>
                        <a:pt x="591" y="753"/>
                      </a:lnTo>
                      <a:lnTo>
                        <a:pt x="597" y="750"/>
                      </a:lnTo>
                      <a:lnTo>
                        <a:pt x="602" y="747"/>
                      </a:lnTo>
                      <a:lnTo>
                        <a:pt x="606" y="743"/>
                      </a:lnTo>
                      <a:lnTo>
                        <a:pt x="611" y="738"/>
                      </a:lnTo>
                      <a:lnTo>
                        <a:pt x="615" y="733"/>
                      </a:lnTo>
                      <a:lnTo>
                        <a:pt x="618" y="727"/>
                      </a:lnTo>
                      <a:lnTo>
                        <a:pt x="614" y="725"/>
                      </a:lnTo>
                      <a:lnTo>
                        <a:pt x="610" y="722"/>
                      </a:lnTo>
                      <a:lnTo>
                        <a:pt x="604" y="718"/>
                      </a:lnTo>
                      <a:lnTo>
                        <a:pt x="598" y="712"/>
                      </a:lnTo>
                      <a:lnTo>
                        <a:pt x="584" y="700"/>
                      </a:lnTo>
                      <a:lnTo>
                        <a:pt x="571" y="686"/>
                      </a:lnTo>
                      <a:lnTo>
                        <a:pt x="559" y="671"/>
                      </a:lnTo>
                      <a:lnTo>
                        <a:pt x="548" y="655"/>
                      </a:lnTo>
                      <a:lnTo>
                        <a:pt x="545" y="648"/>
                      </a:lnTo>
                      <a:lnTo>
                        <a:pt x="542" y="641"/>
                      </a:lnTo>
                      <a:lnTo>
                        <a:pt x="539" y="634"/>
                      </a:lnTo>
                      <a:lnTo>
                        <a:pt x="538" y="628"/>
                      </a:lnTo>
                      <a:lnTo>
                        <a:pt x="534" y="627"/>
                      </a:lnTo>
                      <a:lnTo>
                        <a:pt x="530" y="626"/>
                      </a:lnTo>
                      <a:lnTo>
                        <a:pt x="526" y="624"/>
                      </a:lnTo>
                      <a:lnTo>
                        <a:pt x="523" y="620"/>
                      </a:lnTo>
                      <a:lnTo>
                        <a:pt x="517" y="613"/>
                      </a:lnTo>
                      <a:lnTo>
                        <a:pt x="512" y="603"/>
                      </a:lnTo>
                      <a:lnTo>
                        <a:pt x="512" y="579"/>
                      </a:lnTo>
                      <a:lnTo>
                        <a:pt x="526" y="578"/>
                      </a:lnTo>
                      <a:lnTo>
                        <a:pt x="539" y="577"/>
                      </a:lnTo>
                      <a:lnTo>
                        <a:pt x="551" y="575"/>
                      </a:lnTo>
                      <a:lnTo>
                        <a:pt x="562" y="571"/>
                      </a:lnTo>
                      <a:lnTo>
                        <a:pt x="572" y="568"/>
                      </a:lnTo>
                      <a:lnTo>
                        <a:pt x="582" y="563"/>
                      </a:lnTo>
                      <a:lnTo>
                        <a:pt x="591" y="558"/>
                      </a:lnTo>
                      <a:lnTo>
                        <a:pt x="600" y="552"/>
                      </a:lnTo>
                      <a:lnTo>
                        <a:pt x="607" y="545"/>
                      </a:lnTo>
                      <a:lnTo>
                        <a:pt x="615" y="538"/>
                      </a:lnTo>
                      <a:lnTo>
                        <a:pt x="622" y="531"/>
                      </a:lnTo>
                      <a:lnTo>
                        <a:pt x="628" y="523"/>
                      </a:lnTo>
                      <a:lnTo>
                        <a:pt x="639" y="507"/>
                      </a:lnTo>
                      <a:lnTo>
                        <a:pt x="650" y="489"/>
                      </a:lnTo>
                      <a:lnTo>
                        <a:pt x="669" y="453"/>
                      </a:lnTo>
                      <a:lnTo>
                        <a:pt x="688" y="417"/>
                      </a:lnTo>
                      <a:lnTo>
                        <a:pt x="699" y="401"/>
                      </a:lnTo>
                      <a:lnTo>
                        <a:pt x="710" y="387"/>
                      </a:lnTo>
                      <a:lnTo>
                        <a:pt x="716" y="379"/>
                      </a:lnTo>
                      <a:lnTo>
                        <a:pt x="723" y="373"/>
                      </a:lnTo>
                      <a:lnTo>
                        <a:pt x="730" y="368"/>
                      </a:lnTo>
                      <a:lnTo>
                        <a:pt x="738" y="363"/>
                      </a:lnTo>
                      <a:lnTo>
                        <a:pt x="732" y="351"/>
                      </a:lnTo>
                      <a:lnTo>
                        <a:pt x="727" y="340"/>
                      </a:lnTo>
                      <a:lnTo>
                        <a:pt x="726" y="335"/>
                      </a:lnTo>
                      <a:lnTo>
                        <a:pt x="725" y="330"/>
                      </a:lnTo>
                      <a:lnTo>
                        <a:pt x="725" y="324"/>
                      </a:lnTo>
                      <a:lnTo>
                        <a:pt x="725" y="319"/>
                      </a:lnTo>
                      <a:lnTo>
                        <a:pt x="726" y="314"/>
                      </a:lnTo>
                      <a:lnTo>
                        <a:pt x="727" y="309"/>
                      </a:lnTo>
                      <a:lnTo>
                        <a:pt x="729" y="305"/>
                      </a:lnTo>
                      <a:lnTo>
                        <a:pt x="733" y="301"/>
                      </a:lnTo>
                      <a:lnTo>
                        <a:pt x="736" y="298"/>
                      </a:lnTo>
                      <a:lnTo>
                        <a:pt x="740" y="295"/>
                      </a:lnTo>
                      <a:lnTo>
                        <a:pt x="746" y="292"/>
                      </a:lnTo>
                      <a:lnTo>
                        <a:pt x="751" y="289"/>
                      </a:lnTo>
                      <a:lnTo>
                        <a:pt x="722" y="262"/>
                      </a:lnTo>
                      <a:lnTo>
                        <a:pt x="700" y="242"/>
                      </a:lnTo>
                      <a:lnTo>
                        <a:pt x="690" y="232"/>
                      </a:lnTo>
                      <a:lnTo>
                        <a:pt x="680" y="221"/>
                      </a:lnTo>
                      <a:lnTo>
                        <a:pt x="670" y="207"/>
                      </a:lnTo>
                      <a:lnTo>
                        <a:pt x="658" y="190"/>
                      </a:lnTo>
                      <a:lnTo>
                        <a:pt x="658" y="147"/>
                      </a:lnTo>
                      <a:lnTo>
                        <a:pt x="701" y="145"/>
                      </a:lnTo>
                      <a:lnTo>
                        <a:pt x="733" y="143"/>
                      </a:lnTo>
                      <a:lnTo>
                        <a:pt x="758" y="140"/>
                      </a:lnTo>
                      <a:lnTo>
                        <a:pt x="778" y="136"/>
                      </a:lnTo>
                      <a:lnTo>
                        <a:pt x="785" y="134"/>
                      </a:lnTo>
                      <a:lnTo>
                        <a:pt x="792" y="131"/>
                      </a:lnTo>
                      <a:lnTo>
                        <a:pt x="799" y="127"/>
                      </a:lnTo>
                      <a:lnTo>
                        <a:pt x="805" y="123"/>
                      </a:lnTo>
                      <a:lnTo>
                        <a:pt x="817" y="113"/>
                      </a:lnTo>
                      <a:lnTo>
                        <a:pt x="831" y="9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2" name="Freeform 262">
                  <a:extLst>
                    <a:ext uri="{FF2B5EF4-FFF2-40B4-BE49-F238E27FC236}">
                      <a16:creationId xmlns:a16="http://schemas.microsoft.com/office/drawing/2014/main" xmlns="" id="{83ADAC1D-6759-4AC2-9DB7-EC063D66BE77}"/>
                    </a:ext>
                  </a:extLst>
                </p:cNvPr>
                <p:cNvSpPr>
                  <a:spLocks/>
                </p:cNvSpPr>
                <p:nvPr>
                  <p:custDataLst>
                    <p:tags r:id="rId189"/>
                  </p:custDataLst>
                </p:nvPr>
              </p:nvSpPr>
              <p:spPr bwMode="auto">
                <a:xfrm>
                  <a:off x="6270625" y="2757488"/>
                  <a:ext cx="220663" cy="585787"/>
                </a:xfrm>
                <a:custGeom>
                  <a:avLst/>
                  <a:gdLst>
                    <a:gd name="T0" fmla="*/ 2147483646 w 505"/>
                    <a:gd name="T1" fmla="*/ 2147483646 h 1121"/>
                    <a:gd name="T2" fmla="*/ 2147483646 w 505"/>
                    <a:gd name="T3" fmla="*/ 2147483646 h 1121"/>
                    <a:gd name="T4" fmla="*/ 2147483646 w 505"/>
                    <a:gd name="T5" fmla="*/ 2147483646 h 1121"/>
                    <a:gd name="T6" fmla="*/ 2147483646 w 505"/>
                    <a:gd name="T7" fmla="*/ 2147483646 h 1121"/>
                    <a:gd name="T8" fmla="*/ 2147483646 w 505"/>
                    <a:gd name="T9" fmla="*/ 2147483646 h 1121"/>
                    <a:gd name="T10" fmla="*/ 2147483646 w 505"/>
                    <a:gd name="T11" fmla="*/ 2147483646 h 1121"/>
                    <a:gd name="T12" fmla="*/ 2147483646 w 505"/>
                    <a:gd name="T13" fmla="*/ 2147483646 h 1121"/>
                    <a:gd name="T14" fmla="*/ 2147483646 w 505"/>
                    <a:gd name="T15" fmla="*/ 2147483646 h 1121"/>
                    <a:gd name="T16" fmla="*/ 2147483646 w 505"/>
                    <a:gd name="T17" fmla="*/ 2147483646 h 1121"/>
                    <a:gd name="T18" fmla="*/ 2147483646 w 505"/>
                    <a:gd name="T19" fmla="*/ 2147483646 h 1121"/>
                    <a:gd name="T20" fmla="*/ 2147483646 w 505"/>
                    <a:gd name="T21" fmla="*/ 2147483646 h 1121"/>
                    <a:gd name="T22" fmla="*/ 2147483646 w 505"/>
                    <a:gd name="T23" fmla="*/ 2147483646 h 1121"/>
                    <a:gd name="T24" fmla="*/ 2147483646 w 505"/>
                    <a:gd name="T25" fmla="*/ 2147483646 h 1121"/>
                    <a:gd name="T26" fmla="*/ 2147483646 w 505"/>
                    <a:gd name="T27" fmla="*/ 2147483646 h 1121"/>
                    <a:gd name="T28" fmla="*/ 2147483646 w 505"/>
                    <a:gd name="T29" fmla="*/ 2147483646 h 1121"/>
                    <a:gd name="T30" fmla="*/ 2147483646 w 505"/>
                    <a:gd name="T31" fmla="*/ 2147483646 h 1121"/>
                    <a:gd name="T32" fmla="*/ 2147483646 w 505"/>
                    <a:gd name="T33" fmla="*/ 2147483646 h 1121"/>
                    <a:gd name="T34" fmla="*/ 2147483646 w 505"/>
                    <a:gd name="T35" fmla="*/ 2147483646 h 1121"/>
                    <a:gd name="T36" fmla="*/ 2147483646 w 505"/>
                    <a:gd name="T37" fmla="*/ 2147483646 h 1121"/>
                    <a:gd name="T38" fmla="*/ 2147483646 w 505"/>
                    <a:gd name="T39" fmla="*/ 2147483646 h 1121"/>
                    <a:gd name="T40" fmla="*/ 2147483646 w 505"/>
                    <a:gd name="T41" fmla="*/ 2147483646 h 1121"/>
                    <a:gd name="T42" fmla="*/ 2147483646 w 505"/>
                    <a:gd name="T43" fmla="*/ 2147483646 h 1121"/>
                    <a:gd name="T44" fmla="*/ 2147483646 w 505"/>
                    <a:gd name="T45" fmla="*/ 2147483646 h 1121"/>
                    <a:gd name="T46" fmla="*/ 2147483646 w 505"/>
                    <a:gd name="T47" fmla="*/ 2147483646 h 1121"/>
                    <a:gd name="T48" fmla="*/ 2147483646 w 505"/>
                    <a:gd name="T49" fmla="*/ 2147483646 h 1121"/>
                    <a:gd name="T50" fmla="*/ 2147483646 w 505"/>
                    <a:gd name="T51" fmla="*/ 2147483646 h 1121"/>
                    <a:gd name="T52" fmla="*/ 2147483646 w 505"/>
                    <a:gd name="T53" fmla="*/ 2147483646 h 1121"/>
                    <a:gd name="T54" fmla="*/ 2147483646 w 505"/>
                    <a:gd name="T55" fmla="*/ 2147483646 h 1121"/>
                    <a:gd name="T56" fmla="*/ 2147483646 w 505"/>
                    <a:gd name="T57" fmla="*/ 2147483646 h 1121"/>
                    <a:gd name="T58" fmla="*/ 2147483646 w 505"/>
                    <a:gd name="T59" fmla="*/ 2147483646 h 1121"/>
                    <a:gd name="T60" fmla="*/ 2147483646 w 505"/>
                    <a:gd name="T61" fmla="*/ 2147483646 h 1121"/>
                    <a:gd name="T62" fmla="*/ 2147483646 w 505"/>
                    <a:gd name="T63" fmla="*/ 2147483646 h 1121"/>
                    <a:gd name="T64" fmla="*/ 2147483646 w 505"/>
                    <a:gd name="T65" fmla="*/ 2147483646 h 1121"/>
                    <a:gd name="T66" fmla="*/ 2147483646 w 505"/>
                    <a:gd name="T67" fmla="*/ 2147483646 h 1121"/>
                    <a:gd name="T68" fmla="*/ 2147483646 w 505"/>
                    <a:gd name="T69" fmla="*/ 2147483646 h 1121"/>
                    <a:gd name="T70" fmla="*/ 2147483646 w 505"/>
                    <a:gd name="T71" fmla="*/ 2147483646 h 1121"/>
                    <a:gd name="T72" fmla="*/ 2147483646 w 505"/>
                    <a:gd name="T73" fmla="*/ 2147483646 h 1121"/>
                    <a:gd name="T74" fmla="*/ 2147483646 w 505"/>
                    <a:gd name="T75" fmla="*/ 2147483646 h 1121"/>
                    <a:gd name="T76" fmla="*/ 2147483646 w 505"/>
                    <a:gd name="T77" fmla="*/ 2147483646 h 1121"/>
                    <a:gd name="T78" fmla="*/ 2147483646 w 505"/>
                    <a:gd name="T79" fmla="*/ 2147483646 h 1121"/>
                    <a:gd name="T80" fmla="*/ 2147483646 w 505"/>
                    <a:gd name="T81" fmla="*/ 2147483646 h 1121"/>
                    <a:gd name="T82" fmla="*/ 2147483646 w 505"/>
                    <a:gd name="T83" fmla="*/ 2147483646 h 1121"/>
                    <a:gd name="T84" fmla="*/ 2147483646 w 505"/>
                    <a:gd name="T85" fmla="*/ 2147483646 h 1121"/>
                    <a:gd name="T86" fmla="*/ 2147483646 w 505"/>
                    <a:gd name="T87" fmla="*/ 2147483646 h 1121"/>
                    <a:gd name="T88" fmla="*/ 2147483646 w 505"/>
                    <a:gd name="T89" fmla="*/ 2147483646 h 1121"/>
                    <a:gd name="T90" fmla="*/ 2147483646 w 505"/>
                    <a:gd name="T91" fmla="*/ 2147483646 h 1121"/>
                    <a:gd name="T92" fmla="*/ 2147483646 w 505"/>
                    <a:gd name="T93" fmla="*/ 2147483646 h 1121"/>
                    <a:gd name="T94" fmla="*/ 2147483646 w 505"/>
                    <a:gd name="T95" fmla="*/ 2147483646 h 1121"/>
                    <a:gd name="T96" fmla="*/ 2147483646 w 505"/>
                    <a:gd name="T97" fmla="*/ 2147483646 h 1121"/>
                    <a:gd name="T98" fmla="*/ 2147483646 w 505"/>
                    <a:gd name="T99" fmla="*/ 2147483646 h 1121"/>
                    <a:gd name="T100" fmla="*/ 2147483646 w 505"/>
                    <a:gd name="T101" fmla="*/ 2147483646 h 1121"/>
                    <a:gd name="T102" fmla="*/ 2147483646 w 505"/>
                    <a:gd name="T103" fmla="*/ 2147483646 h 1121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505"/>
                    <a:gd name="T157" fmla="*/ 0 h 1121"/>
                    <a:gd name="T158" fmla="*/ 505 w 505"/>
                    <a:gd name="T159" fmla="*/ 1121 h 1121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505" h="1121">
                      <a:moveTo>
                        <a:pt x="446" y="1121"/>
                      </a:moveTo>
                      <a:lnTo>
                        <a:pt x="445" y="1106"/>
                      </a:lnTo>
                      <a:lnTo>
                        <a:pt x="443" y="1091"/>
                      </a:lnTo>
                      <a:lnTo>
                        <a:pt x="440" y="1079"/>
                      </a:lnTo>
                      <a:lnTo>
                        <a:pt x="438" y="1067"/>
                      </a:lnTo>
                      <a:lnTo>
                        <a:pt x="437" y="1056"/>
                      </a:lnTo>
                      <a:lnTo>
                        <a:pt x="437" y="1045"/>
                      </a:lnTo>
                      <a:lnTo>
                        <a:pt x="438" y="1040"/>
                      </a:lnTo>
                      <a:lnTo>
                        <a:pt x="439" y="1034"/>
                      </a:lnTo>
                      <a:lnTo>
                        <a:pt x="443" y="1028"/>
                      </a:lnTo>
                      <a:lnTo>
                        <a:pt x="446" y="1022"/>
                      </a:lnTo>
                      <a:lnTo>
                        <a:pt x="430" y="1022"/>
                      </a:lnTo>
                      <a:lnTo>
                        <a:pt x="420" y="1022"/>
                      </a:lnTo>
                      <a:lnTo>
                        <a:pt x="411" y="1022"/>
                      </a:lnTo>
                      <a:lnTo>
                        <a:pt x="399" y="1022"/>
                      </a:lnTo>
                      <a:lnTo>
                        <a:pt x="399" y="1001"/>
                      </a:lnTo>
                      <a:lnTo>
                        <a:pt x="399" y="988"/>
                      </a:lnTo>
                      <a:lnTo>
                        <a:pt x="399" y="975"/>
                      </a:lnTo>
                      <a:lnTo>
                        <a:pt x="399" y="961"/>
                      </a:lnTo>
                      <a:lnTo>
                        <a:pt x="405" y="957"/>
                      </a:lnTo>
                      <a:lnTo>
                        <a:pt x="411" y="953"/>
                      </a:lnTo>
                      <a:lnTo>
                        <a:pt x="414" y="949"/>
                      </a:lnTo>
                      <a:lnTo>
                        <a:pt x="416" y="946"/>
                      </a:lnTo>
                      <a:lnTo>
                        <a:pt x="419" y="939"/>
                      </a:lnTo>
                      <a:lnTo>
                        <a:pt x="419" y="931"/>
                      </a:lnTo>
                      <a:lnTo>
                        <a:pt x="419" y="922"/>
                      </a:lnTo>
                      <a:lnTo>
                        <a:pt x="419" y="915"/>
                      </a:lnTo>
                      <a:lnTo>
                        <a:pt x="419" y="908"/>
                      </a:lnTo>
                      <a:lnTo>
                        <a:pt x="419" y="899"/>
                      </a:lnTo>
                      <a:lnTo>
                        <a:pt x="413" y="899"/>
                      </a:lnTo>
                      <a:lnTo>
                        <a:pt x="409" y="899"/>
                      </a:lnTo>
                      <a:lnTo>
                        <a:pt x="404" y="898"/>
                      </a:lnTo>
                      <a:lnTo>
                        <a:pt x="402" y="896"/>
                      </a:lnTo>
                      <a:lnTo>
                        <a:pt x="400" y="895"/>
                      </a:lnTo>
                      <a:lnTo>
                        <a:pt x="398" y="893"/>
                      </a:lnTo>
                      <a:lnTo>
                        <a:pt x="397" y="891"/>
                      </a:lnTo>
                      <a:lnTo>
                        <a:pt x="395" y="889"/>
                      </a:lnTo>
                      <a:lnTo>
                        <a:pt x="394" y="879"/>
                      </a:lnTo>
                      <a:lnTo>
                        <a:pt x="392" y="868"/>
                      </a:lnTo>
                      <a:lnTo>
                        <a:pt x="382" y="838"/>
                      </a:lnTo>
                      <a:lnTo>
                        <a:pt x="371" y="811"/>
                      </a:lnTo>
                      <a:lnTo>
                        <a:pt x="360" y="786"/>
                      </a:lnTo>
                      <a:lnTo>
                        <a:pt x="348" y="764"/>
                      </a:lnTo>
                      <a:lnTo>
                        <a:pt x="336" y="741"/>
                      </a:lnTo>
                      <a:lnTo>
                        <a:pt x="324" y="719"/>
                      </a:lnTo>
                      <a:lnTo>
                        <a:pt x="312" y="695"/>
                      </a:lnTo>
                      <a:lnTo>
                        <a:pt x="300" y="672"/>
                      </a:lnTo>
                      <a:lnTo>
                        <a:pt x="299" y="684"/>
                      </a:lnTo>
                      <a:lnTo>
                        <a:pt x="298" y="694"/>
                      </a:lnTo>
                      <a:lnTo>
                        <a:pt x="296" y="703"/>
                      </a:lnTo>
                      <a:lnTo>
                        <a:pt x="292" y="710"/>
                      </a:lnTo>
                      <a:lnTo>
                        <a:pt x="291" y="713"/>
                      </a:lnTo>
                      <a:lnTo>
                        <a:pt x="288" y="715"/>
                      </a:lnTo>
                      <a:lnTo>
                        <a:pt x="286" y="717"/>
                      </a:lnTo>
                      <a:lnTo>
                        <a:pt x="282" y="718"/>
                      </a:lnTo>
                      <a:lnTo>
                        <a:pt x="276" y="720"/>
                      </a:lnTo>
                      <a:lnTo>
                        <a:pt x="266" y="721"/>
                      </a:lnTo>
                      <a:lnTo>
                        <a:pt x="246" y="751"/>
                      </a:lnTo>
                      <a:lnTo>
                        <a:pt x="238" y="748"/>
                      </a:lnTo>
                      <a:lnTo>
                        <a:pt x="226" y="742"/>
                      </a:lnTo>
                      <a:lnTo>
                        <a:pt x="214" y="736"/>
                      </a:lnTo>
                      <a:lnTo>
                        <a:pt x="207" y="733"/>
                      </a:lnTo>
                      <a:lnTo>
                        <a:pt x="190" y="734"/>
                      </a:lnTo>
                      <a:lnTo>
                        <a:pt x="176" y="735"/>
                      </a:lnTo>
                      <a:lnTo>
                        <a:pt x="169" y="736"/>
                      </a:lnTo>
                      <a:lnTo>
                        <a:pt x="165" y="736"/>
                      </a:lnTo>
                      <a:lnTo>
                        <a:pt x="162" y="735"/>
                      </a:lnTo>
                      <a:lnTo>
                        <a:pt x="159" y="733"/>
                      </a:lnTo>
                      <a:lnTo>
                        <a:pt x="167" y="646"/>
                      </a:lnTo>
                      <a:lnTo>
                        <a:pt x="133" y="567"/>
                      </a:lnTo>
                      <a:lnTo>
                        <a:pt x="122" y="551"/>
                      </a:lnTo>
                      <a:lnTo>
                        <a:pt x="112" y="539"/>
                      </a:lnTo>
                      <a:lnTo>
                        <a:pt x="107" y="533"/>
                      </a:lnTo>
                      <a:lnTo>
                        <a:pt x="103" y="527"/>
                      </a:lnTo>
                      <a:lnTo>
                        <a:pt x="101" y="520"/>
                      </a:lnTo>
                      <a:lnTo>
                        <a:pt x="100" y="511"/>
                      </a:lnTo>
                      <a:lnTo>
                        <a:pt x="85" y="508"/>
                      </a:lnTo>
                      <a:lnTo>
                        <a:pt x="74" y="505"/>
                      </a:lnTo>
                      <a:lnTo>
                        <a:pt x="62" y="504"/>
                      </a:lnTo>
                      <a:lnTo>
                        <a:pt x="51" y="502"/>
                      </a:lnTo>
                      <a:lnTo>
                        <a:pt x="41" y="498"/>
                      </a:lnTo>
                      <a:lnTo>
                        <a:pt x="32" y="493"/>
                      </a:lnTo>
                      <a:lnTo>
                        <a:pt x="23" y="487"/>
                      </a:lnTo>
                      <a:lnTo>
                        <a:pt x="16" y="479"/>
                      </a:lnTo>
                      <a:lnTo>
                        <a:pt x="8" y="471"/>
                      </a:lnTo>
                      <a:lnTo>
                        <a:pt x="0" y="462"/>
                      </a:lnTo>
                      <a:lnTo>
                        <a:pt x="8" y="458"/>
                      </a:lnTo>
                      <a:lnTo>
                        <a:pt x="13" y="454"/>
                      </a:lnTo>
                      <a:lnTo>
                        <a:pt x="19" y="450"/>
                      </a:lnTo>
                      <a:lnTo>
                        <a:pt x="23" y="445"/>
                      </a:lnTo>
                      <a:lnTo>
                        <a:pt x="31" y="435"/>
                      </a:lnTo>
                      <a:lnTo>
                        <a:pt x="38" y="422"/>
                      </a:lnTo>
                      <a:lnTo>
                        <a:pt x="45" y="397"/>
                      </a:lnTo>
                      <a:lnTo>
                        <a:pt x="54" y="369"/>
                      </a:lnTo>
                      <a:lnTo>
                        <a:pt x="58" y="361"/>
                      </a:lnTo>
                      <a:lnTo>
                        <a:pt x="62" y="351"/>
                      </a:lnTo>
                      <a:lnTo>
                        <a:pt x="64" y="340"/>
                      </a:lnTo>
                      <a:lnTo>
                        <a:pt x="65" y="328"/>
                      </a:lnTo>
                      <a:lnTo>
                        <a:pt x="67" y="302"/>
                      </a:lnTo>
                      <a:lnTo>
                        <a:pt x="67" y="277"/>
                      </a:lnTo>
                      <a:lnTo>
                        <a:pt x="67" y="274"/>
                      </a:lnTo>
                      <a:lnTo>
                        <a:pt x="68" y="272"/>
                      </a:lnTo>
                      <a:lnTo>
                        <a:pt x="70" y="269"/>
                      </a:lnTo>
                      <a:lnTo>
                        <a:pt x="73" y="268"/>
                      </a:lnTo>
                      <a:lnTo>
                        <a:pt x="80" y="265"/>
                      </a:lnTo>
                      <a:lnTo>
                        <a:pt x="88" y="264"/>
                      </a:lnTo>
                      <a:lnTo>
                        <a:pt x="96" y="263"/>
                      </a:lnTo>
                      <a:lnTo>
                        <a:pt x="103" y="262"/>
                      </a:lnTo>
                      <a:lnTo>
                        <a:pt x="110" y="261"/>
                      </a:lnTo>
                      <a:lnTo>
                        <a:pt x="113" y="258"/>
                      </a:lnTo>
                      <a:lnTo>
                        <a:pt x="119" y="253"/>
                      </a:lnTo>
                      <a:lnTo>
                        <a:pt x="124" y="247"/>
                      </a:lnTo>
                      <a:lnTo>
                        <a:pt x="129" y="239"/>
                      </a:lnTo>
                      <a:lnTo>
                        <a:pt x="132" y="231"/>
                      </a:lnTo>
                      <a:lnTo>
                        <a:pt x="134" y="222"/>
                      </a:lnTo>
                      <a:lnTo>
                        <a:pt x="136" y="213"/>
                      </a:lnTo>
                      <a:lnTo>
                        <a:pt x="137" y="202"/>
                      </a:lnTo>
                      <a:lnTo>
                        <a:pt x="140" y="192"/>
                      </a:lnTo>
                      <a:lnTo>
                        <a:pt x="141" y="152"/>
                      </a:lnTo>
                      <a:lnTo>
                        <a:pt x="140" y="117"/>
                      </a:lnTo>
                      <a:lnTo>
                        <a:pt x="141" y="114"/>
                      </a:lnTo>
                      <a:lnTo>
                        <a:pt x="143" y="110"/>
                      </a:lnTo>
                      <a:lnTo>
                        <a:pt x="145" y="107"/>
                      </a:lnTo>
                      <a:lnTo>
                        <a:pt x="150" y="104"/>
                      </a:lnTo>
                      <a:lnTo>
                        <a:pt x="159" y="98"/>
                      </a:lnTo>
                      <a:lnTo>
                        <a:pt x="170" y="91"/>
                      </a:lnTo>
                      <a:lnTo>
                        <a:pt x="193" y="83"/>
                      </a:lnTo>
                      <a:lnTo>
                        <a:pt x="207" y="80"/>
                      </a:lnTo>
                      <a:lnTo>
                        <a:pt x="210" y="77"/>
                      </a:lnTo>
                      <a:lnTo>
                        <a:pt x="213" y="74"/>
                      </a:lnTo>
                      <a:lnTo>
                        <a:pt x="217" y="70"/>
                      </a:lnTo>
                      <a:lnTo>
                        <a:pt x="219" y="66"/>
                      </a:lnTo>
                      <a:lnTo>
                        <a:pt x="224" y="56"/>
                      </a:lnTo>
                      <a:lnTo>
                        <a:pt x="227" y="45"/>
                      </a:lnTo>
                      <a:lnTo>
                        <a:pt x="234" y="21"/>
                      </a:lnTo>
                      <a:lnTo>
                        <a:pt x="240" y="0"/>
                      </a:lnTo>
                      <a:lnTo>
                        <a:pt x="251" y="7"/>
                      </a:lnTo>
                      <a:lnTo>
                        <a:pt x="260" y="15"/>
                      </a:lnTo>
                      <a:lnTo>
                        <a:pt x="269" y="23"/>
                      </a:lnTo>
                      <a:lnTo>
                        <a:pt x="277" y="31"/>
                      </a:lnTo>
                      <a:lnTo>
                        <a:pt x="286" y="39"/>
                      </a:lnTo>
                      <a:lnTo>
                        <a:pt x="294" y="44"/>
                      </a:lnTo>
                      <a:lnTo>
                        <a:pt x="300" y="47"/>
                      </a:lnTo>
                      <a:lnTo>
                        <a:pt x="305" y="48"/>
                      </a:lnTo>
                      <a:lnTo>
                        <a:pt x="312" y="49"/>
                      </a:lnTo>
                      <a:lnTo>
                        <a:pt x="320" y="49"/>
                      </a:lnTo>
                      <a:lnTo>
                        <a:pt x="325" y="75"/>
                      </a:lnTo>
                      <a:lnTo>
                        <a:pt x="332" y="99"/>
                      </a:lnTo>
                      <a:lnTo>
                        <a:pt x="335" y="110"/>
                      </a:lnTo>
                      <a:lnTo>
                        <a:pt x="337" y="122"/>
                      </a:lnTo>
                      <a:lnTo>
                        <a:pt x="338" y="134"/>
                      </a:lnTo>
                      <a:lnTo>
                        <a:pt x="339" y="147"/>
                      </a:lnTo>
                      <a:lnTo>
                        <a:pt x="338" y="155"/>
                      </a:lnTo>
                      <a:lnTo>
                        <a:pt x="337" y="161"/>
                      </a:lnTo>
                      <a:lnTo>
                        <a:pt x="335" y="167"/>
                      </a:lnTo>
                      <a:lnTo>
                        <a:pt x="332" y="173"/>
                      </a:lnTo>
                      <a:lnTo>
                        <a:pt x="324" y="183"/>
                      </a:lnTo>
                      <a:lnTo>
                        <a:pt x="316" y="194"/>
                      </a:lnTo>
                      <a:lnTo>
                        <a:pt x="308" y="204"/>
                      </a:lnTo>
                      <a:lnTo>
                        <a:pt x="300" y="216"/>
                      </a:lnTo>
                      <a:lnTo>
                        <a:pt x="297" y="221"/>
                      </a:lnTo>
                      <a:lnTo>
                        <a:pt x="294" y="227"/>
                      </a:lnTo>
                      <a:lnTo>
                        <a:pt x="293" y="233"/>
                      </a:lnTo>
                      <a:lnTo>
                        <a:pt x="292" y="240"/>
                      </a:lnTo>
                      <a:lnTo>
                        <a:pt x="293" y="245"/>
                      </a:lnTo>
                      <a:lnTo>
                        <a:pt x="294" y="250"/>
                      </a:lnTo>
                      <a:lnTo>
                        <a:pt x="297" y="253"/>
                      </a:lnTo>
                      <a:lnTo>
                        <a:pt x="300" y="256"/>
                      </a:lnTo>
                      <a:lnTo>
                        <a:pt x="304" y="258"/>
                      </a:lnTo>
                      <a:lnTo>
                        <a:pt x="309" y="261"/>
                      </a:lnTo>
                      <a:lnTo>
                        <a:pt x="313" y="262"/>
                      </a:lnTo>
                      <a:lnTo>
                        <a:pt x="319" y="264"/>
                      </a:lnTo>
                      <a:lnTo>
                        <a:pt x="330" y="266"/>
                      </a:lnTo>
                      <a:lnTo>
                        <a:pt x="341" y="268"/>
                      </a:lnTo>
                      <a:lnTo>
                        <a:pt x="346" y="270"/>
                      </a:lnTo>
                      <a:lnTo>
                        <a:pt x="350" y="272"/>
                      </a:lnTo>
                      <a:lnTo>
                        <a:pt x="355" y="274"/>
                      </a:lnTo>
                      <a:lnTo>
                        <a:pt x="359" y="277"/>
                      </a:lnTo>
                      <a:lnTo>
                        <a:pt x="366" y="284"/>
                      </a:lnTo>
                      <a:lnTo>
                        <a:pt x="371" y="291"/>
                      </a:lnTo>
                      <a:lnTo>
                        <a:pt x="375" y="298"/>
                      </a:lnTo>
                      <a:lnTo>
                        <a:pt x="378" y="304"/>
                      </a:lnTo>
                      <a:lnTo>
                        <a:pt x="384" y="319"/>
                      </a:lnTo>
                      <a:lnTo>
                        <a:pt x="392" y="333"/>
                      </a:lnTo>
                      <a:lnTo>
                        <a:pt x="398" y="345"/>
                      </a:lnTo>
                      <a:lnTo>
                        <a:pt x="404" y="359"/>
                      </a:lnTo>
                      <a:lnTo>
                        <a:pt x="411" y="374"/>
                      </a:lnTo>
                      <a:lnTo>
                        <a:pt x="420" y="387"/>
                      </a:lnTo>
                      <a:lnTo>
                        <a:pt x="425" y="394"/>
                      </a:lnTo>
                      <a:lnTo>
                        <a:pt x="430" y="400"/>
                      </a:lnTo>
                      <a:lnTo>
                        <a:pt x="436" y="405"/>
                      </a:lnTo>
                      <a:lnTo>
                        <a:pt x="442" y="409"/>
                      </a:lnTo>
                      <a:lnTo>
                        <a:pt x="448" y="413"/>
                      </a:lnTo>
                      <a:lnTo>
                        <a:pt x="456" y="416"/>
                      </a:lnTo>
                      <a:lnTo>
                        <a:pt x="464" y="418"/>
                      </a:lnTo>
                      <a:lnTo>
                        <a:pt x="472" y="418"/>
                      </a:lnTo>
                      <a:lnTo>
                        <a:pt x="477" y="418"/>
                      </a:lnTo>
                      <a:lnTo>
                        <a:pt x="487" y="418"/>
                      </a:lnTo>
                      <a:lnTo>
                        <a:pt x="498" y="418"/>
                      </a:lnTo>
                      <a:lnTo>
                        <a:pt x="505" y="418"/>
                      </a:lnTo>
                      <a:lnTo>
                        <a:pt x="499" y="439"/>
                      </a:lnTo>
                      <a:lnTo>
                        <a:pt x="489" y="460"/>
                      </a:lnTo>
                      <a:lnTo>
                        <a:pt x="483" y="470"/>
                      </a:lnTo>
                      <a:lnTo>
                        <a:pt x="479" y="482"/>
                      </a:lnTo>
                      <a:lnTo>
                        <a:pt x="476" y="494"/>
                      </a:lnTo>
                      <a:lnTo>
                        <a:pt x="472" y="505"/>
                      </a:lnTo>
                      <a:lnTo>
                        <a:pt x="479" y="499"/>
                      </a:lnTo>
                      <a:lnTo>
                        <a:pt x="458" y="503"/>
                      </a:lnTo>
                      <a:lnTo>
                        <a:pt x="437" y="507"/>
                      </a:lnTo>
                      <a:lnTo>
                        <a:pt x="427" y="510"/>
                      </a:lnTo>
                      <a:lnTo>
                        <a:pt x="417" y="512"/>
                      </a:lnTo>
                      <a:lnTo>
                        <a:pt x="408" y="515"/>
                      </a:lnTo>
                      <a:lnTo>
                        <a:pt x="399" y="519"/>
                      </a:lnTo>
                      <a:lnTo>
                        <a:pt x="391" y="523"/>
                      </a:lnTo>
                      <a:lnTo>
                        <a:pt x="383" y="528"/>
                      </a:lnTo>
                      <a:lnTo>
                        <a:pt x="376" y="534"/>
                      </a:lnTo>
                      <a:lnTo>
                        <a:pt x="370" y="543"/>
                      </a:lnTo>
                      <a:lnTo>
                        <a:pt x="366" y="551"/>
                      </a:lnTo>
                      <a:lnTo>
                        <a:pt x="363" y="561"/>
                      </a:lnTo>
                      <a:lnTo>
                        <a:pt x="360" y="572"/>
                      </a:lnTo>
                      <a:lnTo>
                        <a:pt x="359" y="585"/>
                      </a:lnTo>
                      <a:lnTo>
                        <a:pt x="360" y="601"/>
                      </a:lnTo>
                      <a:lnTo>
                        <a:pt x="363" y="614"/>
                      </a:lnTo>
                      <a:lnTo>
                        <a:pt x="366" y="626"/>
                      </a:lnTo>
                      <a:lnTo>
                        <a:pt x="370" y="637"/>
                      </a:lnTo>
                      <a:lnTo>
                        <a:pt x="376" y="647"/>
                      </a:lnTo>
                      <a:lnTo>
                        <a:pt x="382" y="657"/>
                      </a:lnTo>
                      <a:lnTo>
                        <a:pt x="389" y="666"/>
                      </a:lnTo>
                      <a:lnTo>
                        <a:pt x="395" y="675"/>
                      </a:lnTo>
                      <a:lnTo>
                        <a:pt x="402" y="683"/>
                      </a:lnTo>
                      <a:lnTo>
                        <a:pt x="409" y="692"/>
                      </a:lnTo>
                      <a:lnTo>
                        <a:pt x="415" y="701"/>
                      </a:lnTo>
                      <a:lnTo>
                        <a:pt x="421" y="712"/>
                      </a:lnTo>
                      <a:lnTo>
                        <a:pt x="425" y="723"/>
                      </a:lnTo>
                      <a:lnTo>
                        <a:pt x="430" y="735"/>
                      </a:lnTo>
                      <a:lnTo>
                        <a:pt x="432" y="748"/>
                      </a:lnTo>
                      <a:lnTo>
                        <a:pt x="433" y="764"/>
                      </a:lnTo>
                      <a:lnTo>
                        <a:pt x="432" y="769"/>
                      </a:lnTo>
                      <a:lnTo>
                        <a:pt x="431" y="773"/>
                      </a:lnTo>
                      <a:lnTo>
                        <a:pt x="428" y="776"/>
                      </a:lnTo>
                      <a:lnTo>
                        <a:pt x="425" y="780"/>
                      </a:lnTo>
                      <a:lnTo>
                        <a:pt x="423" y="784"/>
                      </a:lnTo>
                      <a:lnTo>
                        <a:pt x="421" y="789"/>
                      </a:lnTo>
                      <a:lnTo>
                        <a:pt x="420" y="794"/>
                      </a:lnTo>
                      <a:lnTo>
                        <a:pt x="419" y="801"/>
                      </a:lnTo>
                      <a:lnTo>
                        <a:pt x="420" y="809"/>
                      </a:lnTo>
                      <a:lnTo>
                        <a:pt x="421" y="818"/>
                      </a:lnTo>
                      <a:lnTo>
                        <a:pt x="423" y="826"/>
                      </a:lnTo>
                      <a:lnTo>
                        <a:pt x="426" y="834"/>
                      </a:lnTo>
                      <a:lnTo>
                        <a:pt x="435" y="851"/>
                      </a:lnTo>
                      <a:lnTo>
                        <a:pt x="445" y="868"/>
                      </a:lnTo>
                      <a:lnTo>
                        <a:pt x="467" y="903"/>
                      </a:lnTo>
                      <a:lnTo>
                        <a:pt x="486" y="937"/>
                      </a:lnTo>
                      <a:lnTo>
                        <a:pt x="486" y="951"/>
                      </a:lnTo>
                      <a:lnTo>
                        <a:pt x="483" y="965"/>
                      </a:lnTo>
                      <a:lnTo>
                        <a:pt x="482" y="980"/>
                      </a:lnTo>
                      <a:lnTo>
                        <a:pt x="479" y="997"/>
                      </a:lnTo>
                      <a:lnTo>
                        <a:pt x="472" y="1027"/>
                      </a:lnTo>
                      <a:lnTo>
                        <a:pt x="466" y="1057"/>
                      </a:lnTo>
                      <a:lnTo>
                        <a:pt x="458" y="1082"/>
                      </a:lnTo>
                      <a:lnTo>
                        <a:pt x="451" y="1103"/>
                      </a:lnTo>
                      <a:lnTo>
                        <a:pt x="447" y="1116"/>
                      </a:lnTo>
                      <a:lnTo>
                        <a:pt x="446" y="112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3" name="Freeform 263">
                  <a:extLst>
                    <a:ext uri="{FF2B5EF4-FFF2-40B4-BE49-F238E27FC236}">
                      <a16:creationId xmlns:a16="http://schemas.microsoft.com/office/drawing/2014/main" xmlns="" id="{CDF228DE-E8B9-412A-8279-24695EEA0AA3}"/>
                    </a:ext>
                  </a:extLst>
                </p:cNvPr>
                <p:cNvSpPr>
                  <a:spLocks/>
                </p:cNvSpPr>
                <p:nvPr>
                  <p:custDataLst>
                    <p:tags r:id="rId190"/>
                  </p:custDataLst>
                </p:nvPr>
              </p:nvSpPr>
              <p:spPr bwMode="auto">
                <a:xfrm>
                  <a:off x="3594100" y="3267075"/>
                  <a:ext cx="80963" cy="58738"/>
                </a:xfrm>
                <a:custGeom>
                  <a:avLst/>
                  <a:gdLst>
                    <a:gd name="T0" fmla="*/ 2147483646 w 180"/>
                    <a:gd name="T1" fmla="*/ 2147483646 h 112"/>
                    <a:gd name="T2" fmla="*/ 2147483646 w 180"/>
                    <a:gd name="T3" fmla="*/ 2147483646 h 112"/>
                    <a:gd name="T4" fmla="*/ 2147483646 w 180"/>
                    <a:gd name="T5" fmla="*/ 2147483646 h 112"/>
                    <a:gd name="T6" fmla="*/ 2147483646 w 180"/>
                    <a:gd name="T7" fmla="*/ 2147483646 h 112"/>
                    <a:gd name="T8" fmla="*/ 2147483646 w 180"/>
                    <a:gd name="T9" fmla="*/ 2147483646 h 112"/>
                    <a:gd name="T10" fmla="*/ 2147483646 w 180"/>
                    <a:gd name="T11" fmla="*/ 2147483646 h 112"/>
                    <a:gd name="T12" fmla="*/ 2147483646 w 180"/>
                    <a:gd name="T13" fmla="*/ 2147483646 h 112"/>
                    <a:gd name="T14" fmla="*/ 2147483646 w 180"/>
                    <a:gd name="T15" fmla="*/ 2147483646 h 112"/>
                    <a:gd name="T16" fmla="*/ 2147483646 w 180"/>
                    <a:gd name="T17" fmla="*/ 2147483646 h 112"/>
                    <a:gd name="T18" fmla="*/ 2147483646 w 180"/>
                    <a:gd name="T19" fmla="*/ 2147483646 h 112"/>
                    <a:gd name="T20" fmla="*/ 2147483646 w 180"/>
                    <a:gd name="T21" fmla="*/ 2147483646 h 112"/>
                    <a:gd name="T22" fmla="*/ 2147483646 w 180"/>
                    <a:gd name="T23" fmla="*/ 2147483646 h 112"/>
                    <a:gd name="T24" fmla="*/ 2147483646 w 180"/>
                    <a:gd name="T25" fmla="*/ 2147483646 h 112"/>
                    <a:gd name="T26" fmla="*/ 2147483646 w 180"/>
                    <a:gd name="T27" fmla="*/ 2147483646 h 112"/>
                    <a:gd name="T28" fmla="*/ 2147483646 w 180"/>
                    <a:gd name="T29" fmla="*/ 2147483646 h 112"/>
                    <a:gd name="T30" fmla="*/ 2147483646 w 180"/>
                    <a:gd name="T31" fmla="*/ 2147483646 h 112"/>
                    <a:gd name="T32" fmla="*/ 2147483646 w 180"/>
                    <a:gd name="T33" fmla="*/ 2147483646 h 112"/>
                    <a:gd name="T34" fmla="*/ 2147483646 w 180"/>
                    <a:gd name="T35" fmla="*/ 2147483646 h 112"/>
                    <a:gd name="T36" fmla="*/ 2147483646 w 180"/>
                    <a:gd name="T37" fmla="*/ 2147483646 h 112"/>
                    <a:gd name="T38" fmla="*/ 2147483646 w 180"/>
                    <a:gd name="T39" fmla="*/ 2147483646 h 112"/>
                    <a:gd name="T40" fmla="*/ 2147483646 w 180"/>
                    <a:gd name="T41" fmla="*/ 2147483646 h 112"/>
                    <a:gd name="T42" fmla="*/ 2147483646 w 180"/>
                    <a:gd name="T43" fmla="*/ 2147483646 h 112"/>
                    <a:gd name="T44" fmla="*/ 0 w 180"/>
                    <a:gd name="T45" fmla="*/ 2147483646 h 112"/>
                    <a:gd name="T46" fmla="*/ 2147483646 w 180"/>
                    <a:gd name="T47" fmla="*/ 2147483646 h 112"/>
                    <a:gd name="T48" fmla="*/ 2147483646 w 180"/>
                    <a:gd name="T49" fmla="*/ 2147483646 h 112"/>
                    <a:gd name="T50" fmla="*/ 2147483646 w 180"/>
                    <a:gd name="T51" fmla="*/ 2147483646 h 112"/>
                    <a:gd name="T52" fmla="*/ 2147483646 w 180"/>
                    <a:gd name="T53" fmla="*/ 2147483646 h 112"/>
                    <a:gd name="T54" fmla="*/ 2147483646 w 180"/>
                    <a:gd name="T55" fmla="*/ 2147483646 h 112"/>
                    <a:gd name="T56" fmla="*/ 2147483646 w 180"/>
                    <a:gd name="T57" fmla="*/ 0 h 112"/>
                    <a:gd name="T58" fmla="*/ 2147483646 w 180"/>
                    <a:gd name="T59" fmla="*/ 2147483646 h 112"/>
                    <a:gd name="T60" fmla="*/ 2147483646 w 180"/>
                    <a:gd name="T61" fmla="*/ 2147483646 h 112"/>
                    <a:gd name="T62" fmla="*/ 2147483646 w 180"/>
                    <a:gd name="T63" fmla="*/ 2147483646 h 112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80"/>
                    <a:gd name="T97" fmla="*/ 0 h 112"/>
                    <a:gd name="T98" fmla="*/ 180 w 180"/>
                    <a:gd name="T99" fmla="*/ 112 h 112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80" h="112">
                      <a:moveTo>
                        <a:pt x="180" y="7"/>
                      </a:moveTo>
                      <a:lnTo>
                        <a:pt x="171" y="24"/>
                      </a:lnTo>
                      <a:lnTo>
                        <a:pt x="163" y="39"/>
                      </a:lnTo>
                      <a:lnTo>
                        <a:pt x="152" y="53"/>
                      </a:lnTo>
                      <a:lnTo>
                        <a:pt x="141" y="66"/>
                      </a:lnTo>
                      <a:lnTo>
                        <a:pt x="129" y="80"/>
                      </a:lnTo>
                      <a:lnTo>
                        <a:pt x="115" y="92"/>
                      </a:lnTo>
                      <a:lnTo>
                        <a:pt x="101" y="102"/>
                      </a:lnTo>
                      <a:lnTo>
                        <a:pt x="87" y="112"/>
                      </a:lnTo>
                      <a:lnTo>
                        <a:pt x="82" y="107"/>
                      </a:lnTo>
                      <a:lnTo>
                        <a:pt x="79" y="101"/>
                      </a:lnTo>
                      <a:lnTo>
                        <a:pt x="76" y="95"/>
                      </a:lnTo>
                      <a:lnTo>
                        <a:pt x="74" y="88"/>
                      </a:lnTo>
                      <a:lnTo>
                        <a:pt x="70" y="81"/>
                      </a:lnTo>
                      <a:lnTo>
                        <a:pt x="68" y="74"/>
                      </a:lnTo>
                      <a:lnTo>
                        <a:pt x="65" y="69"/>
                      </a:lnTo>
                      <a:lnTo>
                        <a:pt x="60" y="63"/>
                      </a:lnTo>
                      <a:lnTo>
                        <a:pt x="45" y="48"/>
                      </a:lnTo>
                      <a:lnTo>
                        <a:pt x="36" y="38"/>
                      </a:lnTo>
                      <a:lnTo>
                        <a:pt x="30" y="33"/>
                      </a:lnTo>
                      <a:lnTo>
                        <a:pt x="25" y="31"/>
                      </a:lnTo>
                      <a:lnTo>
                        <a:pt x="18" y="30"/>
                      </a:lnTo>
                      <a:lnTo>
                        <a:pt x="0" y="26"/>
                      </a:lnTo>
                      <a:lnTo>
                        <a:pt x="26" y="14"/>
                      </a:lnTo>
                      <a:lnTo>
                        <a:pt x="41" y="9"/>
                      </a:lnTo>
                      <a:lnTo>
                        <a:pt x="56" y="5"/>
                      </a:lnTo>
                      <a:lnTo>
                        <a:pt x="74" y="3"/>
                      </a:lnTo>
                      <a:lnTo>
                        <a:pt x="93" y="1"/>
                      </a:lnTo>
                      <a:lnTo>
                        <a:pt x="114" y="0"/>
                      </a:lnTo>
                      <a:lnTo>
                        <a:pt x="135" y="1"/>
                      </a:lnTo>
                      <a:lnTo>
                        <a:pt x="157" y="3"/>
                      </a:lnTo>
                      <a:lnTo>
                        <a:pt x="180" y="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4" name="Freeform 264">
                  <a:extLst>
                    <a:ext uri="{FF2B5EF4-FFF2-40B4-BE49-F238E27FC236}">
                      <a16:creationId xmlns:a16="http://schemas.microsoft.com/office/drawing/2014/main" xmlns="" id="{75EF607E-FDDC-48C8-A9EA-69A543A384D5}"/>
                    </a:ext>
                  </a:extLst>
                </p:cNvPr>
                <p:cNvSpPr>
                  <a:spLocks/>
                </p:cNvSpPr>
                <p:nvPr>
                  <p:custDataLst>
                    <p:tags r:id="rId191"/>
                  </p:custDataLst>
                </p:nvPr>
              </p:nvSpPr>
              <p:spPr bwMode="auto">
                <a:xfrm>
                  <a:off x="3678238" y="3349625"/>
                  <a:ext cx="74612" cy="100013"/>
                </a:xfrm>
                <a:custGeom>
                  <a:avLst/>
                  <a:gdLst>
                    <a:gd name="T0" fmla="*/ 0 w 173"/>
                    <a:gd name="T1" fmla="*/ 2147483646 h 192"/>
                    <a:gd name="T2" fmla="*/ 2147483646 w 173"/>
                    <a:gd name="T3" fmla="*/ 2147483646 h 192"/>
                    <a:gd name="T4" fmla="*/ 2147483646 w 173"/>
                    <a:gd name="T5" fmla="*/ 2147483646 h 192"/>
                    <a:gd name="T6" fmla="*/ 2147483646 w 173"/>
                    <a:gd name="T7" fmla="*/ 2147483646 h 192"/>
                    <a:gd name="T8" fmla="*/ 2147483646 w 173"/>
                    <a:gd name="T9" fmla="*/ 2147483646 h 192"/>
                    <a:gd name="T10" fmla="*/ 2147483646 w 173"/>
                    <a:gd name="T11" fmla="*/ 2147483646 h 192"/>
                    <a:gd name="T12" fmla="*/ 2147483646 w 173"/>
                    <a:gd name="T13" fmla="*/ 2147483646 h 192"/>
                    <a:gd name="T14" fmla="*/ 2147483646 w 173"/>
                    <a:gd name="T15" fmla="*/ 2147483646 h 192"/>
                    <a:gd name="T16" fmla="*/ 2147483646 w 173"/>
                    <a:gd name="T17" fmla="*/ 2147483646 h 192"/>
                    <a:gd name="T18" fmla="*/ 2147483646 w 173"/>
                    <a:gd name="T19" fmla="*/ 2147483646 h 192"/>
                    <a:gd name="T20" fmla="*/ 2147483646 w 173"/>
                    <a:gd name="T21" fmla="*/ 0 h 192"/>
                    <a:gd name="T22" fmla="*/ 2147483646 w 173"/>
                    <a:gd name="T23" fmla="*/ 2147483646 h 192"/>
                    <a:gd name="T24" fmla="*/ 2147483646 w 173"/>
                    <a:gd name="T25" fmla="*/ 2147483646 h 192"/>
                    <a:gd name="T26" fmla="*/ 2147483646 w 173"/>
                    <a:gd name="T27" fmla="*/ 2147483646 h 192"/>
                    <a:gd name="T28" fmla="*/ 2147483646 w 173"/>
                    <a:gd name="T29" fmla="*/ 2147483646 h 192"/>
                    <a:gd name="T30" fmla="*/ 2147483646 w 173"/>
                    <a:gd name="T31" fmla="*/ 2147483646 h 192"/>
                    <a:gd name="T32" fmla="*/ 2147483646 w 173"/>
                    <a:gd name="T33" fmla="*/ 2147483646 h 192"/>
                    <a:gd name="T34" fmla="*/ 2147483646 w 173"/>
                    <a:gd name="T35" fmla="*/ 2147483646 h 192"/>
                    <a:gd name="T36" fmla="*/ 2147483646 w 173"/>
                    <a:gd name="T37" fmla="*/ 2147483646 h 192"/>
                    <a:gd name="T38" fmla="*/ 2147483646 w 173"/>
                    <a:gd name="T39" fmla="*/ 2147483646 h 192"/>
                    <a:gd name="T40" fmla="*/ 2147483646 w 173"/>
                    <a:gd name="T41" fmla="*/ 2147483646 h 192"/>
                    <a:gd name="T42" fmla="*/ 2147483646 w 173"/>
                    <a:gd name="T43" fmla="*/ 2147483646 h 192"/>
                    <a:gd name="T44" fmla="*/ 2147483646 w 173"/>
                    <a:gd name="T45" fmla="*/ 2147483646 h 192"/>
                    <a:gd name="T46" fmla="*/ 2147483646 w 173"/>
                    <a:gd name="T47" fmla="*/ 2147483646 h 192"/>
                    <a:gd name="T48" fmla="*/ 2147483646 w 173"/>
                    <a:gd name="T49" fmla="*/ 2147483646 h 192"/>
                    <a:gd name="T50" fmla="*/ 2147483646 w 173"/>
                    <a:gd name="T51" fmla="*/ 2147483646 h 192"/>
                    <a:gd name="T52" fmla="*/ 2147483646 w 173"/>
                    <a:gd name="T53" fmla="*/ 2147483646 h 192"/>
                    <a:gd name="T54" fmla="*/ 2147483646 w 173"/>
                    <a:gd name="T55" fmla="*/ 2147483646 h 192"/>
                    <a:gd name="T56" fmla="*/ 2147483646 w 173"/>
                    <a:gd name="T57" fmla="*/ 2147483646 h 192"/>
                    <a:gd name="T58" fmla="*/ 2147483646 w 173"/>
                    <a:gd name="T59" fmla="*/ 2147483646 h 192"/>
                    <a:gd name="T60" fmla="*/ 2147483646 w 173"/>
                    <a:gd name="T61" fmla="*/ 2147483646 h 192"/>
                    <a:gd name="T62" fmla="*/ 2147483646 w 173"/>
                    <a:gd name="T63" fmla="*/ 2147483646 h 192"/>
                    <a:gd name="T64" fmla="*/ 2147483646 w 173"/>
                    <a:gd name="T65" fmla="*/ 2147483646 h 192"/>
                    <a:gd name="T66" fmla="*/ 2147483646 w 173"/>
                    <a:gd name="T67" fmla="*/ 2147483646 h 192"/>
                    <a:gd name="T68" fmla="*/ 2147483646 w 173"/>
                    <a:gd name="T69" fmla="*/ 2147483646 h 192"/>
                    <a:gd name="T70" fmla="*/ 2147483646 w 173"/>
                    <a:gd name="T71" fmla="*/ 2147483646 h 192"/>
                    <a:gd name="T72" fmla="*/ 2147483646 w 173"/>
                    <a:gd name="T73" fmla="*/ 2147483646 h 192"/>
                    <a:gd name="T74" fmla="*/ 2147483646 w 173"/>
                    <a:gd name="T75" fmla="*/ 2147483646 h 192"/>
                    <a:gd name="T76" fmla="*/ 2147483646 w 173"/>
                    <a:gd name="T77" fmla="*/ 2147483646 h 192"/>
                    <a:gd name="T78" fmla="*/ 2147483646 w 173"/>
                    <a:gd name="T79" fmla="*/ 2147483646 h 192"/>
                    <a:gd name="T80" fmla="*/ 2147483646 w 173"/>
                    <a:gd name="T81" fmla="*/ 2147483646 h 192"/>
                    <a:gd name="T82" fmla="*/ 2147483646 w 173"/>
                    <a:gd name="T83" fmla="*/ 2147483646 h 192"/>
                    <a:gd name="T84" fmla="*/ 0 w 173"/>
                    <a:gd name="T85" fmla="*/ 2147483646 h 192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73"/>
                    <a:gd name="T130" fmla="*/ 0 h 192"/>
                    <a:gd name="T131" fmla="*/ 173 w 173"/>
                    <a:gd name="T132" fmla="*/ 192 h 192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73" h="192">
                      <a:moveTo>
                        <a:pt x="0" y="68"/>
                      </a:moveTo>
                      <a:lnTo>
                        <a:pt x="27" y="42"/>
                      </a:lnTo>
                      <a:lnTo>
                        <a:pt x="51" y="21"/>
                      </a:lnTo>
                      <a:lnTo>
                        <a:pt x="56" y="16"/>
                      </a:lnTo>
                      <a:lnTo>
                        <a:pt x="63" y="12"/>
                      </a:lnTo>
                      <a:lnTo>
                        <a:pt x="70" y="8"/>
                      </a:lnTo>
                      <a:lnTo>
                        <a:pt x="76" y="6"/>
                      </a:lnTo>
                      <a:lnTo>
                        <a:pt x="83" y="3"/>
                      </a:lnTo>
                      <a:lnTo>
                        <a:pt x="90" y="2"/>
                      </a:lnTo>
                      <a:lnTo>
                        <a:pt x="98" y="1"/>
                      </a:lnTo>
                      <a:lnTo>
                        <a:pt x="107" y="0"/>
                      </a:lnTo>
                      <a:lnTo>
                        <a:pt x="116" y="1"/>
                      </a:lnTo>
                      <a:lnTo>
                        <a:pt x="124" y="2"/>
                      </a:lnTo>
                      <a:lnTo>
                        <a:pt x="132" y="5"/>
                      </a:lnTo>
                      <a:lnTo>
                        <a:pt x="139" y="8"/>
                      </a:lnTo>
                      <a:lnTo>
                        <a:pt x="145" y="13"/>
                      </a:lnTo>
                      <a:lnTo>
                        <a:pt x="151" y="19"/>
                      </a:lnTo>
                      <a:lnTo>
                        <a:pt x="155" y="24"/>
                      </a:lnTo>
                      <a:lnTo>
                        <a:pt x="160" y="30"/>
                      </a:lnTo>
                      <a:lnTo>
                        <a:pt x="163" y="37"/>
                      </a:lnTo>
                      <a:lnTo>
                        <a:pt x="166" y="43"/>
                      </a:lnTo>
                      <a:lnTo>
                        <a:pt x="168" y="50"/>
                      </a:lnTo>
                      <a:lnTo>
                        <a:pt x="169" y="57"/>
                      </a:lnTo>
                      <a:lnTo>
                        <a:pt x="172" y="72"/>
                      </a:lnTo>
                      <a:lnTo>
                        <a:pt x="173" y="87"/>
                      </a:lnTo>
                      <a:lnTo>
                        <a:pt x="157" y="114"/>
                      </a:lnTo>
                      <a:lnTo>
                        <a:pt x="146" y="137"/>
                      </a:lnTo>
                      <a:lnTo>
                        <a:pt x="139" y="148"/>
                      </a:lnTo>
                      <a:lnTo>
                        <a:pt x="130" y="160"/>
                      </a:lnTo>
                      <a:lnTo>
                        <a:pt x="117" y="174"/>
                      </a:lnTo>
                      <a:lnTo>
                        <a:pt x="99" y="192"/>
                      </a:lnTo>
                      <a:lnTo>
                        <a:pt x="86" y="183"/>
                      </a:lnTo>
                      <a:lnTo>
                        <a:pt x="74" y="176"/>
                      </a:lnTo>
                      <a:lnTo>
                        <a:pt x="63" y="169"/>
                      </a:lnTo>
                      <a:lnTo>
                        <a:pt x="54" y="163"/>
                      </a:lnTo>
                      <a:lnTo>
                        <a:pt x="46" y="156"/>
                      </a:lnTo>
                      <a:lnTo>
                        <a:pt x="40" y="150"/>
                      </a:lnTo>
                      <a:lnTo>
                        <a:pt x="34" y="144"/>
                      </a:lnTo>
                      <a:lnTo>
                        <a:pt x="30" y="137"/>
                      </a:lnTo>
                      <a:lnTo>
                        <a:pt x="22" y="123"/>
                      </a:lnTo>
                      <a:lnTo>
                        <a:pt x="16" y="107"/>
                      </a:lnTo>
                      <a:lnTo>
                        <a:pt x="9" y="90"/>
                      </a:lnTo>
                      <a:lnTo>
                        <a:pt x="0" y="6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5" name="Freeform 265">
                  <a:extLst>
                    <a:ext uri="{FF2B5EF4-FFF2-40B4-BE49-F238E27FC236}">
                      <a16:creationId xmlns:a16="http://schemas.microsoft.com/office/drawing/2014/main" xmlns="" id="{186A3BB1-5531-4186-805E-23001F280A2A}"/>
                    </a:ext>
                  </a:extLst>
                </p:cNvPr>
                <p:cNvSpPr>
                  <a:spLocks/>
                </p:cNvSpPr>
                <p:nvPr>
                  <p:custDataLst>
                    <p:tags r:id="rId192"/>
                  </p:custDataLst>
                </p:nvPr>
              </p:nvSpPr>
              <p:spPr bwMode="auto">
                <a:xfrm>
                  <a:off x="3721100" y="3400425"/>
                  <a:ext cx="104775" cy="131763"/>
                </a:xfrm>
                <a:custGeom>
                  <a:avLst/>
                  <a:gdLst>
                    <a:gd name="T0" fmla="*/ 2147483646 w 233"/>
                    <a:gd name="T1" fmla="*/ 0 h 252"/>
                    <a:gd name="T2" fmla="*/ 2147483646 w 233"/>
                    <a:gd name="T3" fmla="*/ 2147483646 h 252"/>
                    <a:gd name="T4" fmla="*/ 2147483646 w 233"/>
                    <a:gd name="T5" fmla="*/ 2147483646 h 252"/>
                    <a:gd name="T6" fmla="*/ 2147483646 w 233"/>
                    <a:gd name="T7" fmla="*/ 2147483646 h 252"/>
                    <a:gd name="T8" fmla="*/ 2147483646 w 233"/>
                    <a:gd name="T9" fmla="*/ 2147483646 h 252"/>
                    <a:gd name="T10" fmla="*/ 2147483646 w 233"/>
                    <a:gd name="T11" fmla="*/ 2147483646 h 252"/>
                    <a:gd name="T12" fmla="*/ 2147483646 w 233"/>
                    <a:gd name="T13" fmla="*/ 0 h 252"/>
                    <a:gd name="T14" fmla="*/ 2147483646 w 233"/>
                    <a:gd name="T15" fmla="*/ 2147483646 h 252"/>
                    <a:gd name="T16" fmla="*/ 2147483646 w 233"/>
                    <a:gd name="T17" fmla="*/ 2147483646 h 252"/>
                    <a:gd name="T18" fmla="*/ 2147483646 w 233"/>
                    <a:gd name="T19" fmla="*/ 2147483646 h 252"/>
                    <a:gd name="T20" fmla="*/ 2147483646 w 233"/>
                    <a:gd name="T21" fmla="*/ 2147483646 h 252"/>
                    <a:gd name="T22" fmla="*/ 2147483646 w 233"/>
                    <a:gd name="T23" fmla="*/ 2147483646 h 252"/>
                    <a:gd name="T24" fmla="*/ 2147483646 w 233"/>
                    <a:gd name="T25" fmla="*/ 2147483646 h 252"/>
                    <a:gd name="T26" fmla="*/ 2147483646 w 233"/>
                    <a:gd name="T27" fmla="*/ 2147483646 h 252"/>
                    <a:gd name="T28" fmla="*/ 2147483646 w 233"/>
                    <a:gd name="T29" fmla="*/ 2147483646 h 252"/>
                    <a:gd name="T30" fmla="*/ 2147483646 w 233"/>
                    <a:gd name="T31" fmla="*/ 2147483646 h 252"/>
                    <a:gd name="T32" fmla="*/ 2147483646 w 233"/>
                    <a:gd name="T33" fmla="*/ 2147483646 h 252"/>
                    <a:gd name="T34" fmla="*/ 2147483646 w 233"/>
                    <a:gd name="T35" fmla="*/ 2147483646 h 252"/>
                    <a:gd name="T36" fmla="*/ 2147483646 w 233"/>
                    <a:gd name="T37" fmla="*/ 2147483646 h 252"/>
                    <a:gd name="T38" fmla="*/ 2147483646 w 233"/>
                    <a:gd name="T39" fmla="*/ 2147483646 h 252"/>
                    <a:gd name="T40" fmla="*/ 2147483646 w 233"/>
                    <a:gd name="T41" fmla="*/ 2147483646 h 252"/>
                    <a:gd name="T42" fmla="*/ 2147483646 w 233"/>
                    <a:gd name="T43" fmla="*/ 2147483646 h 252"/>
                    <a:gd name="T44" fmla="*/ 2147483646 w 233"/>
                    <a:gd name="T45" fmla="*/ 2147483646 h 252"/>
                    <a:gd name="T46" fmla="*/ 2147483646 w 233"/>
                    <a:gd name="T47" fmla="*/ 2147483646 h 252"/>
                    <a:gd name="T48" fmla="*/ 2147483646 w 233"/>
                    <a:gd name="T49" fmla="*/ 2147483646 h 252"/>
                    <a:gd name="T50" fmla="*/ 2147483646 w 233"/>
                    <a:gd name="T51" fmla="*/ 2147483646 h 252"/>
                    <a:gd name="T52" fmla="*/ 2147483646 w 233"/>
                    <a:gd name="T53" fmla="*/ 2147483646 h 252"/>
                    <a:gd name="T54" fmla="*/ 2147483646 w 233"/>
                    <a:gd name="T55" fmla="*/ 2147483646 h 252"/>
                    <a:gd name="T56" fmla="*/ 2147483646 w 233"/>
                    <a:gd name="T57" fmla="*/ 2147483646 h 252"/>
                    <a:gd name="T58" fmla="*/ 2147483646 w 233"/>
                    <a:gd name="T59" fmla="*/ 2147483646 h 252"/>
                    <a:gd name="T60" fmla="*/ 2147483646 w 233"/>
                    <a:gd name="T61" fmla="*/ 2147483646 h 252"/>
                    <a:gd name="T62" fmla="*/ 2147483646 w 233"/>
                    <a:gd name="T63" fmla="*/ 2147483646 h 252"/>
                    <a:gd name="T64" fmla="*/ 2147483646 w 233"/>
                    <a:gd name="T65" fmla="*/ 2147483646 h 252"/>
                    <a:gd name="T66" fmla="*/ 2147483646 w 233"/>
                    <a:gd name="T67" fmla="*/ 2147483646 h 252"/>
                    <a:gd name="T68" fmla="*/ 2147483646 w 233"/>
                    <a:gd name="T69" fmla="*/ 2147483646 h 252"/>
                    <a:gd name="T70" fmla="*/ 2147483646 w 233"/>
                    <a:gd name="T71" fmla="*/ 2147483646 h 252"/>
                    <a:gd name="T72" fmla="*/ 2147483646 w 233"/>
                    <a:gd name="T73" fmla="*/ 2147483646 h 252"/>
                    <a:gd name="T74" fmla="*/ 2147483646 w 233"/>
                    <a:gd name="T75" fmla="*/ 2147483646 h 252"/>
                    <a:gd name="T76" fmla="*/ 2147483646 w 233"/>
                    <a:gd name="T77" fmla="*/ 2147483646 h 252"/>
                    <a:gd name="T78" fmla="*/ 2147483646 w 233"/>
                    <a:gd name="T79" fmla="*/ 2147483646 h 252"/>
                    <a:gd name="T80" fmla="*/ 2147483646 w 233"/>
                    <a:gd name="T81" fmla="*/ 2147483646 h 252"/>
                    <a:gd name="T82" fmla="*/ 2147483646 w 233"/>
                    <a:gd name="T83" fmla="*/ 2147483646 h 252"/>
                    <a:gd name="T84" fmla="*/ 2147483646 w 233"/>
                    <a:gd name="T85" fmla="*/ 2147483646 h 252"/>
                    <a:gd name="T86" fmla="*/ 2147483646 w 233"/>
                    <a:gd name="T87" fmla="*/ 2147483646 h 252"/>
                    <a:gd name="T88" fmla="*/ 2147483646 w 233"/>
                    <a:gd name="T89" fmla="*/ 2147483646 h 252"/>
                    <a:gd name="T90" fmla="*/ 2147483646 w 233"/>
                    <a:gd name="T91" fmla="*/ 2147483646 h 252"/>
                    <a:gd name="T92" fmla="*/ 2147483646 w 233"/>
                    <a:gd name="T93" fmla="*/ 2147483646 h 252"/>
                    <a:gd name="T94" fmla="*/ 0 w 233"/>
                    <a:gd name="T95" fmla="*/ 2147483646 h 252"/>
                    <a:gd name="T96" fmla="*/ 2147483646 w 233"/>
                    <a:gd name="T97" fmla="*/ 2147483646 h 252"/>
                    <a:gd name="T98" fmla="*/ 2147483646 w 233"/>
                    <a:gd name="T99" fmla="*/ 2147483646 h 252"/>
                    <a:gd name="T100" fmla="*/ 2147483646 w 233"/>
                    <a:gd name="T101" fmla="*/ 2147483646 h 252"/>
                    <a:gd name="T102" fmla="*/ 2147483646 w 233"/>
                    <a:gd name="T103" fmla="*/ 2147483646 h 252"/>
                    <a:gd name="T104" fmla="*/ 2147483646 w 233"/>
                    <a:gd name="T105" fmla="*/ 2147483646 h 252"/>
                    <a:gd name="T106" fmla="*/ 2147483646 w 233"/>
                    <a:gd name="T107" fmla="*/ 0 h 25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33"/>
                    <a:gd name="T163" fmla="*/ 0 h 252"/>
                    <a:gd name="T164" fmla="*/ 233 w 233"/>
                    <a:gd name="T165" fmla="*/ 252 h 252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33" h="252">
                      <a:moveTo>
                        <a:pt x="74" y="0"/>
                      </a:moveTo>
                      <a:lnTo>
                        <a:pt x="83" y="2"/>
                      </a:lnTo>
                      <a:lnTo>
                        <a:pt x="89" y="3"/>
                      </a:lnTo>
                      <a:lnTo>
                        <a:pt x="95" y="3"/>
                      </a:lnTo>
                      <a:lnTo>
                        <a:pt x="99" y="2"/>
                      </a:lnTo>
                      <a:lnTo>
                        <a:pt x="106" y="1"/>
                      </a:lnTo>
                      <a:lnTo>
                        <a:pt x="113" y="0"/>
                      </a:lnTo>
                      <a:lnTo>
                        <a:pt x="125" y="17"/>
                      </a:lnTo>
                      <a:lnTo>
                        <a:pt x="140" y="37"/>
                      </a:lnTo>
                      <a:lnTo>
                        <a:pt x="144" y="42"/>
                      </a:lnTo>
                      <a:lnTo>
                        <a:pt x="148" y="46"/>
                      </a:lnTo>
                      <a:lnTo>
                        <a:pt x="153" y="49"/>
                      </a:lnTo>
                      <a:lnTo>
                        <a:pt x="157" y="52"/>
                      </a:lnTo>
                      <a:lnTo>
                        <a:pt x="163" y="54"/>
                      </a:lnTo>
                      <a:lnTo>
                        <a:pt x="168" y="56"/>
                      </a:lnTo>
                      <a:lnTo>
                        <a:pt x="174" y="56"/>
                      </a:lnTo>
                      <a:lnTo>
                        <a:pt x="180" y="56"/>
                      </a:lnTo>
                      <a:lnTo>
                        <a:pt x="180" y="80"/>
                      </a:lnTo>
                      <a:lnTo>
                        <a:pt x="193" y="103"/>
                      </a:lnTo>
                      <a:lnTo>
                        <a:pt x="212" y="128"/>
                      </a:lnTo>
                      <a:lnTo>
                        <a:pt x="215" y="135"/>
                      </a:lnTo>
                      <a:lnTo>
                        <a:pt x="220" y="142"/>
                      </a:lnTo>
                      <a:lnTo>
                        <a:pt x="223" y="151"/>
                      </a:lnTo>
                      <a:lnTo>
                        <a:pt x="226" y="160"/>
                      </a:lnTo>
                      <a:lnTo>
                        <a:pt x="230" y="170"/>
                      </a:lnTo>
                      <a:lnTo>
                        <a:pt x="232" y="180"/>
                      </a:lnTo>
                      <a:lnTo>
                        <a:pt x="233" y="191"/>
                      </a:lnTo>
                      <a:lnTo>
                        <a:pt x="233" y="204"/>
                      </a:lnTo>
                      <a:lnTo>
                        <a:pt x="232" y="216"/>
                      </a:lnTo>
                      <a:lnTo>
                        <a:pt x="230" y="228"/>
                      </a:lnTo>
                      <a:lnTo>
                        <a:pt x="227" y="240"/>
                      </a:lnTo>
                      <a:lnTo>
                        <a:pt x="226" y="252"/>
                      </a:lnTo>
                      <a:lnTo>
                        <a:pt x="222" y="252"/>
                      </a:lnTo>
                      <a:lnTo>
                        <a:pt x="215" y="250"/>
                      </a:lnTo>
                      <a:lnTo>
                        <a:pt x="208" y="246"/>
                      </a:lnTo>
                      <a:lnTo>
                        <a:pt x="198" y="241"/>
                      </a:lnTo>
                      <a:lnTo>
                        <a:pt x="176" y="226"/>
                      </a:lnTo>
                      <a:lnTo>
                        <a:pt x="151" y="208"/>
                      </a:lnTo>
                      <a:lnTo>
                        <a:pt x="125" y="186"/>
                      </a:lnTo>
                      <a:lnTo>
                        <a:pt x="100" y="165"/>
                      </a:lnTo>
                      <a:lnTo>
                        <a:pt x="78" y="145"/>
                      </a:lnTo>
                      <a:lnTo>
                        <a:pt x="61" y="129"/>
                      </a:lnTo>
                      <a:lnTo>
                        <a:pt x="55" y="125"/>
                      </a:lnTo>
                      <a:lnTo>
                        <a:pt x="48" y="120"/>
                      </a:lnTo>
                      <a:lnTo>
                        <a:pt x="41" y="116"/>
                      </a:lnTo>
                      <a:lnTo>
                        <a:pt x="33" y="112"/>
                      </a:lnTo>
                      <a:lnTo>
                        <a:pt x="17" y="104"/>
                      </a:lnTo>
                      <a:lnTo>
                        <a:pt x="0" y="99"/>
                      </a:lnTo>
                      <a:lnTo>
                        <a:pt x="40" y="63"/>
                      </a:lnTo>
                      <a:lnTo>
                        <a:pt x="59" y="43"/>
                      </a:lnTo>
                      <a:lnTo>
                        <a:pt x="65" y="33"/>
                      </a:lnTo>
                      <a:lnTo>
                        <a:pt x="69" y="25"/>
                      </a:lnTo>
                      <a:lnTo>
                        <a:pt x="72" y="14"/>
                      </a:lnTo>
                      <a:lnTo>
                        <a:pt x="74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6" name="Freeform 266">
                  <a:extLst>
                    <a:ext uri="{FF2B5EF4-FFF2-40B4-BE49-F238E27FC236}">
                      <a16:creationId xmlns:a16="http://schemas.microsoft.com/office/drawing/2014/main" xmlns="" id="{A6D52095-573F-4310-96DD-217A537A0EB7}"/>
                    </a:ext>
                  </a:extLst>
                </p:cNvPr>
                <p:cNvSpPr>
                  <a:spLocks/>
                </p:cNvSpPr>
                <p:nvPr>
                  <p:custDataLst>
                    <p:tags r:id="rId193"/>
                  </p:custDataLst>
                </p:nvPr>
              </p:nvSpPr>
              <p:spPr bwMode="auto">
                <a:xfrm>
                  <a:off x="3935413" y="3319463"/>
                  <a:ext cx="104775" cy="201612"/>
                </a:xfrm>
                <a:custGeom>
                  <a:avLst/>
                  <a:gdLst>
                    <a:gd name="T0" fmla="*/ 2147483646 w 246"/>
                    <a:gd name="T1" fmla="*/ 2147483646 h 380"/>
                    <a:gd name="T2" fmla="*/ 2147483646 w 246"/>
                    <a:gd name="T3" fmla="*/ 2147483646 h 380"/>
                    <a:gd name="T4" fmla="*/ 2147483646 w 246"/>
                    <a:gd name="T5" fmla="*/ 2147483646 h 380"/>
                    <a:gd name="T6" fmla="*/ 2147483646 w 246"/>
                    <a:gd name="T7" fmla="*/ 2147483646 h 380"/>
                    <a:gd name="T8" fmla="*/ 2147483646 w 246"/>
                    <a:gd name="T9" fmla="*/ 2147483646 h 380"/>
                    <a:gd name="T10" fmla="*/ 2147483646 w 246"/>
                    <a:gd name="T11" fmla="*/ 2147483646 h 380"/>
                    <a:gd name="T12" fmla="*/ 2147483646 w 246"/>
                    <a:gd name="T13" fmla="*/ 2147483646 h 380"/>
                    <a:gd name="T14" fmla="*/ 2147483646 w 246"/>
                    <a:gd name="T15" fmla="*/ 2147483646 h 380"/>
                    <a:gd name="T16" fmla="*/ 2147483646 w 246"/>
                    <a:gd name="T17" fmla="*/ 2147483646 h 380"/>
                    <a:gd name="T18" fmla="*/ 2147483646 w 246"/>
                    <a:gd name="T19" fmla="*/ 2147483646 h 380"/>
                    <a:gd name="T20" fmla="*/ 2147483646 w 246"/>
                    <a:gd name="T21" fmla="*/ 2147483646 h 380"/>
                    <a:gd name="T22" fmla="*/ 2147483646 w 246"/>
                    <a:gd name="T23" fmla="*/ 2147483646 h 380"/>
                    <a:gd name="T24" fmla="*/ 2147483646 w 246"/>
                    <a:gd name="T25" fmla="*/ 2147483646 h 380"/>
                    <a:gd name="T26" fmla="*/ 2147483646 w 246"/>
                    <a:gd name="T27" fmla="*/ 2147483646 h 380"/>
                    <a:gd name="T28" fmla="*/ 0 w 246"/>
                    <a:gd name="T29" fmla="*/ 2147483646 h 380"/>
                    <a:gd name="T30" fmla="*/ 2147483646 w 246"/>
                    <a:gd name="T31" fmla="*/ 2147483646 h 380"/>
                    <a:gd name="T32" fmla="*/ 2147483646 w 246"/>
                    <a:gd name="T33" fmla="*/ 2147483646 h 380"/>
                    <a:gd name="T34" fmla="*/ 2147483646 w 246"/>
                    <a:gd name="T35" fmla="*/ 2147483646 h 380"/>
                    <a:gd name="T36" fmla="*/ 2147483646 w 246"/>
                    <a:gd name="T37" fmla="*/ 2147483646 h 380"/>
                    <a:gd name="T38" fmla="*/ 2147483646 w 246"/>
                    <a:gd name="T39" fmla="*/ 2147483646 h 380"/>
                    <a:gd name="T40" fmla="*/ 2147483646 w 246"/>
                    <a:gd name="T41" fmla="*/ 2147483646 h 380"/>
                    <a:gd name="T42" fmla="*/ 2147483646 w 246"/>
                    <a:gd name="T43" fmla="*/ 2147483646 h 380"/>
                    <a:gd name="T44" fmla="*/ 2147483646 w 246"/>
                    <a:gd name="T45" fmla="*/ 2147483646 h 380"/>
                    <a:gd name="T46" fmla="*/ 2147483646 w 246"/>
                    <a:gd name="T47" fmla="*/ 2147483646 h 380"/>
                    <a:gd name="T48" fmla="*/ 2147483646 w 246"/>
                    <a:gd name="T49" fmla="*/ 2147483646 h 380"/>
                    <a:gd name="T50" fmla="*/ 2147483646 w 246"/>
                    <a:gd name="T51" fmla="*/ 2147483646 h 380"/>
                    <a:gd name="T52" fmla="*/ 2147483646 w 246"/>
                    <a:gd name="T53" fmla="*/ 2147483646 h 380"/>
                    <a:gd name="T54" fmla="*/ 2147483646 w 246"/>
                    <a:gd name="T55" fmla="*/ 2147483646 h 380"/>
                    <a:gd name="T56" fmla="*/ 2147483646 w 246"/>
                    <a:gd name="T57" fmla="*/ 2147483646 h 380"/>
                    <a:gd name="T58" fmla="*/ 2147483646 w 246"/>
                    <a:gd name="T59" fmla="*/ 2147483646 h 380"/>
                    <a:gd name="T60" fmla="*/ 2147483646 w 246"/>
                    <a:gd name="T61" fmla="*/ 2147483646 h 380"/>
                    <a:gd name="T62" fmla="*/ 2147483646 w 246"/>
                    <a:gd name="T63" fmla="*/ 0 h 380"/>
                    <a:gd name="T64" fmla="*/ 2147483646 w 246"/>
                    <a:gd name="T65" fmla="*/ 0 h 380"/>
                    <a:gd name="T66" fmla="*/ 2147483646 w 246"/>
                    <a:gd name="T67" fmla="*/ 2147483646 h 380"/>
                    <a:gd name="T68" fmla="*/ 2147483646 w 246"/>
                    <a:gd name="T69" fmla="*/ 2147483646 h 380"/>
                    <a:gd name="T70" fmla="*/ 2147483646 w 246"/>
                    <a:gd name="T71" fmla="*/ 2147483646 h 380"/>
                    <a:gd name="T72" fmla="*/ 2147483646 w 246"/>
                    <a:gd name="T73" fmla="*/ 2147483646 h 380"/>
                    <a:gd name="T74" fmla="*/ 2147483646 w 246"/>
                    <a:gd name="T75" fmla="*/ 2147483646 h 380"/>
                    <a:gd name="T76" fmla="*/ 2147483646 w 246"/>
                    <a:gd name="T77" fmla="*/ 2147483646 h 380"/>
                    <a:gd name="T78" fmla="*/ 2147483646 w 246"/>
                    <a:gd name="T79" fmla="*/ 2147483646 h 380"/>
                    <a:gd name="T80" fmla="*/ 2147483646 w 246"/>
                    <a:gd name="T81" fmla="*/ 2147483646 h 380"/>
                    <a:gd name="T82" fmla="*/ 2147483646 w 246"/>
                    <a:gd name="T83" fmla="*/ 2147483646 h 380"/>
                    <a:gd name="T84" fmla="*/ 2147483646 w 246"/>
                    <a:gd name="T85" fmla="*/ 2147483646 h 380"/>
                    <a:gd name="T86" fmla="*/ 2147483646 w 246"/>
                    <a:gd name="T87" fmla="*/ 2147483646 h 380"/>
                    <a:gd name="T88" fmla="*/ 2147483646 w 246"/>
                    <a:gd name="T89" fmla="*/ 2147483646 h 380"/>
                    <a:gd name="T90" fmla="*/ 2147483646 w 246"/>
                    <a:gd name="T91" fmla="*/ 2147483646 h 380"/>
                    <a:gd name="T92" fmla="*/ 2147483646 w 246"/>
                    <a:gd name="T93" fmla="*/ 2147483646 h 380"/>
                    <a:gd name="T94" fmla="*/ 2147483646 w 246"/>
                    <a:gd name="T95" fmla="*/ 2147483646 h 380"/>
                    <a:gd name="T96" fmla="*/ 2147483646 w 246"/>
                    <a:gd name="T97" fmla="*/ 2147483646 h 380"/>
                    <a:gd name="T98" fmla="*/ 2147483646 w 246"/>
                    <a:gd name="T99" fmla="*/ 2147483646 h 380"/>
                    <a:gd name="T100" fmla="*/ 2147483646 w 246"/>
                    <a:gd name="T101" fmla="*/ 2147483646 h 380"/>
                    <a:gd name="T102" fmla="*/ 2147483646 w 246"/>
                    <a:gd name="T103" fmla="*/ 2147483646 h 380"/>
                    <a:gd name="T104" fmla="*/ 2147483646 w 246"/>
                    <a:gd name="T105" fmla="*/ 2147483646 h 380"/>
                    <a:gd name="T106" fmla="*/ 2147483646 w 246"/>
                    <a:gd name="T107" fmla="*/ 2147483646 h 380"/>
                    <a:gd name="T108" fmla="*/ 2147483646 w 246"/>
                    <a:gd name="T109" fmla="*/ 2147483646 h 380"/>
                    <a:gd name="T110" fmla="*/ 2147483646 w 246"/>
                    <a:gd name="T111" fmla="*/ 2147483646 h 380"/>
                    <a:gd name="T112" fmla="*/ 2147483646 w 246"/>
                    <a:gd name="T113" fmla="*/ 2147483646 h 380"/>
                    <a:gd name="T114" fmla="*/ 2147483646 w 246"/>
                    <a:gd name="T115" fmla="*/ 2147483646 h 380"/>
                    <a:gd name="T116" fmla="*/ 2147483646 w 246"/>
                    <a:gd name="T117" fmla="*/ 2147483646 h 380"/>
                    <a:gd name="T118" fmla="*/ 2147483646 w 246"/>
                    <a:gd name="T119" fmla="*/ 2147483646 h 380"/>
                    <a:gd name="T120" fmla="*/ 2147483646 w 246"/>
                    <a:gd name="T121" fmla="*/ 2147483646 h 380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246"/>
                    <a:gd name="T184" fmla="*/ 0 h 380"/>
                    <a:gd name="T185" fmla="*/ 246 w 246"/>
                    <a:gd name="T186" fmla="*/ 380 h 380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246" h="380">
                      <a:moveTo>
                        <a:pt x="13" y="376"/>
                      </a:moveTo>
                      <a:lnTo>
                        <a:pt x="14" y="367"/>
                      </a:lnTo>
                      <a:lnTo>
                        <a:pt x="15" y="359"/>
                      </a:lnTo>
                      <a:lnTo>
                        <a:pt x="18" y="351"/>
                      </a:lnTo>
                      <a:lnTo>
                        <a:pt x="20" y="344"/>
                      </a:lnTo>
                      <a:lnTo>
                        <a:pt x="25" y="333"/>
                      </a:lnTo>
                      <a:lnTo>
                        <a:pt x="26" y="327"/>
                      </a:lnTo>
                      <a:lnTo>
                        <a:pt x="25" y="321"/>
                      </a:lnTo>
                      <a:lnTo>
                        <a:pt x="23" y="314"/>
                      </a:lnTo>
                      <a:lnTo>
                        <a:pt x="19" y="305"/>
                      </a:lnTo>
                      <a:lnTo>
                        <a:pt x="13" y="295"/>
                      </a:lnTo>
                      <a:lnTo>
                        <a:pt x="9" y="285"/>
                      </a:lnTo>
                      <a:lnTo>
                        <a:pt x="4" y="275"/>
                      </a:lnTo>
                      <a:lnTo>
                        <a:pt x="1" y="267"/>
                      </a:lnTo>
                      <a:lnTo>
                        <a:pt x="0" y="259"/>
                      </a:lnTo>
                      <a:lnTo>
                        <a:pt x="1" y="251"/>
                      </a:lnTo>
                      <a:lnTo>
                        <a:pt x="2" y="243"/>
                      </a:lnTo>
                      <a:lnTo>
                        <a:pt x="3" y="236"/>
                      </a:lnTo>
                      <a:lnTo>
                        <a:pt x="6" y="230"/>
                      </a:lnTo>
                      <a:lnTo>
                        <a:pt x="11" y="218"/>
                      </a:lnTo>
                      <a:lnTo>
                        <a:pt x="19" y="207"/>
                      </a:lnTo>
                      <a:lnTo>
                        <a:pt x="26" y="197"/>
                      </a:lnTo>
                      <a:lnTo>
                        <a:pt x="34" y="185"/>
                      </a:lnTo>
                      <a:lnTo>
                        <a:pt x="41" y="173"/>
                      </a:lnTo>
                      <a:lnTo>
                        <a:pt x="47" y="160"/>
                      </a:lnTo>
                      <a:lnTo>
                        <a:pt x="26" y="73"/>
                      </a:lnTo>
                      <a:lnTo>
                        <a:pt x="26" y="50"/>
                      </a:lnTo>
                      <a:lnTo>
                        <a:pt x="24" y="33"/>
                      </a:lnTo>
                      <a:lnTo>
                        <a:pt x="24" y="25"/>
                      </a:lnTo>
                      <a:lnTo>
                        <a:pt x="24" y="16"/>
                      </a:lnTo>
                      <a:lnTo>
                        <a:pt x="25" y="8"/>
                      </a:lnTo>
                      <a:lnTo>
                        <a:pt x="26" y="0"/>
                      </a:lnTo>
                      <a:lnTo>
                        <a:pt x="180" y="0"/>
                      </a:lnTo>
                      <a:lnTo>
                        <a:pt x="220" y="129"/>
                      </a:lnTo>
                      <a:lnTo>
                        <a:pt x="220" y="210"/>
                      </a:lnTo>
                      <a:lnTo>
                        <a:pt x="220" y="220"/>
                      </a:lnTo>
                      <a:lnTo>
                        <a:pt x="221" y="230"/>
                      </a:lnTo>
                      <a:lnTo>
                        <a:pt x="223" y="240"/>
                      </a:lnTo>
                      <a:lnTo>
                        <a:pt x="225" y="250"/>
                      </a:lnTo>
                      <a:lnTo>
                        <a:pt x="228" y="259"/>
                      </a:lnTo>
                      <a:lnTo>
                        <a:pt x="234" y="268"/>
                      </a:lnTo>
                      <a:lnTo>
                        <a:pt x="239" y="278"/>
                      </a:lnTo>
                      <a:lnTo>
                        <a:pt x="246" y="289"/>
                      </a:lnTo>
                      <a:lnTo>
                        <a:pt x="224" y="295"/>
                      </a:lnTo>
                      <a:lnTo>
                        <a:pt x="202" y="302"/>
                      </a:lnTo>
                      <a:lnTo>
                        <a:pt x="181" y="310"/>
                      </a:lnTo>
                      <a:lnTo>
                        <a:pt x="160" y="319"/>
                      </a:lnTo>
                      <a:lnTo>
                        <a:pt x="141" y="328"/>
                      </a:lnTo>
                      <a:lnTo>
                        <a:pt x="120" y="338"/>
                      </a:lnTo>
                      <a:lnTo>
                        <a:pt x="100" y="347"/>
                      </a:lnTo>
                      <a:lnTo>
                        <a:pt x="80" y="358"/>
                      </a:lnTo>
                      <a:lnTo>
                        <a:pt x="75" y="363"/>
                      </a:lnTo>
                      <a:lnTo>
                        <a:pt x="69" y="367"/>
                      </a:lnTo>
                      <a:lnTo>
                        <a:pt x="62" y="372"/>
                      </a:lnTo>
                      <a:lnTo>
                        <a:pt x="54" y="376"/>
                      </a:lnTo>
                      <a:lnTo>
                        <a:pt x="46" y="379"/>
                      </a:lnTo>
                      <a:lnTo>
                        <a:pt x="36" y="380"/>
                      </a:lnTo>
                      <a:lnTo>
                        <a:pt x="31" y="380"/>
                      </a:lnTo>
                      <a:lnTo>
                        <a:pt x="25" y="379"/>
                      </a:lnTo>
                      <a:lnTo>
                        <a:pt x="20" y="378"/>
                      </a:lnTo>
                      <a:lnTo>
                        <a:pt x="13" y="37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7" name="Freeform 267">
                  <a:extLst>
                    <a:ext uri="{FF2B5EF4-FFF2-40B4-BE49-F238E27FC236}">
                      <a16:creationId xmlns:a16="http://schemas.microsoft.com/office/drawing/2014/main" xmlns="" id="{F007A85B-87D4-4D1C-9170-9C50516F6CD1}"/>
                    </a:ext>
                  </a:extLst>
                </p:cNvPr>
                <p:cNvSpPr>
                  <a:spLocks/>
                </p:cNvSpPr>
                <p:nvPr>
                  <p:custDataLst>
                    <p:tags r:id="rId194"/>
                  </p:custDataLst>
                </p:nvPr>
              </p:nvSpPr>
              <p:spPr bwMode="auto">
                <a:xfrm>
                  <a:off x="3587750" y="3235325"/>
                  <a:ext cx="87313" cy="58738"/>
                </a:xfrm>
                <a:custGeom>
                  <a:avLst/>
                  <a:gdLst>
                    <a:gd name="T0" fmla="*/ 2147483646 w 193"/>
                    <a:gd name="T1" fmla="*/ 2147483646 h 38"/>
                    <a:gd name="T2" fmla="*/ 2147483646 w 193"/>
                    <a:gd name="T3" fmla="*/ 2147483646 h 38"/>
                    <a:gd name="T4" fmla="*/ 2147483646 w 193"/>
                    <a:gd name="T5" fmla="*/ 2147483646 h 38"/>
                    <a:gd name="T6" fmla="*/ 2147483646 w 193"/>
                    <a:gd name="T7" fmla="*/ 2147483646 h 38"/>
                    <a:gd name="T8" fmla="*/ 2147483646 w 193"/>
                    <a:gd name="T9" fmla="*/ 2147483646 h 38"/>
                    <a:gd name="T10" fmla="*/ 2147483646 w 193"/>
                    <a:gd name="T11" fmla="*/ 2147483646 h 38"/>
                    <a:gd name="T12" fmla="*/ 2147483646 w 193"/>
                    <a:gd name="T13" fmla="*/ 0 h 38"/>
                    <a:gd name="T14" fmla="*/ 2147483646 w 193"/>
                    <a:gd name="T15" fmla="*/ 2147483646 h 38"/>
                    <a:gd name="T16" fmla="*/ 2147483646 w 193"/>
                    <a:gd name="T17" fmla="*/ 2147483646 h 38"/>
                    <a:gd name="T18" fmla="*/ 2147483646 w 193"/>
                    <a:gd name="T19" fmla="*/ 2147483646 h 38"/>
                    <a:gd name="T20" fmla="*/ 2147483646 w 193"/>
                    <a:gd name="T21" fmla="*/ 2147483646 h 38"/>
                    <a:gd name="T22" fmla="*/ 2147483646 w 193"/>
                    <a:gd name="T23" fmla="*/ 2147483646 h 38"/>
                    <a:gd name="T24" fmla="*/ 2147483646 w 193"/>
                    <a:gd name="T25" fmla="*/ 2147483646 h 38"/>
                    <a:gd name="T26" fmla="*/ 2147483646 w 193"/>
                    <a:gd name="T27" fmla="*/ 2147483646 h 38"/>
                    <a:gd name="T28" fmla="*/ 2147483646 w 193"/>
                    <a:gd name="T29" fmla="*/ 2147483646 h 38"/>
                    <a:gd name="T30" fmla="*/ 2147483646 w 193"/>
                    <a:gd name="T31" fmla="*/ 2147483646 h 38"/>
                    <a:gd name="T32" fmla="*/ 2147483646 w 193"/>
                    <a:gd name="T33" fmla="*/ 2147483646 h 38"/>
                    <a:gd name="T34" fmla="*/ 2147483646 w 193"/>
                    <a:gd name="T35" fmla="*/ 2147483646 h 38"/>
                    <a:gd name="T36" fmla="*/ 2147483646 w 193"/>
                    <a:gd name="T37" fmla="*/ 2147483646 h 38"/>
                    <a:gd name="T38" fmla="*/ 2147483646 w 193"/>
                    <a:gd name="T39" fmla="*/ 2147483646 h 38"/>
                    <a:gd name="T40" fmla="*/ 2147483646 w 193"/>
                    <a:gd name="T41" fmla="*/ 2147483646 h 38"/>
                    <a:gd name="T42" fmla="*/ 2147483646 w 193"/>
                    <a:gd name="T43" fmla="*/ 2147483646 h 38"/>
                    <a:gd name="T44" fmla="*/ 2147483646 w 193"/>
                    <a:gd name="T45" fmla="*/ 2147483646 h 38"/>
                    <a:gd name="T46" fmla="*/ 2147483646 w 193"/>
                    <a:gd name="T47" fmla="*/ 2147483646 h 38"/>
                    <a:gd name="T48" fmla="*/ 2147483646 w 193"/>
                    <a:gd name="T49" fmla="*/ 2147483646 h 38"/>
                    <a:gd name="T50" fmla="*/ 2147483646 w 193"/>
                    <a:gd name="T51" fmla="*/ 2147483646 h 38"/>
                    <a:gd name="T52" fmla="*/ 2147483646 w 193"/>
                    <a:gd name="T53" fmla="*/ 2147483646 h 38"/>
                    <a:gd name="T54" fmla="*/ 2147483646 w 193"/>
                    <a:gd name="T55" fmla="*/ 2147483646 h 38"/>
                    <a:gd name="T56" fmla="*/ 2147483646 w 193"/>
                    <a:gd name="T57" fmla="*/ 2147483646 h 38"/>
                    <a:gd name="T58" fmla="*/ 2147483646 w 193"/>
                    <a:gd name="T59" fmla="*/ 2147483646 h 38"/>
                    <a:gd name="T60" fmla="*/ 0 w 193"/>
                    <a:gd name="T61" fmla="*/ 2147483646 h 38"/>
                    <a:gd name="T62" fmla="*/ 0 w 193"/>
                    <a:gd name="T63" fmla="*/ 2147483646 h 38"/>
                    <a:gd name="T64" fmla="*/ 2147483646 w 193"/>
                    <a:gd name="T65" fmla="*/ 2147483646 h 38"/>
                    <a:gd name="T66" fmla="*/ 2147483646 w 193"/>
                    <a:gd name="T67" fmla="*/ 2147483646 h 38"/>
                    <a:gd name="T68" fmla="*/ 2147483646 w 193"/>
                    <a:gd name="T69" fmla="*/ 2147483646 h 38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93"/>
                    <a:gd name="T106" fmla="*/ 0 h 38"/>
                    <a:gd name="T107" fmla="*/ 193 w 193"/>
                    <a:gd name="T108" fmla="*/ 38 h 38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93" h="38">
                      <a:moveTo>
                        <a:pt x="7" y="20"/>
                      </a:moveTo>
                      <a:lnTo>
                        <a:pt x="38" y="11"/>
                      </a:lnTo>
                      <a:lnTo>
                        <a:pt x="67" y="5"/>
                      </a:lnTo>
                      <a:lnTo>
                        <a:pt x="80" y="3"/>
                      </a:lnTo>
                      <a:lnTo>
                        <a:pt x="94" y="2"/>
                      </a:lnTo>
                      <a:lnTo>
                        <a:pt x="110" y="1"/>
                      </a:lnTo>
                      <a:lnTo>
                        <a:pt x="126" y="0"/>
                      </a:lnTo>
                      <a:lnTo>
                        <a:pt x="138" y="1"/>
                      </a:lnTo>
                      <a:lnTo>
                        <a:pt x="149" y="1"/>
                      </a:lnTo>
                      <a:lnTo>
                        <a:pt x="160" y="2"/>
                      </a:lnTo>
                      <a:lnTo>
                        <a:pt x="169" y="4"/>
                      </a:lnTo>
                      <a:lnTo>
                        <a:pt x="178" y="6"/>
                      </a:lnTo>
                      <a:lnTo>
                        <a:pt x="184" y="11"/>
                      </a:lnTo>
                      <a:lnTo>
                        <a:pt x="187" y="13"/>
                      </a:lnTo>
                      <a:lnTo>
                        <a:pt x="189" y="18"/>
                      </a:lnTo>
                      <a:lnTo>
                        <a:pt x="191" y="21"/>
                      </a:lnTo>
                      <a:lnTo>
                        <a:pt x="193" y="26"/>
                      </a:lnTo>
                      <a:lnTo>
                        <a:pt x="183" y="27"/>
                      </a:lnTo>
                      <a:lnTo>
                        <a:pt x="173" y="28"/>
                      </a:lnTo>
                      <a:lnTo>
                        <a:pt x="165" y="28"/>
                      </a:lnTo>
                      <a:lnTo>
                        <a:pt x="156" y="28"/>
                      </a:lnTo>
                      <a:lnTo>
                        <a:pt x="138" y="27"/>
                      </a:lnTo>
                      <a:lnTo>
                        <a:pt x="120" y="26"/>
                      </a:lnTo>
                      <a:lnTo>
                        <a:pt x="103" y="26"/>
                      </a:lnTo>
                      <a:lnTo>
                        <a:pt x="89" y="28"/>
                      </a:lnTo>
                      <a:lnTo>
                        <a:pt x="76" y="30"/>
                      </a:lnTo>
                      <a:lnTo>
                        <a:pt x="63" y="32"/>
                      </a:lnTo>
                      <a:lnTo>
                        <a:pt x="49" y="34"/>
                      </a:lnTo>
                      <a:lnTo>
                        <a:pt x="35" y="36"/>
                      </a:lnTo>
                      <a:lnTo>
                        <a:pt x="19" y="37"/>
                      </a:lnTo>
                      <a:lnTo>
                        <a:pt x="0" y="38"/>
                      </a:lnTo>
                      <a:lnTo>
                        <a:pt x="0" y="33"/>
                      </a:lnTo>
                      <a:lnTo>
                        <a:pt x="1" y="29"/>
                      </a:lnTo>
                      <a:lnTo>
                        <a:pt x="3" y="24"/>
                      </a:lnTo>
                      <a:lnTo>
                        <a:pt x="7" y="2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8" name="Freeform 268">
                  <a:extLst>
                    <a:ext uri="{FF2B5EF4-FFF2-40B4-BE49-F238E27FC236}">
                      <a16:creationId xmlns:a16="http://schemas.microsoft.com/office/drawing/2014/main" xmlns="" id="{5064CEDC-3863-412B-B3B4-01119B5B3688}"/>
                    </a:ext>
                  </a:extLst>
                </p:cNvPr>
                <p:cNvSpPr>
                  <a:spLocks/>
                </p:cNvSpPr>
                <p:nvPr>
                  <p:custDataLst>
                    <p:tags r:id="rId195"/>
                  </p:custDataLst>
                </p:nvPr>
              </p:nvSpPr>
              <p:spPr bwMode="auto">
                <a:xfrm>
                  <a:off x="4013200" y="3313113"/>
                  <a:ext cx="42863" cy="155575"/>
                </a:xfrm>
                <a:custGeom>
                  <a:avLst/>
                  <a:gdLst>
                    <a:gd name="T0" fmla="*/ 2147483646 w 99"/>
                    <a:gd name="T1" fmla="*/ 2147483646 h 301"/>
                    <a:gd name="T2" fmla="*/ 2147483646 w 99"/>
                    <a:gd name="T3" fmla="*/ 2147483646 h 301"/>
                    <a:gd name="T4" fmla="*/ 2147483646 w 99"/>
                    <a:gd name="T5" fmla="*/ 2147483646 h 301"/>
                    <a:gd name="T6" fmla="*/ 2147483646 w 99"/>
                    <a:gd name="T7" fmla="*/ 2147483646 h 301"/>
                    <a:gd name="T8" fmla="*/ 2147483646 w 99"/>
                    <a:gd name="T9" fmla="*/ 2147483646 h 301"/>
                    <a:gd name="T10" fmla="*/ 2147483646 w 99"/>
                    <a:gd name="T11" fmla="*/ 2147483646 h 301"/>
                    <a:gd name="T12" fmla="*/ 2147483646 w 99"/>
                    <a:gd name="T13" fmla="*/ 2147483646 h 301"/>
                    <a:gd name="T14" fmla="*/ 2147483646 w 99"/>
                    <a:gd name="T15" fmla="*/ 2147483646 h 301"/>
                    <a:gd name="T16" fmla="*/ 2147483646 w 99"/>
                    <a:gd name="T17" fmla="*/ 2147483646 h 301"/>
                    <a:gd name="T18" fmla="*/ 2147483646 w 99"/>
                    <a:gd name="T19" fmla="*/ 2147483646 h 301"/>
                    <a:gd name="T20" fmla="*/ 2147483646 w 99"/>
                    <a:gd name="T21" fmla="*/ 2147483646 h 301"/>
                    <a:gd name="T22" fmla="*/ 2147483646 w 99"/>
                    <a:gd name="T23" fmla="*/ 2147483646 h 301"/>
                    <a:gd name="T24" fmla="*/ 2147483646 w 99"/>
                    <a:gd name="T25" fmla="*/ 2147483646 h 301"/>
                    <a:gd name="T26" fmla="*/ 2147483646 w 99"/>
                    <a:gd name="T27" fmla="*/ 2147483646 h 301"/>
                    <a:gd name="T28" fmla="*/ 2147483646 w 99"/>
                    <a:gd name="T29" fmla="*/ 2147483646 h 301"/>
                    <a:gd name="T30" fmla="*/ 2147483646 w 99"/>
                    <a:gd name="T31" fmla="*/ 2147483646 h 301"/>
                    <a:gd name="T32" fmla="*/ 2147483646 w 99"/>
                    <a:gd name="T33" fmla="*/ 2147483646 h 301"/>
                    <a:gd name="T34" fmla="*/ 2147483646 w 99"/>
                    <a:gd name="T35" fmla="*/ 2147483646 h 301"/>
                    <a:gd name="T36" fmla="*/ 2147483646 w 99"/>
                    <a:gd name="T37" fmla="*/ 2147483646 h 301"/>
                    <a:gd name="T38" fmla="*/ 2147483646 w 99"/>
                    <a:gd name="T39" fmla="*/ 2147483646 h 301"/>
                    <a:gd name="T40" fmla="*/ 2147483646 w 99"/>
                    <a:gd name="T41" fmla="*/ 2147483646 h 301"/>
                    <a:gd name="T42" fmla="*/ 2147483646 w 99"/>
                    <a:gd name="T43" fmla="*/ 2147483646 h 301"/>
                    <a:gd name="T44" fmla="*/ 2147483646 w 99"/>
                    <a:gd name="T45" fmla="*/ 2147483646 h 301"/>
                    <a:gd name="T46" fmla="*/ 2147483646 w 99"/>
                    <a:gd name="T47" fmla="*/ 2147483646 h 301"/>
                    <a:gd name="T48" fmla="*/ 2147483646 w 99"/>
                    <a:gd name="T49" fmla="*/ 2147483646 h 301"/>
                    <a:gd name="T50" fmla="*/ 2147483646 w 99"/>
                    <a:gd name="T51" fmla="*/ 2147483646 h 301"/>
                    <a:gd name="T52" fmla="*/ 2147483646 w 99"/>
                    <a:gd name="T53" fmla="*/ 2147483646 h 301"/>
                    <a:gd name="T54" fmla="*/ 2147483646 w 99"/>
                    <a:gd name="T55" fmla="*/ 2147483646 h 301"/>
                    <a:gd name="T56" fmla="*/ 0 w 99"/>
                    <a:gd name="T57" fmla="*/ 2147483646 h 301"/>
                    <a:gd name="T58" fmla="*/ 2147483646 w 99"/>
                    <a:gd name="T59" fmla="*/ 2147483646 h 301"/>
                    <a:gd name="T60" fmla="*/ 2147483646 w 99"/>
                    <a:gd name="T61" fmla="*/ 0 h 301"/>
                    <a:gd name="T62" fmla="*/ 2147483646 w 99"/>
                    <a:gd name="T63" fmla="*/ 0 h 301"/>
                    <a:gd name="T64" fmla="*/ 2147483646 w 99"/>
                    <a:gd name="T65" fmla="*/ 0 h 301"/>
                    <a:gd name="T66" fmla="*/ 2147483646 w 99"/>
                    <a:gd name="T67" fmla="*/ 0 h 301"/>
                    <a:gd name="T68" fmla="*/ 2147483646 w 99"/>
                    <a:gd name="T69" fmla="*/ 2147483646 h 301"/>
                    <a:gd name="T70" fmla="*/ 2147483646 w 99"/>
                    <a:gd name="T71" fmla="*/ 2147483646 h 301"/>
                    <a:gd name="T72" fmla="*/ 2147483646 w 99"/>
                    <a:gd name="T73" fmla="*/ 2147483646 h 301"/>
                    <a:gd name="T74" fmla="*/ 2147483646 w 99"/>
                    <a:gd name="T75" fmla="*/ 2147483646 h 301"/>
                    <a:gd name="T76" fmla="*/ 2147483646 w 99"/>
                    <a:gd name="T77" fmla="*/ 2147483646 h 301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9"/>
                    <a:gd name="T118" fmla="*/ 0 h 301"/>
                    <a:gd name="T119" fmla="*/ 99 w 99"/>
                    <a:gd name="T120" fmla="*/ 301 h 301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9" h="301">
                      <a:moveTo>
                        <a:pt x="53" y="12"/>
                      </a:moveTo>
                      <a:lnTo>
                        <a:pt x="59" y="12"/>
                      </a:lnTo>
                      <a:lnTo>
                        <a:pt x="59" y="19"/>
                      </a:lnTo>
                      <a:lnTo>
                        <a:pt x="62" y="26"/>
                      </a:lnTo>
                      <a:lnTo>
                        <a:pt x="63" y="33"/>
                      </a:lnTo>
                      <a:lnTo>
                        <a:pt x="66" y="42"/>
                      </a:lnTo>
                      <a:lnTo>
                        <a:pt x="72" y="58"/>
                      </a:lnTo>
                      <a:lnTo>
                        <a:pt x="79" y="75"/>
                      </a:lnTo>
                      <a:lnTo>
                        <a:pt x="87" y="93"/>
                      </a:lnTo>
                      <a:lnTo>
                        <a:pt x="93" y="111"/>
                      </a:lnTo>
                      <a:lnTo>
                        <a:pt x="96" y="120"/>
                      </a:lnTo>
                      <a:lnTo>
                        <a:pt x="98" y="129"/>
                      </a:lnTo>
                      <a:lnTo>
                        <a:pt x="99" y="138"/>
                      </a:lnTo>
                      <a:lnTo>
                        <a:pt x="99" y="148"/>
                      </a:lnTo>
                      <a:lnTo>
                        <a:pt x="99" y="289"/>
                      </a:lnTo>
                      <a:lnTo>
                        <a:pt x="89" y="290"/>
                      </a:lnTo>
                      <a:lnTo>
                        <a:pt x="80" y="293"/>
                      </a:lnTo>
                      <a:lnTo>
                        <a:pt x="73" y="297"/>
                      </a:lnTo>
                      <a:lnTo>
                        <a:pt x="66" y="301"/>
                      </a:lnTo>
                      <a:lnTo>
                        <a:pt x="59" y="290"/>
                      </a:lnTo>
                      <a:lnTo>
                        <a:pt x="54" y="280"/>
                      </a:lnTo>
                      <a:lnTo>
                        <a:pt x="48" y="271"/>
                      </a:lnTo>
                      <a:lnTo>
                        <a:pt x="45" y="262"/>
                      </a:lnTo>
                      <a:lnTo>
                        <a:pt x="43" y="252"/>
                      </a:lnTo>
                      <a:lnTo>
                        <a:pt x="41" y="242"/>
                      </a:lnTo>
                      <a:lnTo>
                        <a:pt x="40" y="232"/>
                      </a:lnTo>
                      <a:lnTo>
                        <a:pt x="40" y="222"/>
                      </a:lnTo>
                      <a:lnTo>
                        <a:pt x="40" y="141"/>
                      </a:lnTo>
                      <a:lnTo>
                        <a:pt x="0" y="6"/>
                      </a:lnTo>
                      <a:lnTo>
                        <a:pt x="5" y="2"/>
                      </a:lnTo>
                      <a:lnTo>
                        <a:pt x="10" y="0"/>
                      </a:lnTo>
                      <a:lnTo>
                        <a:pt x="14" y="0"/>
                      </a:lnTo>
                      <a:lnTo>
                        <a:pt x="20" y="0"/>
                      </a:lnTo>
                      <a:lnTo>
                        <a:pt x="26" y="0"/>
                      </a:lnTo>
                      <a:lnTo>
                        <a:pt x="32" y="2"/>
                      </a:lnTo>
                      <a:lnTo>
                        <a:pt x="37" y="4"/>
                      </a:lnTo>
                      <a:lnTo>
                        <a:pt x="41" y="6"/>
                      </a:lnTo>
                      <a:lnTo>
                        <a:pt x="47" y="10"/>
                      </a:lnTo>
                      <a:lnTo>
                        <a:pt x="53" y="1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9" name="Freeform 269">
                  <a:extLst>
                    <a:ext uri="{FF2B5EF4-FFF2-40B4-BE49-F238E27FC236}">
                      <a16:creationId xmlns:a16="http://schemas.microsoft.com/office/drawing/2014/main" xmlns="" id="{23DC40E0-EBAF-4E56-8DD2-0B4AE43E34A6}"/>
                    </a:ext>
                  </a:extLst>
                </p:cNvPr>
                <p:cNvSpPr>
                  <a:spLocks/>
                </p:cNvSpPr>
                <p:nvPr>
                  <p:custDataLst>
                    <p:tags r:id="rId196"/>
                  </p:custDataLst>
                </p:nvPr>
              </p:nvSpPr>
              <p:spPr bwMode="auto">
                <a:xfrm>
                  <a:off x="4038600" y="3275013"/>
                  <a:ext cx="76200" cy="188912"/>
                </a:xfrm>
                <a:custGeom>
                  <a:avLst/>
                  <a:gdLst>
                    <a:gd name="T0" fmla="*/ 0 w 173"/>
                    <a:gd name="T1" fmla="*/ 2147483646 h 357"/>
                    <a:gd name="T2" fmla="*/ 2147483646 w 173"/>
                    <a:gd name="T3" fmla="*/ 2147483646 h 357"/>
                    <a:gd name="T4" fmla="*/ 2147483646 w 173"/>
                    <a:gd name="T5" fmla="*/ 2147483646 h 357"/>
                    <a:gd name="T6" fmla="*/ 2147483646 w 173"/>
                    <a:gd name="T7" fmla="*/ 2147483646 h 357"/>
                    <a:gd name="T8" fmla="*/ 2147483646 w 173"/>
                    <a:gd name="T9" fmla="*/ 2147483646 h 357"/>
                    <a:gd name="T10" fmla="*/ 2147483646 w 173"/>
                    <a:gd name="T11" fmla="*/ 2147483646 h 357"/>
                    <a:gd name="T12" fmla="*/ 2147483646 w 173"/>
                    <a:gd name="T13" fmla="*/ 2147483646 h 357"/>
                    <a:gd name="T14" fmla="*/ 2147483646 w 173"/>
                    <a:gd name="T15" fmla="*/ 0 h 357"/>
                    <a:gd name="T16" fmla="*/ 2147483646 w 173"/>
                    <a:gd name="T17" fmla="*/ 2147483646 h 357"/>
                    <a:gd name="T18" fmla="*/ 2147483646 w 173"/>
                    <a:gd name="T19" fmla="*/ 2147483646 h 357"/>
                    <a:gd name="T20" fmla="*/ 2147483646 w 173"/>
                    <a:gd name="T21" fmla="*/ 2147483646 h 357"/>
                    <a:gd name="T22" fmla="*/ 2147483646 w 173"/>
                    <a:gd name="T23" fmla="*/ 2147483646 h 357"/>
                    <a:gd name="T24" fmla="*/ 2147483646 w 173"/>
                    <a:gd name="T25" fmla="*/ 2147483646 h 357"/>
                    <a:gd name="T26" fmla="*/ 2147483646 w 173"/>
                    <a:gd name="T27" fmla="*/ 2147483646 h 357"/>
                    <a:gd name="T28" fmla="*/ 2147483646 w 173"/>
                    <a:gd name="T29" fmla="*/ 2147483646 h 357"/>
                    <a:gd name="T30" fmla="*/ 2147483646 w 173"/>
                    <a:gd name="T31" fmla="*/ 2147483646 h 357"/>
                    <a:gd name="T32" fmla="*/ 2147483646 w 173"/>
                    <a:gd name="T33" fmla="*/ 2147483646 h 357"/>
                    <a:gd name="T34" fmla="*/ 2147483646 w 173"/>
                    <a:gd name="T35" fmla="*/ 2147483646 h 357"/>
                    <a:gd name="T36" fmla="*/ 2147483646 w 173"/>
                    <a:gd name="T37" fmla="*/ 2147483646 h 357"/>
                    <a:gd name="T38" fmla="*/ 2147483646 w 173"/>
                    <a:gd name="T39" fmla="*/ 2147483646 h 357"/>
                    <a:gd name="T40" fmla="*/ 2147483646 w 173"/>
                    <a:gd name="T41" fmla="*/ 2147483646 h 357"/>
                    <a:gd name="T42" fmla="*/ 2147483646 w 173"/>
                    <a:gd name="T43" fmla="*/ 2147483646 h 357"/>
                    <a:gd name="T44" fmla="*/ 2147483646 w 173"/>
                    <a:gd name="T45" fmla="*/ 2147483646 h 357"/>
                    <a:gd name="T46" fmla="*/ 2147483646 w 173"/>
                    <a:gd name="T47" fmla="*/ 2147483646 h 357"/>
                    <a:gd name="T48" fmla="*/ 2147483646 w 173"/>
                    <a:gd name="T49" fmla="*/ 2147483646 h 357"/>
                    <a:gd name="T50" fmla="*/ 2147483646 w 173"/>
                    <a:gd name="T51" fmla="*/ 2147483646 h 357"/>
                    <a:gd name="T52" fmla="*/ 2147483646 w 173"/>
                    <a:gd name="T53" fmla="*/ 2147483646 h 357"/>
                    <a:gd name="T54" fmla="*/ 2147483646 w 173"/>
                    <a:gd name="T55" fmla="*/ 2147483646 h 357"/>
                    <a:gd name="T56" fmla="*/ 2147483646 w 173"/>
                    <a:gd name="T57" fmla="*/ 2147483646 h 357"/>
                    <a:gd name="T58" fmla="*/ 2147483646 w 173"/>
                    <a:gd name="T59" fmla="*/ 2147483646 h 357"/>
                    <a:gd name="T60" fmla="*/ 2147483646 w 173"/>
                    <a:gd name="T61" fmla="*/ 2147483646 h 357"/>
                    <a:gd name="T62" fmla="*/ 2147483646 w 173"/>
                    <a:gd name="T63" fmla="*/ 2147483646 h 357"/>
                    <a:gd name="T64" fmla="*/ 2147483646 w 173"/>
                    <a:gd name="T65" fmla="*/ 2147483646 h 357"/>
                    <a:gd name="T66" fmla="*/ 2147483646 w 173"/>
                    <a:gd name="T67" fmla="*/ 2147483646 h 357"/>
                    <a:gd name="T68" fmla="*/ 2147483646 w 173"/>
                    <a:gd name="T69" fmla="*/ 2147483646 h 357"/>
                    <a:gd name="T70" fmla="*/ 2147483646 w 173"/>
                    <a:gd name="T71" fmla="*/ 2147483646 h 357"/>
                    <a:gd name="T72" fmla="*/ 2147483646 w 173"/>
                    <a:gd name="T73" fmla="*/ 2147483646 h 357"/>
                    <a:gd name="T74" fmla="*/ 2147483646 w 173"/>
                    <a:gd name="T75" fmla="*/ 2147483646 h 357"/>
                    <a:gd name="T76" fmla="*/ 2147483646 w 173"/>
                    <a:gd name="T77" fmla="*/ 2147483646 h 357"/>
                    <a:gd name="T78" fmla="*/ 2147483646 w 173"/>
                    <a:gd name="T79" fmla="*/ 2147483646 h 357"/>
                    <a:gd name="T80" fmla="*/ 2147483646 w 173"/>
                    <a:gd name="T81" fmla="*/ 2147483646 h 357"/>
                    <a:gd name="T82" fmla="*/ 2147483646 w 173"/>
                    <a:gd name="T83" fmla="*/ 2147483646 h 357"/>
                    <a:gd name="T84" fmla="*/ 2147483646 w 173"/>
                    <a:gd name="T85" fmla="*/ 2147483646 h 357"/>
                    <a:gd name="T86" fmla="*/ 2147483646 w 173"/>
                    <a:gd name="T87" fmla="*/ 2147483646 h 357"/>
                    <a:gd name="T88" fmla="*/ 2147483646 w 173"/>
                    <a:gd name="T89" fmla="*/ 2147483646 h 357"/>
                    <a:gd name="T90" fmla="*/ 2147483646 w 173"/>
                    <a:gd name="T91" fmla="*/ 2147483646 h 357"/>
                    <a:gd name="T92" fmla="*/ 2147483646 w 173"/>
                    <a:gd name="T93" fmla="*/ 2147483646 h 357"/>
                    <a:gd name="T94" fmla="*/ 2147483646 w 173"/>
                    <a:gd name="T95" fmla="*/ 2147483646 h 357"/>
                    <a:gd name="T96" fmla="*/ 2147483646 w 173"/>
                    <a:gd name="T97" fmla="*/ 2147483646 h 357"/>
                    <a:gd name="T98" fmla="*/ 2147483646 w 173"/>
                    <a:gd name="T99" fmla="*/ 2147483646 h 357"/>
                    <a:gd name="T100" fmla="*/ 2147483646 w 173"/>
                    <a:gd name="T101" fmla="*/ 2147483646 h 357"/>
                    <a:gd name="T102" fmla="*/ 2147483646 w 173"/>
                    <a:gd name="T103" fmla="*/ 2147483646 h 357"/>
                    <a:gd name="T104" fmla="*/ 2147483646 w 173"/>
                    <a:gd name="T105" fmla="*/ 2147483646 h 357"/>
                    <a:gd name="T106" fmla="*/ 2147483646 w 173"/>
                    <a:gd name="T107" fmla="*/ 2147483646 h 357"/>
                    <a:gd name="T108" fmla="*/ 2147483646 w 173"/>
                    <a:gd name="T109" fmla="*/ 2147483646 h 357"/>
                    <a:gd name="T110" fmla="*/ 2147483646 w 173"/>
                    <a:gd name="T111" fmla="*/ 2147483646 h 357"/>
                    <a:gd name="T112" fmla="*/ 2147483646 w 173"/>
                    <a:gd name="T113" fmla="*/ 2147483646 h 357"/>
                    <a:gd name="T114" fmla="*/ 2147483646 w 173"/>
                    <a:gd name="T115" fmla="*/ 2147483646 h 357"/>
                    <a:gd name="T116" fmla="*/ 2147483646 w 173"/>
                    <a:gd name="T117" fmla="*/ 2147483646 h 357"/>
                    <a:gd name="T118" fmla="*/ 0 w 173"/>
                    <a:gd name="T119" fmla="*/ 2147483646 h 357"/>
                    <a:gd name="T120" fmla="*/ 0 w 173"/>
                    <a:gd name="T121" fmla="*/ 2147483646 h 357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73"/>
                    <a:gd name="T184" fmla="*/ 0 h 357"/>
                    <a:gd name="T185" fmla="*/ 173 w 173"/>
                    <a:gd name="T186" fmla="*/ 357 h 357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73" h="357">
                      <a:moveTo>
                        <a:pt x="0" y="80"/>
                      </a:moveTo>
                      <a:lnTo>
                        <a:pt x="9" y="72"/>
                      </a:lnTo>
                      <a:lnTo>
                        <a:pt x="17" y="65"/>
                      </a:lnTo>
                      <a:lnTo>
                        <a:pt x="25" y="60"/>
                      </a:lnTo>
                      <a:lnTo>
                        <a:pt x="33" y="56"/>
                      </a:lnTo>
                      <a:lnTo>
                        <a:pt x="40" y="50"/>
                      </a:lnTo>
                      <a:lnTo>
                        <a:pt x="67" y="50"/>
                      </a:lnTo>
                      <a:lnTo>
                        <a:pt x="94" y="0"/>
                      </a:lnTo>
                      <a:lnTo>
                        <a:pt x="101" y="3"/>
                      </a:lnTo>
                      <a:lnTo>
                        <a:pt x="108" y="7"/>
                      </a:lnTo>
                      <a:lnTo>
                        <a:pt x="116" y="12"/>
                      </a:lnTo>
                      <a:lnTo>
                        <a:pt x="123" y="18"/>
                      </a:lnTo>
                      <a:lnTo>
                        <a:pt x="131" y="22"/>
                      </a:lnTo>
                      <a:lnTo>
                        <a:pt x="139" y="27"/>
                      </a:lnTo>
                      <a:lnTo>
                        <a:pt x="145" y="29"/>
                      </a:lnTo>
                      <a:lnTo>
                        <a:pt x="153" y="30"/>
                      </a:lnTo>
                      <a:lnTo>
                        <a:pt x="163" y="39"/>
                      </a:lnTo>
                      <a:lnTo>
                        <a:pt x="173" y="50"/>
                      </a:lnTo>
                      <a:lnTo>
                        <a:pt x="173" y="61"/>
                      </a:lnTo>
                      <a:lnTo>
                        <a:pt x="173" y="69"/>
                      </a:lnTo>
                      <a:lnTo>
                        <a:pt x="173" y="80"/>
                      </a:lnTo>
                      <a:lnTo>
                        <a:pt x="173" y="98"/>
                      </a:lnTo>
                      <a:lnTo>
                        <a:pt x="173" y="109"/>
                      </a:lnTo>
                      <a:lnTo>
                        <a:pt x="171" y="118"/>
                      </a:lnTo>
                      <a:lnTo>
                        <a:pt x="167" y="127"/>
                      </a:lnTo>
                      <a:lnTo>
                        <a:pt x="163" y="135"/>
                      </a:lnTo>
                      <a:lnTo>
                        <a:pt x="152" y="151"/>
                      </a:lnTo>
                      <a:lnTo>
                        <a:pt x="140" y="167"/>
                      </a:lnTo>
                      <a:lnTo>
                        <a:pt x="128" y="183"/>
                      </a:lnTo>
                      <a:lnTo>
                        <a:pt x="117" y="200"/>
                      </a:lnTo>
                      <a:lnTo>
                        <a:pt x="112" y="209"/>
                      </a:lnTo>
                      <a:lnTo>
                        <a:pt x="109" y="219"/>
                      </a:lnTo>
                      <a:lnTo>
                        <a:pt x="108" y="229"/>
                      </a:lnTo>
                      <a:lnTo>
                        <a:pt x="107" y="240"/>
                      </a:lnTo>
                      <a:lnTo>
                        <a:pt x="108" y="273"/>
                      </a:lnTo>
                      <a:lnTo>
                        <a:pt x="109" y="293"/>
                      </a:lnTo>
                      <a:lnTo>
                        <a:pt x="110" y="302"/>
                      </a:lnTo>
                      <a:lnTo>
                        <a:pt x="109" y="313"/>
                      </a:lnTo>
                      <a:lnTo>
                        <a:pt x="109" y="327"/>
                      </a:lnTo>
                      <a:lnTo>
                        <a:pt x="107" y="345"/>
                      </a:lnTo>
                      <a:lnTo>
                        <a:pt x="97" y="346"/>
                      </a:lnTo>
                      <a:lnTo>
                        <a:pt x="88" y="347"/>
                      </a:lnTo>
                      <a:lnTo>
                        <a:pt x="79" y="349"/>
                      </a:lnTo>
                      <a:lnTo>
                        <a:pt x="71" y="351"/>
                      </a:lnTo>
                      <a:lnTo>
                        <a:pt x="63" y="353"/>
                      </a:lnTo>
                      <a:lnTo>
                        <a:pt x="55" y="355"/>
                      </a:lnTo>
                      <a:lnTo>
                        <a:pt x="48" y="357"/>
                      </a:lnTo>
                      <a:lnTo>
                        <a:pt x="40" y="357"/>
                      </a:lnTo>
                      <a:lnTo>
                        <a:pt x="40" y="216"/>
                      </a:lnTo>
                      <a:lnTo>
                        <a:pt x="40" y="206"/>
                      </a:lnTo>
                      <a:lnTo>
                        <a:pt x="39" y="197"/>
                      </a:lnTo>
                      <a:lnTo>
                        <a:pt x="37" y="188"/>
                      </a:lnTo>
                      <a:lnTo>
                        <a:pt x="34" y="179"/>
                      </a:lnTo>
                      <a:lnTo>
                        <a:pt x="28" y="161"/>
                      </a:lnTo>
                      <a:lnTo>
                        <a:pt x="20" y="143"/>
                      </a:lnTo>
                      <a:lnTo>
                        <a:pt x="13" y="126"/>
                      </a:lnTo>
                      <a:lnTo>
                        <a:pt x="7" y="110"/>
                      </a:lnTo>
                      <a:lnTo>
                        <a:pt x="4" y="101"/>
                      </a:lnTo>
                      <a:lnTo>
                        <a:pt x="3" y="94"/>
                      </a:lnTo>
                      <a:lnTo>
                        <a:pt x="0" y="87"/>
                      </a:lnTo>
                      <a:lnTo>
                        <a:pt x="0" y="8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50" name="Freeform 270">
                  <a:extLst>
                    <a:ext uri="{FF2B5EF4-FFF2-40B4-BE49-F238E27FC236}">
                      <a16:creationId xmlns:a16="http://schemas.microsoft.com/office/drawing/2014/main" xmlns="" id="{6DD4B735-363E-415D-9034-0E1500B4C6F6}"/>
                    </a:ext>
                  </a:extLst>
                </p:cNvPr>
                <p:cNvSpPr>
                  <a:spLocks/>
                </p:cNvSpPr>
                <p:nvPr>
                  <p:custDataLst>
                    <p:tags r:id="rId197"/>
                  </p:custDataLst>
                </p:nvPr>
              </p:nvSpPr>
              <p:spPr bwMode="auto">
                <a:xfrm>
                  <a:off x="4767263" y="4479925"/>
                  <a:ext cx="25400" cy="60325"/>
                </a:xfrm>
                <a:custGeom>
                  <a:avLst/>
                  <a:gdLst>
                    <a:gd name="T0" fmla="*/ 2147483646 w 50"/>
                    <a:gd name="T1" fmla="*/ 0 h 74"/>
                    <a:gd name="T2" fmla="*/ 2147483646 w 50"/>
                    <a:gd name="T3" fmla="*/ 2147483646 h 74"/>
                    <a:gd name="T4" fmla="*/ 2147483646 w 50"/>
                    <a:gd name="T5" fmla="*/ 2147483646 h 74"/>
                    <a:gd name="T6" fmla="*/ 0 w 50"/>
                    <a:gd name="T7" fmla="*/ 2147483646 h 74"/>
                    <a:gd name="T8" fmla="*/ 0 w 50"/>
                    <a:gd name="T9" fmla="*/ 2147483646 h 74"/>
                    <a:gd name="T10" fmla="*/ 0 w 50"/>
                    <a:gd name="T11" fmla="*/ 2147483646 h 74"/>
                    <a:gd name="T12" fmla="*/ 2147483646 w 50"/>
                    <a:gd name="T13" fmla="*/ 2147483646 h 74"/>
                    <a:gd name="T14" fmla="*/ 2147483646 w 50"/>
                    <a:gd name="T15" fmla="*/ 2147483646 h 74"/>
                    <a:gd name="T16" fmla="*/ 2147483646 w 50"/>
                    <a:gd name="T17" fmla="*/ 2147483646 h 74"/>
                    <a:gd name="T18" fmla="*/ 2147483646 w 50"/>
                    <a:gd name="T19" fmla="*/ 2147483646 h 74"/>
                    <a:gd name="T20" fmla="*/ 2147483646 w 50"/>
                    <a:gd name="T21" fmla="*/ 2147483646 h 74"/>
                    <a:gd name="T22" fmla="*/ 2147483646 w 50"/>
                    <a:gd name="T23" fmla="*/ 2147483646 h 74"/>
                    <a:gd name="T24" fmla="*/ 2147483646 w 50"/>
                    <a:gd name="T25" fmla="*/ 2147483646 h 74"/>
                    <a:gd name="T26" fmla="*/ 2147483646 w 50"/>
                    <a:gd name="T27" fmla="*/ 0 h 74"/>
                    <a:gd name="T28" fmla="*/ 2147483646 w 50"/>
                    <a:gd name="T29" fmla="*/ 0 h 74"/>
                    <a:gd name="T30" fmla="*/ 2147483646 w 50"/>
                    <a:gd name="T31" fmla="*/ 0 h 74"/>
                    <a:gd name="T32" fmla="*/ 2147483646 w 50"/>
                    <a:gd name="T33" fmla="*/ 0 h 74"/>
                    <a:gd name="T34" fmla="*/ 2147483646 w 50"/>
                    <a:gd name="T35" fmla="*/ 0 h 74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50"/>
                    <a:gd name="T55" fmla="*/ 0 h 74"/>
                    <a:gd name="T56" fmla="*/ 50 w 50"/>
                    <a:gd name="T57" fmla="*/ 74 h 74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50" h="74">
                      <a:moveTo>
                        <a:pt x="10" y="0"/>
                      </a:moveTo>
                      <a:lnTo>
                        <a:pt x="6" y="14"/>
                      </a:lnTo>
                      <a:lnTo>
                        <a:pt x="2" y="26"/>
                      </a:lnTo>
                      <a:lnTo>
                        <a:pt x="0" y="36"/>
                      </a:lnTo>
                      <a:lnTo>
                        <a:pt x="0" y="43"/>
                      </a:lnTo>
                      <a:lnTo>
                        <a:pt x="0" y="50"/>
                      </a:lnTo>
                      <a:lnTo>
                        <a:pt x="2" y="56"/>
                      </a:lnTo>
                      <a:lnTo>
                        <a:pt x="6" y="61"/>
                      </a:lnTo>
                      <a:lnTo>
                        <a:pt x="10" y="68"/>
                      </a:lnTo>
                      <a:lnTo>
                        <a:pt x="50" y="74"/>
                      </a:lnTo>
                      <a:lnTo>
                        <a:pt x="50" y="51"/>
                      </a:lnTo>
                      <a:lnTo>
                        <a:pt x="50" y="34"/>
                      </a:lnTo>
                      <a:lnTo>
                        <a:pt x="50" y="19"/>
                      </a:lnTo>
                      <a:lnTo>
                        <a:pt x="50" y="0"/>
                      </a:lnTo>
                      <a:lnTo>
                        <a:pt x="38" y="0"/>
                      </a:lnTo>
                      <a:lnTo>
                        <a:pt x="25" y="0"/>
                      </a:lnTo>
                      <a:lnTo>
                        <a:pt x="14" y="0"/>
                      </a:lnTo>
                      <a:lnTo>
                        <a:pt x="1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51" name="Freeform 271">
                  <a:extLst>
                    <a:ext uri="{FF2B5EF4-FFF2-40B4-BE49-F238E27FC236}">
                      <a16:creationId xmlns:a16="http://schemas.microsoft.com/office/drawing/2014/main" xmlns="" id="{4D542AB1-35EF-47C9-8CBD-D2CC4E3960BF}"/>
                    </a:ext>
                  </a:extLst>
                </p:cNvPr>
                <p:cNvSpPr>
                  <a:spLocks/>
                </p:cNvSpPr>
                <p:nvPr>
                  <p:custDataLst>
                    <p:tags r:id="rId198"/>
                  </p:custDataLst>
                </p:nvPr>
              </p:nvSpPr>
              <p:spPr bwMode="auto">
                <a:xfrm>
                  <a:off x="4662488" y="4576763"/>
                  <a:ext cx="61912" cy="57150"/>
                </a:xfrm>
                <a:custGeom>
                  <a:avLst/>
                  <a:gdLst>
                    <a:gd name="T0" fmla="*/ 2147483646 w 135"/>
                    <a:gd name="T1" fmla="*/ 2147483646 h 98"/>
                    <a:gd name="T2" fmla="*/ 2147483646 w 135"/>
                    <a:gd name="T3" fmla="*/ 2147483646 h 98"/>
                    <a:gd name="T4" fmla="*/ 2147483646 w 135"/>
                    <a:gd name="T5" fmla="*/ 2147483646 h 98"/>
                    <a:gd name="T6" fmla="*/ 2147483646 w 135"/>
                    <a:gd name="T7" fmla="*/ 2147483646 h 98"/>
                    <a:gd name="T8" fmla="*/ 2147483646 w 135"/>
                    <a:gd name="T9" fmla="*/ 2147483646 h 98"/>
                    <a:gd name="T10" fmla="*/ 2147483646 w 135"/>
                    <a:gd name="T11" fmla="*/ 2147483646 h 98"/>
                    <a:gd name="T12" fmla="*/ 2147483646 w 135"/>
                    <a:gd name="T13" fmla="*/ 2147483646 h 98"/>
                    <a:gd name="T14" fmla="*/ 2147483646 w 135"/>
                    <a:gd name="T15" fmla="*/ 2147483646 h 98"/>
                    <a:gd name="T16" fmla="*/ 2147483646 w 135"/>
                    <a:gd name="T17" fmla="*/ 2147483646 h 98"/>
                    <a:gd name="T18" fmla="*/ 2147483646 w 135"/>
                    <a:gd name="T19" fmla="*/ 2147483646 h 98"/>
                    <a:gd name="T20" fmla="*/ 2147483646 w 135"/>
                    <a:gd name="T21" fmla="*/ 2147483646 h 98"/>
                    <a:gd name="T22" fmla="*/ 2147483646 w 135"/>
                    <a:gd name="T23" fmla="*/ 0 h 98"/>
                    <a:gd name="T24" fmla="*/ 2147483646 w 135"/>
                    <a:gd name="T25" fmla="*/ 0 h 98"/>
                    <a:gd name="T26" fmla="*/ 2147483646 w 135"/>
                    <a:gd name="T27" fmla="*/ 0 h 98"/>
                    <a:gd name="T28" fmla="*/ 2147483646 w 135"/>
                    <a:gd name="T29" fmla="*/ 2147483646 h 98"/>
                    <a:gd name="T30" fmla="*/ 2147483646 w 135"/>
                    <a:gd name="T31" fmla="*/ 2147483646 h 98"/>
                    <a:gd name="T32" fmla="*/ 2147483646 w 135"/>
                    <a:gd name="T33" fmla="*/ 2147483646 h 98"/>
                    <a:gd name="T34" fmla="*/ 2147483646 w 135"/>
                    <a:gd name="T35" fmla="*/ 2147483646 h 98"/>
                    <a:gd name="T36" fmla="*/ 2147483646 w 135"/>
                    <a:gd name="T37" fmla="*/ 2147483646 h 98"/>
                    <a:gd name="T38" fmla="*/ 2147483646 w 135"/>
                    <a:gd name="T39" fmla="*/ 2147483646 h 98"/>
                    <a:gd name="T40" fmla="*/ 2147483646 w 135"/>
                    <a:gd name="T41" fmla="*/ 2147483646 h 98"/>
                    <a:gd name="T42" fmla="*/ 2147483646 w 135"/>
                    <a:gd name="T43" fmla="*/ 2147483646 h 98"/>
                    <a:gd name="T44" fmla="*/ 2147483646 w 135"/>
                    <a:gd name="T45" fmla="*/ 2147483646 h 98"/>
                    <a:gd name="T46" fmla="*/ 2147483646 w 135"/>
                    <a:gd name="T47" fmla="*/ 2147483646 h 98"/>
                    <a:gd name="T48" fmla="*/ 2147483646 w 135"/>
                    <a:gd name="T49" fmla="*/ 2147483646 h 98"/>
                    <a:gd name="T50" fmla="*/ 2147483646 w 135"/>
                    <a:gd name="T51" fmla="*/ 2147483646 h 98"/>
                    <a:gd name="T52" fmla="*/ 2147483646 w 135"/>
                    <a:gd name="T53" fmla="*/ 2147483646 h 98"/>
                    <a:gd name="T54" fmla="*/ 2147483646 w 135"/>
                    <a:gd name="T55" fmla="*/ 2147483646 h 98"/>
                    <a:gd name="T56" fmla="*/ 2147483646 w 135"/>
                    <a:gd name="T57" fmla="*/ 2147483646 h 98"/>
                    <a:gd name="T58" fmla="*/ 2147483646 w 135"/>
                    <a:gd name="T59" fmla="*/ 2147483646 h 98"/>
                    <a:gd name="T60" fmla="*/ 2147483646 w 135"/>
                    <a:gd name="T61" fmla="*/ 2147483646 h 98"/>
                    <a:gd name="T62" fmla="*/ 2147483646 w 135"/>
                    <a:gd name="T63" fmla="*/ 2147483646 h 98"/>
                    <a:gd name="T64" fmla="*/ 2147483646 w 135"/>
                    <a:gd name="T65" fmla="*/ 2147483646 h 98"/>
                    <a:gd name="T66" fmla="*/ 2147483646 w 135"/>
                    <a:gd name="T67" fmla="*/ 2147483646 h 98"/>
                    <a:gd name="T68" fmla="*/ 2147483646 w 135"/>
                    <a:gd name="T69" fmla="*/ 2147483646 h 98"/>
                    <a:gd name="T70" fmla="*/ 2147483646 w 135"/>
                    <a:gd name="T71" fmla="*/ 2147483646 h 98"/>
                    <a:gd name="T72" fmla="*/ 2147483646 w 135"/>
                    <a:gd name="T73" fmla="*/ 2147483646 h 98"/>
                    <a:gd name="T74" fmla="*/ 2147483646 w 135"/>
                    <a:gd name="T75" fmla="*/ 2147483646 h 98"/>
                    <a:gd name="T76" fmla="*/ 0 w 135"/>
                    <a:gd name="T77" fmla="*/ 2147483646 h 98"/>
                    <a:gd name="T78" fmla="*/ 0 w 135"/>
                    <a:gd name="T79" fmla="*/ 2147483646 h 98"/>
                    <a:gd name="T80" fmla="*/ 2147483646 w 135"/>
                    <a:gd name="T81" fmla="*/ 2147483646 h 9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135"/>
                    <a:gd name="T124" fmla="*/ 0 h 98"/>
                    <a:gd name="T125" fmla="*/ 135 w 135"/>
                    <a:gd name="T126" fmla="*/ 98 h 98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135" h="98">
                      <a:moveTo>
                        <a:pt x="3" y="55"/>
                      </a:moveTo>
                      <a:lnTo>
                        <a:pt x="11" y="54"/>
                      </a:lnTo>
                      <a:lnTo>
                        <a:pt x="18" y="53"/>
                      </a:lnTo>
                      <a:lnTo>
                        <a:pt x="24" y="50"/>
                      </a:lnTo>
                      <a:lnTo>
                        <a:pt x="31" y="47"/>
                      </a:lnTo>
                      <a:lnTo>
                        <a:pt x="42" y="38"/>
                      </a:lnTo>
                      <a:lnTo>
                        <a:pt x="52" y="28"/>
                      </a:lnTo>
                      <a:lnTo>
                        <a:pt x="61" y="18"/>
                      </a:lnTo>
                      <a:lnTo>
                        <a:pt x="71" y="8"/>
                      </a:lnTo>
                      <a:lnTo>
                        <a:pt x="76" y="5"/>
                      </a:lnTo>
                      <a:lnTo>
                        <a:pt x="82" y="2"/>
                      </a:lnTo>
                      <a:lnTo>
                        <a:pt x="88" y="0"/>
                      </a:lnTo>
                      <a:lnTo>
                        <a:pt x="96" y="0"/>
                      </a:lnTo>
                      <a:lnTo>
                        <a:pt x="102" y="0"/>
                      </a:lnTo>
                      <a:lnTo>
                        <a:pt x="110" y="3"/>
                      </a:lnTo>
                      <a:lnTo>
                        <a:pt x="117" y="6"/>
                      </a:lnTo>
                      <a:lnTo>
                        <a:pt x="123" y="11"/>
                      </a:lnTo>
                      <a:lnTo>
                        <a:pt x="128" y="16"/>
                      </a:lnTo>
                      <a:lnTo>
                        <a:pt x="132" y="24"/>
                      </a:lnTo>
                      <a:lnTo>
                        <a:pt x="134" y="30"/>
                      </a:lnTo>
                      <a:lnTo>
                        <a:pt x="135" y="37"/>
                      </a:lnTo>
                      <a:lnTo>
                        <a:pt x="134" y="40"/>
                      </a:lnTo>
                      <a:lnTo>
                        <a:pt x="132" y="43"/>
                      </a:lnTo>
                      <a:lnTo>
                        <a:pt x="129" y="47"/>
                      </a:lnTo>
                      <a:lnTo>
                        <a:pt x="124" y="51"/>
                      </a:lnTo>
                      <a:lnTo>
                        <a:pt x="113" y="61"/>
                      </a:lnTo>
                      <a:lnTo>
                        <a:pt x="100" y="72"/>
                      </a:lnTo>
                      <a:lnTo>
                        <a:pt x="87" y="82"/>
                      </a:lnTo>
                      <a:lnTo>
                        <a:pt x="74" y="91"/>
                      </a:lnTo>
                      <a:lnTo>
                        <a:pt x="63" y="96"/>
                      </a:lnTo>
                      <a:lnTo>
                        <a:pt x="55" y="98"/>
                      </a:lnTo>
                      <a:lnTo>
                        <a:pt x="51" y="97"/>
                      </a:lnTo>
                      <a:lnTo>
                        <a:pt x="43" y="92"/>
                      </a:lnTo>
                      <a:lnTo>
                        <a:pt x="32" y="85"/>
                      </a:lnTo>
                      <a:lnTo>
                        <a:pt x="21" y="77"/>
                      </a:lnTo>
                      <a:lnTo>
                        <a:pt x="11" y="68"/>
                      </a:lnTo>
                      <a:lnTo>
                        <a:pt x="5" y="62"/>
                      </a:lnTo>
                      <a:lnTo>
                        <a:pt x="1" y="59"/>
                      </a:lnTo>
                      <a:lnTo>
                        <a:pt x="0" y="57"/>
                      </a:lnTo>
                      <a:lnTo>
                        <a:pt x="0" y="56"/>
                      </a:lnTo>
                      <a:lnTo>
                        <a:pt x="3" y="5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52" name="Freeform 272">
                  <a:extLst>
                    <a:ext uri="{FF2B5EF4-FFF2-40B4-BE49-F238E27FC236}">
                      <a16:creationId xmlns:a16="http://schemas.microsoft.com/office/drawing/2014/main" xmlns="" id="{46D2814D-E120-41A6-A104-1C8587B9142F}"/>
                    </a:ext>
                  </a:extLst>
                </p:cNvPr>
                <p:cNvSpPr>
                  <a:spLocks/>
                </p:cNvSpPr>
                <p:nvPr>
                  <p:custDataLst>
                    <p:tags r:id="rId199"/>
                  </p:custDataLst>
                </p:nvPr>
              </p:nvSpPr>
              <p:spPr bwMode="auto">
                <a:xfrm>
                  <a:off x="6880225" y="2290763"/>
                  <a:ext cx="120650" cy="171450"/>
                </a:xfrm>
                <a:custGeom>
                  <a:avLst/>
                  <a:gdLst>
                    <a:gd name="T0" fmla="*/ 2147483646 w 266"/>
                    <a:gd name="T1" fmla="*/ 2147483646 h 326"/>
                    <a:gd name="T2" fmla="*/ 2147483646 w 266"/>
                    <a:gd name="T3" fmla="*/ 2147483646 h 326"/>
                    <a:gd name="T4" fmla="*/ 2147483646 w 266"/>
                    <a:gd name="T5" fmla="*/ 2147483646 h 326"/>
                    <a:gd name="T6" fmla="*/ 2147483646 w 266"/>
                    <a:gd name="T7" fmla="*/ 2147483646 h 326"/>
                    <a:gd name="T8" fmla="*/ 2147483646 w 266"/>
                    <a:gd name="T9" fmla="*/ 2147483646 h 326"/>
                    <a:gd name="T10" fmla="*/ 2147483646 w 266"/>
                    <a:gd name="T11" fmla="*/ 2147483646 h 326"/>
                    <a:gd name="T12" fmla="*/ 2147483646 w 266"/>
                    <a:gd name="T13" fmla="*/ 2147483646 h 326"/>
                    <a:gd name="T14" fmla="*/ 2147483646 w 266"/>
                    <a:gd name="T15" fmla="*/ 2147483646 h 326"/>
                    <a:gd name="T16" fmla="*/ 2147483646 w 266"/>
                    <a:gd name="T17" fmla="*/ 2147483646 h 326"/>
                    <a:gd name="T18" fmla="*/ 2147483646 w 266"/>
                    <a:gd name="T19" fmla="*/ 2147483646 h 326"/>
                    <a:gd name="T20" fmla="*/ 2147483646 w 266"/>
                    <a:gd name="T21" fmla="*/ 2147483646 h 326"/>
                    <a:gd name="T22" fmla="*/ 2147483646 w 266"/>
                    <a:gd name="T23" fmla="*/ 2147483646 h 326"/>
                    <a:gd name="T24" fmla="*/ 2147483646 w 266"/>
                    <a:gd name="T25" fmla="*/ 2147483646 h 326"/>
                    <a:gd name="T26" fmla="*/ 2147483646 w 266"/>
                    <a:gd name="T27" fmla="*/ 2147483646 h 326"/>
                    <a:gd name="T28" fmla="*/ 2147483646 w 266"/>
                    <a:gd name="T29" fmla="*/ 2147483646 h 326"/>
                    <a:gd name="T30" fmla="*/ 2147483646 w 266"/>
                    <a:gd name="T31" fmla="*/ 2147483646 h 326"/>
                    <a:gd name="T32" fmla="*/ 2147483646 w 266"/>
                    <a:gd name="T33" fmla="*/ 2147483646 h 326"/>
                    <a:gd name="T34" fmla="*/ 2147483646 w 266"/>
                    <a:gd name="T35" fmla="*/ 2147483646 h 326"/>
                    <a:gd name="T36" fmla="*/ 2147483646 w 266"/>
                    <a:gd name="T37" fmla="*/ 2147483646 h 326"/>
                    <a:gd name="T38" fmla="*/ 2147483646 w 266"/>
                    <a:gd name="T39" fmla="*/ 2147483646 h 326"/>
                    <a:gd name="T40" fmla="*/ 2147483646 w 266"/>
                    <a:gd name="T41" fmla="*/ 2147483646 h 326"/>
                    <a:gd name="T42" fmla="*/ 2147483646 w 266"/>
                    <a:gd name="T43" fmla="*/ 2147483646 h 326"/>
                    <a:gd name="T44" fmla="*/ 2147483646 w 266"/>
                    <a:gd name="T45" fmla="*/ 2147483646 h 326"/>
                    <a:gd name="T46" fmla="*/ 2147483646 w 266"/>
                    <a:gd name="T47" fmla="*/ 2147483646 h 326"/>
                    <a:gd name="T48" fmla="*/ 2147483646 w 266"/>
                    <a:gd name="T49" fmla="*/ 2147483646 h 326"/>
                    <a:gd name="T50" fmla="*/ 2147483646 w 266"/>
                    <a:gd name="T51" fmla="*/ 2147483646 h 326"/>
                    <a:gd name="T52" fmla="*/ 2147483646 w 266"/>
                    <a:gd name="T53" fmla="*/ 2147483646 h 326"/>
                    <a:gd name="T54" fmla="*/ 2147483646 w 266"/>
                    <a:gd name="T55" fmla="*/ 2147483646 h 326"/>
                    <a:gd name="T56" fmla="*/ 2147483646 w 266"/>
                    <a:gd name="T57" fmla="*/ 2147483646 h 326"/>
                    <a:gd name="T58" fmla="*/ 2147483646 w 266"/>
                    <a:gd name="T59" fmla="*/ 2147483646 h 326"/>
                    <a:gd name="T60" fmla="*/ 2147483646 w 266"/>
                    <a:gd name="T61" fmla="*/ 2147483646 h 326"/>
                    <a:gd name="T62" fmla="*/ 2147483646 w 266"/>
                    <a:gd name="T63" fmla="*/ 2147483646 h 326"/>
                    <a:gd name="T64" fmla="*/ 2147483646 w 266"/>
                    <a:gd name="T65" fmla="*/ 2147483646 h 326"/>
                    <a:gd name="T66" fmla="*/ 2147483646 w 266"/>
                    <a:gd name="T67" fmla="*/ 2147483646 h 326"/>
                    <a:gd name="T68" fmla="*/ 2147483646 w 266"/>
                    <a:gd name="T69" fmla="*/ 2147483646 h 326"/>
                    <a:gd name="T70" fmla="*/ 2147483646 w 266"/>
                    <a:gd name="T71" fmla="*/ 2147483646 h 326"/>
                    <a:gd name="T72" fmla="*/ 2147483646 w 266"/>
                    <a:gd name="T73" fmla="*/ 2147483646 h 326"/>
                    <a:gd name="T74" fmla="*/ 2147483646 w 266"/>
                    <a:gd name="T75" fmla="*/ 2147483646 h 326"/>
                    <a:gd name="T76" fmla="*/ 2147483646 w 266"/>
                    <a:gd name="T77" fmla="*/ 2147483646 h 326"/>
                    <a:gd name="T78" fmla="*/ 2147483646 w 266"/>
                    <a:gd name="T79" fmla="*/ 2147483646 h 326"/>
                    <a:gd name="T80" fmla="*/ 2147483646 w 266"/>
                    <a:gd name="T81" fmla="*/ 2147483646 h 326"/>
                    <a:gd name="T82" fmla="*/ 2147483646 w 266"/>
                    <a:gd name="T83" fmla="*/ 2147483646 h 326"/>
                    <a:gd name="T84" fmla="*/ 2147483646 w 266"/>
                    <a:gd name="T85" fmla="*/ 2147483646 h 326"/>
                    <a:gd name="T86" fmla="*/ 2147483646 w 266"/>
                    <a:gd name="T87" fmla="*/ 2147483646 h 326"/>
                    <a:gd name="T88" fmla="*/ 2147483646 w 266"/>
                    <a:gd name="T89" fmla="*/ 2147483646 h 326"/>
                    <a:gd name="T90" fmla="*/ 2147483646 w 266"/>
                    <a:gd name="T91" fmla="*/ 2147483646 h 326"/>
                    <a:gd name="T92" fmla="*/ 2147483646 w 266"/>
                    <a:gd name="T93" fmla="*/ 2147483646 h 326"/>
                    <a:gd name="T94" fmla="*/ 2147483646 w 266"/>
                    <a:gd name="T95" fmla="*/ 2147483646 h 326"/>
                    <a:gd name="T96" fmla="*/ 2147483646 w 266"/>
                    <a:gd name="T97" fmla="*/ 2147483646 h 326"/>
                    <a:gd name="T98" fmla="*/ 2147483646 w 266"/>
                    <a:gd name="T99" fmla="*/ 2147483646 h 326"/>
                    <a:gd name="T100" fmla="*/ 2147483646 w 266"/>
                    <a:gd name="T101" fmla="*/ 0 h 32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266"/>
                    <a:gd name="T154" fmla="*/ 0 h 326"/>
                    <a:gd name="T155" fmla="*/ 266 w 266"/>
                    <a:gd name="T156" fmla="*/ 326 h 32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266" h="326">
                      <a:moveTo>
                        <a:pt x="246" y="0"/>
                      </a:moveTo>
                      <a:lnTo>
                        <a:pt x="241" y="4"/>
                      </a:lnTo>
                      <a:lnTo>
                        <a:pt x="240" y="9"/>
                      </a:lnTo>
                      <a:lnTo>
                        <a:pt x="239" y="16"/>
                      </a:lnTo>
                      <a:lnTo>
                        <a:pt x="239" y="24"/>
                      </a:lnTo>
                      <a:lnTo>
                        <a:pt x="240" y="28"/>
                      </a:lnTo>
                      <a:lnTo>
                        <a:pt x="243" y="33"/>
                      </a:lnTo>
                      <a:lnTo>
                        <a:pt x="246" y="38"/>
                      </a:lnTo>
                      <a:lnTo>
                        <a:pt x="249" y="42"/>
                      </a:lnTo>
                      <a:lnTo>
                        <a:pt x="256" y="50"/>
                      </a:lnTo>
                      <a:lnTo>
                        <a:pt x="259" y="55"/>
                      </a:lnTo>
                      <a:lnTo>
                        <a:pt x="245" y="55"/>
                      </a:lnTo>
                      <a:lnTo>
                        <a:pt x="234" y="54"/>
                      </a:lnTo>
                      <a:lnTo>
                        <a:pt x="229" y="52"/>
                      </a:lnTo>
                      <a:lnTo>
                        <a:pt x="225" y="50"/>
                      </a:lnTo>
                      <a:lnTo>
                        <a:pt x="222" y="47"/>
                      </a:lnTo>
                      <a:lnTo>
                        <a:pt x="220" y="43"/>
                      </a:lnTo>
                      <a:lnTo>
                        <a:pt x="210" y="51"/>
                      </a:lnTo>
                      <a:lnTo>
                        <a:pt x="201" y="58"/>
                      </a:lnTo>
                      <a:lnTo>
                        <a:pt x="198" y="62"/>
                      </a:lnTo>
                      <a:lnTo>
                        <a:pt x="195" y="65"/>
                      </a:lnTo>
                      <a:lnTo>
                        <a:pt x="193" y="69"/>
                      </a:lnTo>
                      <a:lnTo>
                        <a:pt x="192" y="73"/>
                      </a:lnTo>
                      <a:lnTo>
                        <a:pt x="193" y="78"/>
                      </a:lnTo>
                      <a:lnTo>
                        <a:pt x="194" y="82"/>
                      </a:lnTo>
                      <a:lnTo>
                        <a:pt x="195" y="86"/>
                      </a:lnTo>
                      <a:lnTo>
                        <a:pt x="198" y="89"/>
                      </a:lnTo>
                      <a:lnTo>
                        <a:pt x="203" y="97"/>
                      </a:lnTo>
                      <a:lnTo>
                        <a:pt x="210" y="104"/>
                      </a:lnTo>
                      <a:lnTo>
                        <a:pt x="215" y="110"/>
                      </a:lnTo>
                      <a:lnTo>
                        <a:pt x="221" y="116"/>
                      </a:lnTo>
                      <a:lnTo>
                        <a:pt x="223" y="119"/>
                      </a:lnTo>
                      <a:lnTo>
                        <a:pt x="224" y="122"/>
                      </a:lnTo>
                      <a:lnTo>
                        <a:pt x="225" y="125"/>
                      </a:lnTo>
                      <a:lnTo>
                        <a:pt x="226" y="129"/>
                      </a:lnTo>
                      <a:lnTo>
                        <a:pt x="225" y="133"/>
                      </a:lnTo>
                      <a:lnTo>
                        <a:pt x="225" y="137"/>
                      </a:lnTo>
                      <a:lnTo>
                        <a:pt x="223" y="140"/>
                      </a:lnTo>
                      <a:lnTo>
                        <a:pt x="222" y="143"/>
                      </a:lnTo>
                      <a:lnTo>
                        <a:pt x="217" y="148"/>
                      </a:lnTo>
                      <a:lnTo>
                        <a:pt x="213" y="152"/>
                      </a:lnTo>
                      <a:lnTo>
                        <a:pt x="207" y="154"/>
                      </a:lnTo>
                      <a:lnTo>
                        <a:pt x="203" y="156"/>
                      </a:lnTo>
                      <a:lnTo>
                        <a:pt x="201" y="158"/>
                      </a:lnTo>
                      <a:lnTo>
                        <a:pt x="200" y="160"/>
                      </a:lnTo>
                      <a:lnTo>
                        <a:pt x="193" y="161"/>
                      </a:lnTo>
                      <a:lnTo>
                        <a:pt x="188" y="163"/>
                      </a:lnTo>
                      <a:lnTo>
                        <a:pt x="181" y="166"/>
                      </a:lnTo>
                      <a:lnTo>
                        <a:pt x="175" y="170"/>
                      </a:lnTo>
                      <a:lnTo>
                        <a:pt x="168" y="174"/>
                      </a:lnTo>
                      <a:lnTo>
                        <a:pt x="164" y="178"/>
                      </a:lnTo>
                      <a:lnTo>
                        <a:pt x="160" y="181"/>
                      </a:lnTo>
                      <a:lnTo>
                        <a:pt x="159" y="184"/>
                      </a:lnTo>
                      <a:lnTo>
                        <a:pt x="160" y="191"/>
                      </a:lnTo>
                      <a:lnTo>
                        <a:pt x="164" y="197"/>
                      </a:lnTo>
                      <a:lnTo>
                        <a:pt x="168" y="203"/>
                      </a:lnTo>
                      <a:lnTo>
                        <a:pt x="173" y="207"/>
                      </a:lnTo>
                      <a:lnTo>
                        <a:pt x="179" y="211"/>
                      </a:lnTo>
                      <a:lnTo>
                        <a:pt x="184" y="213"/>
                      </a:lnTo>
                      <a:lnTo>
                        <a:pt x="189" y="215"/>
                      </a:lnTo>
                      <a:lnTo>
                        <a:pt x="192" y="215"/>
                      </a:lnTo>
                      <a:lnTo>
                        <a:pt x="204" y="221"/>
                      </a:lnTo>
                      <a:lnTo>
                        <a:pt x="214" y="227"/>
                      </a:lnTo>
                      <a:lnTo>
                        <a:pt x="223" y="234"/>
                      </a:lnTo>
                      <a:lnTo>
                        <a:pt x="231" y="241"/>
                      </a:lnTo>
                      <a:lnTo>
                        <a:pt x="245" y="259"/>
                      </a:lnTo>
                      <a:lnTo>
                        <a:pt x="259" y="277"/>
                      </a:lnTo>
                      <a:lnTo>
                        <a:pt x="266" y="283"/>
                      </a:lnTo>
                      <a:lnTo>
                        <a:pt x="251" y="285"/>
                      </a:lnTo>
                      <a:lnTo>
                        <a:pt x="239" y="286"/>
                      </a:lnTo>
                      <a:lnTo>
                        <a:pt x="228" y="288"/>
                      </a:lnTo>
                      <a:lnTo>
                        <a:pt x="220" y="291"/>
                      </a:lnTo>
                      <a:lnTo>
                        <a:pt x="215" y="293"/>
                      </a:lnTo>
                      <a:lnTo>
                        <a:pt x="211" y="295"/>
                      </a:lnTo>
                      <a:lnTo>
                        <a:pt x="207" y="298"/>
                      </a:lnTo>
                      <a:lnTo>
                        <a:pt x="204" y="302"/>
                      </a:lnTo>
                      <a:lnTo>
                        <a:pt x="201" y="306"/>
                      </a:lnTo>
                      <a:lnTo>
                        <a:pt x="198" y="312"/>
                      </a:lnTo>
                      <a:lnTo>
                        <a:pt x="195" y="319"/>
                      </a:lnTo>
                      <a:lnTo>
                        <a:pt x="192" y="326"/>
                      </a:lnTo>
                      <a:lnTo>
                        <a:pt x="189" y="326"/>
                      </a:lnTo>
                      <a:lnTo>
                        <a:pt x="179" y="325"/>
                      </a:lnTo>
                      <a:lnTo>
                        <a:pt x="175" y="323"/>
                      </a:lnTo>
                      <a:lnTo>
                        <a:pt x="170" y="321"/>
                      </a:lnTo>
                      <a:lnTo>
                        <a:pt x="168" y="320"/>
                      </a:lnTo>
                      <a:lnTo>
                        <a:pt x="167" y="318"/>
                      </a:lnTo>
                      <a:lnTo>
                        <a:pt x="167" y="316"/>
                      </a:lnTo>
                      <a:lnTo>
                        <a:pt x="166" y="314"/>
                      </a:lnTo>
                      <a:lnTo>
                        <a:pt x="159" y="314"/>
                      </a:lnTo>
                      <a:lnTo>
                        <a:pt x="154" y="310"/>
                      </a:lnTo>
                      <a:lnTo>
                        <a:pt x="148" y="308"/>
                      </a:lnTo>
                      <a:lnTo>
                        <a:pt x="144" y="304"/>
                      </a:lnTo>
                      <a:lnTo>
                        <a:pt x="139" y="301"/>
                      </a:lnTo>
                      <a:lnTo>
                        <a:pt x="135" y="298"/>
                      </a:lnTo>
                      <a:lnTo>
                        <a:pt x="131" y="296"/>
                      </a:lnTo>
                      <a:lnTo>
                        <a:pt x="126" y="295"/>
                      </a:lnTo>
                      <a:lnTo>
                        <a:pt x="120" y="295"/>
                      </a:lnTo>
                      <a:lnTo>
                        <a:pt x="109" y="293"/>
                      </a:lnTo>
                      <a:lnTo>
                        <a:pt x="98" y="290"/>
                      </a:lnTo>
                      <a:lnTo>
                        <a:pt x="84" y="287"/>
                      </a:lnTo>
                      <a:lnTo>
                        <a:pt x="72" y="282"/>
                      </a:lnTo>
                      <a:lnTo>
                        <a:pt x="63" y="277"/>
                      </a:lnTo>
                      <a:lnTo>
                        <a:pt x="58" y="274"/>
                      </a:lnTo>
                      <a:lnTo>
                        <a:pt x="56" y="271"/>
                      </a:lnTo>
                      <a:lnTo>
                        <a:pt x="54" y="268"/>
                      </a:lnTo>
                      <a:lnTo>
                        <a:pt x="53" y="265"/>
                      </a:lnTo>
                      <a:lnTo>
                        <a:pt x="54" y="261"/>
                      </a:lnTo>
                      <a:lnTo>
                        <a:pt x="55" y="256"/>
                      </a:lnTo>
                      <a:lnTo>
                        <a:pt x="58" y="252"/>
                      </a:lnTo>
                      <a:lnTo>
                        <a:pt x="61" y="249"/>
                      </a:lnTo>
                      <a:lnTo>
                        <a:pt x="70" y="244"/>
                      </a:lnTo>
                      <a:lnTo>
                        <a:pt x="80" y="240"/>
                      </a:lnTo>
                      <a:lnTo>
                        <a:pt x="68" y="230"/>
                      </a:lnTo>
                      <a:lnTo>
                        <a:pt x="59" y="221"/>
                      </a:lnTo>
                      <a:lnTo>
                        <a:pt x="50" y="211"/>
                      </a:lnTo>
                      <a:lnTo>
                        <a:pt x="43" y="203"/>
                      </a:lnTo>
                      <a:lnTo>
                        <a:pt x="34" y="194"/>
                      </a:lnTo>
                      <a:lnTo>
                        <a:pt x="24" y="187"/>
                      </a:lnTo>
                      <a:lnTo>
                        <a:pt x="20" y="184"/>
                      </a:lnTo>
                      <a:lnTo>
                        <a:pt x="13" y="182"/>
                      </a:lnTo>
                      <a:lnTo>
                        <a:pt x="7" y="180"/>
                      </a:lnTo>
                      <a:lnTo>
                        <a:pt x="0" y="178"/>
                      </a:lnTo>
                      <a:lnTo>
                        <a:pt x="4" y="171"/>
                      </a:lnTo>
                      <a:lnTo>
                        <a:pt x="9" y="164"/>
                      </a:lnTo>
                      <a:lnTo>
                        <a:pt x="13" y="158"/>
                      </a:lnTo>
                      <a:lnTo>
                        <a:pt x="19" y="152"/>
                      </a:lnTo>
                      <a:lnTo>
                        <a:pt x="31" y="141"/>
                      </a:lnTo>
                      <a:lnTo>
                        <a:pt x="43" y="133"/>
                      </a:lnTo>
                      <a:lnTo>
                        <a:pt x="54" y="124"/>
                      </a:lnTo>
                      <a:lnTo>
                        <a:pt x="65" y="115"/>
                      </a:lnTo>
                      <a:lnTo>
                        <a:pt x="69" y="110"/>
                      </a:lnTo>
                      <a:lnTo>
                        <a:pt x="73" y="105"/>
                      </a:lnTo>
                      <a:lnTo>
                        <a:pt x="77" y="99"/>
                      </a:lnTo>
                      <a:lnTo>
                        <a:pt x="80" y="92"/>
                      </a:lnTo>
                      <a:lnTo>
                        <a:pt x="88" y="92"/>
                      </a:lnTo>
                      <a:lnTo>
                        <a:pt x="95" y="90"/>
                      </a:lnTo>
                      <a:lnTo>
                        <a:pt x="103" y="89"/>
                      </a:lnTo>
                      <a:lnTo>
                        <a:pt x="110" y="88"/>
                      </a:lnTo>
                      <a:lnTo>
                        <a:pt x="123" y="83"/>
                      </a:lnTo>
                      <a:lnTo>
                        <a:pt x="134" y="77"/>
                      </a:lnTo>
                      <a:lnTo>
                        <a:pt x="144" y="70"/>
                      </a:lnTo>
                      <a:lnTo>
                        <a:pt x="153" y="63"/>
                      </a:lnTo>
                      <a:lnTo>
                        <a:pt x="160" y="55"/>
                      </a:lnTo>
                      <a:lnTo>
                        <a:pt x="168" y="46"/>
                      </a:lnTo>
                      <a:lnTo>
                        <a:pt x="176" y="38"/>
                      </a:lnTo>
                      <a:lnTo>
                        <a:pt x="182" y="28"/>
                      </a:lnTo>
                      <a:lnTo>
                        <a:pt x="191" y="21"/>
                      </a:lnTo>
                      <a:lnTo>
                        <a:pt x="199" y="14"/>
                      </a:lnTo>
                      <a:lnTo>
                        <a:pt x="209" y="8"/>
                      </a:lnTo>
                      <a:lnTo>
                        <a:pt x="220" y="4"/>
                      </a:lnTo>
                      <a:lnTo>
                        <a:pt x="225" y="2"/>
                      </a:lnTo>
                      <a:lnTo>
                        <a:pt x="232" y="1"/>
                      </a:lnTo>
                      <a:lnTo>
                        <a:pt x="238" y="0"/>
                      </a:lnTo>
                      <a:lnTo>
                        <a:pt x="246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53" name="Freeform 273">
                  <a:extLst>
                    <a:ext uri="{FF2B5EF4-FFF2-40B4-BE49-F238E27FC236}">
                      <a16:creationId xmlns:a16="http://schemas.microsoft.com/office/drawing/2014/main" xmlns="" id="{C746E669-30E1-4709-B74B-6DC99BA14A30}"/>
                    </a:ext>
                  </a:extLst>
                </p:cNvPr>
                <p:cNvSpPr>
                  <a:spLocks/>
                </p:cNvSpPr>
                <p:nvPr>
                  <p:custDataLst>
                    <p:tags r:id="rId200"/>
                  </p:custDataLst>
                </p:nvPr>
              </p:nvSpPr>
              <p:spPr bwMode="auto">
                <a:xfrm>
                  <a:off x="5951538" y="2705100"/>
                  <a:ext cx="206375" cy="123825"/>
                </a:xfrm>
                <a:custGeom>
                  <a:avLst/>
                  <a:gdLst>
                    <a:gd name="T0" fmla="*/ 2147483646 w 471"/>
                    <a:gd name="T1" fmla="*/ 0 h 237"/>
                    <a:gd name="T2" fmla="*/ 2147483646 w 471"/>
                    <a:gd name="T3" fmla="*/ 2147483646 h 237"/>
                    <a:gd name="T4" fmla="*/ 2147483646 w 471"/>
                    <a:gd name="T5" fmla="*/ 2147483646 h 237"/>
                    <a:gd name="T6" fmla="*/ 2147483646 w 471"/>
                    <a:gd name="T7" fmla="*/ 2147483646 h 237"/>
                    <a:gd name="T8" fmla="*/ 2147483646 w 471"/>
                    <a:gd name="T9" fmla="*/ 2147483646 h 237"/>
                    <a:gd name="T10" fmla="*/ 2147483646 w 471"/>
                    <a:gd name="T11" fmla="*/ 2147483646 h 237"/>
                    <a:gd name="T12" fmla="*/ 2147483646 w 471"/>
                    <a:gd name="T13" fmla="*/ 2147483646 h 237"/>
                    <a:gd name="T14" fmla="*/ 2147483646 w 471"/>
                    <a:gd name="T15" fmla="*/ 2147483646 h 237"/>
                    <a:gd name="T16" fmla="*/ 2147483646 w 471"/>
                    <a:gd name="T17" fmla="*/ 2147483646 h 237"/>
                    <a:gd name="T18" fmla="*/ 2147483646 w 471"/>
                    <a:gd name="T19" fmla="*/ 2147483646 h 237"/>
                    <a:gd name="T20" fmla="*/ 2147483646 w 471"/>
                    <a:gd name="T21" fmla="*/ 2147483646 h 237"/>
                    <a:gd name="T22" fmla="*/ 2147483646 w 471"/>
                    <a:gd name="T23" fmla="*/ 2147483646 h 237"/>
                    <a:gd name="T24" fmla="*/ 2147483646 w 471"/>
                    <a:gd name="T25" fmla="*/ 2147483646 h 237"/>
                    <a:gd name="T26" fmla="*/ 2147483646 w 471"/>
                    <a:gd name="T27" fmla="*/ 2147483646 h 237"/>
                    <a:gd name="T28" fmla="*/ 2147483646 w 471"/>
                    <a:gd name="T29" fmla="*/ 2147483646 h 237"/>
                    <a:gd name="T30" fmla="*/ 2147483646 w 471"/>
                    <a:gd name="T31" fmla="*/ 2147483646 h 237"/>
                    <a:gd name="T32" fmla="*/ 2147483646 w 471"/>
                    <a:gd name="T33" fmla="*/ 2147483646 h 237"/>
                    <a:gd name="T34" fmla="*/ 2147483646 w 471"/>
                    <a:gd name="T35" fmla="*/ 2147483646 h 237"/>
                    <a:gd name="T36" fmla="*/ 2147483646 w 471"/>
                    <a:gd name="T37" fmla="*/ 2147483646 h 237"/>
                    <a:gd name="T38" fmla="*/ 2147483646 w 471"/>
                    <a:gd name="T39" fmla="*/ 2147483646 h 237"/>
                    <a:gd name="T40" fmla="*/ 2147483646 w 471"/>
                    <a:gd name="T41" fmla="*/ 2147483646 h 237"/>
                    <a:gd name="T42" fmla="*/ 2147483646 w 471"/>
                    <a:gd name="T43" fmla="*/ 2147483646 h 237"/>
                    <a:gd name="T44" fmla="*/ 2147483646 w 471"/>
                    <a:gd name="T45" fmla="*/ 2147483646 h 237"/>
                    <a:gd name="T46" fmla="*/ 2147483646 w 471"/>
                    <a:gd name="T47" fmla="*/ 2147483646 h 237"/>
                    <a:gd name="T48" fmla="*/ 2147483646 w 471"/>
                    <a:gd name="T49" fmla="*/ 2147483646 h 237"/>
                    <a:gd name="T50" fmla="*/ 2147483646 w 471"/>
                    <a:gd name="T51" fmla="*/ 2147483646 h 237"/>
                    <a:gd name="T52" fmla="*/ 2147483646 w 471"/>
                    <a:gd name="T53" fmla="*/ 2147483646 h 237"/>
                    <a:gd name="T54" fmla="*/ 2147483646 w 471"/>
                    <a:gd name="T55" fmla="*/ 2147483646 h 237"/>
                    <a:gd name="T56" fmla="*/ 2147483646 w 471"/>
                    <a:gd name="T57" fmla="*/ 2147483646 h 237"/>
                    <a:gd name="T58" fmla="*/ 2147483646 w 471"/>
                    <a:gd name="T59" fmla="*/ 2147483646 h 237"/>
                    <a:gd name="T60" fmla="*/ 2147483646 w 471"/>
                    <a:gd name="T61" fmla="*/ 2147483646 h 237"/>
                    <a:gd name="T62" fmla="*/ 2147483646 w 471"/>
                    <a:gd name="T63" fmla="*/ 2147483646 h 237"/>
                    <a:gd name="T64" fmla="*/ 2147483646 w 471"/>
                    <a:gd name="T65" fmla="*/ 2147483646 h 237"/>
                    <a:gd name="T66" fmla="*/ 2147483646 w 471"/>
                    <a:gd name="T67" fmla="*/ 2147483646 h 237"/>
                    <a:gd name="T68" fmla="*/ 2147483646 w 471"/>
                    <a:gd name="T69" fmla="*/ 2147483646 h 237"/>
                    <a:gd name="T70" fmla="*/ 2147483646 w 471"/>
                    <a:gd name="T71" fmla="*/ 2147483646 h 237"/>
                    <a:gd name="T72" fmla="*/ 2147483646 w 471"/>
                    <a:gd name="T73" fmla="*/ 2147483646 h 237"/>
                    <a:gd name="T74" fmla="*/ 2147483646 w 471"/>
                    <a:gd name="T75" fmla="*/ 0 h 237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471"/>
                    <a:gd name="T115" fmla="*/ 0 h 237"/>
                    <a:gd name="T116" fmla="*/ 471 w 471"/>
                    <a:gd name="T117" fmla="*/ 237 h 237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471" h="237">
                      <a:moveTo>
                        <a:pt x="7" y="0"/>
                      </a:moveTo>
                      <a:lnTo>
                        <a:pt x="86" y="0"/>
                      </a:lnTo>
                      <a:lnTo>
                        <a:pt x="89" y="4"/>
                      </a:lnTo>
                      <a:lnTo>
                        <a:pt x="92" y="7"/>
                      </a:lnTo>
                      <a:lnTo>
                        <a:pt x="97" y="10"/>
                      </a:lnTo>
                      <a:lnTo>
                        <a:pt x="102" y="13"/>
                      </a:lnTo>
                      <a:lnTo>
                        <a:pt x="113" y="18"/>
                      </a:lnTo>
                      <a:lnTo>
                        <a:pt x="125" y="23"/>
                      </a:lnTo>
                      <a:lnTo>
                        <a:pt x="147" y="32"/>
                      </a:lnTo>
                      <a:lnTo>
                        <a:pt x="159" y="37"/>
                      </a:lnTo>
                      <a:lnTo>
                        <a:pt x="192" y="58"/>
                      </a:lnTo>
                      <a:lnTo>
                        <a:pt x="223" y="77"/>
                      </a:lnTo>
                      <a:lnTo>
                        <a:pt x="237" y="88"/>
                      </a:lnTo>
                      <a:lnTo>
                        <a:pt x="253" y="97"/>
                      </a:lnTo>
                      <a:lnTo>
                        <a:pt x="267" y="105"/>
                      </a:lnTo>
                      <a:lnTo>
                        <a:pt x="283" y="113"/>
                      </a:lnTo>
                      <a:lnTo>
                        <a:pt x="299" y="121"/>
                      </a:lnTo>
                      <a:lnTo>
                        <a:pt x="316" y="127"/>
                      </a:lnTo>
                      <a:lnTo>
                        <a:pt x="335" y="133"/>
                      </a:lnTo>
                      <a:lnTo>
                        <a:pt x="355" y="139"/>
                      </a:lnTo>
                      <a:lnTo>
                        <a:pt x="376" y="143"/>
                      </a:lnTo>
                      <a:lnTo>
                        <a:pt x="399" y="146"/>
                      </a:lnTo>
                      <a:lnTo>
                        <a:pt x="424" y="148"/>
                      </a:lnTo>
                      <a:lnTo>
                        <a:pt x="451" y="148"/>
                      </a:lnTo>
                      <a:lnTo>
                        <a:pt x="451" y="179"/>
                      </a:lnTo>
                      <a:lnTo>
                        <a:pt x="452" y="187"/>
                      </a:lnTo>
                      <a:lnTo>
                        <a:pt x="457" y="202"/>
                      </a:lnTo>
                      <a:lnTo>
                        <a:pt x="459" y="211"/>
                      </a:lnTo>
                      <a:lnTo>
                        <a:pt x="462" y="219"/>
                      </a:lnTo>
                      <a:lnTo>
                        <a:pt x="467" y="227"/>
                      </a:lnTo>
                      <a:lnTo>
                        <a:pt x="471" y="234"/>
                      </a:lnTo>
                      <a:lnTo>
                        <a:pt x="467" y="236"/>
                      </a:lnTo>
                      <a:lnTo>
                        <a:pt x="459" y="237"/>
                      </a:lnTo>
                      <a:lnTo>
                        <a:pt x="451" y="236"/>
                      </a:lnTo>
                      <a:lnTo>
                        <a:pt x="440" y="235"/>
                      </a:lnTo>
                      <a:lnTo>
                        <a:pt x="416" y="231"/>
                      </a:lnTo>
                      <a:lnTo>
                        <a:pt x="390" y="226"/>
                      </a:lnTo>
                      <a:lnTo>
                        <a:pt x="362" y="219"/>
                      </a:lnTo>
                      <a:lnTo>
                        <a:pt x="337" y="213"/>
                      </a:lnTo>
                      <a:lnTo>
                        <a:pt x="315" y="207"/>
                      </a:lnTo>
                      <a:lnTo>
                        <a:pt x="299" y="204"/>
                      </a:lnTo>
                      <a:lnTo>
                        <a:pt x="294" y="203"/>
                      </a:lnTo>
                      <a:lnTo>
                        <a:pt x="290" y="201"/>
                      </a:lnTo>
                      <a:lnTo>
                        <a:pt x="287" y="199"/>
                      </a:lnTo>
                      <a:lnTo>
                        <a:pt x="283" y="196"/>
                      </a:lnTo>
                      <a:lnTo>
                        <a:pt x="277" y="190"/>
                      </a:lnTo>
                      <a:lnTo>
                        <a:pt x="272" y="184"/>
                      </a:lnTo>
                      <a:lnTo>
                        <a:pt x="267" y="178"/>
                      </a:lnTo>
                      <a:lnTo>
                        <a:pt x="261" y="171"/>
                      </a:lnTo>
                      <a:lnTo>
                        <a:pt x="255" y="166"/>
                      </a:lnTo>
                      <a:lnTo>
                        <a:pt x="246" y="160"/>
                      </a:lnTo>
                      <a:lnTo>
                        <a:pt x="240" y="159"/>
                      </a:lnTo>
                      <a:lnTo>
                        <a:pt x="234" y="158"/>
                      </a:lnTo>
                      <a:lnTo>
                        <a:pt x="227" y="159"/>
                      </a:lnTo>
                      <a:lnTo>
                        <a:pt x="221" y="159"/>
                      </a:lnTo>
                      <a:lnTo>
                        <a:pt x="205" y="163"/>
                      </a:lnTo>
                      <a:lnTo>
                        <a:pt x="191" y="166"/>
                      </a:lnTo>
                      <a:lnTo>
                        <a:pt x="183" y="167"/>
                      </a:lnTo>
                      <a:lnTo>
                        <a:pt x="176" y="168"/>
                      </a:lnTo>
                      <a:lnTo>
                        <a:pt x="169" y="168"/>
                      </a:lnTo>
                      <a:lnTo>
                        <a:pt x="164" y="166"/>
                      </a:lnTo>
                      <a:lnTo>
                        <a:pt x="158" y="164"/>
                      </a:lnTo>
                      <a:lnTo>
                        <a:pt x="153" y="161"/>
                      </a:lnTo>
                      <a:lnTo>
                        <a:pt x="148" y="155"/>
                      </a:lnTo>
                      <a:lnTo>
                        <a:pt x="146" y="148"/>
                      </a:lnTo>
                      <a:lnTo>
                        <a:pt x="139" y="148"/>
                      </a:lnTo>
                      <a:lnTo>
                        <a:pt x="131" y="147"/>
                      </a:lnTo>
                      <a:lnTo>
                        <a:pt x="122" y="145"/>
                      </a:lnTo>
                      <a:lnTo>
                        <a:pt x="113" y="142"/>
                      </a:lnTo>
                      <a:lnTo>
                        <a:pt x="92" y="135"/>
                      </a:lnTo>
                      <a:lnTo>
                        <a:pt x="70" y="126"/>
                      </a:lnTo>
                      <a:lnTo>
                        <a:pt x="48" y="117"/>
                      </a:lnTo>
                      <a:lnTo>
                        <a:pt x="29" y="107"/>
                      </a:lnTo>
                      <a:lnTo>
                        <a:pt x="12" y="96"/>
                      </a:lnTo>
                      <a:lnTo>
                        <a:pt x="0" y="87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54" name="Freeform 274">
                  <a:extLst>
                    <a:ext uri="{FF2B5EF4-FFF2-40B4-BE49-F238E27FC236}">
                      <a16:creationId xmlns:a16="http://schemas.microsoft.com/office/drawing/2014/main" xmlns="" id="{5CF28421-299D-4ABB-B623-F1FA652C7828}"/>
                    </a:ext>
                  </a:extLst>
                </p:cNvPr>
                <p:cNvSpPr>
                  <a:spLocks/>
                </p:cNvSpPr>
                <p:nvPr>
                  <p:custDataLst>
                    <p:tags r:id="rId201"/>
                  </p:custDataLst>
                </p:nvPr>
              </p:nvSpPr>
              <p:spPr bwMode="auto">
                <a:xfrm>
                  <a:off x="6167438" y="2760663"/>
                  <a:ext cx="73025" cy="65087"/>
                </a:xfrm>
                <a:custGeom>
                  <a:avLst/>
                  <a:gdLst>
                    <a:gd name="T0" fmla="*/ 2147483646 w 167"/>
                    <a:gd name="T1" fmla="*/ 2147483646 h 123"/>
                    <a:gd name="T2" fmla="*/ 2147483646 w 167"/>
                    <a:gd name="T3" fmla="*/ 2147483646 h 123"/>
                    <a:gd name="T4" fmla="*/ 2147483646 w 167"/>
                    <a:gd name="T5" fmla="*/ 2147483646 h 123"/>
                    <a:gd name="T6" fmla="*/ 2147483646 w 167"/>
                    <a:gd name="T7" fmla="*/ 2147483646 h 123"/>
                    <a:gd name="T8" fmla="*/ 2147483646 w 167"/>
                    <a:gd name="T9" fmla="*/ 2147483646 h 123"/>
                    <a:gd name="T10" fmla="*/ 2147483646 w 167"/>
                    <a:gd name="T11" fmla="*/ 2147483646 h 123"/>
                    <a:gd name="T12" fmla="*/ 2147483646 w 167"/>
                    <a:gd name="T13" fmla="*/ 2147483646 h 123"/>
                    <a:gd name="T14" fmla="*/ 2147483646 w 167"/>
                    <a:gd name="T15" fmla="*/ 2147483646 h 123"/>
                    <a:gd name="T16" fmla="*/ 2147483646 w 167"/>
                    <a:gd name="T17" fmla="*/ 2147483646 h 123"/>
                    <a:gd name="T18" fmla="*/ 2147483646 w 167"/>
                    <a:gd name="T19" fmla="*/ 2147483646 h 123"/>
                    <a:gd name="T20" fmla="*/ 2147483646 w 167"/>
                    <a:gd name="T21" fmla="*/ 2147483646 h 123"/>
                    <a:gd name="T22" fmla="*/ 2147483646 w 167"/>
                    <a:gd name="T23" fmla="*/ 2147483646 h 123"/>
                    <a:gd name="T24" fmla="*/ 2147483646 w 167"/>
                    <a:gd name="T25" fmla="*/ 2147483646 h 123"/>
                    <a:gd name="T26" fmla="*/ 2147483646 w 167"/>
                    <a:gd name="T27" fmla="*/ 2147483646 h 123"/>
                    <a:gd name="T28" fmla="*/ 2147483646 w 167"/>
                    <a:gd name="T29" fmla="*/ 2147483646 h 123"/>
                    <a:gd name="T30" fmla="*/ 2147483646 w 167"/>
                    <a:gd name="T31" fmla="*/ 2147483646 h 123"/>
                    <a:gd name="T32" fmla="*/ 2147483646 w 167"/>
                    <a:gd name="T33" fmla="*/ 2147483646 h 123"/>
                    <a:gd name="T34" fmla="*/ 2147483646 w 167"/>
                    <a:gd name="T35" fmla="*/ 2147483646 h 123"/>
                    <a:gd name="T36" fmla="*/ 2147483646 w 167"/>
                    <a:gd name="T37" fmla="*/ 2147483646 h 123"/>
                    <a:gd name="T38" fmla="*/ 2147483646 w 167"/>
                    <a:gd name="T39" fmla="*/ 2147483646 h 123"/>
                    <a:gd name="T40" fmla="*/ 2147483646 w 167"/>
                    <a:gd name="T41" fmla="*/ 2147483646 h 123"/>
                    <a:gd name="T42" fmla="*/ 2147483646 w 167"/>
                    <a:gd name="T43" fmla="*/ 2147483646 h 123"/>
                    <a:gd name="T44" fmla="*/ 2147483646 w 167"/>
                    <a:gd name="T45" fmla="*/ 2147483646 h 123"/>
                    <a:gd name="T46" fmla="*/ 2147483646 w 167"/>
                    <a:gd name="T47" fmla="*/ 2147483646 h 123"/>
                    <a:gd name="T48" fmla="*/ 0 w 167"/>
                    <a:gd name="T49" fmla="*/ 2147483646 h 123"/>
                    <a:gd name="T50" fmla="*/ 2147483646 w 167"/>
                    <a:gd name="T51" fmla="*/ 2147483646 h 123"/>
                    <a:gd name="T52" fmla="*/ 2147483646 w 167"/>
                    <a:gd name="T53" fmla="*/ 2147483646 h 123"/>
                    <a:gd name="T54" fmla="*/ 2147483646 w 167"/>
                    <a:gd name="T55" fmla="*/ 2147483646 h 123"/>
                    <a:gd name="T56" fmla="*/ 2147483646 w 167"/>
                    <a:gd name="T57" fmla="*/ 2147483646 h 123"/>
                    <a:gd name="T58" fmla="*/ 2147483646 w 167"/>
                    <a:gd name="T59" fmla="*/ 2147483646 h 123"/>
                    <a:gd name="T60" fmla="*/ 2147483646 w 167"/>
                    <a:gd name="T61" fmla="*/ 2147483646 h 123"/>
                    <a:gd name="T62" fmla="*/ 2147483646 w 167"/>
                    <a:gd name="T63" fmla="*/ 2147483646 h 123"/>
                    <a:gd name="T64" fmla="*/ 2147483646 w 167"/>
                    <a:gd name="T65" fmla="*/ 2147483646 h 123"/>
                    <a:gd name="T66" fmla="*/ 2147483646 w 167"/>
                    <a:gd name="T67" fmla="*/ 2147483646 h 123"/>
                    <a:gd name="T68" fmla="*/ 2147483646 w 167"/>
                    <a:gd name="T69" fmla="*/ 2147483646 h 123"/>
                    <a:gd name="T70" fmla="*/ 2147483646 w 167"/>
                    <a:gd name="T71" fmla="*/ 2147483646 h 123"/>
                    <a:gd name="T72" fmla="*/ 2147483646 w 167"/>
                    <a:gd name="T73" fmla="*/ 0 h 123"/>
                    <a:gd name="T74" fmla="*/ 2147483646 w 167"/>
                    <a:gd name="T75" fmla="*/ 2147483646 h 123"/>
                    <a:gd name="T76" fmla="*/ 2147483646 w 167"/>
                    <a:gd name="T77" fmla="*/ 2147483646 h 123"/>
                    <a:gd name="T78" fmla="*/ 2147483646 w 167"/>
                    <a:gd name="T79" fmla="*/ 2147483646 h 123"/>
                    <a:gd name="T80" fmla="*/ 2147483646 w 167"/>
                    <a:gd name="T81" fmla="*/ 2147483646 h 123"/>
                    <a:gd name="T82" fmla="*/ 2147483646 w 167"/>
                    <a:gd name="T83" fmla="*/ 2147483646 h 123"/>
                    <a:gd name="T84" fmla="*/ 2147483646 w 167"/>
                    <a:gd name="T85" fmla="*/ 2147483646 h 123"/>
                    <a:gd name="T86" fmla="*/ 2147483646 w 167"/>
                    <a:gd name="T87" fmla="*/ 2147483646 h 123"/>
                    <a:gd name="T88" fmla="*/ 2147483646 w 167"/>
                    <a:gd name="T89" fmla="*/ 2147483646 h 123"/>
                    <a:gd name="T90" fmla="*/ 2147483646 w 167"/>
                    <a:gd name="T91" fmla="*/ 2147483646 h 123"/>
                    <a:gd name="T92" fmla="*/ 2147483646 w 167"/>
                    <a:gd name="T93" fmla="*/ 2147483646 h 123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167"/>
                    <a:gd name="T142" fmla="*/ 0 h 123"/>
                    <a:gd name="T143" fmla="*/ 167 w 167"/>
                    <a:gd name="T144" fmla="*/ 123 h 123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167" h="123">
                      <a:moveTo>
                        <a:pt x="167" y="43"/>
                      </a:moveTo>
                      <a:lnTo>
                        <a:pt x="164" y="54"/>
                      </a:lnTo>
                      <a:lnTo>
                        <a:pt x="161" y="66"/>
                      </a:lnTo>
                      <a:lnTo>
                        <a:pt x="155" y="79"/>
                      </a:lnTo>
                      <a:lnTo>
                        <a:pt x="150" y="93"/>
                      </a:lnTo>
                      <a:lnTo>
                        <a:pt x="146" y="99"/>
                      </a:lnTo>
                      <a:lnTo>
                        <a:pt x="142" y="105"/>
                      </a:lnTo>
                      <a:lnTo>
                        <a:pt x="138" y="110"/>
                      </a:lnTo>
                      <a:lnTo>
                        <a:pt x="132" y="114"/>
                      </a:lnTo>
                      <a:lnTo>
                        <a:pt x="127" y="118"/>
                      </a:lnTo>
                      <a:lnTo>
                        <a:pt x="121" y="121"/>
                      </a:lnTo>
                      <a:lnTo>
                        <a:pt x="115" y="122"/>
                      </a:lnTo>
                      <a:lnTo>
                        <a:pt x="107" y="123"/>
                      </a:lnTo>
                      <a:lnTo>
                        <a:pt x="100" y="122"/>
                      </a:lnTo>
                      <a:lnTo>
                        <a:pt x="92" y="119"/>
                      </a:lnTo>
                      <a:lnTo>
                        <a:pt x="87" y="116"/>
                      </a:lnTo>
                      <a:lnTo>
                        <a:pt x="84" y="113"/>
                      </a:lnTo>
                      <a:lnTo>
                        <a:pt x="82" y="109"/>
                      </a:lnTo>
                      <a:lnTo>
                        <a:pt x="81" y="105"/>
                      </a:lnTo>
                      <a:lnTo>
                        <a:pt x="71" y="104"/>
                      </a:lnTo>
                      <a:lnTo>
                        <a:pt x="61" y="103"/>
                      </a:lnTo>
                      <a:lnTo>
                        <a:pt x="51" y="101"/>
                      </a:lnTo>
                      <a:lnTo>
                        <a:pt x="41" y="98"/>
                      </a:lnTo>
                      <a:lnTo>
                        <a:pt x="21" y="92"/>
                      </a:lnTo>
                      <a:lnTo>
                        <a:pt x="0" y="86"/>
                      </a:lnTo>
                      <a:lnTo>
                        <a:pt x="2" y="77"/>
                      </a:lnTo>
                      <a:lnTo>
                        <a:pt x="5" y="67"/>
                      </a:lnTo>
                      <a:lnTo>
                        <a:pt x="9" y="56"/>
                      </a:lnTo>
                      <a:lnTo>
                        <a:pt x="15" y="43"/>
                      </a:lnTo>
                      <a:lnTo>
                        <a:pt x="20" y="43"/>
                      </a:lnTo>
                      <a:lnTo>
                        <a:pt x="26" y="42"/>
                      </a:lnTo>
                      <a:lnTo>
                        <a:pt x="30" y="41"/>
                      </a:lnTo>
                      <a:lnTo>
                        <a:pt x="33" y="38"/>
                      </a:lnTo>
                      <a:lnTo>
                        <a:pt x="40" y="33"/>
                      </a:lnTo>
                      <a:lnTo>
                        <a:pt x="45" y="26"/>
                      </a:lnTo>
                      <a:lnTo>
                        <a:pt x="52" y="12"/>
                      </a:lnTo>
                      <a:lnTo>
                        <a:pt x="61" y="0"/>
                      </a:lnTo>
                      <a:lnTo>
                        <a:pt x="64" y="4"/>
                      </a:lnTo>
                      <a:lnTo>
                        <a:pt x="67" y="7"/>
                      </a:lnTo>
                      <a:lnTo>
                        <a:pt x="73" y="11"/>
                      </a:lnTo>
                      <a:lnTo>
                        <a:pt x="78" y="14"/>
                      </a:lnTo>
                      <a:lnTo>
                        <a:pt x="92" y="21"/>
                      </a:lnTo>
                      <a:lnTo>
                        <a:pt x="107" y="28"/>
                      </a:lnTo>
                      <a:lnTo>
                        <a:pt x="122" y="35"/>
                      </a:lnTo>
                      <a:lnTo>
                        <a:pt x="139" y="39"/>
                      </a:lnTo>
                      <a:lnTo>
                        <a:pt x="153" y="42"/>
                      </a:lnTo>
                      <a:lnTo>
                        <a:pt x="167" y="4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55" name="Freeform 275">
                  <a:extLst>
                    <a:ext uri="{FF2B5EF4-FFF2-40B4-BE49-F238E27FC236}">
                      <a16:creationId xmlns:a16="http://schemas.microsoft.com/office/drawing/2014/main" xmlns="" id="{C6309C97-F55B-492F-8EB3-BE451D2CBCC5}"/>
                    </a:ext>
                  </a:extLst>
                </p:cNvPr>
                <p:cNvSpPr>
                  <a:spLocks/>
                </p:cNvSpPr>
                <p:nvPr>
                  <p:custDataLst>
                    <p:tags r:id="rId202"/>
                  </p:custDataLst>
                </p:nvPr>
              </p:nvSpPr>
              <p:spPr bwMode="auto">
                <a:xfrm>
                  <a:off x="6157913" y="2832100"/>
                  <a:ext cx="133350" cy="166688"/>
                </a:xfrm>
                <a:custGeom>
                  <a:avLst/>
                  <a:gdLst>
                    <a:gd name="T0" fmla="*/ 2147483646 w 306"/>
                    <a:gd name="T1" fmla="*/ 2147483646 h 321"/>
                    <a:gd name="T2" fmla="*/ 2147483646 w 306"/>
                    <a:gd name="T3" fmla="*/ 2147483646 h 321"/>
                    <a:gd name="T4" fmla="*/ 2147483646 w 306"/>
                    <a:gd name="T5" fmla="*/ 2147483646 h 321"/>
                    <a:gd name="T6" fmla="*/ 2147483646 w 306"/>
                    <a:gd name="T7" fmla="*/ 2147483646 h 321"/>
                    <a:gd name="T8" fmla="*/ 2147483646 w 306"/>
                    <a:gd name="T9" fmla="*/ 2147483646 h 321"/>
                    <a:gd name="T10" fmla="*/ 2147483646 w 306"/>
                    <a:gd name="T11" fmla="*/ 2147483646 h 321"/>
                    <a:gd name="T12" fmla="*/ 2147483646 w 306"/>
                    <a:gd name="T13" fmla="*/ 2147483646 h 321"/>
                    <a:gd name="T14" fmla="*/ 2147483646 w 306"/>
                    <a:gd name="T15" fmla="*/ 2147483646 h 321"/>
                    <a:gd name="T16" fmla="*/ 2147483646 w 306"/>
                    <a:gd name="T17" fmla="*/ 2147483646 h 321"/>
                    <a:gd name="T18" fmla="*/ 2147483646 w 306"/>
                    <a:gd name="T19" fmla="*/ 2147483646 h 321"/>
                    <a:gd name="T20" fmla="*/ 2147483646 w 306"/>
                    <a:gd name="T21" fmla="*/ 2147483646 h 321"/>
                    <a:gd name="T22" fmla="*/ 2147483646 w 306"/>
                    <a:gd name="T23" fmla="*/ 2147483646 h 321"/>
                    <a:gd name="T24" fmla="*/ 2147483646 w 306"/>
                    <a:gd name="T25" fmla="*/ 2147483646 h 321"/>
                    <a:gd name="T26" fmla="*/ 2147483646 w 306"/>
                    <a:gd name="T27" fmla="*/ 2147483646 h 321"/>
                    <a:gd name="T28" fmla="*/ 2147483646 w 306"/>
                    <a:gd name="T29" fmla="*/ 2147483646 h 321"/>
                    <a:gd name="T30" fmla="*/ 2147483646 w 306"/>
                    <a:gd name="T31" fmla="*/ 2147483646 h 321"/>
                    <a:gd name="T32" fmla="*/ 2147483646 w 306"/>
                    <a:gd name="T33" fmla="*/ 2147483646 h 321"/>
                    <a:gd name="T34" fmla="*/ 2147483646 w 306"/>
                    <a:gd name="T35" fmla="*/ 2147483646 h 321"/>
                    <a:gd name="T36" fmla="*/ 2147483646 w 306"/>
                    <a:gd name="T37" fmla="*/ 2147483646 h 321"/>
                    <a:gd name="T38" fmla="*/ 2147483646 w 306"/>
                    <a:gd name="T39" fmla="*/ 2147483646 h 321"/>
                    <a:gd name="T40" fmla="*/ 2147483646 w 306"/>
                    <a:gd name="T41" fmla="*/ 2147483646 h 321"/>
                    <a:gd name="T42" fmla="*/ 2147483646 w 306"/>
                    <a:gd name="T43" fmla="*/ 2147483646 h 321"/>
                    <a:gd name="T44" fmla="*/ 2147483646 w 306"/>
                    <a:gd name="T45" fmla="*/ 0 h 321"/>
                    <a:gd name="T46" fmla="*/ 2147483646 w 306"/>
                    <a:gd name="T47" fmla="*/ 0 h 321"/>
                    <a:gd name="T48" fmla="*/ 2147483646 w 306"/>
                    <a:gd name="T49" fmla="*/ 2147483646 h 321"/>
                    <a:gd name="T50" fmla="*/ 2147483646 w 306"/>
                    <a:gd name="T51" fmla="*/ 2147483646 h 321"/>
                    <a:gd name="T52" fmla="*/ 2147483646 w 306"/>
                    <a:gd name="T53" fmla="*/ 2147483646 h 321"/>
                    <a:gd name="T54" fmla="*/ 2147483646 w 306"/>
                    <a:gd name="T55" fmla="*/ 2147483646 h 321"/>
                    <a:gd name="T56" fmla="*/ 2147483646 w 306"/>
                    <a:gd name="T57" fmla="*/ 2147483646 h 321"/>
                    <a:gd name="T58" fmla="*/ 2147483646 w 306"/>
                    <a:gd name="T59" fmla="*/ 2147483646 h 321"/>
                    <a:gd name="T60" fmla="*/ 2147483646 w 306"/>
                    <a:gd name="T61" fmla="*/ 2147483646 h 321"/>
                    <a:gd name="T62" fmla="*/ 2147483646 w 306"/>
                    <a:gd name="T63" fmla="*/ 2147483646 h 321"/>
                    <a:gd name="T64" fmla="*/ 2147483646 w 306"/>
                    <a:gd name="T65" fmla="*/ 2147483646 h 321"/>
                    <a:gd name="T66" fmla="*/ 2147483646 w 306"/>
                    <a:gd name="T67" fmla="*/ 2147483646 h 321"/>
                    <a:gd name="T68" fmla="*/ 2147483646 w 306"/>
                    <a:gd name="T69" fmla="*/ 2147483646 h 321"/>
                    <a:gd name="T70" fmla="*/ 2147483646 w 306"/>
                    <a:gd name="T71" fmla="*/ 2147483646 h 321"/>
                    <a:gd name="T72" fmla="*/ 2147483646 w 306"/>
                    <a:gd name="T73" fmla="*/ 2147483646 h 321"/>
                    <a:gd name="T74" fmla="*/ 2147483646 w 306"/>
                    <a:gd name="T75" fmla="*/ 2147483646 h 321"/>
                    <a:gd name="T76" fmla="*/ 2147483646 w 306"/>
                    <a:gd name="T77" fmla="*/ 2147483646 h 321"/>
                    <a:gd name="T78" fmla="*/ 2147483646 w 306"/>
                    <a:gd name="T79" fmla="*/ 2147483646 h 321"/>
                    <a:gd name="T80" fmla="*/ 2147483646 w 306"/>
                    <a:gd name="T81" fmla="*/ 2147483646 h 321"/>
                    <a:gd name="T82" fmla="*/ 2147483646 w 306"/>
                    <a:gd name="T83" fmla="*/ 2147483646 h 321"/>
                    <a:gd name="T84" fmla="*/ 2147483646 w 306"/>
                    <a:gd name="T85" fmla="*/ 2147483646 h 321"/>
                    <a:gd name="T86" fmla="*/ 2147483646 w 306"/>
                    <a:gd name="T87" fmla="*/ 2147483646 h 321"/>
                    <a:gd name="T88" fmla="*/ 2147483646 w 306"/>
                    <a:gd name="T89" fmla="*/ 2147483646 h 321"/>
                    <a:gd name="T90" fmla="*/ 2147483646 w 306"/>
                    <a:gd name="T91" fmla="*/ 2147483646 h 321"/>
                    <a:gd name="T92" fmla="*/ 2147483646 w 306"/>
                    <a:gd name="T93" fmla="*/ 2147483646 h 321"/>
                    <a:gd name="T94" fmla="*/ 2147483646 w 306"/>
                    <a:gd name="T95" fmla="*/ 2147483646 h 321"/>
                    <a:gd name="T96" fmla="*/ 2147483646 w 306"/>
                    <a:gd name="T97" fmla="*/ 2147483646 h 321"/>
                    <a:gd name="T98" fmla="*/ 2147483646 w 306"/>
                    <a:gd name="T99" fmla="*/ 2147483646 h 321"/>
                    <a:gd name="T100" fmla="*/ 2147483646 w 306"/>
                    <a:gd name="T101" fmla="*/ 2147483646 h 321"/>
                    <a:gd name="T102" fmla="*/ 2147483646 w 306"/>
                    <a:gd name="T103" fmla="*/ 2147483646 h 321"/>
                    <a:gd name="T104" fmla="*/ 2147483646 w 306"/>
                    <a:gd name="T105" fmla="*/ 2147483646 h 321"/>
                    <a:gd name="T106" fmla="*/ 2147483646 w 306"/>
                    <a:gd name="T107" fmla="*/ 2147483646 h 321"/>
                    <a:gd name="T108" fmla="*/ 2147483646 w 306"/>
                    <a:gd name="T109" fmla="*/ 2147483646 h 321"/>
                    <a:gd name="T110" fmla="*/ 2147483646 w 306"/>
                    <a:gd name="T111" fmla="*/ 2147483646 h 321"/>
                    <a:gd name="T112" fmla="*/ 2147483646 w 306"/>
                    <a:gd name="T113" fmla="*/ 2147483646 h 321"/>
                    <a:gd name="T114" fmla="*/ 2147483646 w 306"/>
                    <a:gd name="T115" fmla="*/ 2147483646 h 321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306"/>
                    <a:gd name="T175" fmla="*/ 0 h 321"/>
                    <a:gd name="T176" fmla="*/ 306 w 306"/>
                    <a:gd name="T177" fmla="*/ 321 h 321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306" h="321">
                      <a:moveTo>
                        <a:pt x="306" y="235"/>
                      </a:moveTo>
                      <a:lnTo>
                        <a:pt x="259" y="160"/>
                      </a:lnTo>
                      <a:lnTo>
                        <a:pt x="257" y="164"/>
                      </a:lnTo>
                      <a:lnTo>
                        <a:pt x="252" y="173"/>
                      </a:lnTo>
                      <a:lnTo>
                        <a:pt x="247" y="178"/>
                      </a:lnTo>
                      <a:lnTo>
                        <a:pt x="243" y="182"/>
                      </a:lnTo>
                      <a:lnTo>
                        <a:pt x="238" y="185"/>
                      </a:lnTo>
                      <a:lnTo>
                        <a:pt x="233" y="186"/>
                      </a:lnTo>
                      <a:lnTo>
                        <a:pt x="227" y="185"/>
                      </a:lnTo>
                      <a:lnTo>
                        <a:pt x="223" y="184"/>
                      </a:lnTo>
                      <a:lnTo>
                        <a:pt x="219" y="181"/>
                      </a:lnTo>
                      <a:lnTo>
                        <a:pt x="214" y="178"/>
                      </a:lnTo>
                      <a:lnTo>
                        <a:pt x="211" y="173"/>
                      </a:lnTo>
                      <a:lnTo>
                        <a:pt x="209" y="169"/>
                      </a:lnTo>
                      <a:lnTo>
                        <a:pt x="206" y="165"/>
                      </a:lnTo>
                      <a:lnTo>
                        <a:pt x="206" y="160"/>
                      </a:lnTo>
                      <a:lnTo>
                        <a:pt x="206" y="154"/>
                      </a:lnTo>
                      <a:lnTo>
                        <a:pt x="209" y="148"/>
                      </a:lnTo>
                      <a:lnTo>
                        <a:pt x="211" y="142"/>
                      </a:lnTo>
                      <a:lnTo>
                        <a:pt x="213" y="136"/>
                      </a:lnTo>
                      <a:lnTo>
                        <a:pt x="221" y="125"/>
                      </a:lnTo>
                      <a:lnTo>
                        <a:pt x="230" y="114"/>
                      </a:lnTo>
                      <a:lnTo>
                        <a:pt x="238" y="104"/>
                      </a:lnTo>
                      <a:lnTo>
                        <a:pt x="246" y="93"/>
                      </a:lnTo>
                      <a:lnTo>
                        <a:pt x="248" y="87"/>
                      </a:lnTo>
                      <a:lnTo>
                        <a:pt x="250" y="82"/>
                      </a:lnTo>
                      <a:lnTo>
                        <a:pt x="253" y="75"/>
                      </a:lnTo>
                      <a:lnTo>
                        <a:pt x="253" y="69"/>
                      </a:lnTo>
                      <a:lnTo>
                        <a:pt x="133" y="69"/>
                      </a:lnTo>
                      <a:lnTo>
                        <a:pt x="129" y="68"/>
                      </a:lnTo>
                      <a:lnTo>
                        <a:pt x="123" y="65"/>
                      </a:lnTo>
                      <a:lnTo>
                        <a:pt x="119" y="59"/>
                      </a:lnTo>
                      <a:lnTo>
                        <a:pt x="115" y="53"/>
                      </a:lnTo>
                      <a:lnTo>
                        <a:pt x="112" y="45"/>
                      </a:lnTo>
                      <a:lnTo>
                        <a:pt x="109" y="37"/>
                      </a:lnTo>
                      <a:lnTo>
                        <a:pt x="108" y="28"/>
                      </a:lnTo>
                      <a:lnTo>
                        <a:pt x="107" y="19"/>
                      </a:lnTo>
                      <a:lnTo>
                        <a:pt x="101" y="19"/>
                      </a:lnTo>
                      <a:lnTo>
                        <a:pt x="96" y="18"/>
                      </a:lnTo>
                      <a:lnTo>
                        <a:pt x="90" y="17"/>
                      </a:lnTo>
                      <a:lnTo>
                        <a:pt x="85" y="15"/>
                      </a:lnTo>
                      <a:lnTo>
                        <a:pt x="80" y="12"/>
                      </a:lnTo>
                      <a:lnTo>
                        <a:pt x="77" y="9"/>
                      </a:lnTo>
                      <a:lnTo>
                        <a:pt x="75" y="4"/>
                      </a:lnTo>
                      <a:lnTo>
                        <a:pt x="74" y="0"/>
                      </a:lnTo>
                      <a:lnTo>
                        <a:pt x="65" y="0"/>
                      </a:lnTo>
                      <a:lnTo>
                        <a:pt x="57" y="0"/>
                      </a:lnTo>
                      <a:lnTo>
                        <a:pt x="49" y="0"/>
                      </a:lnTo>
                      <a:lnTo>
                        <a:pt x="41" y="0"/>
                      </a:lnTo>
                      <a:lnTo>
                        <a:pt x="34" y="1"/>
                      </a:lnTo>
                      <a:lnTo>
                        <a:pt x="29" y="2"/>
                      </a:lnTo>
                      <a:lnTo>
                        <a:pt x="22" y="5"/>
                      </a:lnTo>
                      <a:lnTo>
                        <a:pt x="15" y="9"/>
                      </a:lnTo>
                      <a:lnTo>
                        <a:pt x="10" y="14"/>
                      </a:lnTo>
                      <a:lnTo>
                        <a:pt x="4" y="19"/>
                      </a:lnTo>
                      <a:lnTo>
                        <a:pt x="1" y="25"/>
                      </a:lnTo>
                      <a:lnTo>
                        <a:pt x="0" y="31"/>
                      </a:lnTo>
                      <a:lnTo>
                        <a:pt x="2" y="35"/>
                      </a:lnTo>
                      <a:lnTo>
                        <a:pt x="8" y="40"/>
                      </a:lnTo>
                      <a:lnTo>
                        <a:pt x="15" y="46"/>
                      </a:lnTo>
                      <a:lnTo>
                        <a:pt x="25" y="52"/>
                      </a:lnTo>
                      <a:lnTo>
                        <a:pt x="35" y="58"/>
                      </a:lnTo>
                      <a:lnTo>
                        <a:pt x="45" y="63"/>
                      </a:lnTo>
                      <a:lnTo>
                        <a:pt x="54" y="67"/>
                      </a:lnTo>
                      <a:lnTo>
                        <a:pt x="60" y="69"/>
                      </a:lnTo>
                      <a:lnTo>
                        <a:pt x="47" y="79"/>
                      </a:lnTo>
                      <a:lnTo>
                        <a:pt x="32" y="91"/>
                      </a:lnTo>
                      <a:lnTo>
                        <a:pt x="25" y="97"/>
                      </a:lnTo>
                      <a:lnTo>
                        <a:pt x="19" y="104"/>
                      </a:lnTo>
                      <a:lnTo>
                        <a:pt x="17" y="107"/>
                      </a:lnTo>
                      <a:lnTo>
                        <a:pt x="15" y="110"/>
                      </a:lnTo>
                      <a:lnTo>
                        <a:pt x="14" y="114"/>
                      </a:lnTo>
                      <a:lnTo>
                        <a:pt x="13" y="117"/>
                      </a:lnTo>
                      <a:lnTo>
                        <a:pt x="14" y="122"/>
                      </a:lnTo>
                      <a:lnTo>
                        <a:pt x="15" y="125"/>
                      </a:lnTo>
                      <a:lnTo>
                        <a:pt x="18" y="129"/>
                      </a:lnTo>
                      <a:lnTo>
                        <a:pt x="20" y="133"/>
                      </a:lnTo>
                      <a:lnTo>
                        <a:pt x="28" y="141"/>
                      </a:lnTo>
                      <a:lnTo>
                        <a:pt x="37" y="149"/>
                      </a:lnTo>
                      <a:lnTo>
                        <a:pt x="47" y="156"/>
                      </a:lnTo>
                      <a:lnTo>
                        <a:pt x="58" y="162"/>
                      </a:lnTo>
                      <a:lnTo>
                        <a:pt x="64" y="164"/>
                      </a:lnTo>
                      <a:lnTo>
                        <a:pt x="69" y="165"/>
                      </a:lnTo>
                      <a:lnTo>
                        <a:pt x="75" y="166"/>
                      </a:lnTo>
                      <a:lnTo>
                        <a:pt x="80" y="167"/>
                      </a:lnTo>
                      <a:lnTo>
                        <a:pt x="107" y="271"/>
                      </a:lnTo>
                      <a:lnTo>
                        <a:pt x="107" y="267"/>
                      </a:lnTo>
                      <a:lnTo>
                        <a:pt x="108" y="263"/>
                      </a:lnTo>
                      <a:lnTo>
                        <a:pt x="110" y="260"/>
                      </a:lnTo>
                      <a:lnTo>
                        <a:pt x="112" y="256"/>
                      </a:lnTo>
                      <a:lnTo>
                        <a:pt x="119" y="251"/>
                      </a:lnTo>
                      <a:lnTo>
                        <a:pt x="127" y="246"/>
                      </a:lnTo>
                      <a:lnTo>
                        <a:pt x="137" y="243"/>
                      </a:lnTo>
                      <a:lnTo>
                        <a:pt x="148" y="240"/>
                      </a:lnTo>
                      <a:lnTo>
                        <a:pt x="160" y="237"/>
                      </a:lnTo>
                      <a:lnTo>
                        <a:pt x="174" y="235"/>
                      </a:lnTo>
                      <a:lnTo>
                        <a:pt x="174" y="222"/>
                      </a:lnTo>
                      <a:lnTo>
                        <a:pt x="174" y="210"/>
                      </a:lnTo>
                      <a:lnTo>
                        <a:pt x="178" y="212"/>
                      </a:lnTo>
                      <a:lnTo>
                        <a:pt x="183" y="212"/>
                      </a:lnTo>
                      <a:lnTo>
                        <a:pt x="188" y="213"/>
                      </a:lnTo>
                      <a:lnTo>
                        <a:pt x="193" y="212"/>
                      </a:lnTo>
                      <a:lnTo>
                        <a:pt x="203" y="211"/>
                      </a:lnTo>
                      <a:lnTo>
                        <a:pt x="213" y="210"/>
                      </a:lnTo>
                      <a:lnTo>
                        <a:pt x="220" y="233"/>
                      </a:lnTo>
                      <a:lnTo>
                        <a:pt x="232" y="261"/>
                      </a:lnTo>
                      <a:lnTo>
                        <a:pt x="245" y="292"/>
                      </a:lnTo>
                      <a:lnTo>
                        <a:pt x="259" y="321"/>
                      </a:lnTo>
                      <a:lnTo>
                        <a:pt x="267" y="316"/>
                      </a:lnTo>
                      <a:lnTo>
                        <a:pt x="272" y="311"/>
                      </a:lnTo>
                      <a:lnTo>
                        <a:pt x="278" y="307"/>
                      </a:lnTo>
                      <a:lnTo>
                        <a:pt x="282" y="302"/>
                      </a:lnTo>
                      <a:lnTo>
                        <a:pt x="290" y="291"/>
                      </a:lnTo>
                      <a:lnTo>
                        <a:pt x="295" y="280"/>
                      </a:lnTo>
                      <a:lnTo>
                        <a:pt x="301" y="258"/>
                      </a:lnTo>
                      <a:lnTo>
                        <a:pt x="306" y="23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56" name="Freeform 276">
                  <a:extLst>
                    <a:ext uri="{FF2B5EF4-FFF2-40B4-BE49-F238E27FC236}">
                      <a16:creationId xmlns:a16="http://schemas.microsoft.com/office/drawing/2014/main" xmlns="" id="{40552B77-D304-48CA-A2E7-DA6974FEEEDD}"/>
                    </a:ext>
                  </a:extLst>
                </p:cNvPr>
                <p:cNvSpPr>
                  <a:spLocks/>
                </p:cNvSpPr>
                <p:nvPr>
                  <p:custDataLst>
                    <p:tags r:id="rId203"/>
                  </p:custDataLst>
                </p:nvPr>
              </p:nvSpPr>
              <p:spPr bwMode="auto">
                <a:xfrm>
                  <a:off x="6475413" y="2947988"/>
                  <a:ext cx="201612" cy="269875"/>
                </a:xfrm>
                <a:custGeom>
                  <a:avLst/>
                  <a:gdLst>
                    <a:gd name="T0" fmla="*/ 2147483646 w 471"/>
                    <a:gd name="T1" fmla="*/ 2147483646 h 518"/>
                    <a:gd name="T2" fmla="*/ 2147483646 w 471"/>
                    <a:gd name="T3" fmla="*/ 2147483646 h 518"/>
                    <a:gd name="T4" fmla="*/ 2147483646 w 471"/>
                    <a:gd name="T5" fmla="*/ 2147483646 h 518"/>
                    <a:gd name="T6" fmla="*/ 2147483646 w 471"/>
                    <a:gd name="T7" fmla="*/ 2147483646 h 518"/>
                    <a:gd name="T8" fmla="*/ 2147483646 w 471"/>
                    <a:gd name="T9" fmla="*/ 2147483646 h 518"/>
                    <a:gd name="T10" fmla="*/ 2147483646 w 471"/>
                    <a:gd name="T11" fmla="*/ 2147483646 h 518"/>
                    <a:gd name="T12" fmla="*/ 2147483646 w 471"/>
                    <a:gd name="T13" fmla="*/ 2147483646 h 518"/>
                    <a:gd name="T14" fmla="*/ 2147483646 w 471"/>
                    <a:gd name="T15" fmla="*/ 2147483646 h 518"/>
                    <a:gd name="T16" fmla="*/ 2147483646 w 471"/>
                    <a:gd name="T17" fmla="*/ 2147483646 h 518"/>
                    <a:gd name="T18" fmla="*/ 2147483646 w 471"/>
                    <a:gd name="T19" fmla="*/ 2147483646 h 518"/>
                    <a:gd name="T20" fmla="*/ 2147483646 w 471"/>
                    <a:gd name="T21" fmla="*/ 2147483646 h 518"/>
                    <a:gd name="T22" fmla="*/ 2147483646 w 471"/>
                    <a:gd name="T23" fmla="*/ 2147483646 h 518"/>
                    <a:gd name="T24" fmla="*/ 2147483646 w 471"/>
                    <a:gd name="T25" fmla="*/ 2147483646 h 518"/>
                    <a:gd name="T26" fmla="*/ 2147483646 w 471"/>
                    <a:gd name="T27" fmla="*/ 2147483646 h 518"/>
                    <a:gd name="T28" fmla="*/ 2147483646 w 471"/>
                    <a:gd name="T29" fmla="*/ 2147483646 h 518"/>
                    <a:gd name="T30" fmla="*/ 2147483646 w 471"/>
                    <a:gd name="T31" fmla="*/ 2147483646 h 518"/>
                    <a:gd name="T32" fmla="*/ 2147483646 w 471"/>
                    <a:gd name="T33" fmla="*/ 2147483646 h 518"/>
                    <a:gd name="T34" fmla="*/ 2147483646 w 471"/>
                    <a:gd name="T35" fmla="*/ 2147483646 h 518"/>
                    <a:gd name="T36" fmla="*/ 2147483646 w 471"/>
                    <a:gd name="T37" fmla="*/ 2147483646 h 518"/>
                    <a:gd name="T38" fmla="*/ 2147483646 w 471"/>
                    <a:gd name="T39" fmla="*/ 2147483646 h 518"/>
                    <a:gd name="T40" fmla="*/ 2147483646 w 471"/>
                    <a:gd name="T41" fmla="*/ 2147483646 h 518"/>
                    <a:gd name="T42" fmla="*/ 2147483646 w 471"/>
                    <a:gd name="T43" fmla="*/ 2147483646 h 518"/>
                    <a:gd name="T44" fmla="*/ 2147483646 w 471"/>
                    <a:gd name="T45" fmla="*/ 2147483646 h 518"/>
                    <a:gd name="T46" fmla="*/ 2147483646 w 471"/>
                    <a:gd name="T47" fmla="*/ 2147483646 h 518"/>
                    <a:gd name="T48" fmla="*/ 2147483646 w 471"/>
                    <a:gd name="T49" fmla="*/ 2147483646 h 518"/>
                    <a:gd name="T50" fmla="*/ 2147483646 w 471"/>
                    <a:gd name="T51" fmla="*/ 2147483646 h 518"/>
                    <a:gd name="T52" fmla="*/ 2147483646 w 471"/>
                    <a:gd name="T53" fmla="*/ 2147483646 h 518"/>
                    <a:gd name="T54" fmla="*/ 2147483646 w 471"/>
                    <a:gd name="T55" fmla="*/ 2147483646 h 518"/>
                    <a:gd name="T56" fmla="*/ 2147483646 w 471"/>
                    <a:gd name="T57" fmla="*/ 2147483646 h 518"/>
                    <a:gd name="T58" fmla="*/ 2147483646 w 471"/>
                    <a:gd name="T59" fmla="*/ 2147483646 h 518"/>
                    <a:gd name="T60" fmla="*/ 2147483646 w 471"/>
                    <a:gd name="T61" fmla="*/ 2147483646 h 518"/>
                    <a:gd name="T62" fmla="*/ 2147483646 w 471"/>
                    <a:gd name="T63" fmla="*/ 2147483646 h 518"/>
                    <a:gd name="T64" fmla="*/ 2147483646 w 471"/>
                    <a:gd name="T65" fmla="*/ 2147483646 h 518"/>
                    <a:gd name="T66" fmla="*/ 2147483646 w 471"/>
                    <a:gd name="T67" fmla="*/ 2147483646 h 518"/>
                    <a:gd name="T68" fmla="*/ 2147483646 w 471"/>
                    <a:gd name="T69" fmla="*/ 2147483646 h 518"/>
                    <a:gd name="T70" fmla="*/ 2147483646 w 471"/>
                    <a:gd name="T71" fmla="*/ 2147483646 h 518"/>
                    <a:gd name="T72" fmla="*/ 2147483646 w 471"/>
                    <a:gd name="T73" fmla="*/ 2147483646 h 518"/>
                    <a:gd name="T74" fmla="*/ 2147483646 w 471"/>
                    <a:gd name="T75" fmla="*/ 2147483646 h 518"/>
                    <a:gd name="T76" fmla="*/ 2147483646 w 471"/>
                    <a:gd name="T77" fmla="*/ 2147483646 h 518"/>
                    <a:gd name="T78" fmla="*/ 2147483646 w 471"/>
                    <a:gd name="T79" fmla="*/ 2147483646 h 518"/>
                    <a:gd name="T80" fmla="*/ 2147483646 w 471"/>
                    <a:gd name="T81" fmla="*/ 2147483646 h 518"/>
                    <a:gd name="T82" fmla="*/ 2147483646 w 471"/>
                    <a:gd name="T83" fmla="*/ 2147483646 h 518"/>
                    <a:gd name="T84" fmla="*/ 2147483646 w 471"/>
                    <a:gd name="T85" fmla="*/ 2147483646 h 518"/>
                    <a:gd name="T86" fmla="*/ 2147483646 w 471"/>
                    <a:gd name="T87" fmla="*/ 2147483646 h 51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471"/>
                    <a:gd name="T133" fmla="*/ 0 h 518"/>
                    <a:gd name="T134" fmla="*/ 471 w 471"/>
                    <a:gd name="T135" fmla="*/ 518 h 518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471" h="518">
                      <a:moveTo>
                        <a:pt x="113" y="0"/>
                      </a:moveTo>
                      <a:lnTo>
                        <a:pt x="104" y="5"/>
                      </a:lnTo>
                      <a:lnTo>
                        <a:pt x="94" y="12"/>
                      </a:lnTo>
                      <a:lnTo>
                        <a:pt x="85" y="18"/>
                      </a:lnTo>
                      <a:lnTo>
                        <a:pt x="76" y="25"/>
                      </a:lnTo>
                      <a:lnTo>
                        <a:pt x="67" y="32"/>
                      </a:lnTo>
                      <a:lnTo>
                        <a:pt x="59" y="38"/>
                      </a:lnTo>
                      <a:lnTo>
                        <a:pt x="50" y="44"/>
                      </a:lnTo>
                      <a:lnTo>
                        <a:pt x="40" y="49"/>
                      </a:lnTo>
                      <a:lnTo>
                        <a:pt x="37" y="59"/>
                      </a:lnTo>
                      <a:lnTo>
                        <a:pt x="32" y="71"/>
                      </a:lnTo>
                      <a:lnTo>
                        <a:pt x="27" y="82"/>
                      </a:lnTo>
                      <a:lnTo>
                        <a:pt x="20" y="93"/>
                      </a:lnTo>
                      <a:lnTo>
                        <a:pt x="14" y="106"/>
                      </a:lnTo>
                      <a:lnTo>
                        <a:pt x="8" y="118"/>
                      </a:lnTo>
                      <a:lnTo>
                        <a:pt x="4" y="131"/>
                      </a:lnTo>
                      <a:lnTo>
                        <a:pt x="0" y="142"/>
                      </a:lnTo>
                      <a:lnTo>
                        <a:pt x="7" y="136"/>
                      </a:lnTo>
                      <a:lnTo>
                        <a:pt x="16" y="141"/>
                      </a:lnTo>
                      <a:lnTo>
                        <a:pt x="23" y="147"/>
                      </a:lnTo>
                      <a:lnTo>
                        <a:pt x="30" y="153"/>
                      </a:lnTo>
                      <a:lnTo>
                        <a:pt x="37" y="159"/>
                      </a:lnTo>
                      <a:lnTo>
                        <a:pt x="43" y="164"/>
                      </a:lnTo>
                      <a:lnTo>
                        <a:pt x="50" y="168"/>
                      </a:lnTo>
                      <a:lnTo>
                        <a:pt x="53" y="170"/>
                      </a:lnTo>
                      <a:lnTo>
                        <a:pt x="57" y="171"/>
                      </a:lnTo>
                      <a:lnTo>
                        <a:pt x="62" y="172"/>
                      </a:lnTo>
                      <a:lnTo>
                        <a:pt x="66" y="172"/>
                      </a:lnTo>
                      <a:lnTo>
                        <a:pt x="71" y="191"/>
                      </a:lnTo>
                      <a:lnTo>
                        <a:pt x="75" y="211"/>
                      </a:lnTo>
                      <a:lnTo>
                        <a:pt x="77" y="233"/>
                      </a:lnTo>
                      <a:lnTo>
                        <a:pt x="80" y="254"/>
                      </a:lnTo>
                      <a:lnTo>
                        <a:pt x="84" y="272"/>
                      </a:lnTo>
                      <a:lnTo>
                        <a:pt x="88" y="289"/>
                      </a:lnTo>
                      <a:lnTo>
                        <a:pt x="90" y="294"/>
                      </a:lnTo>
                      <a:lnTo>
                        <a:pt x="94" y="299"/>
                      </a:lnTo>
                      <a:lnTo>
                        <a:pt x="96" y="302"/>
                      </a:lnTo>
                      <a:lnTo>
                        <a:pt x="100" y="302"/>
                      </a:lnTo>
                      <a:lnTo>
                        <a:pt x="104" y="302"/>
                      </a:lnTo>
                      <a:lnTo>
                        <a:pt x="107" y="301"/>
                      </a:lnTo>
                      <a:lnTo>
                        <a:pt x="110" y="299"/>
                      </a:lnTo>
                      <a:lnTo>
                        <a:pt x="112" y="297"/>
                      </a:lnTo>
                      <a:lnTo>
                        <a:pt x="118" y="291"/>
                      </a:lnTo>
                      <a:lnTo>
                        <a:pt x="121" y="283"/>
                      </a:lnTo>
                      <a:lnTo>
                        <a:pt x="128" y="268"/>
                      </a:lnTo>
                      <a:lnTo>
                        <a:pt x="133" y="259"/>
                      </a:lnTo>
                      <a:lnTo>
                        <a:pt x="140" y="260"/>
                      </a:lnTo>
                      <a:lnTo>
                        <a:pt x="145" y="262"/>
                      </a:lnTo>
                      <a:lnTo>
                        <a:pt x="151" y="265"/>
                      </a:lnTo>
                      <a:lnTo>
                        <a:pt x="155" y="268"/>
                      </a:lnTo>
                      <a:lnTo>
                        <a:pt x="160" y="272"/>
                      </a:lnTo>
                      <a:lnTo>
                        <a:pt x="164" y="274"/>
                      </a:lnTo>
                      <a:lnTo>
                        <a:pt x="168" y="277"/>
                      </a:lnTo>
                      <a:lnTo>
                        <a:pt x="173" y="277"/>
                      </a:lnTo>
                      <a:lnTo>
                        <a:pt x="176" y="277"/>
                      </a:lnTo>
                      <a:lnTo>
                        <a:pt x="179" y="276"/>
                      </a:lnTo>
                      <a:lnTo>
                        <a:pt x="183" y="274"/>
                      </a:lnTo>
                      <a:lnTo>
                        <a:pt x="185" y="272"/>
                      </a:lnTo>
                      <a:lnTo>
                        <a:pt x="189" y="266"/>
                      </a:lnTo>
                      <a:lnTo>
                        <a:pt x="192" y="259"/>
                      </a:lnTo>
                      <a:lnTo>
                        <a:pt x="197" y="252"/>
                      </a:lnTo>
                      <a:lnTo>
                        <a:pt x="201" y="247"/>
                      </a:lnTo>
                      <a:lnTo>
                        <a:pt x="203" y="244"/>
                      </a:lnTo>
                      <a:lnTo>
                        <a:pt x="206" y="243"/>
                      </a:lnTo>
                      <a:lnTo>
                        <a:pt x="209" y="241"/>
                      </a:lnTo>
                      <a:lnTo>
                        <a:pt x="212" y="241"/>
                      </a:lnTo>
                      <a:lnTo>
                        <a:pt x="224" y="242"/>
                      </a:lnTo>
                      <a:lnTo>
                        <a:pt x="233" y="244"/>
                      </a:lnTo>
                      <a:lnTo>
                        <a:pt x="241" y="247"/>
                      </a:lnTo>
                      <a:lnTo>
                        <a:pt x="246" y="252"/>
                      </a:lnTo>
                      <a:lnTo>
                        <a:pt x="254" y="261"/>
                      </a:lnTo>
                      <a:lnTo>
                        <a:pt x="259" y="271"/>
                      </a:lnTo>
                      <a:lnTo>
                        <a:pt x="274" y="293"/>
                      </a:lnTo>
                      <a:lnTo>
                        <a:pt x="290" y="314"/>
                      </a:lnTo>
                      <a:lnTo>
                        <a:pt x="308" y="336"/>
                      </a:lnTo>
                      <a:lnTo>
                        <a:pt x="325" y="359"/>
                      </a:lnTo>
                      <a:lnTo>
                        <a:pt x="333" y="371"/>
                      </a:lnTo>
                      <a:lnTo>
                        <a:pt x="341" y="382"/>
                      </a:lnTo>
                      <a:lnTo>
                        <a:pt x="347" y="394"/>
                      </a:lnTo>
                      <a:lnTo>
                        <a:pt x="354" y="407"/>
                      </a:lnTo>
                      <a:lnTo>
                        <a:pt x="358" y="419"/>
                      </a:lnTo>
                      <a:lnTo>
                        <a:pt x="363" y="431"/>
                      </a:lnTo>
                      <a:lnTo>
                        <a:pt x="365" y="443"/>
                      </a:lnTo>
                      <a:lnTo>
                        <a:pt x="366" y="457"/>
                      </a:lnTo>
                      <a:lnTo>
                        <a:pt x="365" y="461"/>
                      </a:lnTo>
                      <a:lnTo>
                        <a:pt x="363" y="466"/>
                      </a:lnTo>
                      <a:lnTo>
                        <a:pt x="359" y="470"/>
                      </a:lnTo>
                      <a:lnTo>
                        <a:pt x="355" y="474"/>
                      </a:lnTo>
                      <a:lnTo>
                        <a:pt x="346" y="481"/>
                      </a:lnTo>
                      <a:lnTo>
                        <a:pt x="339" y="487"/>
                      </a:lnTo>
                      <a:lnTo>
                        <a:pt x="348" y="490"/>
                      </a:lnTo>
                      <a:lnTo>
                        <a:pt x="356" y="493"/>
                      </a:lnTo>
                      <a:lnTo>
                        <a:pt x="363" y="496"/>
                      </a:lnTo>
                      <a:lnTo>
                        <a:pt x="368" y="500"/>
                      </a:lnTo>
                      <a:lnTo>
                        <a:pt x="379" y="508"/>
                      </a:lnTo>
                      <a:lnTo>
                        <a:pt x="392" y="518"/>
                      </a:lnTo>
                      <a:lnTo>
                        <a:pt x="395" y="511"/>
                      </a:lnTo>
                      <a:lnTo>
                        <a:pt x="398" y="504"/>
                      </a:lnTo>
                      <a:lnTo>
                        <a:pt x="401" y="499"/>
                      </a:lnTo>
                      <a:lnTo>
                        <a:pt x="404" y="495"/>
                      </a:lnTo>
                      <a:lnTo>
                        <a:pt x="409" y="491"/>
                      </a:lnTo>
                      <a:lnTo>
                        <a:pt x="413" y="489"/>
                      </a:lnTo>
                      <a:lnTo>
                        <a:pt x="418" y="487"/>
                      </a:lnTo>
                      <a:lnTo>
                        <a:pt x="422" y="485"/>
                      </a:lnTo>
                      <a:lnTo>
                        <a:pt x="444" y="483"/>
                      </a:lnTo>
                      <a:lnTo>
                        <a:pt x="471" y="481"/>
                      </a:lnTo>
                      <a:lnTo>
                        <a:pt x="471" y="459"/>
                      </a:lnTo>
                      <a:lnTo>
                        <a:pt x="468" y="438"/>
                      </a:lnTo>
                      <a:lnTo>
                        <a:pt x="464" y="420"/>
                      </a:lnTo>
                      <a:lnTo>
                        <a:pt x="457" y="403"/>
                      </a:lnTo>
                      <a:lnTo>
                        <a:pt x="449" y="387"/>
                      </a:lnTo>
                      <a:lnTo>
                        <a:pt x="441" y="372"/>
                      </a:lnTo>
                      <a:lnTo>
                        <a:pt x="431" y="359"/>
                      </a:lnTo>
                      <a:lnTo>
                        <a:pt x="421" y="347"/>
                      </a:lnTo>
                      <a:lnTo>
                        <a:pt x="397" y="322"/>
                      </a:lnTo>
                      <a:lnTo>
                        <a:pt x="371" y="300"/>
                      </a:lnTo>
                      <a:lnTo>
                        <a:pt x="345" y="277"/>
                      </a:lnTo>
                      <a:lnTo>
                        <a:pt x="319" y="253"/>
                      </a:lnTo>
                      <a:lnTo>
                        <a:pt x="299" y="237"/>
                      </a:lnTo>
                      <a:lnTo>
                        <a:pt x="279" y="218"/>
                      </a:lnTo>
                      <a:lnTo>
                        <a:pt x="261" y="200"/>
                      </a:lnTo>
                      <a:lnTo>
                        <a:pt x="242" y="182"/>
                      </a:lnTo>
                      <a:lnTo>
                        <a:pt x="224" y="162"/>
                      </a:lnTo>
                      <a:lnTo>
                        <a:pt x="208" y="143"/>
                      </a:lnTo>
                      <a:lnTo>
                        <a:pt x="192" y="124"/>
                      </a:lnTo>
                      <a:lnTo>
                        <a:pt x="179" y="105"/>
                      </a:lnTo>
                      <a:lnTo>
                        <a:pt x="158" y="79"/>
                      </a:lnTo>
                      <a:lnTo>
                        <a:pt x="136" y="52"/>
                      </a:lnTo>
                      <a:lnTo>
                        <a:pt x="127" y="40"/>
                      </a:lnTo>
                      <a:lnTo>
                        <a:pt x="120" y="27"/>
                      </a:lnTo>
                      <a:lnTo>
                        <a:pt x="117" y="21"/>
                      </a:lnTo>
                      <a:lnTo>
                        <a:pt x="115" y="14"/>
                      </a:lnTo>
                      <a:lnTo>
                        <a:pt x="113" y="7"/>
                      </a:lnTo>
                      <a:lnTo>
                        <a:pt x="11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57" name="Freeform 277">
                  <a:extLst>
                    <a:ext uri="{FF2B5EF4-FFF2-40B4-BE49-F238E27FC236}">
                      <a16:creationId xmlns:a16="http://schemas.microsoft.com/office/drawing/2014/main" xmlns="" id="{591F9C4D-6D8C-4224-BC77-E41D23464A51}"/>
                    </a:ext>
                  </a:extLst>
                </p:cNvPr>
                <p:cNvSpPr>
                  <a:spLocks/>
                </p:cNvSpPr>
                <p:nvPr>
                  <p:custDataLst>
                    <p:tags r:id="rId204"/>
                  </p:custDataLst>
                </p:nvPr>
              </p:nvSpPr>
              <p:spPr bwMode="auto">
                <a:xfrm>
                  <a:off x="6557963" y="3198813"/>
                  <a:ext cx="133350" cy="130175"/>
                </a:xfrm>
                <a:custGeom>
                  <a:avLst/>
                  <a:gdLst>
                    <a:gd name="T0" fmla="*/ 2147483646 w 293"/>
                    <a:gd name="T1" fmla="*/ 2147483646 h 246"/>
                    <a:gd name="T2" fmla="*/ 2147483646 w 293"/>
                    <a:gd name="T3" fmla="*/ 2147483646 h 246"/>
                    <a:gd name="T4" fmla="*/ 2147483646 w 293"/>
                    <a:gd name="T5" fmla="*/ 2147483646 h 246"/>
                    <a:gd name="T6" fmla="*/ 2147483646 w 293"/>
                    <a:gd name="T7" fmla="*/ 2147483646 h 246"/>
                    <a:gd name="T8" fmla="*/ 2147483646 w 293"/>
                    <a:gd name="T9" fmla="*/ 2147483646 h 246"/>
                    <a:gd name="T10" fmla="*/ 2147483646 w 293"/>
                    <a:gd name="T11" fmla="*/ 2147483646 h 246"/>
                    <a:gd name="T12" fmla="*/ 2147483646 w 293"/>
                    <a:gd name="T13" fmla="*/ 2147483646 h 246"/>
                    <a:gd name="T14" fmla="*/ 2147483646 w 293"/>
                    <a:gd name="T15" fmla="*/ 2147483646 h 246"/>
                    <a:gd name="T16" fmla="*/ 2147483646 w 293"/>
                    <a:gd name="T17" fmla="*/ 2147483646 h 246"/>
                    <a:gd name="T18" fmla="*/ 2147483646 w 293"/>
                    <a:gd name="T19" fmla="*/ 2147483646 h 246"/>
                    <a:gd name="T20" fmla="*/ 2147483646 w 293"/>
                    <a:gd name="T21" fmla="*/ 2147483646 h 246"/>
                    <a:gd name="T22" fmla="*/ 2147483646 w 293"/>
                    <a:gd name="T23" fmla="*/ 2147483646 h 246"/>
                    <a:gd name="T24" fmla="*/ 2147483646 w 293"/>
                    <a:gd name="T25" fmla="*/ 2147483646 h 246"/>
                    <a:gd name="T26" fmla="*/ 2147483646 w 293"/>
                    <a:gd name="T27" fmla="*/ 2147483646 h 246"/>
                    <a:gd name="T28" fmla="*/ 2147483646 w 293"/>
                    <a:gd name="T29" fmla="*/ 2147483646 h 246"/>
                    <a:gd name="T30" fmla="*/ 2147483646 w 293"/>
                    <a:gd name="T31" fmla="*/ 2147483646 h 246"/>
                    <a:gd name="T32" fmla="*/ 2147483646 w 293"/>
                    <a:gd name="T33" fmla="*/ 2147483646 h 246"/>
                    <a:gd name="T34" fmla="*/ 2147483646 w 293"/>
                    <a:gd name="T35" fmla="*/ 2147483646 h 246"/>
                    <a:gd name="T36" fmla="*/ 2147483646 w 293"/>
                    <a:gd name="T37" fmla="*/ 2147483646 h 246"/>
                    <a:gd name="T38" fmla="*/ 2147483646 w 293"/>
                    <a:gd name="T39" fmla="*/ 2147483646 h 246"/>
                    <a:gd name="T40" fmla="*/ 2147483646 w 293"/>
                    <a:gd name="T41" fmla="*/ 2147483646 h 246"/>
                    <a:gd name="T42" fmla="*/ 2147483646 w 293"/>
                    <a:gd name="T43" fmla="*/ 2147483646 h 246"/>
                    <a:gd name="T44" fmla="*/ 2147483646 w 293"/>
                    <a:gd name="T45" fmla="*/ 2147483646 h 246"/>
                    <a:gd name="T46" fmla="*/ 2147483646 w 293"/>
                    <a:gd name="T47" fmla="*/ 2147483646 h 246"/>
                    <a:gd name="T48" fmla="*/ 2147483646 w 293"/>
                    <a:gd name="T49" fmla="*/ 2147483646 h 246"/>
                    <a:gd name="T50" fmla="*/ 2147483646 w 293"/>
                    <a:gd name="T51" fmla="*/ 2147483646 h 246"/>
                    <a:gd name="T52" fmla="*/ 2147483646 w 293"/>
                    <a:gd name="T53" fmla="*/ 2147483646 h 246"/>
                    <a:gd name="T54" fmla="*/ 2147483646 w 293"/>
                    <a:gd name="T55" fmla="*/ 2147483646 h 246"/>
                    <a:gd name="T56" fmla="*/ 2147483646 w 293"/>
                    <a:gd name="T57" fmla="*/ 2147483646 h 246"/>
                    <a:gd name="T58" fmla="*/ 2147483646 w 293"/>
                    <a:gd name="T59" fmla="*/ 2147483646 h 246"/>
                    <a:gd name="T60" fmla="*/ 2147483646 w 293"/>
                    <a:gd name="T61" fmla="*/ 2147483646 h 246"/>
                    <a:gd name="T62" fmla="*/ 0 w 293"/>
                    <a:gd name="T63" fmla="*/ 2147483646 h 246"/>
                    <a:gd name="T64" fmla="*/ 2147483646 w 293"/>
                    <a:gd name="T65" fmla="*/ 2147483646 h 246"/>
                    <a:gd name="T66" fmla="*/ 2147483646 w 293"/>
                    <a:gd name="T67" fmla="*/ 2147483646 h 246"/>
                    <a:gd name="T68" fmla="*/ 2147483646 w 293"/>
                    <a:gd name="T69" fmla="*/ 2147483646 h 246"/>
                    <a:gd name="T70" fmla="*/ 2147483646 w 293"/>
                    <a:gd name="T71" fmla="*/ 2147483646 h 246"/>
                    <a:gd name="T72" fmla="*/ 2147483646 w 293"/>
                    <a:gd name="T73" fmla="*/ 2147483646 h 246"/>
                    <a:gd name="T74" fmla="*/ 2147483646 w 293"/>
                    <a:gd name="T75" fmla="*/ 2147483646 h 246"/>
                    <a:gd name="T76" fmla="*/ 2147483646 w 293"/>
                    <a:gd name="T77" fmla="*/ 2147483646 h 246"/>
                    <a:gd name="T78" fmla="*/ 2147483646 w 293"/>
                    <a:gd name="T79" fmla="*/ 2147483646 h 24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93"/>
                    <a:gd name="T121" fmla="*/ 0 h 246"/>
                    <a:gd name="T122" fmla="*/ 293 w 293"/>
                    <a:gd name="T123" fmla="*/ 246 h 24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93" h="246">
                      <a:moveTo>
                        <a:pt x="133" y="12"/>
                      </a:moveTo>
                      <a:lnTo>
                        <a:pt x="152" y="19"/>
                      </a:lnTo>
                      <a:lnTo>
                        <a:pt x="166" y="24"/>
                      </a:lnTo>
                      <a:lnTo>
                        <a:pt x="179" y="30"/>
                      </a:lnTo>
                      <a:lnTo>
                        <a:pt x="193" y="37"/>
                      </a:lnTo>
                      <a:lnTo>
                        <a:pt x="196" y="30"/>
                      </a:lnTo>
                      <a:lnTo>
                        <a:pt x="199" y="23"/>
                      </a:lnTo>
                      <a:lnTo>
                        <a:pt x="202" y="18"/>
                      </a:lnTo>
                      <a:lnTo>
                        <a:pt x="205" y="14"/>
                      </a:lnTo>
                      <a:lnTo>
                        <a:pt x="210" y="10"/>
                      </a:lnTo>
                      <a:lnTo>
                        <a:pt x="214" y="8"/>
                      </a:lnTo>
                      <a:lnTo>
                        <a:pt x="219" y="6"/>
                      </a:lnTo>
                      <a:lnTo>
                        <a:pt x="223" y="4"/>
                      </a:lnTo>
                      <a:lnTo>
                        <a:pt x="245" y="2"/>
                      </a:lnTo>
                      <a:lnTo>
                        <a:pt x="272" y="0"/>
                      </a:lnTo>
                      <a:lnTo>
                        <a:pt x="293" y="80"/>
                      </a:lnTo>
                      <a:lnTo>
                        <a:pt x="279" y="93"/>
                      </a:lnTo>
                      <a:lnTo>
                        <a:pt x="266" y="107"/>
                      </a:lnTo>
                      <a:lnTo>
                        <a:pt x="250" y="123"/>
                      </a:lnTo>
                      <a:lnTo>
                        <a:pt x="237" y="141"/>
                      </a:lnTo>
                      <a:lnTo>
                        <a:pt x="231" y="150"/>
                      </a:lnTo>
                      <a:lnTo>
                        <a:pt x="225" y="159"/>
                      </a:lnTo>
                      <a:lnTo>
                        <a:pt x="220" y="169"/>
                      </a:lnTo>
                      <a:lnTo>
                        <a:pt x="215" y="178"/>
                      </a:lnTo>
                      <a:lnTo>
                        <a:pt x="212" y="187"/>
                      </a:lnTo>
                      <a:lnTo>
                        <a:pt x="209" y="197"/>
                      </a:lnTo>
                      <a:lnTo>
                        <a:pt x="206" y="207"/>
                      </a:lnTo>
                      <a:lnTo>
                        <a:pt x="206" y="216"/>
                      </a:lnTo>
                      <a:lnTo>
                        <a:pt x="201" y="216"/>
                      </a:lnTo>
                      <a:lnTo>
                        <a:pt x="196" y="217"/>
                      </a:lnTo>
                      <a:lnTo>
                        <a:pt x="190" y="218"/>
                      </a:lnTo>
                      <a:lnTo>
                        <a:pt x="186" y="220"/>
                      </a:lnTo>
                      <a:lnTo>
                        <a:pt x="178" y="224"/>
                      </a:lnTo>
                      <a:lnTo>
                        <a:pt x="170" y="229"/>
                      </a:lnTo>
                      <a:lnTo>
                        <a:pt x="163" y="234"/>
                      </a:lnTo>
                      <a:lnTo>
                        <a:pt x="154" y="239"/>
                      </a:lnTo>
                      <a:lnTo>
                        <a:pt x="145" y="243"/>
                      </a:lnTo>
                      <a:lnTo>
                        <a:pt x="133" y="246"/>
                      </a:lnTo>
                      <a:lnTo>
                        <a:pt x="118" y="243"/>
                      </a:lnTo>
                      <a:lnTo>
                        <a:pt x="102" y="240"/>
                      </a:lnTo>
                      <a:lnTo>
                        <a:pt x="87" y="236"/>
                      </a:lnTo>
                      <a:lnTo>
                        <a:pt x="71" y="232"/>
                      </a:lnTo>
                      <a:lnTo>
                        <a:pt x="65" y="229"/>
                      </a:lnTo>
                      <a:lnTo>
                        <a:pt x="59" y="226"/>
                      </a:lnTo>
                      <a:lnTo>
                        <a:pt x="54" y="223"/>
                      </a:lnTo>
                      <a:lnTo>
                        <a:pt x="49" y="220"/>
                      </a:lnTo>
                      <a:lnTo>
                        <a:pt x="45" y="216"/>
                      </a:lnTo>
                      <a:lnTo>
                        <a:pt x="43" y="212"/>
                      </a:lnTo>
                      <a:lnTo>
                        <a:pt x="41" y="208"/>
                      </a:lnTo>
                      <a:lnTo>
                        <a:pt x="41" y="204"/>
                      </a:lnTo>
                      <a:lnTo>
                        <a:pt x="44" y="193"/>
                      </a:lnTo>
                      <a:lnTo>
                        <a:pt x="47" y="178"/>
                      </a:lnTo>
                      <a:lnTo>
                        <a:pt x="46" y="170"/>
                      </a:lnTo>
                      <a:lnTo>
                        <a:pt x="45" y="162"/>
                      </a:lnTo>
                      <a:lnTo>
                        <a:pt x="43" y="154"/>
                      </a:lnTo>
                      <a:lnTo>
                        <a:pt x="40" y="147"/>
                      </a:lnTo>
                      <a:lnTo>
                        <a:pt x="32" y="132"/>
                      </a:lnTo>
                      <a:lnTo>
                        <a:pt x="24" y="119"/>
                      </a:lnTo>
                      <a:lnTo>
                        <a:pt x="15" y="106"/>
                      </a:lnTo>
                      <a:lnTo>
                        <a:pt x="8" y="91"/>
                      </a:lnTo>
                      <a:lnTo>
                        <a:pt x="4" y="83"/>
                      </a:lnTo>
                      <a:lnTo>
                        <a:pt x="2" y="74"/>
                      </a:lnTo>
                      <a:lnTo>
                        <a:pt x="1" y="65"/>
                      </a:lnTo>
                      <a:lnTo>
                        <a:pt x="0" y="55"/>
                      </a:lnTo>
                      <a:lnTo>
                        <a:pt x="1" y="50"/>
                      </a:lnTo>
                      <a:lnTo>
                        <a:pt x="2" y="45"/>
                      </a:lnTo>
                      <a:lnTo>
                        <a:pt x="4" y="40"/>
                      </a:lnTo>
                      <a:lnTo>
                        <a:pt x="8" y="36"/>
                      </a:lnTo>
                      <a:lnTo>
                        <a:pt x="12" y="32"/>
                      </a:lnTo>
                      <a:lnTo>
                        <a:pt x="17" y="29"/>
                      </a:lnTo>
                      <a:lnTo>
                        <a:pt x="21" y="25"/>
                      </a:lnTo>
                      <a:lnTo>
                        <a:pt x="26" y="22"/>
                      </a:lnTo>
                      <a:lnTo>
                        <a:pt x="37" y="17"/>
                      </a:lnTo>
                      <a:lnTo>
                        <a:pt x="48" y="14"/>
                      </a:lnTo>
                      <a:lnTo>
                        <a:pt x="58" y="13"/>
                      </a:lnTo>
                      <a:lnTo>
                        <a:pt x="67" y="12"/>
                      </a:lnTo>
                      <a:lnTo>
                        <a:pt x="79" y="12"/>
                      </a:lnTo>
                      <a:lnTo>
                        <a:pt x="96" y="12"/>
                      </a:lnTo>
                      <a:lnTo>
                        <a:pt x="113" y="12"/>
                      </a:lnTo>
                      <a:lnTo>
                        <a:pt x="133" y="1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58" name="Freeform 278">
                  <a:extLst>
                    <a:ext uri="{FF2B5EF4-FFF2-40B4-BE49-F238E27FC236}">
                      <a16:creationId xmlns:a16="http://schemas.microsoft.com/office/drawing/2014/main" xmlns="" id="{F74C9F23-6519-4049-839D-D5EF6A9BC498}"/>
                    </a:ext>
                  </a:extLst>
                </p:cNvPr>
                <p:cNvSpPr>
                  <a:spLocks/>
                </p:cNvSpPr>
                <p:nvPr>
                  <p:custDataLst>
                    <p:tags r:id="rId205"/>
                  </p:custDataLst>
                </p:nvPr>
              </p:nvSpPr>
              <p:spPr bwMode="auto">
                <a:xfrm>
                  <a:off x="6959600" y="2435225"/>
                  <a:ext cx="85725" cy="130175"/>
                </a:xfrm>
                <a:custGeom>
                  <a:avLst/>
                  <a:gdLst>
                    <a:gd name="T0" fmla="*/ 2147483646 w 200"/>
                    <a:gd name="T1" fmla="*/ 2147483646 h 246"/>
                    <a:gd name="T2" fmla="*/ 2147483646 w 200"/>
                    <a:gd name="T3" fmla="*/ 2147483646 h 246"/>
                    <a:gd name="T4" fmla="*/ 2147483646 w 200"/>
                    <a:gd name="T5" fmla="*/ 2147483646 h 246"/>
                    <a:gd name="T6" fmla="*/ 2147483646 w 200"/>
                    <a:gd name="T7" fmla="*/ 2147483646 h 246"/>
                    <a:gd name="T8" fmla="*/ 2147483646 w 200"/>
                    <a:gd name="T9" fmla="*/ 2147483646 h 246"/>
                    <a:gd name="T10" fmla="*/ 2147483646 w 200"/>
                    <a:gd name="T11" fmla="*/ 2147483646 h 246"/>
                    <a:gd name="T12" fmla="*/ 2147483646 w 200"/>
                    <a:gd name="T13" fmla="*/ 2147483646 h 246"/>
                    <a:gd name="T14" fmla="*/ 2147483646 w 200"/>
                    <a:gd name="T15" fmla="*/ 2147483646 h 246"/>
                    <a:gd name="T16" fmla="*/ 2147483646 w 200"/>
                    <a:gd name="T17" fmla="*/ 2147483646 h 246"/>
                    <a:gd name="T18" fmla="*/ 2147483646 w 200"/>
                    <a:gd name="T19" fmla="*/ 2147483646 h 246"/>
                    <a:gd name="T20" fmla="*/ 2147483646 w 200"/>
                    <a:gd name="T21" fmla="*/ 2147483646 h 246"/>
                    <a:gd name="T22" fmla="*/ 2147483646 w 200"/>
                    <a:gd name="T23" fmla="*/ 2147483646 h 246"/>
                    <a:gd name="T24" fmla="*/ 2147483646 w 200"/>
                    <a:gd name="T25" fmla="*/ 2147483646 h 246"/>
                    <a:gd name="T26" fmla="*/ 2147483646 w 200"/>
                    <a:gd name="T27" fmla="*/ 2147483646 h 246"/>
                    <a:gd name="T28" fmla="*/ 2147483646 w 200"/>
                    <a:gd name="T29" fmla="*/ 2147483646 h 246"/>
                    <a:gd name="T30" fmla="*/ 2147483646 w 200"/>
                    <a:gd name="T31" fmla="*/ 2147483646 h 246"/>
                    <a:gd name="T32" fmla="*/ 2147483646 w 200"/>
                    <a:gd name="T33" fmla="*/ 2147483646 h 246"/>
                    <a:gd name="T34" fmla="*/ 2147483646 w 200"/>
                    <a:gd name="T35" fmla="*/ 2147483646 h 246"/>
                    <a:gd name="T36" fmla="*/ 2147483646 w 200"/>
                    <a:gd name="T37" fmla="*/ 2147483646 h 246"/>
                    <a:gd name="T38" fmla="*/ 2147483646 w 200"/>
                    <a:gd name="T39" fmla="*/ 2147483646 h 246"/>
                    <a:gd name="T40" fmla="*/ 2147483646 w 200"/>
                    <a:gd name="T41" fmla="*/ 2147483646 h 246"/>
                    <a:gd name="T42" fmla="*/ 2147483646 w 200"/>
                    <a:gd name="T43" fmla="*/ 2147483646 h 246"/>
                    <a:gd name="T44" fmla="*/ 2147483646 w 200"/>
                    <a:gd name="T45" fmla="*/ 2147483646 h 246"/>
                    <a:gd name="T46" fmla="*/ 2147483646 w 200"/>
                    <a:gd name="T47" fmla="*/ 2147483646 h 246"/>
                    <a:gd name="T48" fmla="*/ 2147483646 w 200"/>
                    <a:gd name="T49" fmla="*/ 2147483646 h 246"/>
                    <a:gd name="T50" fmla="*/ 2147483646 w 200"/>
                    <a:gd name="T51" fmla="*/ 2147483646 h 246"/>
                    <a:gd name="T52" fmla="*/ 2147483646 w 200"/>
                    <a:gd name="T53" fmla="*/ 2147483646 h 246"/>
                    <a:gd name="T54" fmla="*/ 2147483646 w 200"/>
                    <a:gd name="T55" fmla="*/ 2147483646 h 246"/>
                    <a:gd name="T56" fmla="*/ 2147483646 w 200"/>
                    <a:gd name="T57" fmla="*/ 2147483646 h 246"/>
                    <a:gd name="T58" fmla="*/ 2147483646 w 200"/>
                    <a:gd name="T59" fmla="*/ 2147483646 h 246"/>
                    <a:gd name="T60" fmla="*/ 2147483646 w 200"/>
                    <a:gd name="T61" fmla="*/ 2147483646 h 246"/>
                    <a:gd name="T62" fmla="*/ 2147483646 w 200"/>
                    <a:gd name="T63" fmla="*/ 2147483646 h 246"/>
                    <a:gd name="T64" fmla="*/ 2147483646 w 200"/>
                    <a:gd name="T65" fmla="*/ 2147483646 h 246"/>
                    <a:gd name="T66" fmla="*/ 2147483646 w 200"/>
                    <a:gd name="T67" fmla="*/ 2147483646 h 246"/>
                    <a:gd name="T68" fmla="*/ 2147483646 w 200"/>
                    <a:gd name="T69" fmla="*/ 2147483646 h 246"/>
                    <a:gd name="T70" fmla="*/ 2147483646 w 200"/>
                    <a:gd name="T71" fmla="*/ 2147483646 h 246"/>
                    <a:gd name="T72" fmla="*/ 2147483646 w 200"/>
                    <a:gd name="T73" fmla="*/ 2147483646 h 246"/>
                    <a:gd name="T74" fmla="*/ 2147483646 w 200"/>
                    <a:gd name="T75" fmla="*/ 2147483646 h 246"/>
                    <a:gd name="T76" fmla="*/ 2147483646 w 200"/>
                    <a:gd name="T77" fmla="*/ 2147483646 h 246"/>
                    <a:gd name="T78" fmla="*/ 2147483646 w 200"/>
                    <a:gd name="T79" fmla="*/ 2147483646 h 246"/>
                    <a:gd name="T80" fmla="*/ 2147483646 w 200"/>
                    <a:gd name="T81" fmla="*/ 2147483646 h 24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00"/>
                    <a:gd name="T124" fmla="*/ 0 h 246"/>
                    <a:gd name="T125" fmla="*/ 200 w 200"/>
                    <a:gd name="T126" fmla="*/ 246 h 24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00" h="246">
                      <a:moveTo>
                        <a:pt x="13" y="49"/>
                      </a:moveTo>
                      <a:lnTo>
                        <a:pt x="18" y="41"/>
                      </a:lnTo>
                      <a:lnTo>
                        <a:pt x="22" y="32"/>
                      </a:lnTo>
                      <a:lnTo>
                        <a:pt x="28" y="26"/>
                      </a:lnTo>
                      <a:lnTo>
                        <a:pt x="33" y="20"/>
                      </a:lnTo>
                      <a:lnTo>
                        <a:pt x="38" y="16"/>
                      </a:lnTo>
                      <a:lnTo>
                        <a:pt x="44" y="12"/>
                      </a:lnTo>
                      <a:lnTo>
                        <a:pt x="50" y="9"/>
                      </a:lnTo>
                      <a:lnTo>
                        <a:pt x="54" y="6"/>
                      </a:lnTo>
                      <a:lnTo>
                        <a:pt x="73" y="1"/>
                      </a:lnTo>
                      <a:lnTo>
                        <a:pt x="80" y="0"/>
                      </a:lnTo>
                      <a:lnTo>
                        <a:pt x="88" y="12"/>
                      </a:lnTo>
                      <a:lnTo>
                        <a:pt x="98" y="23"/>
                      </a:lnTo>
                      <a:lnTo>
                        <a:pt x="108" y="34"/>
                      </a:lnTo>
                      <a:lnTo>
                        <a:pt x="119" y="46"/>
                      </a:lnTo>
                      <a:lnTo>
                        <a:pt x="125" y="50"/>
                      </a:lnTo>
                      <a:lnTo>
                        <a:pt x="132" y="54"/>
                      </a:lnTo>
                      <a:lnTo>
                        <a:pt x="139" y="58"/>
                      </a:lnTo>
                      <a:lnTo>
                        <a:pt x="145" y="61"/>
                      </a:lnTo>
                      <a:lnTo>
                        <a:pt x="152" y="64"/>
                      </a:lnTo>
                      <a:lnTo>
                        <a:pt x="158" y="66"/>
                      </a:lnTo>
                      <a:lnTo>
                        <a:pt x="166" y="67"/>
                      </a:lnTo>
                      <a:lnTo>
                        <a:pt x="174" y="67"/>
                      </a:lnTo>
                      <a:lnTo>
                        <a:pt x="184" y="96"/>
                      </a:lnTo>
                      <a:lnTo>
                        <a:pt x="191" y="123"/>
                      </a:lnTo>
                      <a:lnTo>
                        <a:pt x="195" y="137"/>
                      </a:lnTo>
                      <a:lnTo>
                        <a:pt x="198" y="151"/>
                      </a:lnTo>
                      <a:lnTo>
                        <a:pt x="199" y="165"/>
                      </a:lnTo>
                      <a:lnTo>
                        <a:pt x="200" y="178"/>
                      </a:lnTo>
                      <a:lnTo>
                        <a:pt x="200" y="185"/>
                      </a:lnTo>
                      <a:lnTo>
                        <a:pt x="199" y="192"/>
                      </a:lnTo>
                      <a:lnTo>
                        <a:pt x="198" y="197"/>
                      </a:lnTo>
                      <a:lnTo>
                        <a:pt x="196" y="202"/>
                      </a:lnTo>
                      <a:lnTo>
                        <a:pt x="195" y="207"/>
                      </a:lnTo>
                      <a:lnTo>
                        <a:pt x="192" y="211"/>
                      </a:lnTo>
                      <a:lnTo>
                        <a:pt x="189" y="214"/>
                      </a:lnTo>
                      <a:lnTo>
                        <a:pt x="186" y="216"/>
                      </a:lnTo>
                      <a:lnTo>
                        <a:pt x="179" y="220"/>
                      </a:lnTo>
                      <a:lnTo>
                        <a:pt x="173" y="222"/>
                      </a:lnTo>
                      <a:lnTo>
                        <a:pt x="164" y="224"/>
                      </a:lnTo>
                      <a:lnTo>
                        <a:pt x="156" y="224"/>
                      </a:lnTo>
                      <a:lnTo>
                        <a:pt x="140" y="224"/>
                      </a:lnTo>
                      <a:lnTo>
                        <a:pt x="124" y="226"/>
                      </a:lnTo>
                      <a:lnTo>
                        <a:pt x="118" y="229"/>
                      </a:lnTo>
                      <a:lnTo>
                        <a:pt x="112" y="232"/>
                      </a:lnTo>
                      <a:lnTo>
                        <a:pt x="111" y="235"/>
                      </a:lnTo>
                      <a:lnTo>
                        <a:pt x="109" y="238"/>
                      </a:lnTo>
                      <a:lnTo>
                        <a:pt x="108" y="242"/>
                      </a:lnTo>
                      <a:lnTo>
                        <a:pt x="107" y="246"/>
                      </a:lnTo>
                      <a:lnTo>
                        <a:pt x="98" y="245"/>
                      </a:lnTo>
                      <a:lnTo>
                        <a:pt x="90" y="243"/>
                      </a:lnTo>
                      <a:lnTo>
                        <a:pt x="85" y="240"/>
                      </a:lnTo>
                      <a:lnTo>
                        <a:pt x="80" y="235"/>
                      </a:lnTo>
                      <a:lnTo>
                        <a:pt x="77" y="230"/>
                      </a:lnTo>
                      <a:lnTo>
                        <a:pt x="75" y="223"/>
                      </a:lnTo>
                      <a:lnTo>
                        <a:pt x="73" y="216"/>
                      </a:lnTo>
                      <a:lnTo>
                        <a:pt x="72" y="209"/>
                      </a:lnTo>
                      <a:lnTo>
                        <a:pt x="72" y="192"/>
                      </a:lnTo>
                      <a:lnTo>
                        <a:pt x="72" y="176"/>
                      </a:lnTo>
                      <a:lnTo>
                        <a:pt x="71" y="168"/>
                      </a:lnTo>
                      <a:lnTo>
                        <a:pt x="71" y="161"/>
                      </a:lnTo>
                      <a:lnTo>
                        <a:pt x="69" y="154"/>
                      </a:lnTo>
                      <a:lnTo>
                        <a:pt x="67" y="148"/>
                      </a:lnTo>
                      <a:lnTo>
                        <a:pt x="64" y="142"/>
                      </a:lnTo>
                      <a:lnTo>
                        <a:pt x="61" y="137"/>
                      </a:lnTo>
                      <a:lnTo>
                        <a:pt x="56" y="134"/>
                      </a:lnTo>
                      <a:lnTo>
                        <a:pt x="51" y="130"/>
                      </a:lnTo>
                      <a:lnTo>
                        <a:pt x="40" y="125"/>
                      </a:lnTo>
                      <a:lnTo>
                        <a:pt x="29" y="120"/>
                      </a:lnTo>
                      <a:lnTo>
                        <a:pt x="18" y="115"/>
                      </a:lnTo>
                      <a:lnTo>
                        <a:pt x="9" y="110"/>
                      </a:lnTo>
                      <a:lnTo>
                        <a:pt x="6" y="106"/>
                      </a:lnTo>
                      <a:lnTo>
                        <a:pt x="3" y="103"/>
                      </a:lnTo>
                      <a:lnTo>
                        <a:pt x="1" y="98"/>
                      </a:lnTo>
                      <a:lnTo>
                        <a:pt x="0" y="93"/>
                      </a:lnTo>
                      <a:lnTo>
                        <a:pt x="1" y="87"/>
                      </a:lnTo>
                      <a:lnTo>
                        <a:pt x="3" y="83"/>
                      </a:lnTo>
                      <a:lnTo>
                        <a:pt x="5" y="78"/>
                      </a:lnTo>
                      <a:lnTo>
                        <a:pt x="7" y="73"/>
                      </a:lnTo>
                      <a:lnTo>
                        <a:pt x="10" y="68"/>
                      </a:lnTo>
                      <a:lnTo>
                        <a:pt x="12" y="62"/>
                      </a:lnTo>
                      <a:lnTo>
                        <a:pt x="13" y="56"/>
                      </a:lnTo>
                      <a:lnTo>
                        <a:pt x="13" y="4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59" name="Freeform 279">
                  <a:extLst>
                    <a:ext uri="{FF2B5EF4-FFF2-40B4-BE49-F238E27FC236}">
                      <a16:creationId xmlns:a16="http://schemas.microsoft.com/office/drawing/2014/main" xmlns="" id="{20E4292C-BF87-4B5A-B51F-3A1CD5EF4012}"/>
                    </a:ext>
                  </a:extLst>
                </p:cNvPr>
                <p:cNvSpPr>
                  <a:spLocks/>
                </p:cNvSpPr>
                <p:nvPr>
                  <p:custDataLst>
                    <p:tags r:id="rId206"/>
                  </p:custDataLst>
                </p:nvPr>
              </p:nvSpPr>
              <p:spPr bwMode="auto">
                <a:xfrm>
                  <a:off x="7527925" y="3732213"/>
                  <a:ext cx="231775" cy="254000"/>
                </a:xfrm>
                <a:custGeom>
                  <a:avLst/>
                  <a:gdLst>
                    <a:gd name="T0" fmla="*/ 2147483646 w 538"/>
                    <a:gd name="T1" fmla="*/ 2147483646 h 487"/>
                    <a:gd name="T2" fmla="*/ 2147483646 w 538"/>
                    <a:gd name="T3" fmla="*/ 2147483646 h 487"/>
                    <a:gd name="T4" fmla="*/ 2147483646 w 538"/>
                    <a:gd name="T5" fmla="*/ 2147483646 h 487"/>
                    <a:gd name="T6" fmla="*/ 2147483646 w 538"/>
                    <a:gd name="T7" fmla="*/ 2147483646 h 487"/>
                    <a:gd name="T8" fmla="*/ 2147483646 w 538"/>
                    <a:gd name="T9" fmla="*/ 2147483646 h 487"/>
                    <a:gd name="T10" fmla="*/ 2147483646 w 538"/>
                    <a:gd name="T11" fmla="*/ 2147483646 h 487"/>
                    <a:gd name="T12" fmla="*/ 2147483646 w 538"/>
                    <a:gd name="T13" fmla="*/ 2147483646 h 487"/>
                    <a:gd name="T14" fmla="*/ 2147483646 w 538"/>
                    <a:gd name="T15" fmla="*/ 2147483646 h 487"/>
                    <a:gd name="T16" fmla="*/ 2147483646 w 538"/>
                    <a:gd name="T17" fmla="*/ 2147483646 h 487"/>
                    <a:gd name="T18" fmla="*/ 2147483646 w 538"/>
                    <a:gd name="T19" fmla="*/ 2147483646 h 487"/>
                    <a:gd name="T20" fmla="*/ 2147483646 w 538"/>
                    <a:gd name="T21" fmla="*/ 2147483646 h 487"/>
                    <a:gd name="T22" fmla="*/ 2147483646 w 538"/>
                    <a:gd name="T23" fmla="*/ 2147483646 h 487"/>
                    <a:gd name="T24" fmla="*/ 2147483646 w 538"/>
                    <a:gd name="T25" fmla="*/ 2147483646 h 487"/>
                    <a:gd name="T26" fmla="*/ 2147483646 w 538"/>
                    <a:gd name="T27" fmla="*/ 2147483646 h 487"/>
                    <a:gd name="T28" fmla="*/ 2147483646 w 538"/>
                    <a:gd name="T29" fmla="*/ 2147483646 h 487"/>
                    <a:gd name="T30" fmla="*/ 2147483646 w 538"/>
                    <a:gd name="T31" fmla="*/ 2147483646 h 487"/>
                    <a:gd name="T32" fmla="*/ 2147483646 w 538"/>
                    <a:gd name="T33" fmla="*/ 2147483646 h 487"/>
                    <a:gd name="T34" fmla="*/ 2147483646 w 538"/>
                    <a:gd name="T35" fmla="*/ 2147483646 h 487"/>
                    <a:gd name="T36" fmla="*/ 2147483646 w 538"/>
                    <a:gd name="T37" fmla="*/ 2147483646 h 487"/>
                    <a:gd name="T38" fmla="*/ 2147483646 w 538"/>
                    <a:gd name="T39" fmla="*/ 2147483646 h 487"/>
                    <a:gd name="T40" fmla="*/ 2147483646 w 538"/>
                    <a:gd name="T41" fmla="*/ 2147483646 h 487"/>
                    <a:gd name="T42" fmla="*/ 2147483646 w 538"/>
                    <a:gd name="T43" fmla="*/ 2147483646 h 487"/>
                    <a:gd name="T44" fmla="*/ 2147483646 w 538"/>
                    <a:gd name="T45" fmla="*/ 2147483646 h 487"/>
                    <a:gd name="T46" fmla="*/ 2147483646 w 538"/>
                    <a:gd name="T47" fmla="*/ 2147483646 h 487"/>
                    <a:gd name="T48" fmla="*/ 2147483646 w 538"/>
                    <a:gd name="T49" fmla="*/ 2147483646 h 487"/>
                    <a:gd name="T50" fmla="*/ 2147483646 w 538"/>
                    <a:gd name="T51" fmla="*/ 2147483646 h 487"/>
                    <a:gd name="T52" fmla="*/ 2147483646 w 538"/>
                    <a:gd name="T53" fmla="*/ 2147483646 h 487"/>
                    <a:gd name="T54" fmla="*/ 2147483646 w 538"/>
                    <a:gd name="T55" fmla="*/ 2147483646 h 487"/>
                    <a:gd name="T56" fmla="*/ 2147483646 w 538"/>
                    <a:gd name="T57" fmla="*/ 2147483646 h 487"/>
                    <a:gd name="T58" fmla="*/ 2147483646 w 538"/>
                    <a:gd name="T59" fmla="*/ 2147483646 h 487"/>
                    <a:gd name="T60" fmla="*/ 2147483646 w 538"/>
                    <a:gd name="T61" fmla="*/ 2147483646 h 487"/>
                    <a:gd name="T62" fmla="*/ 2147483646 w 538"/>
                    <a:gd name="T63" fmla="*/ 2147483646 h 487"/>
                    <a:gd name="T64" fmla="*/ 2147483646 w 538"/>
                    <a:gd name="T65" fmla="*/ 2147483646 h 487"/>
                    <a:gd name="T66" fmla="*/ 2147483646 w 538"/>
                    <a:gd name="T67" fmla="*/ 2147483646 h 487"/>
                    <a:gd name="T68" fmla="*/ 2147483646 w 538"/>
                    <a:gd name="T69" fmla="*/ 2147483646 h 487"/>
                    <a:gd name="T70" fmla="*/ 2147483646 w 538"/>
                    <a:gd name="T71" fmla="*/ 2147483646 h 487"/>
                    <a:gd name="T72" fmla="*/ 2147483646 w 538"/>
                    <a:gd name="T73" fmla="*/ 2147483646 h 487"/>
                    <a:gd name="T74" fmla="*/ 2147483646 w 538"/>
                    <a:gd name="T75" fmla="*/ 2147483646 h 487"/>
                    <a:gd name="T76" fmla="*/ 2147483646 w 538"/>
                    <a:gd name="T77" fmla="*/ 2147483646 h 487"/>
                    <a:gd name="T78" fmla="*/ 2147483646 w 538"/>
                    <a:gd name="T79" fmla="*/ 2147483646 h 487"/>
                    <a:gd name="T80" fmla="*/ 2147483646 w 538"/>
                    <a:gd name="T81" fmla="*/ 2147483646 h 487"/>
                    <a:gd name="T82" fmla="*/ 2147483646 w 538"/>
                    <a:gd name="T83" fmla="*/ 2147483646 h 487"/>
                    <a:gd name="T84" fmla="*/ 2147483646 w 538"/>
                    <a:gd name="T85" fmla="*/ 2147483646 h 487"/>
                    <a:gd name="T86" fmla="*/ 2147483646 w 538"/>
                    <a:gd name="T87" fmla="*/ 0 h 487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538"/>
                    <a:gd name="T133" fmla="*/ 0 h 487"/>
                    <a:gd name="T134" fmla="*/ 538 w 538"/>
                    <a:gd name="T135" fmla="*/ 487 h 487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538" h="487">
                      <a:moveTo>
                        <a:pt x="20" y="0"/>
                      </a:moveTo>
                      <a:lnTo>
                        <a:pt x="58" y="10"/>
                      </a:lnTo>
                      <a:lnTo>
                        <a:pt x="91" y="21"/>
                      </a:lnTo>
                      <a:lnTo>
                        <a:pt x="119" y="30"/>
                      </a:lnTo>
                      <a:lnTo>
                        <a:pt x="142" y="38"/>
                      </a:lnTo>
                      <a:lnTo>
                        <a:pt x="160" y="47"/>
                      </a:lnTo>
                      <a:lnTo>
                        <a:pt x="177" y="55"/>
                      </a:lnTo>
                      <a:lnTo>
                        <a:pt x="190" y="62"/>
                      </a:lnTo>
                      <a:lnTo>
                        <a:pt x="202" y="70"/>
                      </a:lnTo>
                      <a:lnTo>
                        <a:pt x="222" y="86"/>
                      </a:lnTo>
                      <a:lnTo>
                        <a:pt x="242" y="102"/>
                      </a:lnTo>
                      <a:lnTo>
                        <a:pt x="253" y="110"/>
                      </a:lnTo>
                      <a:lnTo>
                        <a:pt x="266" y="118"/>
                      </a:lnTo>
                      <a:lnTo>
                        <a:pt x="281" y="127"/>
                      </a:lnTo>
                      <a:lnTo>
                        <a:pt x="300" y="136"/>
                      </a:lnTo>
                      <a:lnTo>
                        <a:pt x="297" y="152"/>
                      </a:lnTo>
                      <a:lnTo>
                        <a:pt x="297" y="158"/>
                      </a:lnTo>
                      <a:lnTo>
                        <a:pt x="299" y="161"/>
                      </a:lnTo>
                      <a:lnTo>
                        <a:pt x="300" y="167"/>
                      </a:lnTo>
                      <a:lnTo>
                        <a:pt x="314" y="178"/>
                      </a:lnTo>
                      <a:lnTo>
                        <a:pt x="347" y="205"/>
                      </a:lnTo>
                      <a:lnTo>
                        <a:pt x="381" y="231"/>
                      </a:lnTo>
                      <a:lnTo>
                        <a:pt x="399" y="247"/>
                      </a:lnTo>
                      <a:lnTo>
                        <a:pt x="393" y="248"/>
                      </a:lnTo>
                      <a:lnTo>
                        <a:pt x="386" y="250"/>
                      </a:lnTo>
                      <a:lnTo>
                        <a:pt x="382" y="250"/>
                      </a:lnTo>
                      <a:lnTo>
                        <a:pt x="379" y="250"/>
                      </a:lnTo>
                      <a:lnTo>
                        <a:pt x="376" y="249"/>
                      </a:lnTo>
                      <a:lnTo>
                        <a:pt x="372" y="247"/>
                      </a:lnTo>
                      <a:lnTo>
                        <a:pt x="372" y="256"/>
                      </a:lnTo>
                      <a:lnTo>
                        <a:pt x="372" y="265"/>
                      </a:lnTo>
                      <a:lnTo>
                        <a:pt x="372" y="272"/>
                      </a:lnTo>
                      <a:lnTo>
                        <a:pt x="372" y="278"/>
                      </a:lnTo>
                      <a:lnTo>
                        <a:pt x="373" y="285"/>
                      </a:lnTo>
                      <a:lnTo>
                        <a:pt x="375" y="292"/>
                      </a:lnTo>
                      <a:lnTo>
                        <a:pt x="377" y="301"/>
                      </a:lnTo>
                      <a:lnTo>
                        <a:pt x="380" y="309"/>
                      </a:lnTo>
                      <a:lnTo>
                        <a:pt x="384" y="317"/>
                      </a:lnTo>
                      <a:lnTo>
                        <a:pt x="389" y="325"/>
                      </a:lnTo>
                      <a:lnTo>
                        <a:pt x="394" y="333"/>
                      </a:lnTo>
                      <a:lnTo>
                        <a:pt x="401" y="341"/>
                      </a:lnTo>
                      <a:lnTo>
                        <a:pt x="407" y="348"/>
                      </a:lnTo>
                      <a:lnTo>
                        <a:pt x="414" y="355"/>
                      </a:lnTo>
                      <a:lnTo>
                        <a:pt x="421" y="361"/>
                      </a:lnTo>
                      <a:lnTo>
                        <a:pt x="428" y="366"/>
                      </a:lnTo>
                      <a:lnTo>
                        <a:pt x="436" y="371"/>
                      </a:lnTo>
                      <a:lnTo>
                        <a:pt x="444" y="374"/>
                      </a:lnTo>
                      <a:lnTo>
                        <a:pt x="451" y="376"/>
                      </a:lnTo>
                      <a:lnTo>
                        <a:pt x="459" y="376"/>
                      </a:lnTo>
                      <a:lnTo>
                        <a:pt x="459" y="384"/>
                      </a:lnTo>
                      <a:lnTo>
                        <a:pt x="461" y="390"/>
                      </a:lnTo>
                      <a:lnTo>
                        <a:pt x="465" y="396"/>
                      </a:lnTo>
                      <a:lnTo>
                        <a:pt x="468" y="401"/>
                      </a:lnTo>
                      <a:lnTo>
                        <a:pt x="472" y="406"/>
                      </a:lnTo>
                      <a:lnTo>
                        <a:pt x="478" y="411"/>
                      </a:lnTo>
                      <a:lnTo>
                        <a:pt x="483" y="414"/>
                      </a:lnTo>
                      <a:lnTo>
                        <a:pt x="489" y="417"/>
                      </a:lnTo>
                      <a:lnTo>
                        <a:pt x="500" y="423"/>
                      </a:lnTo>
                      <a:lnTo>
                        <a:pt x="510" y="429"/>
                      </a:lnTo>
                      <a:lnTo>
                        <a:pt x="513" y="432"/>
                      </a:lnTo>
                      <a:lnTo>
                        <a:pt x="516" y="436"/>
                      </a:lnTo>
                      <a:lnTo>
                        <a:pt x="518" y="440"/>
                      </a:lnTo>
                      <a:lnTo>
                        <a:pt x="518" y="444"/>
                      </a:lnTo>
                      <a:lnTo>
                        <a:pt x="519" y="446"/>
                      </a:lnTo>
                      <a:lnTo>
                        <a:pt x="522" y="448"/>
                      </a:lnTo>
                      <a:lnTo>
                        <a:pt x="525" y="450"/>
                      </a:lnTo>
                      <a:lnTo>
                        <a:pt x="528" y="452"/>
                      </a:lnTo>
                      <a:lnTo>
                        <a:pt x="536" y="455"/>
                      </a:lnTo>
                      <a:lnTo>
                        <a:pt x="538" y="456"/>
                      </a:lnTo>
                      <a:lnTo>
                        <a:pt x="538" y="461"/>
                      </a:lnTo>
                      <a:lnTo>
                        <a:pt x="536" y="467"/>
                      </a:lnTo>
                      <a:lnTo>
                        <a:pt x="534" y="472"/>
                      </a:lnTo>
                      <a:lnTo>
                        <a:pt x="529" y="477"/>
                      </a:lnTo>
                      <a:lnTo>
                        <a:pt x="525" y="481"/>
                      </a:lnTo>
                      <a:lnTo>
                        <a:pt x="519" y="484"/>
                      </a:lnTo>
                      <a:lnTo>
                        <a:pt x="513" y="487"/>
                      </a:lnTo>
                      <a:lnTo>
                        <a:pt x="505" y="487"/>
                      </a:lnTo>
                      <a:lnTo>
                        <a:pt x="490" y="487"/>
                      </a:lnTo>
                      <a:lnTo>
                        <a:pt x="474" y="485"/>
                      </a:lnTo>
                      <a:lnTo>
                        <a:pt x="461" y="483"/>
                      </a:lnTo>
                      <a:lnTo>
                        <a:pt x="448" y="480"/>
                      </a:lnTo>
                      <a:lnTo>
                        <a:pt x="436" y="476"/>
                      </a:lnTo>
                      <a:lnTo>
                        <a:pt x="425" y="471"/>
                      </a:lnTo>
                      <a:lnTo>
                        <a:pt x="414" y="466"/>
                      </a:lnTo>
                      <a:lnTo>
                        <a:pt x="404" y="459"/>
                      </a:lnTo>
                      <a:lnTo>
                        <a:pt x="395" y="453"/>
                      </a:lnTo>
                      <a:lnTo>
                        <a:pt x="386" y="446"/>
                      </a:lnTo>
                      <a:lnTo>
                        <a:pt x="378" y="438"/>
                      </a:lnTo>
                      <a:lnTo>
                        <a:pt x="369" y="431"/>
                      </a:lnTo>
                      <a:lnTo>
                        <a:pt x="355" y="415"/>
                      </a:lnTo>
                      <a:lnTo>
                        <a:pt x="341" y="398"/>
                      </a:lnTo>
                      <a:lnTo>
                        <a:pt x="326" y="381"/>
                      </a:lnTo>
                      <a:lnTo>
                        <a:pt x="312" y="365"/>
                      </a:lnTo>
                      <a:lnTo>
                        <a:pt x="298" y="350"/>
                      </a:lnTo>
                      <a:lnTo>
                        <a:pt x="282" y="336"/>
                      </a:lnTo>
                      <a:lnTo>
                        <a:pt x="274" y="330"/>
                      </a:lnTo>
                      <a:lnTo>
                        <a:pt x="265" y="325"/>
                      </a:lnTo>
                      <a:lnTo>
                        <a:pt x="256" y="320"/>
                      </a:lnTo>
                      <a:lnTo>
                        <a:pt x="246" y="316"/>
                      </a:lnTo>
                      <a:lnTo>
                        <a:pt x="235" y="313"/>
                      </a:lnTo>
                      <a:lnTo>
                        <a:pt x="224" y="311"/>
                      </a:lnTo>
                      <a:lnTo>
                        <a:pt x="212" y="309"/>
                      </a:lnTo>
                      <a:lnTo>
                        <a:pt x="200" y="309"/>
                      </a:lnTo>
                      <a:lnTo>
                        <a:pt x="189" y="309"/>
                      </a:lnTo>
                      <a:lnTo>
                        <a:pt x="180" y="310"/>
                      </a:lnTo>
                      <a:lnTo>
                        <a:pt x="171" y="311"/>
                      </a:lnTo>
                      <a:lnTo>
                        <a:pt x="165" y="313"/>
                      </a:lnTo>
                      <a:lnTo>
                        <a:pt x="153" y="317"/>
                      </a:lnTo>
                      <a:lnTo>
                        <a:pt x="144" y="322"/>
                      </a:lnTo>
                      <a:lnTo>
                        <a:pt x="130" y="334"/>
                      </a:lnTo>
                      <a:lnTo>
                        <a:pt x="113" y="345"/>
                      </a:lnTo>
                      <a:lnTo>
                        <a:pt x="126" y="352"/>
                      </a:lnTo>
                      <a:lnTo>
                        <a:pt x="134" y="358"/>
                      </a:lnTo>
                      <a:lnTo>
                        <a:pt x="136" y="361"/>
                      </a:lnTo>
                      <a:lnTo>
                        <a:pt x="138" y="363"/>
                      </a:lnTo>
                      <a:lnTo>
                        <a:pt x="140" y="366"/>
                      </a:lnTo>
                      <a:lnTo>
                        <a:pt x="140" y="370"/>
                      </a:lnTo>
                      <a:lnTo>
                        <a:pt x="136" y="380"/>
                      </a:lnTo>
                      <a:lnTo>
                        <a:pt x="130" y="394"/>
                      </a:lnTo>
                      <a:lnTo>
                        <a:pt x="124" y="401"/>
                      </a:lnTo>
                      <a:lnTo>
                        <a:pt x="120" y="407"/>
                      </a:lnTo>
                      <a:lnTo>
                        <a:pt x="117" y="412"/>
                      </a:lnTo>
                      <a:lnTo>
                        <a:pt x="113" y="414"/>
                      </a:lnTo>
                      <a:lnTo>
                        <a:pt x="93" y="395"/>
                      </a:lnTo>
                      <a:lnTo>
                        <a:pt x="70" y="399"/>
                      </a:lnTo>
                      <a:lnTo>
                        <a:pt x="47" y="403"/>
                      </a:lnTo>
                      <a:lnTo>
                        <a:pt x="28" y="406"/>
                      </a:lnTo>
                      <a:lnTo>
                        <a:pt x="20" y="407"/>
                      </a:lnTo>
                      <a:lnTo>
                        <a:pt x="20" y="259"/>
                      </a:lnTo>
                      <a:lnTo>
                        <a:pt x="0" y="234"/>
                      </a:lnTo>
                      <a:lnTo>
                        <a:pt x="20" y="222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60" name="Freeform 280">
                  <a:extLst>
                    <a:ext uri="{FF2B5EF4-FFF2-40B4-BE49-F238E27FC236}">
                      <a16:creationId xmlns:a16="http://schemas.microsoft.com/office/drawing/2014/main" xmlns="" id="{D0D1A6ED-7F15-4183-A4D5-50AFB3848F71}"/>
                    </a:ext>
                  </a:extLst>
                </p:cNvPr>
                <p:cNvSpPr>
                  <a:spLocks/>
                </p:cNvSpPr>
                <p:nvPr>
                  <p:custDataLst>
                    <p:tags r:id="rId207"/>
                  </p:custDataLst>
                </p:nvPr>
              </p:nvSpPr>
              <p:spPr bwMode="auto">
                <a:xfrm>
                  <a:off x="7720013" y="3716338"/>
                  <a:ext cx="106362" cy="128587"/>
                </a:xfrm>
                <a:custGeom>
                  <a:avLst/>
                  <a:gdLst>
                    <a:gd name="T0" fmla="*/ 2147483646 w 253"/>
                    <a:gd name="T1" fmla="*/ 2147483646 h 246"/>
                    <a:gd name="T2" fmla="*/ 2147483646 w 253"/>
                    <a:gd name="T3" fmla="*/ 2147483646 h 246"/>
                    <a:gd name="T4" fmla="*/ 2147483646 w 253"/>
                    <a:gd name="T5" fmla="*/ 2147483646 h 246"/>
                    <a:gd name="T6" fmla="*/ 2147483646 w 253"/>
                    <a:gd name="T7" fmla="*/ 2147483646 h 246"/>
                    <a:gd name="T8" fmla="*/ 2147483646 w 253"/>
                    <a:gd name="T9" fmla="*/ 2147483646 h 246"/>
                    <a:gd name="T10" fmla="*/ 2147483646 w 253"/>
                    <a:gd name="T11" fmla="*/ 2147483646 h 246"/>
                    <a:gd name="T12" fmla="*/ 2147483646 w 253"/>
                    <a:gd name="T13" fmla="*/ 2147483646 h 246"/>
                    <a:gd name="T14" fmla="*/ 2147483646 w 253"/>
                    <a:gd name="T15" fmla="*/ 2147483646 h 246"/>
                    <a:gd name="T16" fmla="*/ 2147483646 w 253"/>
                    <a:gd name="T17" fmla="*/ 2147483646 h 246"/>
                    <a:gd name="T18" fmla="*/ 2147483646 w 253"/>
                    <a:gd name="T19" fmla="*/ 2147483646 h 246"/>
                    <a:gd name="T20" fmla="*/ 2147483646 w 253"/>
                    <a:gd name="T21" fmla="*/ 2147483646 h 246"/>
                    <a:gd name="T22" fmla="*/ 2147483646 w 253"/>
                    <a:gd name="T23" fmla="*/ 2147483646 h 246"/>
                    <a:gd name="T24" fmla="*/ 2147483646 w 253"/>
                    <a:gd name="T25" fmla="*/ 2147483646 h 246"/>
                    <a:gd name="T26" fmla="*/ 2147483646 w 253"/>
                    <a:gd name="T27" fmla="*/ 2147483646 h 246"/>
                    <a:gd name="T28" fmla="*/ 2147483646 w 253"/>
                    <a:gd name="T29" fmla="*/ 2147483646 h 246"/>
                    <a:gd name="T30" fmla="*/ 2147483646 w 253"/>
                    <a:gd name="T31" fmla="*/ 2147483646 h 246"/>
                    <a:gd name="T32" fmla="*/ 2147483646 w 253"/>
                    <a:gd name="T33" fmla="*/ 2147483646 h 246"/>
                    <a:gd name="T34" fmla="*/ 2147483646 w 253"/>
                    <a:gd name="T35" fmla="*/ 2147483646 h 246"/>
                    <a:gd name="T36" fmla="*/ 2147483646 w 253"/>
                    <a:gd name="T37" fmla="*/ 2147483646 h 246"/>
                    <a:gd name="T38" fmla="*/ 2147483646 w 253"/>
                    <a:gd name="T39" fmla="*/ 2147483646 h 246"/>
                    <a:gd name="T40" fmla="*/ 2147483646 w 253"/>
                    <a:gd name="T41" fmla="*/ 2147483646 h 246"/>
                    <a:gd name="T42" fmla="*/ 2147483646 w 253"/>
                    <a:gd name="T43" fmla="*/ 2147483646 h 246"/>
                    <a:gd name="T44" fmla="*/ 2147483646 w 253"/>
                    <a:gd name="T45" fmla="*/ 2147483646 h 246"/>
                    <a:gd name="T46" fmla="*/ 2147483646 w 253"/>
                    <a:gd name="T47" fmla="*/ 2147483646 h 246"/>
                    <a:gd name="T48" fmla="*/ 2147483646 w 253"/>
                    <a:gd name="T49" fmla="*/ 2147483646 h 246"/>
                    <a:gd name="T50" fmla="*/ 2147483646 w 253"/>
                    <a:gd name="T51" fmla="*/ 2147483646 h 246"/>
                    <a:gd name="T52" fmla="*/ 2147483646 w 253"/>
                    <a:gd name="T53" fmla="*/ 2147483646 h 246"/>
                    <a:gd name="T54" fmla="*/ 2147483646 w 253"/>
                    <a:gd name="T55" fmla="*/ 2147483646 h 246"/>
                    <a:gd name="T56" fmla="*/ 2147483646 w 253"/>
                    <a:gd name="T57" fmla="*/ 2147483646 h 246"/>
                    <a:gd name="T58" fmla="*/ 2147483646 w 253"/>
                    <a:gd name="T59" fmla="*/ 2147483646 h 246"/>
                    <a:gd name="T60" fmla="*/ 2147483646 w 253"/>
                    <a:gd name="T61" fmla="*/ 2147483646 h 246"/>
                    <a:gd name="T62" fmla="*/ 2147483646 w 253"/>
                    <a:gd name="T63" fmla="*/ 2147483646 h 246"/>
                    <a:gd name="T64" fmla="*/ 2147483646 w 253"/>
                    <a:gd name="T65" fmla="*/ 2147483646 h 246"/>
                    <a:gd name="T66" fmla="*/ 2147483646 w 253"/>
                    <a:gd name="T67" fmla="*/ 2147483646 h 246"/>
                    <a:gd name="T68" fmla="*/ 2147483646 w 253"/>
                    <a:gd name="T69" fmla="*/ 2147483646 h 246"/>
                    <a:gd name="T70" fmla="*/ 2147483646 w 253"/>
                    <a:gd name="T71" fmla="*/ 2147483646 h 246"/>
                    <a:gd name="T72" fmla="*/ 2147483646 w 253"/>
                    <a:gd name="T73" fmla="*/ 2147483646 h 246"/>
                    <a:gd name="T74" fmla="*/ 2147483646 w 253"/>
                    <a:gd name="T75" fmla="*/ 2147483646 h 246"/>
                    <a:gd name="T76" fmla="*/ 2147483646 w 253"/>
                    <a:gd name="T77" fmla="*/ 2147483646 h 246"/>
                    <a:gd name="T78" fmla="*/ 2147483646 w 253"/>
                    <a:gd name="T79" fmla="*/ 2147483646 h 246"/>
                    <a:gd name="T80" fmla="*/ 2147483646 w 253"/>
                    <a:gd name="T81" fmla="*/ 2147483646 h 246"/>
                    <a:gd name="T82" fmla="*/ 2147483646 w 253"/>
                    <a:gd name="T83" fmla="*/ 2147483646 h 246"/>
                    <a:gd name="T84" fmla="*/ 2147483646 w 253"/>
                    <a:gd name="T85" fmla="*/ 2147483646 h 246"/>
                    <a:gd name="T86" fmla="*/ 2147483646 w 253"/>
                    <a:gd name="T87" fmla="*/ 2147483646 h 246"/>
                    <a:gd name="T88" fmla="*/ 2147483646 w 253"/>
                    <a:gd name="T89" fmla="*/ 2147483646 h 246"/>
                    <a:gd name="T90" fmla="*/ 2147483646 w 253"/>
                    <a:gd name="T91" fmla="*/ 2147483646 h 246"/>
                    <a:gd name="T92" fmla="*/ 2147483646 w 253"/>
                    <a:gd name="T93" fmla="*/ 2147483646 h 246"/>
                    <a:gd name="T94" fmla="*/ 2147483646 w 253"/>
                    <a:gd name="T95" fmla="*/ 2147483646 h 246"/>
                    <a:gd name="T96" fmla="*/ 2147483646 w 253"/>
                    <a:gd name="T97" fmla="*/ 2147483646 h 246"/>
                    <a:gd name="T98" fmla="*/ 2147483646 w 253"/>
                    <a:gd name="T99" fmla="*/ 2147483646 h 246"/>
                    <a:gd name="T100" fmla="*/ 2147483646 w 253"/>
                    <a:gd name="T101" fmla="*/ 2147483646 h 246"/>
                    <a:gd name="T102" fmla="*/ 2147483646 w 253"/>
                    <a:gd name="T103" fmla="*/ 2147483646 h 246"/>
                    <a:gd name="T104" fmla="*/ 2147483646 w 253"/>
                    <a:gd name="T105" fmla="*/ 2147483646 h 246"/>
                    <a:gd name="T106" fmla="*/ 2147483646 w 253"/>
                    <a:gd name="T107" fmla="*/ 2147483646 h 246"/>
                    <a:gd name="T108" fmla="*/ 2147483646 w 253"/>
                    <a:gd name="T109" fmla="*/ 2147483646 h 246"/>
                    <a:gd name="T110" fmla="*/ 2147483646 w 253"/>
                    <a:gd name="T111" fmla="*/ 0 h 24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253"/>
                    <a:gd name="T169" fmla="*/ 0 h 246"/>
                    <a:gd name="T170" fmla="*/ 253 w 253"/>
                    <a:gd name="T171" fmla="*/ 246 h 246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253" h="246">
                      <a:moveTo>
                        <a:pt x="127" y="0"/>
                      </a:moveTo>
                      <a:lnTo>
                        <a:pt x="136" y="1"/>
                      </a:lnTo>
                      <a:lnTo>
                        <a:pt x="146" y="4"/>
                      </a:lnTo>
                      <a:lnTo>
                        <a:pt x="157" y="8"/>
                      </a:lnTo>
                      <a:lnTo>
                        <a:pt x="168" y="14"/>
                      </a:lnTo>
                      <a:lnTo>
                        <a:pt x="179" y="21"/>
                      </a:lnTo>
                      <a:lnTo>
                        <a:pt x="189" y="28"/>
                      </a:lnTo>
                      <a:lnTo>
                        <a:pt x="199" y="37"/>
                      </a:lnTo>
                      <a:lnTo>
                        <a:pt x="209" y="47"/>
                      </a:lnTo>
                      <a:lnTo>
                        <a:pt x="218" y="57"/>
                      </a:lnTo>
                      <a:lnTo>
                        <a:pt x="227" y="66"/>
                      </a:lnTo>
                      <a:lnTo>
                        <a:pt x="234" y="76"/>
                      </a:lnTo>
                      <a:lnTo>
                        <a:pt x="240" y="85"/>
                      </a:lnTo>
                      <a:lnTo>
                        <a:pt x="245" y="94"/>
                      </a:lnTo>
                      <a:lnTo>
                        <a:pt x="250" y="103"/>
                      </a:lnTo>
                      <a:lnTo>
                        <a:pt x="252" y="111"/>
                      </a:lnTo>
                      <a:lnTo>
                        <a:pt x="253" y="117"/>
                      </a:lnTo>
                      <a:lnTo>
                        <a:pt x="252" y="128"/>
                      </a:lnTo>
                      <a:lnTo>
                        <a:pt x="248" y="140"/>
                      </a:lnTo>
                      <a:lnTo>
                        <a:pt x="243" y="151"/>
                      </a:lnTo>
                      <a:lnTo>
                        <a:pt x="236" y="163"/>
                      </a:lnTo>
                      <a:lnTo>
                        <a:pt x="229" y="174"/>
                      </a:lnTo>
                      <a:lnTo>
                        <a:pt x="219" y="185"/>
                      </a:lnTo>
                      <a:lnTo>
                        <a:pt x="209" y="195"/>
                      </a:lnTo>
                      <a:lnTo>
                        <a:pt x="197" y="204"/>
                      </a:lnTo>
                      <a:lnTo>
                        <a:pt x="184" y="214"/>
                      </a:lnTo>
                      <a:lnTo>
                        <a:pt x="171" y="222"/>
                      </a:lnTo>
                      <a:lnTo>
                        <a:pt x="157" y="229"/>
                      </a:lnTo>
                      <a:lnTo>
                        <a:pt x="143" y="235"/>
                      </a:lnTo>
                      <a:lnTo>
                        <a:pt x="129" y="240"/>
                      </a:lnTo>
                      <a:lnTo>
                        <a:pt x="115" y="243"/>
                      </a:lnTo>
                      <a:lnTo>
                        <a:pt x="100" y="245"/>
                      </a:lnTo>
                      <a:lnTo>
                        <a:pt x="86" y="246"/>
                      </a:lnTo>
                      <a:lnTo>
                        <a:pt x="74" y="245"/>
                      </a:lnTo>
                      <a:lnTo>
                        <a:pt x="64" y="243"/>
                      </a:lnTo>
                      <a:lnTo>
                        <a:pt x="53" y="240"/>
                      </a:lnTo>
                      <a:lnTo>
                        <a:pt x="43" y="237"/>
                      </a:lnTo>
                      <a:lnTo>
                        <a:pt x="33" y="234"/>
                      </a:lnTo>
                      <a:lnTo>
                        <a:pt x="22" y="231"/>
                      </a:lnTo>
                      <a:lnTo>
                        <a:pt x="11" y="229"/>
                      </a:lnTo>
                      <a:lnTo>
                        <a:pt x="0" y="228"/>
                      </a:lnTo>
                      <a:lnTo>
                        <a:pt x="3" y="219"/>
                      </a:lnTo>
                      <a:lnTo>
                        <a:pt x="6" y="212"/>
                      </a:lnTo>
                      <a:lnTo>
                        <a:pt x="10" y="205"/>
                      </a:lnTo>
                      <a:lnTo>
                        <a:pt x="16" y="200"/>
                      </a:lnTo>
                      <a:lnTo>
                        <a:pt x="22" y="196"/>
                      </a:lnTo>
                      <a:lnTo>
                        <a:pt x="29" y="193"/>
                      </a:lnTo>
                      <a:lnTo>
                        <a:pt x="37" y="191"/>
                      </a:lnTo>
                      <a:lnTo>
                        <a:pt x="46" y="191"/>
                      </a:lnTo>
                      <a:lnTo>
                        <a:pt x="50" y="197"/>
                      </a:lnTo>
                      <a:lnTo>
                        <a:pt x="53" y="209"/>
                      </a:lnTo>
                      <a:lnTo>
                        <a:pt x="60" y="207"/>
                      </a:lnTo>
                      <a:lnTo>
                        <a:pt x="65" y="204"/>
                      </a:lnTo>
                      <a:lnTo>
                        <a:pt x="68" y="201"/>
                      </a:lnTo>
                      <a:lnTo>
                        <a:pt x="72" y="198"/>
                      </a:lnTo>
                      <a:lnTo>
                        <a:pt x="75" y="190"/>
                      </a:lnTo>
                      <a:lnTo>
                        <a:pt x="79" y="179"/>
                      </a:lnTo>
                      <a:lnTo>
                        <a:pt x="84" y="180"/>
                      </a:lnTo>
                      <a:lnTo>
                        <a:pt x="88" y="181"/>
                      </a:lnTo>
                      <a:lnTo>
                        <a:pt x="91" y="181"/>
                      </a:lnTo>
                      <a:lnTo>
                        <a:pt x="95" y="181"/>
                      </a:lnTo>
                      <a:lnTo>
                        <a:pt x="98" y="179"/>
                      </a:lnTo>
                      <a:lnTo>
                        <a:pt x="99" y="179"/>
                      </a:lnTo>
                      <a:lnTo>
                        <a:pt x="106" y="178"/>
                      </a:lnTo>
                      <a:lnTo>
                        <a:pt x="112" y="177"/>
                      </a:lnTo>
                      <a:lnTo>
                        <a:pt x="120" y="174"/>
                      </a:lnTo>
                      <a:lnTo>
                        <a:pt x="130" y="171"/>
                      </a:lnTo>
                      <a:lnTo>
                        <a:pt x="149" y="164"/>
                      </a:lnTo>
                      <a:lnTo>
                        <a:pt x="169" y="153"/>
                      </a:lnTo>
                      <a:lnTo>
                        <a:pt x="179" y="147"/>
                      </a:lnTo>
                      <a:lnTo>
                        <a:pt x="188" y="141"/>
                      </a:lnTo>
                      <a:lnTo>
                        <a:pt x="197" y="135"/>
                      </a:lnTo>
                      <a:lnTo>
                        <a:pt x="205" y="129"/>
                      </a:lnTo>
                      <a:lnTo>
                        <a:pt x="210" y="123"/>
                      </a:lnTo>
                      <a:lnTo>
                        <a:pt x="216" y="117"/>
                      </a:lnTo>
                      <a:lnTo>
                        <a:pt x="218" y="111"/>
                      </a:lnTo>
                      <a:lnTo>
                        <a:pt x="219" y="105"/>
                      </a:lnTo>
                      <a:lnTo>
                        <a:pt x="219" y="98"/>
                      </a:lnTo>
                      <a:lnTo>
                        <a:pt x="217" y="92"/>
                      </a:lnTo>
                      <a:lnTo>
                        <a:pt x="214" y="88"/>
                      </a:lnTo>
                      <a:lnTo>
                        <a:pt x="212" y="84"/>
                      </a:lnTo>
                      <a:lnTo>
                        <a:pt x="210" y="80"/>
                      </a:lnTo>
                      <a:lnTo>
                        <a:pt x="208" y="76"/>
                      </a:lnTo>
                      <a:lnTo>
                        <a:pt x="207" y="72"/>
                      </a:lnTo>
                      <a:lnTo>
                        <a:pt x="206" y="68"/>
                      </a:lnTo>
                      <a:lnTo>
                        <a:pt x="201" y="67"/>
                      </a:lnTo>
                      <a:lnTo>
                        <a:pt x="196" y="67"/>
                      </a:lnTo>
                      <a:lnTo>
                        <a:pt x="191" y="65"/>
                      </a:lnTo>
                      <a:lnTo>
                        <a:pt x="188" y="63"/>
                      </a:lnTo>
                      <a:lnTo>
                        <a:pt x="184" y="61"/>
                      </a:lnTo>
                      <a:lnTo>
                        <a:pt x="182" y="57"/>
                      </a:lnTo>
                      <a:lnTo>
                        <a:pt x="180" y="54"/>
                      </a:lnTo>
                      <a:lnTo>
                        <a:pt x="179" y="49"/>
                      </a:lnTo>
                      <a:lnTo>
                        <a:pt x="140" y="49"/>
                      </a:lnTo>
                      <a:lnTo>
                        <a:pt x="138" y="47"/>
                      </a:lnTo>
                      <a:lnTo>
                        <a:pt x="136" y="44"/>
                      </a:lnTo>
                      <a:lnTo>
                        <a:pt x="136" y="39"/>
                      </a:lnTo>
                      <a:lnTo>
                        <a:pt x="136" y="36"/>
                      </a:lnTo>
                      <a:lnTo>
                        <a:pt x="139" y="27"/>
                      </a:lnTo>
                      <a:lnTo>
                        <a:pt x="140" y="18"/>
                      </a:lnTo>
                      <a:lnTo>
                        <a:pt x="124" y="14"/>
                      </a:lnTo>
                      <a:lnTo>
                        <a:pt x="110" y="11"/>
                      </a:lnTo>
                      <a:lnTo>
                        <a:pt x="104" y="11"/>
                      </a:lnTo>
                      <a:lnTo>
                        <a:pt x="97" y="12"/>
                      </a:lnTo>
                      <a:lnTo>
                        <a:pt x="91" y="15"/>
                      </a:lnTo>
                      <a:lnTo>
                        <a:pt x="86" y="18"/>
                      </a:lnTo>
                      <a:lnTo>
                        <a:pt x="96" y="10"/>
                      </a:lnTo>
                      <a:lnTo>
                        <a:pt x="104" y="5"/>
                      </a:lnTo>
                      <a:lnTo>
                        <a:pt x="108" y="3"/>
                      </a:lnTo>
                      <a:lnTo>
                        <a:pt x="113" y="1"/>
                      </a:lnTo>
                      <a:lnTo>
                        <a:pt x="119" y="0"/>
                      </a:lnTo>
                      <a:lnTo>
                        <a:pt x="127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61" name="Freeform 281">
                  <a:extLst>
                    <a:ext uri="{FF2B5EF4-FFF2-40B4-BE49-F238E27FC236}">
                      <a16:creationId xmlns:a16="http://schemas.microsoft.com/office/drawing/2014/main" xmlns="" id="{F8BAE2B9-E356-4C01-B07D-5A06B06D8864}"/>
                    </a:ext>
                  </a:extLst>
                </p:cNvPr>
                <p:cNvSpPr>
                  <a:spLocks/>
                </p:cNvSpPr>
                <p:nvPr>
                  <p:custDataLst>
                    <p:tags r:id="rId208"/>
                  </p:custDataLst>
                </p:nvPr>
              </p:nvSpPr>
              <p:spPr bwMode="auto">
                <a:xfrm>
                  <a:off x="5995988" y="3349625"/>
                  <a:ext cx="63500" cy="119063"/>
                </a:xfrm>
                <a:custGeom>
                  <a:avLst/>
                  <a:gdLst>
                    <a:gd name="T0" fmla="*/ 2147483646 w 141"/>
                    <a:gd name="T1" fmla="*/ 2147483646 h 228"/>
                    <a:gd name="T2" fmla="*/ 2147483646 w 141"/>
                    <a:gd name="T3" fmla="*/ 2147483646 h 228"/>
                    <a:gd name="T4" fmla="*/ 2147483646 w 141"/>
                    <a:gd name="T5" fmla="*/ 2147483646 h 228"/>
                    <a:gd name="T6" fmla="*/ 2147483646 w 141"/>
                    <a:gd name="T7" fmla="*/ 2147483646 h 228"/>
                    <a:gd name="T8" fmla="*/ 2147483646 w 141"/>
                    <a:gd name="T9" fmla="*/ 2147483646 h 228"/>
                    <a:gd name="T10" fmla="*/ 2147483646 w 141"/>
                    <a:gd name="T11" fmla="*/ 2147483646 h 228"/>
                    <a:gd name="T12" fmla="*/ 2147483646 w 141"/>
                    <a:gd name="T13" fmla="*/ 2147483646 h 228"/>
                    <a:gd name="T14" fmla="*/ 2147483646 w 141"/>
                    <a:gd name="T15" fmla="*/ 2147483646 h 228"/>
                    <a:gd name="T16" fmla="*/ 0 w 141"/>
                    <a:gd name="T17" fmla="*/ 2147483646 h 228"/>
                    <a:gd name="T18" fmla="*/ 2147483646 w 141"/>
                    <a:gd name="T19" fmla="*/ 2147483646 h 228"/>
                    <a:gd name="T20" fmla="*/ 2147483646 w 141"/>
                    <a:gd name="T21" fmla="*/ 2147483646 h 228"/>
                    <a:gd name="T22" fmla="*/ 2147483646 w 141"/>
                    <a:gd name="T23" fmla="*/ 2147483646 h 228"/>
                    <a:gd name="T24" fmla="*/ 2147483646 w 141"/>
                    <a:gd name="T25" fmla="*/ 2147483646 h 228"/>
                    <a:gd name="T26" fmla="*/ 2147483646 w 141"/>
                    <a:gd name="T27" fmla="*/ 2147483646 h 228"/>
                    <a:gd name="T28" fmla="*/ 2147483646 w 141"/>
                    <a:gd name="T29" fmla="*/ 0 h 228"/>
                    <a:gd name="T30" fmla="*/ 2147483646 w 141"/>
                    <a:gd name="T31" fmla="*/ 2147483646 h 228"/>
                    <a:gd name="T32" fmla="*/ 2147483646 w 141"/>
                    <a:gd name="T33" fmla="*/ 2147483646 h 228"/>
                    <a:gd name="T34" fmla="*/ 2147483646 w 141"/>
                    <a:gd name="T35" fmla="*/ 2147483646 h 228"/>
                    <a:gd name="T36" fmla="*/ 2147483646 w 141"/>
                    <a:gd name="T37" fmla="*/ 2147483646 h 228"/>
                    <a:gd name="T38" fmla="*/ 2147483646 w 141"/>
                    <a:gd name="T39" fmla="*/ 2147483646 h 228"/>
                    <a:gd name="T40" fmla="*/ 2147483646 w 141"/>
                    <a:gd name="T41" fmla="*/ 2147483646 h 228"/>
                    <a:gd name="T42" fmla="*/ 2147483646 w 141"/>
                    <a:gd name="T43" fmla="*/ 2147483646 h 228"/>
                    <a:gd name="T44" fmla="*/ 2147483646 w 141"/>
                    <a:gd name="T45" fmla="*/ 2147483646 h 228"/>
                    <a:gd name="T46" fmla="*/ 2147483646 w 141"/>
                    <a:gd name="T47" fmla="*/ 2147483646 h 228"/>
                    <a:gd name="T48" fmla="*/ 2147483646 w 141"/>
                    <a:gd name="T49" fmla="*/ 2147483646 h 228"/>
                    <a:gd name="T50" fmla="*/ 2147483646 w 141"/>
                    <a:gd name="T51" fmla="*/ 2147483646 h 228"/>
                    <a:gd name="T52" fmla="*/ 2147483646 w 141"/>
                    <a:gd name="T53" fmla="*/ 2147483646 h 228"/>
                    <a:gd name="T54" fmla="*/ 2147483646 w 141"/>
                    <a:gd name="T55" fmla="*/ 2147483646 h 228"/>
                    <a:gd name="T56" fmla="*/ 2147483646 w 141"/>
                    <a:gd name="T57" fmla="*/ 2147483646 h 228"/>
                    <a:gd name="T58" fmla="*/ 2147483646 w 141"/>
                    <a:gd name="T59" fmla="*/ 2147483646 h 228"/>
                    <a:gd name="T60" fmla="*/ 2147483646 w 141"/>
                    <a:gd name="T61" fmla="*/ 2147483646 h 228"/>
                    <a:gd name="T62" fmla="*/ 2147483646 w 141"/>
                    <a:gd name="T63" fmla="*/ 2147483646 h 228"/>
                    <a:gd name="T64" fmla="*/ 2147483646 w 141"/>
                    <a:gd name="T65" fmla="*/ 2147483646 h 228"/>
                    <a:gd name="T66" fmla="*/ 2147483646 w 141"/>
                    <a:gd name="T67" fmla="*/ 2147483646 h 228"/>
                    <a:gd name="T68" fmla="*/ 2147483646 w 141"/>
                    <a:gd name="T69" fmla="*/ 2147483646 h 228"/>
                    <a:gd name="T70" fmla="*/ 2147483646 w 141"/>
                    <a:gd name="T71" fmla="*/ 2147483646 h 228"/>
                    <a:gd name="T72" fmla="*/ 2147483646 w 141"/>
                    <a:gd name="T73" fmla="*/ 2147483646 h 228"/>
                    <a:gd name="T74" fmla="*/ 2147483646 w 141"/>
                    <a:gd name="T75" fmla="*/ 2147483646 h 228"/>
                    <a:gd name="T76" fmla="*/ 2147483646 w 141"/>
                    <a:gd name="T77" fmla="*/ 2147483646 h 228"/>
                    <a:gd name="T78" fmla="*/ 2147483646 w 141"/>
                    <a:gd name="T79" fmla="*/ 2147483646 h 228"/>
                    <a:gd name="T80" fmla="*/ 2147483646 w 141"/>
                    <a:gd name="T81" fmla="*/ 2147483646 h 22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141"/>
                    <a:gd name="T124" fmla="*/ 0 h 228"/>
                    <a:gd name="T125" fmla="*/ 141 w 141"/>
                    <a:gd name="T126" fmla="*/ 228 h 228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141" h="228">
                      <a:moveTo>
                        <a:pt x="41" y="228"/>
                      </a:moveTo>
                      <a:lnTo>
                        <a:pt x="36" y="220"/>
                      </a:lnTo>
                      <a:lnTo>
                        <a:pt x="29" y="208"/>
                      </a:lnTo>
                      <a:lnTo>
                        <a:pt x="22" y="194"/>
                      </a:lnTo>
                      <a:lnTo>
                        <a:pt x="16" y="178"/>
                      </a:lnTo>
                      <a:lnTo>
                        <a:pt x="10" y="163"/>
                      </a:lnTo>
                      <a:lnTo>
                        <a:pt x="5" y="148"/>
                      </a:lnTo>
                      <a:lnTo>
                        <a:pt x="2" y="135"/>
                      </a:lnTo>
                      <a:lnTo>
                        <a:pt x="0" y="123"/>
                      </a:lnTo>
                      <a:lnTo>
                        <a:pt x="2" y="104"/>
                      </a:lnTo>
                      <a:lnTo>
                        <a:pt x="4" y="87"/>
                      </a:lnTo>
                      <a:lnTo>
                        <a:pt x="6" y="70"/>
                      </a:lnTo>
                      <a:lnTo>
                        <a:pt x="9" y="55"/>
                      </a:lnTo>
                      <a:lnTo>
                        <a:pt x="18" y="28"/>
                      </a:lnTo>
                      <a:lnTo>
                        <a:pt x="28" y="0"/>
                      </a:lnTo>
                      <a:lnTo>
                        <a:pt x="45" y="16"/>
                      </a:lnTo>
                      <a:lnTo>
                        <a:pt x="62" y="28"/>
                      </a:lnTo>
                      <a:lnTo>
                        <a:pt x="76" y="37"/>
                      </a:lnTo>
                      <a:lnTo>
                        <a:pt x="89" y="48"/>
                      </a:lnTo>
                      <a:lnTo>
                        <a:pt x="95" y="55"/>
                      </a:lnTo>
                      <a:lnTo>
                        <a:pt x="101" y="63"/>
                      </a:lnTo>
                      <a:lnTo>
                        <a:pt x="107" y="74"/>
                      </a:lnTo>
                      <a:lnTo>
                        <a:pt x="114" y="86"/>
                      </a:lnTo>
                      <a:lnTo>
                        <a:pt x="120" y="100"/>
                      </a:lnTo>
                      <a:lnTo>
                        <a:pt x="127" y="117"/>
                      </a:lnTo>
                      <a:lnTo>
                        <a:pt x="133" y="138"/>
                      </a:lnTo>
                      <a:lnTo>
                        <a:pt x="141" y="161"/>
                      </a:lnTo>
                      <a:lnTo>
                        <a:pt x="140" y="169"/>
                      </a:lnTo>
                      <a:lnTo>
                        <a:pt x="138" y="177"/>
                      </a:lnTo>
                      <a:lnTo>
                        <a:pt x="135" y="186"/>
                      </a:lnTo>
                      <a:lnTo>
                        <a:pt x="131" y="192"/>
                      </a:lnTo>
                      <a:lnTo>
                        <a:pt x="127" y="199"/>
                      </a:lnTo>
                      <a:lnTo>
                        <a:pt x="121" y="204"/>
                      </a:lnTo>
                      <a:lnTo>
                        <a:pt x="115" y="209"/>
                      </a:lnTo>
                      <a:lnTo>
                        <a:pt x="108" y="213"/>
                      </a:lnTo>
                      <a:lnTo>
                        <a:pt x="100" y="217"/>
                      </a:lnTo>
                      <a:lnTo>
                        <a:pt x="93" y="220"/>
                      </a:lnTo>
                      <a:lnTo>
                        <a:pt x="85" y="223"/>
                      </a:lnTo>
                      <a:lnTo>
                        <a:pt x="76" y="225"/>
                      </a:lnTo>
                      <a:lnTo>
                        <a:pt x="59" y="227"/>
                      </a:lnTo>
                      <a:lnTo>
                        <a:pt x="41" y="22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262" name="Group 282">
                  <a:extLst>
                    <a:ext uri="{FF2B5EF4-FFF2-40B4-BE49-F238E27FC236}">
                      <a16:creationId xmlns:a16="http://schemas.microsoft.com/office/drawing/2014/main" xmlns="" id="{ADA11827-0141-4E76-B23A-BF463B29BFE2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209"/>
                  </p:custDataLst>
                </p:nvPr>
              </p:nvGrpSpPr>
              <p:grpSpPr bwMode="auto">
                <a:xfrm>
                  <a:off x="6935788" y="3060700"/>
                  <a:ext cx="233362" cy="439738"/>
                  <a:chOff x="5062" y="2295"/>
                  <a:chExt cx="177" cy="279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507" name="Freeform 283">
                    <a:extLst>
                      <a:ext uri="{FF2B5EF4-FFF2-40B4-BE49-F238E27FC236}">
                        <a16:creationId xmlns:a16="http://schemas.microsoft.com/office/drawing/2014/main" xmlns="" id="{AEA2916D-45BC-4601-8307-70D8A365737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54" y="2449"/>
                    <a:ext cx="19" cy="37"/>
                  </a:xfrm>
                  <a:custGeom>
                    <a:avLst/>
                    <a:gdLst>
                      <a:gd name="T0" fmla="*/ 0 w 60"/>
                      <a:gd name="T1" fmla="*/ 0 h 110"/>
                      <a:gd name="T2" fmla="*/ 0 w 60"/>
                      <a:gd name="T3" fmla="*/ 0 h 110"/>
                      <a:gd name="T4" fmla="*/ 0 w 60"/>
                      <a:gd name="T5" fmla="*/ 0 h 110"/>
                      <a:gd name="T6" fmla="*/ 0 w 60"/>
                      <a:gd name="T7" fmla="*/ 0 h 110"/>
                      <a:gd name="T8" fmla="*/ 0 w 60"/>
                      <a:gd name="T9" fmla="*/ 0 h 110"/>
                      <a:gd name="T10" fmla="*/ 0 w 60"/>
                      <a:gd name="T11" fmla="*/ 0 h 110"/>
                      <a:gd name="T12" fmla="*/ 0 w 60"/>
                      <a:gd name="T13" fmla="*/ 0 h 110"/>
                      <a:gd name="T14" fmla="*/ 0 w 60"/>
                      <a:gd name="T15" fmla="*/ 0 h 110"/>
                      <a:gd name="T16" fmla="*/ 0 w 60"/>
                      <a:gd name="T17" fmla="*/ 0 h 110"/>
                      <a:gd name="T18" fmla="*/ 0 w 60"/>
                      <a:gd name="T19" fmla="*/ 0 h 110"/>
                      <a:gd name="T20" fmla="*/ 0 w 60"/>
                      <a:gd name="T21" fmla="*/ 0 h 110"/>
                      <a:gd name="T22" fmla="*/ 0 w 60"/>
                      <a:gd name="T23" fmla="*/ 0 h 110"/>
                      <a:gd name="T24" fmla="*/ 0 w 60"/>
                      <a:gd name="T25" fmla="*/ 0 h 110"/>
                      <a:gd name="T26" fmla="*/ 0 w 60"/>
                      <a:gd name="T27" fmla="*/ 0 h 110"/>
                      <a:gd name="T28" fmla="*/ 0 w 60"/>
                      <a:gd name="T29" fmla="*/ 0 h 110"/>
                      <a:gd name="T30" fmla="*/ 0 w 60"/>
                      <a:gd name="T31" fmla="*/ 0 h 110"/>
                      <a:gd name="T32" fmla="*/ 0 w 60"/>
                      <a:gd name="T33" fmla="*/ 0 h 110"/>
                      <a:gd name="T34" fmla="*/ 0 w 60"/>
                      <a:gd name="T35" fmla="*/ 0 h 110"/>
                      <a:gd name="T36" fmla="*/ 0 w 60"/>
                      <a:gd name="T37" fmla="*/ 0 h 110"/>
                      <a:gd name="T38" fmla="*/ 0 w 60"/>
                      <a:gd name="T39" fmla="*/ 0 h 110"/>
                      <a:gd name="T40" fmla="*/ 0 w 60"/>
                      <a:gd name="T41" fmla="*/ 0 h 110"/>
                      <a:gd name="T42" fmla="*/ 0 w 60"/>
                      <a:gd name="T43" fmla="*/ 0 h 110"/>
                      <a:gd name="T44" fmla="*/ 0 w 60"/>
                      <a:gd name="T45" fmla="*/ 0 h 110"/>
                      <a:gd name="T46" fmla="*/ 0 w 60"/>
                      <a:gd name="T47" fmla="*/ 0 h 110"/>
                      <a:gd name="T48" fmla="*/ 0 w 60"/>
                      <a:gd name="T49" fmla="*/ 0 h 110"/>
                      <a:gd name="T50" fmla="*/ 0 w 60"/>
                      <a:gd name="T51" fmla="*/ 0 h 110"/>
                      <a:gd name="T52" fmla="*/ 0 w 60"/>
                      <a:gd name="T53" fmla="*/ 0 h 110"/>
                      <a:gd name="T54" fmla="*/ 0 w 60"/>
                      <a:gd name="T55" fmla="*/ 0 h 110"/>
                      <a:gd name="T56" fmla="*/ 0 w 60"/>
                      <a:gd name="T57" fmla="*/ 0 h 110"/>
                      <a:gd name="T58" fmla="*/ 0 w 60"/>
                      <a:gd name="T59" fmla="*/ 0 h 110"/>
                      <a:gd name="T60" fmla="*/ 0 w 60"/>
                      <a:gd name="T61" fmla="*/ 0 h 110"/>
                      <a:gd name="T62" fmla="*/ 0 w 60"/>
                      <a:gd name="T63" fmla="*/ 0 h 110"/>
                      <a:gd name="T64" fmla="*/ 0 w 60"/>
                      <a:gd name="T65" fmla="*/ 0 h 110"/>
                      <a:gd name="T66" fmla="*/ 0 w 60"/>
                      <a:gd name="T67" fmla="*/ 0 h 110"/>
                      <a:gd name="T68" fmla="*/ 0 w 60"/>
                      <a:gd name="T69" fmla="*/ 0 h 110"/>
                      <a:gd name="T70" fmla="*/ 0 w 60"/>
                      <a:gd name="T71" fmla="*/ 0 h 110"/>
                      <a:gd name="T72" fmla="*/ 0 w 60"/>
                      <a:gd name="T73" fmla="*/ 0 h 110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60"/>
                      <a:gd name="T112" fmla="*/ 0 h 110"/>
                      <a:gd name="T113" fmla="*/ 60 w 60"/>
                      <a:gd name="T114" fmla="*/ 110 h 110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60" h="110">
                        <a:moveTo>
                          <a:pt x="39" y="110"/>
                        </a:moveTo>
                        <a:lnTo>
                          <a:pt x="42" y="109"/>
                        </a:lnTo>
                        <a:lnTo>
                          <a:pt x="46" y="106"/>
                        </a:lnTo>
                        <a:lnTo>
                          <a:pt x="49" y="101"/>
                        </a:lnTo>
                        <a:lnTo>
                          <a:pt x="52" y="96"/>
                        </a:lnTo>
                        <a:lnTo>
                          <a:pt x="54" y="90"/>
                        </a:lnTo>
                        <a:lnTo>
                          <a:pt x="57" y="84"/>
                        </a:lnTo>
                        <a:lnTo>
                          <a:pt x="59" y="78"/>
                        </a:lnTo>
                        <a:lnTo>
                          <a:pt x="60" y="73"/>
                        </a:lnTo>
                        <a:lnTo>
                          <a:pt x="59" y="60"/>
                        </a:lnTo>
                        <a:lnTo>
                          <a:pt x="58" y="48"/>
                        </a:lnTo>
                        <a:lnTo>
                          <a:pt x="57" y="38"/>
                        </a:lnTo>
                        <a:lnTo>
                          <a:pt x="54" y="29"/>
                        </a:lnTo>
                        <a:lnTo>
                          <a:pt x="51" y="21"/>
                        </a:lnTo>
                        <a:lnTo>
                          <a:pt x="48" y="13"/>
                        </a:lnTo>
                        <a:lnTo>
                          <a:pt x="45" y="6"/>
                        </a:lnTo>
                        <a:lnTo>
                          <a:pt x="39" y="0"/>
                        </a:lnTo>
                        <a:lnTo>
                          <a:pt x="35" y="3"/>
                        </a:lnTo>
                        <a:lnTo>
                          <a:pt x="30" y="8"/>
                        </a:lnTo>
                        <a:lnTo>
                          <a:pt x="27" y="13"/>
                        </a:lnTo>
                        <a:lnTo>
                          <a:pt x="24" y="18"/>
                        </a:lnTo>
                        <a:lnTo>
                          <a:pt x="18" y="29"/>
                        </a:lnTo>
                        <a:lnTo>
                          <a:pt x="15" y="40"/>
                        </a:lnTo>
                        <a:lnTo>
                          <a:pt x="10" y="51"/>
                        </a:lnTo>
                        <a:lnTo>
                          <a:pt x="7" y="62"/>
                        </a:lnTo>
                        <a:lnTo>
                          <a:pt x="6" y="66"/>
                        </a:lnTo>
                        <a:lnTo>
                          <a:pt x="4" y="69"/>
                        </a:lnTo>
                        <a:lnTo>
                          <a:pt x="2" y="72"/>
                        </a:lnTo>
                        <a:lnTo>
                          <a:pt x="0" y="73"/>
                        </a:lnTo>
                        <a:lnTo>
                          <a:pt x="1" y="78"/>
                        </a:lnTo>
                        <a:lnTo>
                          <a:pt x="3" y="84"/>
                        </a:lnTo>
                        <a:lnTo>
                          <a:pt x="7" y="90"/>
                        </a:lnTo>
                        <a:lnTo>
                          <a:pt x="12" y="96"/>
                        </a:lnTo>
                        <a:lnTo>
                          <a:pt x="18" y="101"/>
                        </a:lnTo>
                        <a:lnTo>
                          <a:pt x="25" y="106"/>
                        </a:lnTo>
                        <a:lnTo>
                          <a:pt x="32" y="109"/>
                        </a:lnTo>
                        <a:lnTo>
                          <a:pt x="39" y="11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08" name="Freeform 284">
                    <a:extLst>
                      <a:ext uri="{FF2B5EF4-FFF2-40B4-BE49-F238E27FC236}">
                        <a16:creationId xmlns:a16="http://schemas.microsoft.com/office/drawing/2014/main" xmlns="" id="{44E86324-7A61-47F8-A417-6CF60A724A3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89" y="2422"/>
                    <a:ext cx="24" cy="25"/>
                  </a:xfrm>
                  <a:custGeom>
                    <a:avLst/>
                    <a:gdLst>
                      <a:gd name="T0" fmla="*/ 0 w 72"/>
                      <a:gd name="T1" fmla="*/ 0 h 75"/>
                      <a:gd name="T2" fmla="*/ 0 w 72"/>
                      <a:gd name="T3" fmla="*/ 0 h 75"/>
                      <a:gd name="T4" fmla="*/ 0 w 72"/>
                      <a:gd name="T5" fmla="*/ 0 h 75"/>
                      <a:gd name="T6" fmla="*/ 0 w 72"/>
                      <a:gd name="T7" fmla="*/ 0 h 75"/>
                      <a:gd name="T8" fmla="*/ 0 w 72"/>
                      <a:gd name="T9" fmla="*/ 0 h 75"/>
                      <a:gd name="T10" fmla="*/ 0 w 72"/>
                      <a:gd name="T11" fmla="*/ 0 h 75"/>
                      <a:gd name="T12" fmla="*/ 0 w 72"/>
                      <a:gd name="T13" fmla="*/ 0 h 75"/>
                      <a:gd name="T14" fmla="*/ 0 w 72"/>
                      <a:gd name="T15" fmla="*/ 0 h 75"/>
                      <a:gd name="T16" fmla="*/ 0 w 72"/>
                      <a:gd name="T17" fmla="*/ 0 h 75"/>
                      <a:gd name="T18" fmla="*/ 0 w 72"/>
                      <a:gd name="T19" fmla="*/ 0 h 75"/>
                      <a:gd name="T20" fmla="*/ 0 w 72"/>
                      <a:gd name="T21" fmla="*/ 0 h 75"/>
                      <a:gd name="T22" fmla="*/ 0 w 72"/>
                      <a:gd name="T23" fmla="*/ 0 h 75"/>
                      <a:gd name="T24" fmla="*/ 0 w 72"/>
                      <a:gd name="T25" fmla="*/ 0 h 75"/>
                      <a:gd name="T26" fmla="*/ 0 w 72"/>
                      <a:gd name="T27" fmla="*/ 0 h 75"/>
                      <a:gd name="T28" fmla="*/ 0 w 72"/>
                      <a:gd name="T29" fmla="*/ 0 h 75"/>
                      <a:gd name="T30" fmla="*/ 0 w 72"/>
                      <a:gd name="T31" fmla="*/ 0 h 75"/>
                      <a:gd name="T32" fmla="*/ 0 w 72"/>
                      <a:gd name="T33" fmla="*/ 0 h 75"/>
                      <a:gd name="T34" fmla="*/ 0 w 72"/>
                      <a:gd name="T35" fmla="*/ 0 h 75"/>
                      <a:gd name="T36" fmla="*/ 0 w 72"/>
                      <a:gd name="T37" fmla="*/ 0 h 75"/>
                      <a:gd name="T38" fmla="*/ 0 w 72"/>
                      <a:gd name="T39" fmla="*/ 0 h 75"/>
                      <a:gd name="T40" fmla="*/ 0 w 72"/>
                      <a:gd name="T41" fmla="*/ 0 h 75"/>
                      <a:gd name="T42" fmla="*/ 0 w 72"/>
                      <a:gd name="T43" fmla="*/ 0 h 75"/>
                      <a:gd name="T44" fmla="*/ 0 w 72"/>
                      <a:gd name="T45" fmla="*/ 0 h 75"/>
                      <a:gd name="T46" fmla="*/ 0 w 72"/>
                      <a:gd name="T47" fmla="*/ 0 h 75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72"/>
                      <a:gd name="T73" fmla="*/ 0 h 75"/>
                      <a:gd name="T74" fmla="*/ 72 w 72"/>
                      <a:gd name="T75" fmla="*/ 75 h 75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72" h="75">
                        <a:moveTo>
                          <a:pt x="0" y="13"/>
                        </a:moveTo>
                        <a:lnTo>
                          <a:pt x="8" y="18"/>
                        </a:lnTo>
                        <a:lnTo>
                          <a:pt x="15" y="25"/>
                        </a:lnTo>
                        <a:lnTo>
                          <a:pt x="23" y="32"/>
                        </a:lnTo>
                        <a:lnTo>
                          <a:pt x="31" y="40"/>
                        </a:lnTo>
                        <a:lnTo>
                          <a:pt x="37" y="48"/>
                        </a:lnTo>
                        <a:lnTo>
                          <a:pt x="42" y="57"/>
                        </a:lnTo>
                        <a:lnTo>
                          <a:pt x="45" y="65"/>
                        </a:lnTo>
                        <a:lnTo>
                          <a:pt x="46" y="75"/>
                        </a:lnTo>
                        <a:lnTo>
                          <a:pt x="72" y="75"/>
                        </a:lnTo>
                        <a:lnTo>
                          <a:pt x="65" y="50"/>
                        </a:lnTo>
                        <a:lnTo>
                          <a:pt x="60" y="34"/>
                        </a:lnTo>
                        <a:lnTo>
                          <a:pt x="60" y="27"/>
                        </a:lnTo>
                        <a:lnTo>
                          <a:pt x="63" y="19"/>
                        </a:lnTo>
                        <a:lnTo>
                          <a:pt x="67" y="11"/>
                        </a:lnTo>
                        <a:lnTo>
                          <a:pt x="72" y="1"/>
                        </a:lnTo>
                        <a:lnTo>
                          <a:pt x="52" y="0"/>
                        </a:lnTo>
                        <a:lnTo>
                          <a:pt x="32" y="0"/>
                        </a:lnTo>
                        <a:lnTo>
                          <a:pt x="22" y="1"/>
                        </a:lnTo>
                        <a:lnTo>
                          <a:pt x="13" y="3"/>
                        </a:lnTo>
                        <a:lnTo>
                          <a:pt x="9" y="5"/>
                        </a:lnTo>
                        <a:lnTo>
                          <a:pt x="6" y="7"/>
                        </a:lnTo>
                        <a:lnTo>
                          <a:pt x="2" y="10"/>
                        </a:lnTo>
                        <a:lnTo>
                          <a:pt x="0" y="13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09" name="Freeform 285">
                    <a:extLst>
                      <a:ext uri="{FF2B5EF4-FFF2-40B4-BE49-F238E27FC236}">
                        <a16:creationId xmlns:a16="http://schemas.microsoft.com/office/drawing/2014/main" xmlns="" id="{C5A2BB65-761F-449B-8543-19E58246F17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60" y="2389"/>
                    <a:ext cx="5" cy="16"/>
                  </a:xfrm>
                  <a:custGeom>
                    <a:avLst/>
                    <a:gdLst>
                      <a:gd name="T0" fmla="*/ 0 w 15"/>
                      <a:gd name="T1" fmla="*/ 0 h 49"/>
                      <a:gd name="T2" fmla="*/ 0 w 15"/>
                      <a:gd name="T3" fmla="*/ 0 h 49"/>
                      <a:gd name="T4" fmla="*/ 0 w 15"/>
                      <a:gd name="T5" fmla="*/ 0 h 49"/>
                      <a:gd name="T6" fmla="*/ 0 w 15"/>
                      <a:gd name="T7" fmla="*/ 0 h 49"/>
                      <a:gd name="T8" fmla="*/ 0 w 15"/>
                      <a:gd name="T9" fmla="*/ 0 h 49"/>
                      <a:gd name="T10" fmla="*/ 0 w 15"/>
                      <a:gd name="T11" fmla="*/ 0 h 49"/>
                      <a:gd name="T12" fmla="*/ 0 w 15"/>
                      <a:gd name="T13" fmla="*/ 0 h 49"/>
                      <a:gd name="T14" fmla="*/ 0 w 15"/>
                      <a:gd name="T15" fmla="*/ 0 h 49"/>
                      <a:gd name="T16" fmla="*/ 0 w 15"/>
                      <a:gd name="T17" fmla="*/ 0 h 49"/>
                      <a:gd name="T18" fmla="*/ 0 w 15"/>
                      <a:gd name="T19" fmla="*/ 0 h 49"/>
                      <a:gd name="T20" fmla="*/ 0 w 15"/>
                      <a:gd name="T21" fmla="*/ 0 h 49"/>
                      <a:gd name="T22" fmla="*/ 0 w 15"/>
                      <a:gd name="T23" fmla="*/ 0 h 49"/>
                      <a:gd name="T24" fmla="*/ 0 w 15"/>
                      <a:gd name="T25" fmla="*/ 0 h 49"/>
                      <a:gd name="T26" fmla="*/ 0 w 15"/>
                      <a:gd name="T27" fmla="*/ 0 h 49"/>
                      <a:gd name="T28" fmla="*/ 0 w 15"/>
                      <a:gd name="T29" fmla="*/ 0 h 49"/>
                      <a:gd name="T30" fmla="*/ 0 w 15"/>
                      <a:gd name="T31" fmla="*/ 0 h 49"/>
                      <a:gd name="T32" fmla="*/ 0 w 15"/>
                      <a:gd name="T33" fmla="*/ 0 h 4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15"/>
                      <a:gd name="T52" fmla="*/ 0 h 49"/>
                      <a:gd name="T53" fmla="*/ 15 w 15"/>
                      <a:gd name="T54" fmla="*/ 49 h 4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15" h="49">
                        <a:moveTo>
                          <a:pt x="15" y="49"/>
                        </a:moveTo>
                        <a:lnTo>
                          <a:pt x="15" y="33"/>
                        </a:lnTo>
                        <a:lnTo>
                          <a:pt x="15" y="19"/>
                        </a:lnTo>
                        <a:lnTo>
                          <a:pt x="14" y="13"/>
                        </a:lnTo>
                        <a:lnTo>
                          <a:pt x="13" y="7"/>
                        </a:lnTo>
                        <a:lnTo>
                          <a:pt x="11" y="3"/>
                        </a:lnTo>
                        <a:lnTo>
                          <a:pt x="9" y="0"/>
                        </a:lnTo>
                        <a:lnTo>
                          <a:pt x="4" y="7"/>
                        </a:lnTo>
                        <a:lnTo>
                          <a:pt x="2" y="15"/>
                        </a:lnTo>
                        <a:lnTo>
                          <a:pt x="0" y="23"/>
                        </a:lnTo>
                        <a:lnTo>
                          <a:pt x="0" y="30"/>
                        </a:lnTo>
                        <a:lnTo>
                          <a:pt x="1" y="36"/>
                        </a:lnTo>
                        <a:lnTo>
                          <a:pt x="4" y="42"/>
                        </a:lnTo>
                        <a:lnTo>
                          <a:pt x="7" y="44"/>
                        </a:lnTo>
                        <a:lnTo>
                          <a:pt x="9" y="46"/>
                        </a:lnTo>
                        <a:lnTo>
                          <a:pt x="12" y="48"/>
                        </a:lnTo>
                        <a:lnTo>
                          <a:pt x="15" y="49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10" name="Freeform 286">
                    <a:extLst>
                      <a:ext uri="{FF2B5EF4-FFF2-40B4-BE49-F238E27FC236}">
                        <a16:creationId xmlns:a16="http://schemas.microsoft.com/office/drawing/2014/main" xmlns="" id="{56A36C8D-5B32-4068-AD5E-1249A39305D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39" y="2387"/>
                    <a:ext cx="15" cy="13"/>
                  </a:xfrm>
                  <a:custGeom>
                    <a:avLst/>
                    <a:gdLst>
                      <a:gd name="T0" fmla="*/ 0 w 47"/>
                      <a:gd name="T1" fmla="*/ 0 h 40"/>
                      <a:gd name="T2" fmla="*/ 0 w 47"/>
                      <a:gd name="T3" fmla="*/ 0 h 40"/>
                      <a:gd name="T4" fmla="*/ 0 w 47"/>
                      <a:gd name="T5" fmla="*/ 0 h 40"/>
                      <a:gd name="T6" fmla="*/ 0 w 47"/>
                      <a:gd name="T7" fmla="*/ 0 h 40"/>
                      <a:gd name="T8" fmla="*/ 0 w 47"/>
                      <a:gd name="T9" fmla="*/ 0 h 40"/>
                      <a:gd name="T10" fmla="*/ 0 w 47"/>
                      <a:gd name="T11" fmla="*/ 0 h 40"/>
                      <a:gd name="T12" fmla="*/ 0 w 47"/>
                      <a:gd name="T13" fmla="*/ 0 h 40"/>
                      <a:gd name="T14" fmla="*/ 0 w 47"/>
                      <a:gd name="T15" fmla="*/ 0 h 40"/>
                      <a:gd name="T16" fmla="*/ 0 w 47"/>
                      <a:gd name="T17" fmla="*/ 0 h 40"/>
                      <a:gd name="T18" fmla="*/ 0 w 47"/>
                      <a:gd name="T19" fmla="*/ 0 h 40"/>
                      <a:gd name="T20" fmla="*/ 0 w 47"/>
                      <a:gd name="T21" fmla="*/ 0 h 40"/>
                      <a:gd name="T22" fmla="*/ 0 w 47"/>
                      <a:gd name="T23" fmla="*/ 0 h 40"/>
                      <a:gd name="T24" fmla="*/ 0 w 47"/>
                      <a:gd name="T25" fmla="*/ 0 h 40"/>
                      <a:gd name="T26" fmla="*/ 0 w 47"/>
                      <a:gd name="T27" fmla="*/ 0 h 40"/>
                      <a:gd name="T28" fmla="*/ 0 w 47"/>
                      <a:gd name="T29" fmla="*/ 0 h 40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47"/>
                      <a:gd name="T46" fmla="*/ 0 h 40"/>
                      <a:gd name="T47" fmla="*/ 47 w 47"/>
                      <a:gd name="T48" fmla="*/ 40 h 40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47" h="40">
                        <a:moveTo>
                          <a:pt x="20" y="6"/>
                        </a:moveTo>
                        <a:lnTo>
                          <a:pt x="0" y="37"/>
                        </a:lnTo>
                        <a:lnTo>
                          <a:pt x="6" y="39"/>
                        </a:lnTo>
                        <a:lnTo>
                          <a:pt x="12" y="40"/>
                        </a:lnTo>
                        <a:lnTo>
                          <a:pt x="19" y="39"/>
                        </a:lnTo>
                        <a:lnTo>
                          <a:pt x="26" y="38"/>
                        </a:lnTo>
                        <a:lnTo>
                          <a:pt x="32" y="36"/>
                        </a:lnTo>
                        <a:lnTo>
                          <a:pt x="39" y="33"/>
                        </a:lnTo>
                        <a:lnTo>
                          <a:pt x="43" y="30"/>
                        </a:lnTo>
                        <a:lnTo>
                          <a:pt x="47" y="25"/>
                        </a:lnTo>
                        <a:lnTo>
                          <a:pt x="47" y="0"/>
                        </a:lnTo>
                        <a:lnTo>
                          <a:pt x="41" y="0"/>
                        </a:lnTo>
                        <a:lnTo>
                          <a:pt x="33" y="1"/>
                        </a:lnTo>
                        <a:lnTo>
                          <a:pt x="26" y="3"/>
                        </a:lnTo>
                        <a:lnTo>
                          <a:pt x="20" y="6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11" name="Freeform 287">
                    <a:extLst>
                      <a:ext uri="{FF2B5EF4-FFF2-40B4-BE49-F238E27FC236}">
                        <a16:creationId xmlns:a16="http://schemas.microsoft.com/office/drawing/2014/main" xmlns="" id="{F754A9B7-001C-45C6-B9A4-89B853CAE65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84" y="2465"/>
                    <a:ext cx="13" cy="10"/>
                  </a:xfrm>
                  <a:custGeom>
                    <a:avLst/>
                    <a:gdLst>
                      <a:gd name="T0" fmla="*/ 0 w 39"/>
                      <a:gd name="T1" fmla="*/ 0 h 31"/>
                      <a:gd name="T2" fmla="*/ 0 w 39"/>
                      <a:gd name="T3" fmla="*/ 0 h 31"/>
                      <a:gd name="T4" fmla="*/ 0 w 39"/>
                      <a:gd name="T5" fmla="*/ 0 h 31"/>
                      <a:gd name="T6" fmla="*/ 0 w 39"/>
                      <a:gd name="T7" fmla="*/ 0 h 31"/>
                      <a:gd name="T8" fmla="*/ 0 w 39"/>
                      <a:gd name="T9" fmla="*/ 0 h 31"/>
                      <a:gd name="T10" fmla="*/ 0 w 39"/>
                      <a:gd name="T11" fmla="*/ 0 h 31"/>
                      <a:gd name="T12" fmla="*/ 0 w 39"/>
                      <a:gd name="T13" fmla="*/ 0 h 31"/>
                      <a:gd name="T14" fmla="*/ 0 w 39"/>
                      <a:gd name="T15" fmla="*/ 0 h 31"/>
                      <a:gd name="T16" fmla="*/ 0 w 39"/>
                      <a:gd name="T17" fmla="*/ 0 h 31"/>
                      <a:gd name="T18" fmla="*/ 0 w 39"/>
                      <a:gd name="T19" fmla="*/ 0 h 31"/>
                      <a:gd name="T20" fmla="*/ 0 w 39"/>
                      <a:gd name="T21" fmla="*/ 0 h 31"/>
                      <a:gd name="T22" fmla="*/ 0 w 39"/>
                      <a:gd name="T23" fmla="*/ 0 h 31"/>
                      <a:gd name="T24" fmla="*/ 0 w 39"/>
                      <a:gd name="T25" fmla="*/ 0 h 31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39"/>
                      <a:gd name="T40" fmla="*/ 0 h 31"/>
                      <a:gd name="T41" fmla="*/ 39 w 39"/>
                      <a:gd name="T42" fmla="*/ 31 h 31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39" h="31">
                        <a:moveTo>
                          <a:pt x="0" y="0"/>
                        </a:moveTo>
                        <a:lnTo>
                          <a:pt x="3" y="8"/>
                        </a:lnTo>
                        <a:lnTo>
                          <a:pt x="6" y="13"/>
                        </a:lnTo>
                        <a:lnTo>
                          <a:pt x="12" y="19"/>
                        </a:lnTo>
                        <a:lnTo>
                          <a:pt x="17" y="23"/>
                        </a:lnTo>
                        <a:lnTo>
                          <a:pt x="23" y="26"/>
                        </a:lnTo>
                        <a:lnTo>
                          <a:pt x="28" y="29"/>
                        </a:lnTo>
                        <a:lnTo>
                          <a:pt x="34" y="31"/>
                        </a:lnTo>
                        <a:lnTo>
                          <a:pt x="39" y="31"/>
                        </a:lnTo>
                        <a:lnTo>
                          <a:pt x="33" y="22"/>
                        </a:lnTo>
                        <a:lnTo>
                          <a:pt x="25" y="14"/>
                        </a:lnTo>
                        <a:lnTo>
                          <a:pt x="16" y="7"/>
                        </a:lnTo>
                        <a:lnTo>
                          <a:pt x="6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12" name="Freeform 288">
                    <a:extLst>
                      <a:ext uri="{FF2B5EF4-FFF2-40B4-BE49-F238E27FC236}">
                        <a16:creationId xmlns:a16="http://schemas.microsoft.com/office/drawing/2014/main" xmlns="" id="{16ADC460-4CE9-43FF-AC5A-B3FCA0EF885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72" y="2410"/>
                    <a:ext cx="10" cy="6"/>
                  </a:xfrm>
                  <a:custGeom>
                    <a:avLst/>
                    <a:gdLst>
                      <a:gd name="T0" fmla="*/ 0 w 34"/>
                      <a:gd name="T1" fmla="*/ 0 h 19"/>
                      <a:gd name="T2" fmla="*/ 0 w 34"/>
                      <a:gd name="T3" fmla="*/ 0 h 19"/>
                      <a:gd name="T4" fmla="*/ 0 w 34"/>
                      <a:gd name="T5" fmla="*/ 0 h 19"/>
                      <a:gd name="T6" fmla="*/ 0 w 34"/>
                      <a:gd name="T7" fmla="*/ 0 h 19"/>
                      <a:gd name="T8" fmla="*/ 0 w 34"/>
                      <a:gd name="T9" fmla="*/ 0 h 19"/>
                      <a:gd name="T10" fmla="*/ 0 w 34"/>
                      <a:gd name="T11" fmla="*/ 0 h 19"/>
                      <a:gd name="T12" fmla="*/ 0 w 34"/>
                      <a:gd name="T13" fmla="*/ 0 h 1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34"/>
                      <a:gd name="T22" fmla="*/ 0 h 19"/>
                      <a:gd name="T23" fmla="*/ 34 w 34"/>
                      <a:gd name="T24" fmla="*/ 19 h 1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34" h="19">
                        <a:moveTo>
                          <a:pt x="0" y="0"/>
                        </a:moveTo>
                        <a:lnTo>
                          <a:pt x="34" y="19"/>
                        </a:lnTo>
                        <a:lnTo>
                          <a:pt x="34" y="0"/>
                        </a:lnTo>
                        <a:lnTo>
                          <a:pt x="24" y="0"/>
                        </a:lnTo>
                        <a:lnTo>
                          <a:pt x="14" y="0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13" name="Freeform 289">
                    <a:extLst>
                      <a:ext uri="{FF2B5EF4-FFF2-40B4-BE49-F238E27FC236}">
                        <a16:creationId xmlns:a16="http://schemas.microsoft.com/office/drawing/2014/main" xmlns="" id="{01F72F5C-75AB-418D-8A1A-3B42FBDA44C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80" y="2471"/>
                    <a:ext cx="6" cy="4"/>
                  </a:xfrm>
                  <a:custGeom>
                    <a:avLst/>
                    <a:gdLst>
                      <a:gd name="T0" fmla="*/ 0 w 19"/>
                      <a:gd name="T1" fmla="*/ 0 h 12"/>
                      <a:gd name="T2" fmla="*/ 0 w 19"/>
                      <a:gd name="T3" fmla="*/ 0 h 12"/>
                      <a:gd name="T4" fmla="*/ 0 w 19"/>
                      <a:gd name="T5" fmla="*/ 0 h 12"/>
                      <a:gd name="T6" fmla="*/ 0 w 19"/>
                      <a:gd name="T7" fmla="*/ 0 h 12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9"/>
                      <a:gd name="T13" fmla="*/ 0 h 12"/>
                      <a:gd name="T14" fmla="*/ 19 w 19"/>
                      <a:gd name="T15" fmla="*/ 12 h 12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9" h="12">
                        <a:moveTo>
                          <a:pt x="0" y="0"/>
                        </a:moveTo>
                        <a:lnTo>
                          <a:pt x="19" y="12"/>
                        </a:lnTo>
                        <a:lnTo>
                          <a:pt x="13" y="6"/>
                        </a:lnTo>
                        <a:lnTo>
                          <a:pt x="6" y="6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14" name="Freeform 290">
                    <a:extLst>
                      <a:ext uri="{FF2B5EF4-FFF2-40B4-BE49-F238E27FC236}">
                        <a16:creationId xmlns:a16="http://schemas.microsoft.com/office/drawing/2014/main" xmlns="" id="{B0F554AF-82B5-4CB4-819B-CBC4D9C9D2E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62" y="2447"/>
                    <a:ext cx="42" cy="55"/>
                  </a:xfrm>
                  <a:custGeom>
                    <a:avLst/>
                    <a:gdLst>
                      <a:gd name="T0" fmla="*/ 0 w 126"/>
                      <a:gd name="T1" fmla="*/ 0 h 166"/>
                      <a:gd name="T2" fmla="*/ 0 w 126"/>
                      <a:gd name="T3" fmla="*/ 0 h 166"/>
                      <a:gd name="T4" fmla="*/ 0 w 126"/>
                      <a:gd name="T5" fmla="*/ 0 h 166"/>
                      <a:gd name="T6" fmla="*/ 1 w 126"/>
                      <a:gd name="T7" fmla="*/ 0 h 166"/>
                      <a:gd name="T8" fmla="*/ 1 w 126"/>
                      <a:gd name="T9" fmla="*/ 0 h 166"/>
                      <a:gd name="T10" fmla="*/ 1 w 126"/>
                      <a:gd name="T11" fmla="*/ 0 h 166"/>
                      <a:gd name="T12" fmla="*/ 1 w 126"/>
                      <a:gd name="T13" fmla="*/ 0 h 166"/>
                      <a:gd name="T14" fmla="*/ 1 w 126"/>
                      <a:gd name="T15" fmla="*/ 0 h 166"/>
                      <a:gd name="T16" fmla="*/ 0 w 126"/>
                      <a:gd name="T17" fmla="*/ 0 h 166"/>
                      <a:gd name="T18" fmla="*/ 0 w 126"/>
                      <a:gd name="T19" fmla="*/ 0 h 166"/>
                      <a:gd name="T20" fmla="*/ 0 w 126"/>
                      <a:gd name="T21" fmla="*/ 0 h 166"/>
                      <a:gd name="T22" fmla="*/ 0 w 126"/>
                      <a:gd name="T23" fmla="*/ 0 h 166"/>
                      <a:gd name="T24" fmla="*/ 0 w 126"/>
                      <a:gd name="T25" fmla="*/ 0 h 166"/>
                      <a:gd name="T26" fmla="*/ 0 w 126"/>
                      <a:gd name="T27" fmla="*/ 1 h 166"/>
                      <a:gd name="T28" fmla="*/ 0 w 126"/>
                      <a:gd name="T29" fmla="*/ 1 h 166"/>
                      <a:gd name="T30" fmla="*/ 0 w 126"/>
                      <a:gd name="T31" fmla="*/ 1 h 166"/>
                      <a:gd name="T32" fmla="*/ 0 w 126"/>
                      <a:gd name="T33" fmla="*/ 1 h 166"/>
                      <a:gd name="T34" fmla="*/ 0 w 126"/>
                      <a:gd name="T35" fmla="*/ 1 h 166"/>
                      <a:gd name="T36" fmla="*/ 0 w 126"/>
                      <a:gd name="T37" fmla="*/ 1 h 166"/>
                      <a:gd name="T38" fmla="*/ 0 w 126"/>
                      <a:gd name="T39" fmla="*/ 1 h 166"/>
                      <a:gd name="T40" fmla="*/ 0 w 126"/>
                      <a:gd name="T41" fmla="*/ 1 h 166"/>
                      <a:gd name="T42" fmla="*/ 0 w 126"/>
                      <a:gd name="T43" fmla="*/ 1 h 166"/>
                      <a:gd name="T44" fmla="*/ 0 w 126"/>
                      <a:gd name="T45" fmla="*/ 1 h 166"/>
                      <a:gd name="T46" fmla="*/ 0 w 126"/>
                      <a:gd name="T47" fmla="*/ 1 h 166"/>
                      <a:gd name="T48" fmla="*/ 0 w 126"/>
                      <a:gd name="T49" fmla="*/ 1 h 166"/>
                      <a:gd name="T50" fmla="*/ 0 w 126"/>
                      <a:gd name="T51" fmla="*/ 1 h 166"/>
                      <a:gd name="T52" fmla="*/ 0 w 126"/>
                      <a:gd name="T53" fmla="*/ 0 h 166"/>
                      <a:gd name="T54" fmla="*/ 0 w 126"/>
                      <a:gd name="T55" fmla="*/ 0 h 166"/>
                      <a:gd name="T56" fmla="*/ 0 w 126"/>
                      <a:gd name="T57" fmla="*/ 0 h 166"/>
                      <a:gd name="T58" fmla="*/ 0 w 126"/>
                      <a:gd name="T59" fmla="*/ 0 h 166"/>
                      <a:gd name="T60" fmla="*/ 0 w 126"/>
                      <a:gd name="T61" fmla="*/ 0 h 166"/>
                      <a:gd name="T62" fmla="*/ 0 w 126"/>
                      <a:gd name="T63" fmla="*/ 0 h 166"/>
                      <a:gd name="T64" fmla="*/ 0 w 126"/>
                      <a:gd name="T65" fmla="*/ 0 h 166"/>
                      <a:gd name="T66" fmla="*/ 0 w 126"/>
                      <a:gd name="T67" fmla="*/ 0 h 166"/>
                      <a:gd name="T68" fmla="*/ 0 w 126"/>
                      <a:gd name="T69" fmla="*/ 0 h 166"/>
                      <a:gd name="T70" fmla="*/ 0 w 126"/>
                      <a:gd name="T71" fmla="*/ 0 h 166"/>
                      <a:gd name="T72" fmla="*/ 0 w 126"/>
                      <a:gd name="T73" fmla="*/ 0 h 166"/>
                      <a:gd name="T74" fmla="*/ 0 w 126"/>
                      <a:gd name="T75" fmla="*/ 0 h 166"/>
                      <a:gd name="T76" fmla="*/ 0 w 126"/>
                      <a:gd name="T77" fmla="*/ 0 h 166"/>
                      <a:gd name="T78" fmla="*/ 0 w 126"/>
                      <a:gd name="T79" fmla="*/ 0 h 166"/>
                      <a:gd name="T80" fmla="*/ 0 w 126"/>
                      <a:gd name="T81" fmla="*/ 0 h 16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126"/>
                      <a:gd name="T124" fmla="*/ 0 h 166"/>
                      <a:gd name="T125" fmla="*/ 126 w 126"/>
                      <a:gd name="T126" fmla="*/ 166 h 166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126" h="166">
                        <a:moveTo>
                          <a:pt x="113" y="0"/>
                        </a:moveTo>
                        <a:lnTo>
                          <a:pt x="117" y="5"/>
                        </a:lnTo>
                        <a:lnTo>
                          <a:pt x="121" y="10"/>
                        </a:lnTo>
                        <a:lnTo>
                          <a:pt x="124" y="13"/>
                        </a:lnTo>
                        <a:lnTo>
                          <a:pt x="125" y="17"/>
                        </a:lnTo>
                        <a:lnTo>
                          <a:pt x="126" y="20"/>
                        </a:lnTo>
                        <a:lnTo>
                          <a:pt x="126" y="25"/>
                        </a:lnTo>
                        <a:lnTo>
                          <a:pt x="123" y="32"/>
                        </a:lnTo>
                        <a:lnTo>
                          <a:pt x="118" y="41"/>
                        </a:lnTo>
                        <a:lnTo>
                          <a:pt x="113" y="50"/>
                        </a:lnTo>
                        <a:lnTo>
                          <a:pt x="106" y="61"/>
                        </a:lnTo>
                        <a:lnTo>
                          <a:pt x="91" y="83"/>
                        </a:lnTo>
                        <a:lnTo>
                          <a:pt x="72" y="104"/>
                        </a:lnTo>
                        <a:lnTo>
                          <a:pt x="53" y="126"/>
                        </a:lnTo>
                        <a:lnTo>
                          <a:pt x="34" y="144"/>
                        </a:lnTo>
                        <a:lnTo>
                          <a:pt x="25" y="152"/>
                        </a:lnTo>
                        <a:lnTo>
                          <a:pt x="16" y="158"/>
                        </a:lnTo>
                        <a:lnTo>
                          <a:pt x="7" y="163"/>
                        </a:lnTo>
                        <a:lnTo>
                          <a:pt x="0" y="166"/>
                        </a:lnTo>
                        <a:lnTo>
                          <a:pt x="0" y="160"/>
                        </a:lnTo>
                        <a:lnTo>
                          <a:pt x="0" y="153"/>
                        </a:lnTo>
                        <a:lnTo>
                          <a:pt x="0" y="145"/>
                        </a:lnTo>
                        <a:lnTo>
                          <a:pt x="0" y="136"/>
                        </a:lnTo>
                        <a:lnTo>
                          <a:pt x="3" y="131"/>
                        </a:lnTo>
                        <a:lnTo>
                          <a:pt x="6" y="128"/>
                        </a:lnTo>
                        <a:lnTo>
                          <a:pt x="12" y="124"/>
                        </a:lnTo>
                        <a:lnTo>
                          <a:pt x="16" y="121"/>
                        </a:lnTo>
                        <a:lnTo>
                          <a:pt x="26" y="116"/>
                        </a:lnTo>
                        <a:lnTo>
                          <a:pt x="33" y="110"/>
                        </a:lnTo>
                        <a:lnTo>
                          <a:pt x="40" y="104"/>
                        </a:lnTo>
                        <a:lnTo>
                          <a:pt x="48" y="96"/>
                        </a:lnTo>
                        <a:lnTo>
                          <a:pt x="53" y="89"/>
                        </a:lnTo>
                        <a:lnTo>
                          <a:pt x="58" y="82"/>
                        </a:lnTo>
                        <a:lnTo>
                          <a:pt x="67" y="66"/>
                        </a:lnTo>
                        <a:lnTo>
                          <a:pt x="72" y="50"/>
                        </a:lnTo>
                        <a:lnTo>
                          <a:pt x="79" y="36"/>
                        </a:lnTo>
                        <a:lnTo>
                          <a:pt x="87" y="23"/>
                        </a:lnTo>
                        <a:lnTo>
                          <a:pt x="92" y="16"/>
                        </a:lnTo>
                        <a:lnTo>
                          <a:pt x="97" y="11"/>
                        </a:lnTo>
                        <a:lnTo>
                          <a:pt x="104" y="5"/>
                        </a:lnTo>
                        <a:lnTo>
                          <a:pt x="113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15" name="Freeform 291">
                    <a:extLst>
                      <a:ext uri="{FF2B5EF4-FFF2-40B4-BE49-F238E27FC236}">
                        <a16:creationId xmlns:a16="http://schemas.microsoft.com/office/drawing/2014/main" xmlns="" id="{426246DA-E3C5-4A09-A988-B8A409884C2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54" y="2465"/>
                    <a:ext cx="85" cy="86"/>
                  </a:xfrm>
                  <a:custGeom>
                    <a:avLst/>
                    <a:gdLst>
                      <a:gd name="T0" fmla="*/ 0 w 259"/>
                      <a:gd name="T1" fmla="*/ 1 h 259"/>
                      <a:gd name="T2" fmla="*/ 0 w 259"/>
                      <a:gd name="T3" fmla="*/ 1 h 259"/>
                      <a:gd name="T4" fmla="*/ 0 w 259"/>
                      <a:gd name="T5" fmla="*/ 1 h 259"/>
                      <a:gd name="T6" fmla="*/ 0 w 259"/>
                      <a:gd name="T7" fmla="*/ 1 h 259"/>
                      <a:gd name="T8" fmla="*/ 0 w 259"/>
                      <a:gd name="T9" fmla="*/ 1 h 259"/>
                      <a:gd name="T10" fmla="*/ 0 w 259"/>
                      <a:gd name="T11" fmla="*/ 0 h 259"/>
                      <a:gd name="T12" fmla="*/ 0 w 259"/>
                      <a:gd name="T13" fmla="*/ 0 h 259"/>
                      <a:gd name="T14" fmla="*/ 0 w 259"/>
                      <a:gd name="T15" fmla="*/ 0 h 259"/>
                      <a:gd name="T16" fmla="*/ 0 w 259"/>
                      <a:gd name="T17" fmla="*/ 0 h 259"/>
                      <a:gd name="T18" fmla="*/ 0 w 259"/>
                      <a:gd name="T19" fmla="*/ 0 h 259"/>
                      <a:gd name="T20" fmla="*/ 0 w 259"/>
                      <a:gd name="T21" fmla="*/ 0 h 259"/>
                      <a:gd name="T22" fmla="*/ 0 w 259"/>
                      <a:gd name="T23" fmla="*/ 0 h 259"/>
                      <a:gd name="T24" fmla="*/ 0 w 259"/>
                      <a:gd name="T25" fmla="*/ 0 h 259"/>
                      <a:gd name="T26" fmla="*/ 0 w 259"/>
                      <a:gd name="T27" fmla="*/ 0 h 259"/>
                      <a:gd name="T28" fmla="*/ 1 w 259"/>
                      <a:gd name="T29" fmla="*/ 0 h 259"/>
                      <a:gd name="T30" fmla="*/ 1 w 259"/>
                      <a:gd name="T31" fmla="*/ 0 h 259"/>
                      <a:gd name="T32" fmla="*/ 1 w 259"/>
                      <a:gd name="T33" fmla="*/ 0 h 259"/>
                      <a:gd name="T34" fmla="*/ 1 w 259"/>
                      <a:gd name="T35" fmla="*/ 0 h 259"/>
                      <a:gd name="T36" fmla="*/ 1 w 259"/>
                      <a:gd name="T37" fmla="*/ 0 h 259"/>
                      <a:gd name="T38" fmla="*/ 1 w 259"/>
                      <a:gd name="T39" fmla="*/ 0 h 259"/>
                      <a:gd name="T40" fmla="*/ 1 w 259"/>
                      <a:gd name="T41" fmla="*/ 0 h 259"/>
                      <a:gd name="T42" fmla="*/ 1 w 259"/>
                      <a:gd name="T43" fmla="*/ 0 h 259"/>
                      <a:gd name="T44" fmla="*/ 1 w 259"/>
                      <a:gd name="T45" fmla="*/ 0 h 259"/>
                      <a:gd name="T46" fmla="*/ 1 w 259"/>
                      <a:gd name="T47" fmla="*/ 0 h 259"/>
                      <a:gd name="T48" fmla="*/ 1 w 259"/>
                      <a:gd name="T49" fmla="*/ 0 h 259"/>
                      <a:gd name="T50" fmla="*/ 1 w 259"/>
                      <a:gd name="T51" fmla="*/ 0 h 259"/>
                      <a:gd name="T52" fmla="*/ 1 w 259"/>
                      <a:gd name="T53" fmla="*/ 0 h 259"/>
                      <a:gd name="T54" fmla="*/ 1 w 259"/>
                      <a:gd name="T55" fmla="*/ 0 h 259"/>
                      <a:gd name="T56" fmla="*/ 1 w 259"/>
                      <a:gd name="T57" fmla="*/ 0 h 259"/>
                      <a:gd name="T58" fmla="*/ 1 w 259"/>
                      <a:gd name="T59" fmla="*/ 0 h 259"/>
                      <a:gd name="T60" fmla="*/ 1 w 259"/>
                      <a:gd name="T61" fmla="*/ 1 h 259"/>
                      <a:gd name="T62" fmla="*/ 1 w 259"/>
                      <a:gd name="T63" fmla="*/ 1 h 259"/>
                      <a:gd name="T64" fmla="*/ 1 w 259"/>
                      <a:gd name="T65" fmla="*/ 1 h 259"/>
                      <a:gd name="T66" fmla="*/ 1 w 259"/>
                      <a:gd name="T67" fmla="*/ 1 h 259"/>
                      <a:gd name="T68" fmla="*/ 1 w 259"/>
                      <a:gd name="T69" fmla="*/ 1 h 259"/>
                      <a:gd name="T70" fmla="*/ 1 w 259"/>
                      <a:gd name="T71" fmla="*/ 1 h 259"/>
                      <a:gd name="T72" fmla="*/ 1 w 259"/>
                      <a:gd name="T73" fmla="*/ 1 h 259"/>
                      <a:gd name="T74" fmla="*/ 1 w 259"/>
                      <a:gd name="T75" fmla="*/ 1 h 259"/>
                      <a:gd name="T76" fmla="*/ 1 w 259"/>
                      <a:gd name="T77" fmla="*/ 1 h 259"/>
                      <a:gd name="T78" fmla="*/ 1 w 259"/>
                      <a:gd name="T79" fmla="*/ 1 h 259"/>
                      <a:gd name="T80" fmla="*/ 1 w 259"/>
                      <a:gd name="T81" fmla="*/ 1 h 259"/>
                      <a:gd name="T82" fmla="*/ 0 w 259"/>
                      <a:gd name="T83" fmla="*/ 1 h 259"/>
                      <a:gd name="T84" fmla="*/ 0 w 259"/>
                      <a:gd name="T85" fmla="*/ 1 h 259"/>
                      <a:gd name="T86" fmla="*/ 0 w 259"/>
                      <a:gd name="T87" fmla="*/ 1 h 259"/>
                      <a:gd name="T88" fmla="*/ 0 w 259"/>
                      <a:gd name="T89" fmla="*/ 1 h 259"/>
                      <a:gd name="T90" fmla="*/ 0 w 259"/>
                      <a:gd name="T91" fmla="*/ 1 h 259"/>
                      <a:gd name="T92" fmla="*/ 0 w 259"/>
                      <a:gd name="T93" fmla="*/ 1 h 259"/>
                      <a:gd name="T94" fmla="*/ 0 w 259"/>
                      <a:gd name="T95" fmla="*/ 1 h 259"/>
                      <a:gd name="T96" fmla="*/ 0 w 259"/>
                      <a:gd name="T97" fmla="*/ 1 h 259"/>
                      <a:gd name="T98" fmla="*/ 0 w 259"/>
                      <a:gd name="T99" fmla="*/ 1 h 259"/>
                      <a:gd name="T100" fmla="*/ 0 w 259"/>
                      <a:gd name="T101" fmla="*/ 1 h 259"/>
                      <a:gd name="T102" fmla="*/ 0 w 259"/>
                      <a:gd name="T103" fmla="*/ 1 h 259"/>
                      <a:gd name="T104" fmla="*/ 0 w 259"/>
                      <a:gd name="T105" fmla="*/ 1 h 259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259"/>
                      <a:gd name="T160" fmla="*/ 0 h 259"/>
                      <a:gd name="T161" fmla="*/ 259 w 259"/>
                      <a:gd name="T162" fmla="*/ 259 h 259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259" h="259">
                        <a:moveTo>
                          <a:pt x="13" y="192"/>
                        </a:moveTo>
                        <a:lnTo>
                          <a:pt x="8" y="182"/>
                        </a:lnTo>
                        <a:lnTo>
                          <a:pt x="4" y="173"/>
                        </a:lnTo>
                        <a:lnTo>
                          <a:pt x="1" y="163"/>
                        </a:lnTo>
                        <a:lnTo>
                          <a:pt x="0" y="154"/>
                        </a:lnTo>
                        <a:lnTo>
                          <a:pt x="0" y="142"/>
                        </a:lnTo>
                        <a:lnTo>
                          <a:pt x="0" y="130"/>
                        </a:lnTo>
                        <a:lnTo>
                          <a:pt x="6" y="130"/>
                        </a:lnTo>
                        <a:lnTo>
                          <a:pt x="13" y="128"/>
                        </a:lnTo>
                        <a:lnTo>
                          <a:pt x="19" y="126"/>
                        </a:lnTo>
                        <a:lnTo>
                          <a:pt x="24" y="123"/>
                        </a:lnTo>
                        <a:lnTo>
                          <a:pt x="34" y="117"/>
                        </a:lnTo>
                        <a:lnTo>
                          <a:pt x="41" y="108"/>
                        </a:lnTo>
                        <a:lnTo>
                          <a:pt x="48" y="100"/>
                        </a:lnTo>
                        <a:lnTo>
                          <a:pt x="56" y="93"/>
                        </a:lnTo>
                        <a:lnTo>
                          <a:pt x="60" y="91"/>
                        </a:lnTo>
                        <a:lnTo>
                          <a:pt x="63" y="89"/>
                        </a:lnTo>
                        <a:lnTo>
                          <a:pt x="68" y="87"/>
                        </a:lnTo>
                        <a:lnTo>
                          <a:pt x="73" y="87"/>
                        </a:lnTo>
                        <a:lnTo>
                          <a:pt x="83" y="87"/>
                        </a:lnTo>
                        <a:lnTo>
                          <a:pt x="93" y="87"/>
                        </a:lnTo>
                        <a:lnTo>
                          <a:pt x="94" y="93"/>
                        </a:lnTo>
                        <a:lnTo>
                          <a:pt x="97" y="101"/>
                        </a:lnTo>
                        <a:lnTo>
                          <a:pt x="101" y="105"/>
                        </a:lnTo>
                        <a:lnTo>
                          <a:pt x="104" y="108"/>
                        </a:lnTo>
                        <a:lnTo>
                          <a:pt x="108" y="110"/>
                        </a:lnTo>
                        <a:lnTo>
                          <a:pt x="113" y="111"/>
                        </a:lnTo>
                        <a:lnTo>
                          <a:pt x="120" y="110"/>
                        </a:lnTo>
                        <a:lnTo>
                          <a:pt x="127" y="108"/>
                        </a:lnTo>
                        <a:lnTo>
                          <a:pt x="135" y="104"/>
                        </a:lnTo>
                        <a:lnTo>
                          <a:pt x="141" y="99"/>
                        </a:lnTo>
                        <a:lnTo>
                          <a:pt x="148" y="93"/>
                        </a:lnTo>
                        <a:lnTo>
                          <a:pt x="153" y="86"/>
                        </a:lnTo>
                        <a:lnTo>
                          <a:pt x="160" y="78"/>
                        </a:lnTo>
                        <a:lnTo>
                          <a:pt x="165" y="70"/>
                        </a:lnTo>
                        <a:lnTo>
                          <a:pt x="174" y="51"/>
                        </a:lnTo>
                        <a:lnTo>
                          <a:pt x="183" y="33"/>
                        </a:lnTo>
                        <a:lnTo>
                          <a:pt x="188" y="16"/>
                        </a:lnTo>
                        <a:lnTo>
                          <a:pt x="193" y="0"/>
                        </a:lnTo>
                        <a:lnTo>
                          <a:pt x="195" y="4"/>
                        </a:lnTo>
                        <a:lnTo>
                          <a:pt x="198" y="9"/>
                        </a:lnTo>
                        <a:lnTo>
                          <a:pt x="202" y="12"/>
                        </a:lnTo>
                        <a:lnTo>
                          <a:pt x="206" y="15"/>
                        </a:lnTo>
                        <a:lnTo>
                          <a:pt x="213" y="18"/>
                        </a:lnTo>
                        <a:lnTo>
                          <a:pt x="219" y="19"/>
                        </a:lnTo>
                        <a:lnTo>
                          <a:pt x="219" y="32"/>
                        </a:lnTo>
                        <a:lnTo>
                          <a:pt x="219" y="44"/>
                        </a:lnTo>
                        <a:lnTo>
                          <a:pt x="219" y="52"/>
                        </a:lnTo>
                        <a:lnTo>
                          <a:pt x="219" y="55"/>
                        </a:lnTo>
                        <a:lnTo>
                          <a:pt x="227" y="61"/>
                        </a:lnTo>
                        <a:lnTo>
                          <a:pt x="231" y="66"/>
                        </a:lnTo>
                        <a:lnTo>
                          <a:pt x="234" y="70"/>
                        </a:lnTo>
                        <a:lnTo>
                          <a:pt x="239" y="75"/>
                        </a:lnTo>
                        <a:lnTo>
                          <a:pt x="234" y="88"/>
                        </a:lnTo>
                        <a:lnTo>
                          <a:pt x="233" y="100"/>
                        </a:lnTo>
                        <a:lnTo>
                          <a:pt x="234" y="104"/>
                        </a:lnTo>
                        <a:lnTo>
                          <a:pt x="234" y="108"/>
                        </a:lnTo>
                        <a:lnTo>
                          <a:pt x="237" y="110"/>
                        </a:lnTo>
                        <a:lnTo>
                          <a:pt x="239" y="111"/>
                        </a:lnTo>
                        <a:lnTo>
                          <a:pt x="243" y="121"/>
                        </a:lnTo>
                        <a:lnTo>
                          <a:pt x="247" y="129"/>
                        </a:lnTo>
                        <a:lnTo>
                          <a:pt x="249" y="137"/>
                        </a:lnTo>
                        <a:lnTo>
                          <a:pt x="251" y="145"/>
                        </a:lnTo>
                        <a:lnTo>
                          <a:pt x="254" y="161"/>
                        </a:lnTo>
                        <a:lnTo>
                          <a:pt x="259" y="179"/>
                        </a:lnTo>
                        <a:lnTo>
                          <a:pt x="245" y="235"/>
                        </a:lnTo>
                        <a:lnTo>
                          <a:pt x="241" y="230"/>
                        </a:lnTo>
                        <a:lnTo>
                          <a:pt x="239" y="222"/>
                        </a:lnTo>
                        <a:lnTo>
                          <a:pt x="238" y="215"/>
                        </a:lnTo>
                        <a:lnTo>
                          <a:pt x="237" y="208"/>
                        </a:lnTo>
                        <a:lnTo>
                          <a:pt x="238" y="196"/>
                        </a:lnTo>
                        <a:lnTo>
                          <a:pt x="239" y="192"/>
                        </a:lnTo>
                        <a:lnTo>
                          <a:pt x="231" y="191"/>
                        </a:lnTo>
                        <a:lnTo>
                          <a:pt x="222" y="188"/>
                        </a:lnTo>
                        <a:lnTo>
                          <a:pt x="213" y="184"/>
                        </a:lnTo>
                        <a:lnTo>
                          <a:pt x="206" y="179"/>
                        </a:lnTo>
                        <a:lnTo>
                          <a:pt x="199" y="189"/>
                        </a:lnTo>
                        <a:lnTo>
                          <a:pt x="194" y="199"/>
                        </a:lnTo>
                        <a:lnTo>
                          <a:pt x="191" y="209"/>
                        </a:lnTo>
                        <a:lnTo>
                          <a:pt x="188" y="219"/>
                        </a:lnTo>
                        <a:lnTo>
                          <a:pt x="186" y="240"/>
                        </a:lnTo>
                        <a:lnTo>
                          <a:pt x="185" y="259"/>
                        </a:lnTo>
                        <a:lnTo>
                          <a:pt x="132" y="259"/>
                        </a:lnTo>
                        <a:lnTo>
                          <a:pt x="124" y="242"/>
                        </a:lnTo>
                        <a:lnTo>
                          <a:pt x="115" y="226"/>
                        </a:lnTo>
                        <a:lnTo>
                          <a:pt x="110" y="220"/>
                        </a:lnTo>
                        <a:lnTo>
                          <a:pt x="105" y="214"/>
                        </a:lnTo>
                        <a:lnTo>
                          <a:pt x="99" y="209"/>
                        </a:lnTo>
                        <a:lnTo>
                          <a:pt x="93" y="204"/>
                        </a:lnTo>
                        <a:lnTo>
                          <a:pt x="97" y="196"/>
                        </a:lnTo>
                        <a:lnTo>
                          <a:pt x="102" y="190"/>
                        </a:lnTo>
                        <a:lnTo>
                          <a:pt x="105" y="186"/>
                        </a:lnTo>
                        <a:lnTo>
                          <a:pt x="108" y="183"/>
                        </a:lnTo>
                        <a:lnTo>
                          <a:pt x="112" y="180"/>
                        </a:lnTo>
                        <a:lnTo>
                          <a:pt x="114" y="177"/>
                        </a:lnTo>
                        <a:lnTo>
                          <a:pt x="117" y="173"/>
                        </a:lnTo>
                        <a:lnTo>
                          <a:pt x="119" y="166"/>
                        </a:lnTo>
                        <a:lnTo>
                          <a:pt x="93" y="154"/>
                        </a:lnTo>
                        <a:lnTo>
                          <a:pt x="32" y="154"/>
                        </a:lnTo>
                        <a:lnTo>
                          <a:pt x="28" y="155"/>
                        </a:lnTo>
                        <a:lnTo>
                          <a:pt x="24" y="158"/>
                        </a:lnTo>
                        <a:lnTo>
                          <a:pt x="20" y="163"/>
                        </a:lnTo>
                        <a:lnTo>
                          <a:pt x="18" y="168"/>
                        </a:lnTo>
                        <a:lnTo>
                          <a:pt x="16" y="175"/>
                        </a:lnTo>
                        <a:lnTo>
                          <a:pt x="14" y="181"/>
                        </a:lnTo>
                        <a:lnTo>
                          <a:pt x="13" y="187"/>
                        </a:lnTo>
                        <a:lnTo>
                          <a:pt x="13" y="192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16" name="Freeform 292">
                    <a:extLst>
                      <a:ext uri="{FF2B5EF4-FFF2-40B4-BE49-F238E27FC236}">
                        <a16:creationId xmlns:a16="http://schemas.microsoft.com/office/drawing/2014/main" xmlns="" id="{37644E3C-582F-475A-8CC4-FAF5A57DD43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04" y="2395"/>
                    <a:ext cx="23" cy="31"/>
                  </a:xfrm>
                  <a:custGeom>
                    <a:avLst/>
                    <a:gdLst>
                      <a:gd name="T0" fmla="*/ 0 w 72"/>
                      <a:gd name="T1" fmla="*/ 0 h 92"/>
                      <a:gd name="T2" fmla="*/ 0 w 72"/>
                      <a:gd name="T3" fmla="*/ 0 h 92"/>
                      <a:gd name="T4" fmla="*/ 0 w 72"/>
                      <a:gd name="T5" fmla="*/ 0 h 92"/>
                      <a:gd name="T6" fmla="*/ 0 w 72"/>
                      <a:gd name="T7" fmla="*/ 0 h 92"/>
                      <a:gd name="T8" fmla="*/ 0 w 72"/>
                      <a:gd name="T9" fmla="*/ 0 h 92"/>
                      <a:gd name="T10" fmla="*/ 0 w 72"/>
                      <a:gd name="T11" fmla="*/ 0 h 92"/>
                      <a:gd name="T12" fmla="*/ 0 w 72"/>
                      <a:gd name="T13" fmla="*/ 0 h 92"/>
                      <a:gd name="T14" fmla="*/ 0 w 72"/>
                      <a:gd name="T15" fmla="*/ 0 h 92"/>
                      <a:gd name="T16" fmla="*/ 0 w 72"/>
                      <a:gd name="T17" fmla="*/ 0 h 92"/>
                      <a:gd name="T18" fmla="*/ 0 w 72"/>
                      <a:gd name="T19" fmla="*/ 0 h 92"/>
                      <a:gd name="T20" fmla="*/ 0 w 72"/>
                      <a:gd name="T21" fmla="*/ 0 h 92"/>
                      <a:gd name="T22" fmla="*/ 0 w 72"/>
                      <a:gd name="T23" fmla="*/ 0 h 92"/>
                      <a:gd name="T24" fmla="*/ 0 w 72"/>
                      <a:gd name="T25" fmla="*/ 0 h 92"/>
                      <a:gd name="T26" fmla="*/ 0 w 72"/>
                      <a:gd name="T27" fmla="*/ 0 h 92"/>
                      <a:gd name="T28" fmla="*/ 0 w 72"/>
                      <a:gd name="T29" fmla="*/ 0 h 92"/>
                      <a:gd name="T30" fmla="*/ 0 w 72"/>
                      <a:gd name="T31" fmla="*/ 0 h 92"/>
                      <a:gd name="T32" fmla="*/ 0 w 72"/>
                      <a:gd name="T33" fmla="*/ 0 h 92"/>
                      <a:gd name="T34" fmla="*/ 0 w 72"/>
                      <a:gd name="T35" fmla="*/ 0 h 92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72"/>
                      <a:gd name="T55" fmla="*/ 0 h 92"/>
                      <a:gd name="T56" fmla="*/ 72 w 72"/>
                      <a:gd name="T57" fmla="*/ 92 h 92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72" h="92">
                        <a:moveTo>
                          <a:pt x="72" y="43"/>
                        </a:moveTo>
                        <a:lnTo>
                          <a:pt x="72" y="92"/>
                        </a:lnTo>
                        <a:lnTo>
                          <a:pt x="65" y="86"/>
                        </a:lnTo>
                        <a:lnTo>
                          <a:pt x="58" y="81"/>
                        </a:lnTo>
                        <a:lnTo>
                          <a:pt x="51" y="75"/>
                        </a:lnTo>
                        <a:lnTo>
                          <a:pt x="46" y="69"/>
                        </a:lnTo>
                        <a:lnTo>
                          <a:pt x="38" y="58"/>
                        </a:lnTo>
                        <a:lnTo>
                          <a:pt x="32" y="46"/>
                        </a:lnTo>
                        <a:lnTo>
                          <a:pt x="25" y="34"/>
                        </a:lnTo>
                        <a:lnTo>
                          <a:pt x="19" y="23"/>
                        </a:lnTo>
                        <a:lnTo>
                          <a:pt x="11" y="12"/>
                        </a:lnTo>
                        <a:lnTo>
                          <a:pt x="0" y="0"/>
                        </a:lnTo>
                        <a:lnTo>
                          <a:pt x="25" y="12"/>
                        </a:lnTo>
                        <a:lnTo>
                          <a:pt x="44" y="21"/>
                        </a:lnTo>
                        <a:lnTo>
                          <a:pt x="51" y="26"/>
                        </a:lnTo>
                        <a:lnTo>
                          <a:pt x="58" y="31"/>
                        </a:lnTo>
                        <a:lnTo>
                          <a:pt x="66" y="36"/>
                        </a:lnTo>
                        <a:lnTo>
                          <a:pt x="72" y="43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17" name="Freeform 293">
                    <a:extLst>
                      <a:ext uri="{FF2B5EF4-FFF2-40B4-BE49-F238E27FC236}">
                        <a16:creationId xmlns:a16="http://schemas.microsoft.com/office/drawing/2014/main" xmlns="" id="{6A5B424A-A8B2-4F42-88BE-FB02967FBF3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43" y="2436"/>
                    <a:ext cx="16" cy="21"/>
                  </a:xfrm>
                  <a:custGeom>
                    <a:avLst/>
                    <a:gdLst>
                      <a:gd name="T0" fmla="*/ 0 w 46"/>
                      <a:gd name="T1" fmla="*/ 0 h 62"/>
                      <a:gd name="T2" fmla="*/ 0 w 46"/>
                      <a:gd name="T3" fmla="*/ 0 h 62"/>
                      <a:gd name="T4" fmla="*/ 0 w 46"/>
                      <a:gd name="T5" fmla="*/ 0 h 62"/>
                      <a:gd name="T6" fmla="*/ 0 w 46"/>
                      <a:gd name="T7" fmla="*/ 0 h 62"/>
                      <a:gd name="T8" fmla="*/ 0 w 46"/>
                      <a:gd name="T9" fmla="*/ 0 h 62"/>
                      <a:gd name="T10" fmla="*/ 0 w 46"/>
                      <a:gd name="T11" fmla="*/ 0 h 62"/>
                      <a:gd name="T12" fmla="*/ 0 w 46"/>
                      <a:gd name="T13" fmla="*/ 0 h 62"/>
                      <a:gd name="T14" fmla="*/ 0 w 46"/>
                      <a:gd name="T15" fmla="*/ 0 h 62"/>
                      <a:gd name="T16" fmla="*/ 0 w 46"/>
                      <a:gd name="T17" fmla="*/ 0 h 62"/>
                      <a:gd name="T18" fmla="*/ 0 w 46"/>
                      <a:gd name="T19" fmla="*/ 0 h 62"/>
                      <a:gd name="T20" fmla="*/ 0 w 46"/>
                      <a:gd name="T21" fmla="*/ 0 h 62"/>
                      <a:gd name="T22" fmla="*/ 0 w 46"/>
                      <a:gd name="T23" fmla="*/ 0 h 62"/>
                      <a:gd name="T24" fmla="*/ 0 w 46"/>
                      <a:gd name="T25" fmla="*/ 0 h 62"/>
                      <a:gd name="T26" fmla="*/ 0 w 46"/>
                      <a:gd name="T27" fmla="*/ 0 h 62"/>
                      <a:gd name="T28" fmla="*/ 0 w 46"/>
                      <a:gd name="T29" fmla="*/ 0 h 62"/>
                      <a:gd name="T30" fmla="*/ 0 w 46"/>
                      <a:gd name="T31" fmla="*/ 0 h 62"/>
                      <a:gd name="T32" fmla="*/ 0 w 46"/>
                      <a:gd name="T33" fmla="*/ 0 h 62"/>
                      <a:gd name="T34" fmla="*/ 0 w 46"/>
                      <a:gd name="T35" fmla="*/ 0 h 62"/>
                      <a:gd name="T36" fmla="*/ 0 w 46"/>
                      <a:gd name="T37" fmla="*/ 0 h 62"/>
                      <a:gd name="T38" fmla="*/ 0 w 46"/>
                      <a:gd name="T39" fmla="*/ 0 h 62"/>
                      <a:gd name="T40" fmla="*/ 0 w 46"/>
                      <a:gd name="T41" fmla="*/ 0 h 62"/>
                      <a:gd name="T42" fmla="*/ 0 w 46"/>
                      <a:gd name="T43" fmla="*/ 0 h 62"/>
                      <a:gd name="T44" fmla="*/ 0 w 46"/>
                      <a:gd name="T45" fmla="*/ 0 h 62"/>
                      <a:gd name="T46" fmla="*/ 0 w 46"/>
                      <a:gd name="T47" fmla="*/ 0 h 62"/>
                      <a:gd name="T48" fmla="*/ 0 w 46"/>
                      <a:gd name="T49" fmla="*/ 0 h 62"/>
                      <a:gd name="T50" fmla="*/ 0 w 46"/>
                      <a:gd name="T51" fmla="*/ 0 h 62"/>
                      <a:gd name="T52" fmla="*/ 0 w 46"/>
                      <a:gd name="T53" fmla="*/ 0 h 62"/>
                      <a:gd name="T54" fmla="*/ 0 w 46"/>
                      <a:gd name="T55" fmla="*/ 0 h 62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w 46"/>
                      <a:gd name="T85" fmla="*/ 0 h 62"/>
                      <a:gd name="T86" fmla="*/ 46 w 46"/>
                      <a:gd name="T87" fmla="*/ 62 h 62"/>
                    </a:gdLst>
                    <a:ahLst/>
                    <a:cxnLst>
                      <a:cxn ang="T56">
                        <a:pos x="T0" y="T1"/>
                      </a:cxn>
                      <a:cxn ang="T57">
                        <a:pos x="T2" y="T3"/>
                      </a:cxn>
                      <a:cxn ang="T58">
                        <a:pos x="T4" y="T5"/>
                      </a:cxn>
                      <a:cxn ang="T59">
                        <a:pos x="T6" y="T7"/>
                      </a:cxn>
                      <a:cxn ang="T60">
                        <a:pos x="T8" y="T9"/>
                      </a:cxn>
                      <a:cxn ang="T61">
                        <a:pos x="T10" y="T11"/>
                      </a:cxn>
                      <a:cxn ang="T62">
                        <a:pos x="T12" y="T13"/>
                      </a:cxn>
                      <a:cxn ang="T63">
                        <a:pos x="T14" y="T15"/>
                      </a:cxn>
                      <a:cxn ang="T64">
                        <a:pos x="T16" y="T17"/>
                      </a:cxn>
                      <a:cxn ang="T65">
                        <a:pos x="T18" y="T19"/>
                      </a:cxn>
                      <a:cxn ang="T66">
                        <a:pos x="T20" y="T21"/>
                      </a:cxn>
                      <a:cxn ang="T67">
                        <a:pos x="T22" y="T23"/>
                      </a:cxn>
                      <a:cxn ang="T68">
                        <a:pos x="T24" y="T25"/>
                      </a:cxn>
                      <a:cxn ang="T69">
                        <a:pos x="T26" y="T27"/>
                      </a:cxn>
                      <a:cxn ang="T70">
                        <a:pos x="T28" y="T29"/>
                      </a:cxn>
                      <a:cxn ang="T71">
                        <a:pos x="T30" y="T31"/>
                      </a:cxn>
                      <a:cxn ang="T72">
                        <a:pos x="T32" y="T33"/>
                      </a:cxn>
                      <a:cxn ang="T73">
                        <a:pos x="T34" y="T35"/>
                      </a:cxn>
                      <a:cxn ang="T74">
                        <a:pos x="T36" y="T37"/>
                      </a:cxn>
                      <a:cxn ang="T75">
                        <a:pos x="T38" y="T39"/>
                      </a:cxn>
                      <a:cxn ang="T76">
                        <a:pos x="T40" y="T41"/>
                      </a:cxn>
                      <a:cxn ang="T77">
                        <a:pos x="T42" y="T43"/>
                      </a:cxn>
                      <a:cxn ang="T78">
                        <a:pos x="T44" y="T45"/>
                      </a:cxn>
                      <a:cxn ang="T79">
                        <a:pos x="T46" y="T47"/>
                      </a:cxn>
                      <a:cxn ang="T80">
                        <a:pos x="T48" y="T49"/>
                      </a:cxn>
                      <a:cxn ang="T81">
                        <a:pos x="T50" y="T51"/>
                      </a:cxn>
                      <a:cxn ang="T82">
                        <a:pos x="T52" y="T53"/>
                      </a:cxn>
                      <a:cxn ang="T83">
                        <a:pos x="T54" y="T55"/>
                      </a:cxn>
                    </a:cxnLst>
                    <a:rect l="T84" t="T85" r="T86" b="T87"/>
                    <a:pathLst>
                      <a:path w="46" h="62">
                        <a:moveTo>
                          <a:pt x="6" y="6"/>
                        </a:moveTo>
                        <a:lnTo>
                          <a:pt x="19" y="5"/>
                        </a:lnTo>
                        <a:lnTo>
                          <a:pt x="31" y="3"/>
                        </a:lnTo>
                        <a:lnTo>
                          <a:pt x="39" y="1"/>
                        </a:lnTo>
                        <a:lnTo>
                          <a:pt x="46" y="0"/>
                        </a:lnTo>
                        <a:lnTo>
                          <a:pt x="46" y="9"/>
                        </a:lnTo>
                        <a:lnTo>
                          <a:pt x="46" y="18"/>
                        </a:lnTo>
                        <a:lnTo>
                          <a:pt x="46" y="27"/>
                        </a:lnTo>
                        <a:lnTo>
                          <a:pt x="46" y="38"/>
                        </a:lnTo>
                        <a:lnTo>
                          <a:pt x="45" y="46"/>
                        </a:lnTo>
                        <a:lnTo>
                          <a:pt x="41" y="54"/>
                        </a:lnTo>
                        <a:lnTo>
                          <a:pt x="39" y="57"/>
                        </a:lnTo>
                        <a:lnTo>
                          <a:pt x="37" y="60"/>
                        </a:lnTo>
                        <a:lnTo>
                          <a:pt x="35" y="61"/>
                        </a:lnTo>
                        <a:lnTo>
                          <a:pt x="33" y="62"/>
                        </a:lnTo>
                        <a:lnTo>
                          <a:pt x="27" y="61"/>
                        </a:lnTo>
                        <a:lnTo>
                          <a:pt x="22" y="60"/>
                        </a:lnTo>
                        <a:lnTo>
                          <a:pt x="17" y="59"/>
                        </a:lnTo>
                        <a:lnTo>
                          <a:pt x="14" y="57"/>
                        </a:lnTo>
                        <a:lnTo>
                          <a:pt x="11" y="54"/>
                        </a:lnTo>
                        <a:lnTo>
                          <a:pt x="7" y="51"/>
                        </a:lnTo>
                        <a:lnTo>
                          <a:pt x="5" y="47"/>
                        </a:lnTo>
                        <a:lnTo>
                          <a:pt x="4" y="44"/>
                        </a:lnTo>
                        <a:lnTo>
                          <a:pt x="1" y="34"/>
                        </a:lnTo>
                        <a:lnTo>
                          <a:pt x="0" y="25"/>
                        </a:lnTo>
                        <a:lnTo>
                          <a:pt x="0" y="16"/>
                        </a:lnTo>
                        <a:lnTo>
                          <a:pt x="0" y="6"/>
                        </a:lnTo>
                        <a:lnTo>
                          <a:pt x="6" y="6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18" name="Freeform 294">
                    <a:extLst>
                      <a:ext uri="{FF2B5EF4-FFF2-40B4-BE49-F238E27FC236}">
                        <a16:creationId xmlns:a16="http://schemas.microsoft.com/office/drawing/2014/main" xmlns="" id="{9970C62E-F244-46AB-9A56-1840A71E36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89" y="2295"/>
                    <a:ext cx="50" cy="98"/>
                  </a:xfrm>
                  <a:custGeom>
                    <a:avLst/>
                    <a:gdLst>
                      <a:gd name="T0" fmla="*/ 0 w 152"/>
                      <a:gd name="T1" fmla="*/ 0 h 296"/>
                      <a:gd name="T2" fmla="*/ 0 w 152"/>
                      <a:gd name="T3" fmla="*/ 0 h 296"/>
                      <a:gd name="T4" fmla="*/ 0 w 152"/>
                      <a:gd name="T5" fmla="*/ 0 h 296"/>
                      <a:gd name="T6" fmla="*/ 0 w 152"/>
                      <a:gd name="T7" fmla="*/ 0 h 296"/>
                      <a:gd name="T8" fmla="*/ 0 w 152"/>
                      <a:gd name="T9" fmla="*/ 0 h 296"/>
                      <a:gd name="T10" fmla="*/ 0 w 152"/>
                      <a:gd name="T11" fmla="*/ 0 h 296"/>
                      <a:gd name="T12" fmla="*/ 0 w 152"/>
                      <a:gd name="T13" fmla="*/ 0 h 296"/>
                      <a:gd name="T14" fmla="*/ 0 w 152"/>
                      <a:gd name="T15" fmla="*/ 0 h 296"/>
                      <a:gd name="T16" fmla="*/ 1 w 152"/>
                      <a:gd name="T17" fmla="*/ 0 h 296"/>
                      <a:gd name="T18" fmla="*/ 1 w 152"/>
                      <a:gd name="T19" fmla="*/ 0 h 296"/>
                      <a:gd name="T20" fmla="*/ 1 w 152"/>
                      <a:gd name="T21" fmla="*/ 0 h 296"/>
                      <a:gd name="T22" fmla="*/ 1 w 152"/>
                      <a:gd name="T23" fmla="*/ 0 h 296"/>
                      <a:gd name="T24" fmla="*/ 1 w 152"/>
                      <a:gd name="T25" fmla="*/ 0 h 296"/>
                      <a:gd name="T26" fmla="*/ 1 w 152"/>
                      <a:gd name="T27" fmla="*/ 1 h 296"/>
                      <a:gd name="T28" fmla="*/ 0 w 152"/>
                      <a:gd name="T29" fmla="*/ 1 h 296"/>
                      <a:gd name="T30" fmla="*/ 0 w 152"/>
                      <a:gd name="T31" fmla="*/ 1 h 296"/>
                      <a:gd name="T32" fmla="*/ 0 w 152"/>
                      <a:gd name="T33" fmla="*/ 1 h 296"/>
                      <a:gd name="T34" fmla="*/ 0 w 152"/>
                      <a:gd name="T35" fmla="*/ 1 h 296"/>
                      <a:gd name="T36" fmla="*/ 0 w 152"/>
                      <a:gd name="T37" fmla="*/ 1 h 296"/>
                      <a:gd name="T38" fmla="*/ 0 w 152"/>
                      <a:gd name="T39" fmla="*/ 1 h 296"/>
                      <a:gd name="T40" fmla="*/ 1 w 152"/>
                      <a:gd name="T41" fmla="*/ 1 h 296"/>
                      <a:gd name="T42" fmla="*/ 1 w 152"/>
                      <a:gd name="T43" fmla="*/ 1 h 296"/>
                      <a:gd name="T44" fmla="*/ 1 w 152"/>
                      <a:gd name="T45" fmla="*/ 1 h 296"/>
                      <a:gd name="T46" fmla="*/ 1 w 152"/>
                      <a:gd name="T47" fmla="*/ 1 h 296"/>
                      <a:gd name="T48" fmla="*/ 0 w 152"/>
                      <a:gd name="T49" fmla="*/ 1 h 296"/>
                      <a:gd name="T50" fmla="*/ 0 w 152"/>
                      <a:gd name="T51" fmla="*/ 1 h 296"/>
                      <a:gd name="T52" fmla="*/ 0 w 152"/>
                      <a:gd name="T53" fmla="*/ 1 h 296"/>
                      <a:gd name="T54" fmla="*/ 0 w 152"/>
                      <a:gd name="T55" fmla="*/ 1 h 296"/>
                      <a:gd name="T56" fmla="*/ 0 w 152"/>
                      <a:gd name="T57" fmla="*/ 1 h 296"/>
                      <a:gd name="T58" fmla="*/ 0 w 152"/>
                      <a:gd name="T59" fmla="*/ 1 h 296"/>
                      <a:gd name="T60" fmla="*/ 0 w 152"/>
                      <a:gd name="T61" fmla="*/ 1 h 296"/>
                      <a:gd name="T62" fmla="*/ 0 w 152"/>
                      <a:gd name="T63" fmla="*/ 1 h 296"/>
                      <a:gd name="T64" fmla="*/ 0 w 152"/>
                      <a:gd name="T65" fmla="*/ 1 h 296"/>
                      <a:gd name="T66" fmla="*/ 0 w 152"/>
                      <a:gd name="T67" fmla="*/ 1 h 296"/>
                      <a:gd name="T68" fmla="*/ 0 w 152"/>
                      <a:gd name="T69" fmla="*/ 1 h 296"/>
                      <a:gd name="T70" fmla="*/ 0 w 152"/>
                      <a:gd name="T71" fmla="*/ 1 h 296"/>
                      <a:gd name="T72" fmla="*/ 0 w 152"/>
                      <a:gd name="T73" fmla="*/ 1 h 296"/>
                      <a:gd name="T74" fmla="*/ 0 w 152"/>
                      <a:gd name="T75" fmla="*/ 1 h 296"/>
                      <a:gd name="T76" fmla="*/ 0 w 152"/>
                      <a:gd name="T77" fmla="*/ 1 h 296"/>
                      <a:gd name="T78" fmla="*/ 0 w 152"/>
                      <a:gd name="T79" fmla="*/ 1 h 296"/>
                      <a:gd name="T80" fmla="*/ 0 w 152"/>
                      <a:gd name="T81" fmla="*/ 0 h 296"/>
                      <a:gd name="T82" fmla="*/ 0 w 152"/>
                      <a:gd name="T83" fmla="*/ 0 h 296"/>
                      <a:gd name="T84" fmla="*/ 0 w 152"/>
                      <a:gd name="T85" fmla="*/ 0 h 296"/>
                      <a:gd name="T86" fmla="*/ 0 w 152"/>
                      <a:gd name="T87" fmla="*/ 0 h 29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w 152"/>
                      <a:gd name="T133" fmla="*/ 0 h 296"/>
                      <a:gd name="T134" fmla="*/ 152 w 152"/>
                      <a:gd name="T135" fmla="*/ 296 h 296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T132" t="T133" r="T134" b="T135"/>
                    <a:pathLst>
                      <a:path w="152" h="296">
                        <a:moveTo>
                          <a:pt x="26" y="0"/>
                        </a:moveTo>
                        <a:lnTo>
                          <a:pt x="59" y="0"/>
                        </a:lnTo>
                        <a:lnTo>
                          <a:pt x="62" y="4"/>
                        </a:lnTo>
                        <a:lnTo>
                          <a:pt x="66" y="9"/>
                        </a:lnTo>
                        <a:lnTo>
                          <a:pt x="71" y="13"/>
                        </a:lnTo>
                        <a:lnTo>
                          <a:pt x="77" y="17"/>
                        </a:lnTo>
                        <a:lnTo>
                          <a:pt x="82" y="21"/>
                        </a:lnTo>
                        <a:lnTo>
                          <a:pt x="88" y="23"/>
                        </a:lnTo>
                        <a:lnTo>
                          <a:pt x="93" y="24"/>
                        </a:lnTo>
                        <a:lnTo>
                          <a:pt x="99" y="25"/>
                        </a:lnTo>
                        <a:lnTo>
                          <a:pt x="104" y="24"/>
                        </a:lnTo>
                        <a:lnTo>
                          <a:pt x="108" y="21"/>
                        </a:lnTo>
                        <a:lnTo>
                          <a:pt x="114" y="17"/>
                        </a:lnTo>
                        <a:lnTo>
                          <a:pt x="118" y="12"/>
                        </a:lnTo>
                        <a:lnTo>
                          <a:pt x="119" y="23"/>
                        </a:lnTo>
                        <a:lnTo>
                          <a:pt x="122" y="35"/>
                        </a:lnTo>
                        <a:lnTo>
                          <a:pt x="126" y="49"/>
                        </a:lnTo>
                        <a:lnTo>
                          <a:pt x="130" y="62"/>
                        </a:lnTo>
                        <a:lnTo>
                          <a:pt x="136" y="76"/>
                        </a:lnTo>
                        <a:lnTo>
                          <a:pt x="141" y="86"/>
                        </a:lnTo>
                        <a:lnTo>
                          <a:pt x="144" y="91"/>
                        </a:lnTo>
                        <a:lnTo>
                          <a:pt x="147" y="94"/>
                        </a:lnTo>
                        <a:lnTo>
                          <a:pt x="149" y="97"/>
                        </a:lnTo>
                        <a:lnTo>
                          <a:pt x="152" y="99"/>
                        </a:lnTo>
                        <a:lnTo>
                          <a:pt x="148" y="110"/>
                        </a:lnTo>
                        <a:lnTo>
                          <a:pt x="143" y="120"/>
                        </a:lnTo>
                        <a:lnTo>
                          <a:pt x="137" y="131"/>
                        </a:lnTo>
                        <a:lnTo>
                          <a:pt x="129" y="140"/>
                        </a:lnTo>
                        <a:lnTo>
                          <a:pt x="123" y="149"/>
                        </a:lnTo>
                        <a:lnTo>
                          <a:pt x="117" y="157"/>
                        </a:lnTo>
                        <a:lnTo>
                          <a:pt x="114" y="165"/>
                        </a:lnTo>
                        <a:lnTo>
                          <a:pt x="112" y="172"/>
                        </a:lnTo>
                        <a:lnTo>
                          <a:pt x="113" y="187"/>
                        </a:lnTo>
                        <a:lnTo>
                          <a:pt x="115" y="197"/>
                        </a:lnTo>
                        <a:lnTo>
                          <a:pt x="115" y="201"/>
                        </a:lnTo>
                        <a:lnTo>
                          <a:pt x="115" y="205"/>
                        </a:lnTo>
                        <a:lnTo>
                          <a:pt x="114" y="210"/>
                        </a:lnTo>
                        <a:lnTo>
                          <a:pt x="112" y="216"/>
                        </a:lnTo>
                        <a:lnTo>
                          <a:pt x="118" y="216"/>
                        </a:lnTo>
                        <a:lnTo>
                          <a:pt x="126" y="216"/>
                        </a:lnTo>
                        <a:lnTo>
                          <a:pt x="136" y="216"/>
                        </a:lnTo>
                        <a:lnTo>
                          <a:pt x="146" y="216"/>
                        </a:lnTo>
                        <a:lnTo>
                          <a:pt x="139" y="235"/>
                        </a:lnTo>
                        <a:lnTo>
                          <a:pt x="136" y="252"/>
                        </a:lnTo>
                        <a:lnTo>
                          <a:pt x="135" y="259"/>
                        </a:lnTo>
                        <a:lnTo>
                          <a:pt x="136" y="267"/>
                        </a:lnTo>
                        <a:lnTo>
                          <a:pt x="139" y="275"/>
                        </a:lnTo>
                        <a:lnTo>
                          <a:pt x="146" y="283"/>
                        </a:lnTo>
                        <a:lnTo>
                          <a:pt x="136" y="288"/>
                        </a:lnTo>
                        <a:lnTo>
                          <a:pt x="125" y="291"/>
                        </a:lnTo>
                        <a:lnTo>
                          <a:pt x="115" y="295"/>
                        </a:lnTo>
                        <a:lnTo>
                          <a:pt x="105" y="296"/>
                        </a:lnTo>
                        <a:lnTo>
                          <a:pt x="94" y="296"/>
                        </a:lnTo>
                        <a:lnTo>
                          <a:pt x="85" y="294"/>
                        </a:lnTo>
                        <a:lnTo>
                          <a:pt x="79" y="291"/>
                        </a:lnTo>
                        <a:lnTo>
                          <a:pt x="73" y="288"/>
                        </a:lnTo>
                        <a:lnTo>
                          <a:pt x="70" y="284"/>
                        </a:lnTo>
                        <a:lnTo>
                          <a:pt x="67" y="280"/>
                        </a:lnTo>
                        <a:lnTo>
                          <a:pt x="66" y="276"/>
                        </a:lnTo>
                        <a:lnTo>
                          <a:pt x="66" y="271"/>
                        </a:lnTo>
                        <a:lnTo>
                          <a:pt x="76" y="262"/>
                        </a:lnTo>
                        <a:lnTo>
                          <a:pt x="85" y="253"/>
                        </a:lnTo>
                        <a:lnTo>
                          <a:pt x="77" y="251"/>
                        </a:lnTo>
                        <a:lnTo>
                          <a:pt x="69" y="249"/>
                        </a:lnTo>
                        <a:lnTo>
                          <a:pt x="60" y="246"/>
                        </a:lnTo>
                        <a:lnTo>
                          <a:pt x="52" y="242"/>
                        </a:lnTo>
                        <a:lnTo>
                          <a:pt x="45" y="236"/>
                        </a:lnTo>
                        <a:lnTo>
                          <a:pt x="38" y="231"/>
                        </a:lnTo>
                        <a:lnTo>
                          <a:pt x="32" y="226"/>
                        </a:lnTo>
                        <a:lnTo>
                          <a:pt x="25" y="219"/>
                        </a:lnTo>
                        <a:lnTo>
                          <a:pt x="20" y="213"/>
                        </a:lnTo>
                        <a:lnTo>
                          <a:pt x="14" y="205"/>
                        </a:lnTo>
                        <a:lnTo>
                          <a:pt x="10" y="198"/>
                        </a:lnTo>
                        <a:lnTo>
                          <a:pt x="6" y="190"/>
                        </a:lnTo>
                        <a:lnTo>
                          <a:pt x="3" y="180"/>
                        </a:lnTo>
                        <a:lnTo>
                          <a:pt x="1" y="172"/>
                        </a:lnTo>
                        <a:lnTo>
                          <a:pt x="0" y="163"/>
                        </a:lnTo>
                        <a:lnTo>
                          <a:pt x="0" y="154"/>
                        </a:lnTo>
                        <a:lnTo>
                          <a:pt x="0" y="142"/>
                        </a:lnTo>
                        <a:lnTo>
                          <a:pt x="0" y="130"/>
                        </a:lnTo>
                        <a:lnTo>
                          <a:pt x="26" y="130"/>
                        </a:lnTo>
                        <a:lnTo>
                          <a:pt x="27" y="106"/>
                        </a:lnTo>
                        <a:lnTo>
                          <a:pt x="31" y="67"/>
                        </a:lnTo>
                        <a:lnTo>
                          <a:pt x="32" y="46"/>
                        </a:lnTo>
                        <a:lnTo>
                          <a:pt x="32" y="27"/>
                        </a:lnTo>
                        <a:lnTo>
                          <a:pt x="31" y="18"/>
                        </a:lnTo>
                        <a:lnTo>
                          <a:pt x="29" y="10"/>
                        </a:lnTo>
                        <a:lnTo>
                          <a:pt x="28" y="4"/>
                        </a:lnTo>
                        <a:lnTo>
                          <a:pt x="26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19" name="Freeform 295">
                    <a:extLst>
                      <a:ext uri="{FF2B5EF4-FFF2-40B4-BE49-F238E27FC236}">
                        <a16:creationId xmlns:a16="http://schemas.microsoft.com/office/drawing/2014/main" xmlns="" id="{2C622AB2-C052-40A6-85B7-40C1984CDF4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89" y="2442"/>
                    <a:ext cx="8" cy="13"/>
                  </a:xfrm>
                  <a:custGeom>
                    <a:avLst/>
                    <a:gdLst>
                      <a:gd name="T0" fmla="*/ 0 w 26"/>
                      <a:gd name="T1" fmla="*/ 0 h 38"/>
                      <a:gd name="T2" fmla="*/ 0 w 26"/>
                      <a:gd name="T3" fmla="*/ 0 h 38"/>
                      <a:gd name="T4" fmla="*/ 0 w 26"/>
                      <a:gd name="T5" fmla="*/ 0 h 38"/>
                      <a:gd name="T6" fmla="*/ 0 w 26"/>
                      <a:gd name="T7" fmla="*/ 0 h 38"/>
                      <a:gd name="T8" fmla="*/ 0 w 26"/>
                      <a:gd name="T9" fmla="*/ 0 h 38"/>
                      <a:gd name="T10" fmla="*/ 0 w 26"/>
                      <a:gd name="T11" fmla="*/ 0 h 38"/>
                      <a:gd name="T12" fmla="*/ 0 w 26"/>
                      <a:gd name="T13" fmla="*/ 0 h 38"/>
                      <a:gd name="T14" fmla="*/ 0 w 26"/>
                      <a:gd name="T15" fmla="*/ 0 h 38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26"/>
                      <a:gd name="T25" fmla="*/ 0 h 38"/>
                      <a:gd name="T26" fmla="*/ 26 w 26"/>
                      <a:gd name="T27" fmla="*/ 38 h 38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26" h="38">
                        <a:moveTo>
                          <a:pt x="26" y="38"/>
                        </a:moveTo>
                        <a:lnTo>
                          <a:pt x="26" y="0"/>
                        </a:lnTo>
                        <a:lnTo>
                          <a:pt x="21" y="1"/>
                        </a:lnTo>
                        <a:lnTo>
                          <a:pt x="13" y="4"/>
                        </a:lnTo>
                        <a:lnTo>
                          <a:pt x="6" y="8"/>
                        </a:lnTo>
                        <a:lnTo>
                          <a:pt x="0" y="13"/>
                        </a:lnTo>
                        <a:lnTo>
                          <a:pt x="18" y="30"/>
                        </a:lnTo>
                        <a:lnTo>
                          <a:pt x="26" y="38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20" name="Freeform 296">
                    <a:extLst>
                      <a:ext uri="{FF2B5EF4-FFF2-40B4-BE49-F238E27FC236}">
                        <a16:creationId xmlns:a16="http://schemas.microsoft.com/office/drawing/2014/main" xmlns="" id="{5C72DC9E-61DC-4C54-9D00-A5BD85C52C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65" y="2420"/>
                    <a:ext cx="10" cy="10"/>
                  </a:xfrm>
                  <a:custGeom>
                    <a:avLst/>
                    <a:gdLst>
                      <a:gd name="T0" fmla="*/ 0 w 34"/>
                      <a:gd name="T1" fmla="*/ 0 h 31"/>
                      <a:gd name="T2" fmla="*/ 0 w 34"/>
                      <a:gd name="T3" fmla="*/ 0 h 31"/>
                      <a:gd name="T4" fmla="*/ 0 w 34"/>
                      <a:gd name="T5" fmla="*/ 0 h 31"/>
                      <a:gd name="T6" fmla="*/ 0 w 34"/>
                      <a:gd name="T7" fmla="*/ 0 h 31"/>
                      <a:gd name="T8" fmla="*/ 0 w 34"/>
                      <a:gd name="T9" fmla="*/ 0 h 31"/>
                      <a:gd name="T10" fmla="*/ 0 w 34"/>
                      <a:gd name="T11" fmla="*/ 0 h 31"/>
                      <a:gd name="T12" fmla="*/ 0 w 34"/>
                      <a:gd name="T13" fmla="*/ 0 h 31"/>
                      <a:gd name="T14" fmla="*/ 0 w 34"/>
                      <a:gd name="T15" fmla="*/ 0 h 31"/>
                      <a:gd name="T16" fmla="*/ 0 w 34"/>
                      <a:gd name="T17" fmla="*/ 0 h 31"/>
                      <a:gd name="T18" fmla="*/ 0 w 34"/>
                      <a:gd name="T19" fmla="*/ 0 h 31"/>
                      <a:gd name="T20" fmla="*/ 0 w 34"/>
                      <a:gd name="T21" fmla="*/ 0 h 31"/>
                      <a:gd name="T22" fmla="*/ 0 w 34"/>
                      <a:gd name="T23" fmla="*/ 0 h 31"/>
                      <a:gd name="T24" fmla="*/ 0 w 34"/>
                      <a:gd name="T25" fmla="*/ 0 h 31"/>
                      <a:gd name="T26" fmla="*/ 0 w 34"/>
                      <a:gd name="T27" fmla="*/ 0 h 31"/>
                      <a:gd name="T28" fmla="*/ 0 w 34"/>
                      <a:gd name="T29" fmla="*/ 0 h 31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34"/>
                      <a:gd name="T46" fmla="*/ 0 h 31"/>
                      <a:gd name="T47" fmla="*/ 34 w 34"/>
                      <a:gd name="T48" fmla="*/ 31 h 31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34" h="31">
                        <a:moveTo>
                          <a:pt x="0" y="18"/>
                        </a:moveTo>
                        <a:lnTo>
                          <a:pt x="8" y="22"/>
                        </a:lnTo>
                        <a:lnTo>
                          <a:pt x="17" y="26"/>
                        </a:lnTo>
                        <a:lnTo>
                          <a:pt x="27" y="30"/>
                        </a:lnTo>
                        <a:lnTo>
                          <a:pt x="34" y="31"/>
                        </a:lnTo>
                        <a:lnTo>
                          <a:pt x="33" y="24"/>
                        </a:lnTo>
                        <a:lnTo>
                          <a:pt x="30" y="15"/>
                        </a:lnTo>
                        <a:lnTo>
                          <a:pt x="26" y="6"/>
                        </a:lnTo>
                        <a:lnTo>
                          <a:pt x="20" y="0"/>
                        </a:lnTo>
                        <a:lnTo>
                          <a:pt x="16" y="5"/>
                        </a:lnTo>
                        <a:lnTo>
                          <a:pt x="10" y="11"/>
                        </a:lnTo>
                        <a:lnTo>
                          <a:pt x="8" y="14"/>
                        </a:lnTo>
                        <a:lnTo>
                          <a:pt x="6" y="16"/>
                        </a:lnTo>
                        <a:lnTo>
                          <a:pt x="4" y="18"/>
                        </a:lnTo>
                        <a:lnTo>
                          <a:pt x="0" y="18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21" name="Freeform 297">
                    <a:extLst>
                      <a:ext uri="{FF2B5EF4-FFF2-40B4-BE49-F238E27FC236}">
                        <a16:creationId xmlns:a16="http://schemas.microsoft.com/office/drawing/2014/main" xmlns="" id="{9572DB39-41D2-4AC2-91FD-259866A6B04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39" y="2418"/>
                    <a:ext cx="6" cy="12"/>
                  </a:xfrm>
                  <a:custGeom>
                    <a:avLst/>
                    <a:gdLst>
                      <a:gd name="T0" fmla="*/ 0 w 20"/>
                      <a:gd name="T1" fmla="*/ 0 h 37"/>
                      <a:gd name="T2" fmla="*/ 0 w 20"/>
                      <a:gd name="T3" fmla="*/ 0 h 37"/>
                      <a:gd name="T4" fmla="*/ 0 w 20"/>
                      <a:gd name="T5" fmla="*/ 0 h 37"/>
                      <a:gd name="T6" fmla="*/ 0 w 20"/>
                      <a:gd name="T7" fmla="*/ 0 h 37"/>
                      <a:gd name="T8" fmla="*/ 0 w 20"/>
                      <a:gd name="T9" fmla="*/ 0 h 37"/>
                      <a:gd name="T10" fmla="*/ 0 w 20"/>
                      <a:gd name="T11" fmla="*/ 0 h 3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20"/>
                      <a:gd name="T19" fmla="*/ 0 h 37"/>
                      <a:gd name="T20" fmla="*/ 20 w 20"/>
                      <a:gd name="T21" fmla="*/ 37 h 3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20" h="37">
                        <a:moveTo>
                          <a:pt x="0" y="6"/>
                        </a:moveTo>
                        <a:lnTo>
                          <a:pt x="0" y="37"/>
                        </a:lnTo>
                        <a:lnTo>
                          <a:pt x="7" y="33"/>
                        </a:lnTo>
                        <a:lnTo>
                          <a:pt x="20" y="30"/>
                        </a:lnTo>
                        <a:lnTo>
                          <a:pt x="20" y="0"/>
                        </a:lnTo>
                        <a:lnTo>
                          <a:pt x="0" y="6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22" name="Line 298">
                    <a:extLst>
                      <a:ext uri="{FF2B5EF4-FFF2-40B4-BE49-F238E27FC236}">
                        <a16:creationId xmlns:a16="http://schemas.microsoft.com/office/drawing/2014/main" xmlns="" id="{D3F8CD67-7F27-4F5D-B2AF-0CC700C67E2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180" y="2449"/>
                    <a:ext cx="1" cy="10"/>
                  </a:xfrm>
                  <a:prstGeom prst="line">
                    <a:avLst/>
                  </a:prstGeom>
                  <a:grpFill/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23" name="Freeform 299">
                    <a:extLst>
                      <a:ext uri="{FF2B5EF4-FFF2-40B4-BE49-F238E27FC236}">
                        <a16:creationId xmlns:a16="http://schemas.microsoft.com/office/drawing/2014/main" xmlns="" id="{51637CF7-0226-4730-8264-3EA2897E937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80" y="2453"/>
                    <a:ext cx="4" cy="6"/>
                  </a:xfrm>
                  <a:custGeom>
                    <a:avLst/>
                    <a:gdLst>
                      <a:gd name="T0" fmla="*/ 0 w 13"/>
                      <a:gd name="T1" fmla="*/ 0 h 18"/>
                      <a:gd name="T2" fmla="*/ 0 w 13"/>
                      <a:gd name="T3" fmla="*/ 0 h 18"/>
                      <a:gd name="T4" fmla="*/ 0 w 13"/>
                      <a:gd name="T5" fmla="*/ 0 h 18"/>
                      <a:gd name="T6" fmla="*/ 0 w 13"/>
                      <a:gd name="T7" fmla="*/ 0 h 18"/>
                      <a:gd name="T8" fmla="*/ 0 w 13"/>
                      <a:gd name="T9" fmla="*/ 0 h 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"/>
                      <a:gd name="T16" fmla="*/ 0 h 18"/>
                      <a:gd name="T17" fmla="*/ 13 w 13"/>
                      <a:gd name="T18" fmla="*/ 18 h 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" h="18">
                        <a:moveTo>
                          <a:pt x="0" y="18"/>
                        </a:moveTo>
                        <a:lnTo>
                          <a:pt x="1" y="13"/>
                        </a:lnTo>
                        <a:lnTo>
                          <a:pt x="3" y="9"/>
                        </a:lnTo>
                        <a:lnTo>
                          <a:pt x="7" y="4"/>
                        </a:lnTo>
                        <a:lnTo>
                          <a:pt x="13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24" name="Line 300">
                    <a:extLst>
                      <a:ext uri="{FF2B5EF4-FFF2-40B4-BE49-F238E27FC236}">
                        <a16:creationId xmlns:a16="http://schemas.microsoft.com/office/drawing/2014/main" xmlns="" id="{34FAC6C4-244D-4C90-AB15-C40DF9BF5B2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5178" y="2447"/>
                    <a:ext cx="6" cy="6"/>
                  </a:xfrm>
                  <a:prstGeom prst="line">
                    <a:avLst/>
                  </a:prstGeom>
                  <a:grpFill/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25" name="Freeform 301">
                    <a:extLst>
                      <a:ext uri="{FF2B5EF4-FFF2-40B4-BE49-F238E27FC236}">
                        <a16:creationId xmlns:a16="http://schemas.microsoft.com/office/drawing/2014/main" xmlns="" id="{F75C7309-27BC-4EF9-B92C-43888D7D04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16" y="2564"/>
                    <a:ext cx="9" cy="10"/>
                  </a:xfrm>
                  <a:custGeom>
                    <a:avLst/>
                    <a:gdLst>
                      <a:gd name="T0" fmla="*/ 0 w 27"/>
                      <a:gd name="T1" fmla="*/ 0 h 31"/>
                      <a:gd name="T2" fmla="*/ 0 w 27"/>
                      <a:gd name="T3" fmla="*/ 0 h 31"/>
                      <a:gd name="T4" fmla="*/ 0 w 27"/>
                      <a:gd name="T5" fmla="*/ 0 h 31"/>
                      <a:gd name="T6" fmla="*/ 0 60000 65536"/>
                      <a:gd name="T7" fmla="*/ 0 60000 65536"/>
                      <a:gd name="T8" fmla="*/ 0 60000 65536"/>
                      <a:gd name="T9" fmla="*/ 0 w 27"/>
                      <a:gd name="T10" fmla="*/ 0 h 31"/>
                      <a:gd name="T11" fmla="*/ 27 w 27"/>
                      <a:gd name="T12" fmla="*/ 31 h 3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7" h="31">
                        <a:moveTo>
                          <a:pt x="0" y="0"/>
                        </a:moveTo>
                        <a:lnTo>
                          <a:pt x="20" y="31"/>
                        </a:lnTo>
                        <a:lnTo>
                          <a:pt x="27" y="13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26" name="Freeform 302">
                    <a:extLst>
                      <a:ext uri="{FF2B5EF4-FFF2-40B4-BE49-F238E27FC236}">
                        <a16:creationId xmlns:a16="http://schemas.microsoft.com/office/drawing/2014/main" xmlns="" id="{A82B5570-77BB-4EF4-BD31-3F2C7450256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19" y="2568"/>
                    <a:ext cx="6" cy="1"/>
                  </a:xfrm>
                  <a:custGeom>
                    <a:avLst/>
                    <a:gdLst>
                      <a:gd name="T0" fmla="*/ 0 w 20"/>
                      <a:gd name="T1" fmla="*/ 0 h 1"/>
                      <a:gd name="T2" fmla="*/ 0 w 20"/>
                      <a:gd name="T3" fmla="*/ 0 h 1"/>
                      <a:gd name="T4" fmla="*/ 0 w 20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0"/>
                      <a:gd name="T10" fmla="*/ 0 h 1"/>
                      <a:gd name="T11" fmla="*/ 20 w 20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0" h="1">
                        <a:moveTo>
                          <a:pt x="20" y="0"/>
                        </a:moveTo>
                        <a:lnTo>
                          <a:pt x="10" y="0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27" name="Freeform 303">
                    <a:extLst>
                      <a:ext uri="{FF2B5EF4-FFF2-40B4-BE49-F238E27FC236}">
                        <a16:creationId xmlns:a16="http://schemas.microsoft.com/office/drawing/2014/main" xmlns="" id="{D3EDF367-A0F7-43AF-AA86-857CF474005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27" y="2557"/>
                    <a:ext cx="12" cy="5"/>
                  </a:xfrm>
                  <a:custGeom>
                    <a:avLst/>
                    <a:gdLst>
                      <a:gd name="T0" fmla="*/ 0 w 34"/>
                      <a:gd name="T1" fmla="*/ 0 h 13"/>
                      <a:gd name="T2" fmla="*/ 0 w 34"/>
                      <a:gd name="T3" fmla="*/ 0 h 13"/>
                      <a:gd name="T4" fmla="*/ 0 w 34"/>
                      <a:gd name="T5" fmla="*/ 0 h 13"/>
                      <a:gd name="T6" fmla="*/ 0 w 34"/>
                      <a:gd name="T7" fmla="*/ 0 h 13"/>
                      <a:gd name="T8" fmla="*/ 0 w 34"/>
                      <a:gd name="T9" fmla="*/ 0 h 13"/>
                      <a:gd name="T10" fmla="*/ 0 w 34"/>
                      <a:gd name="T11" fmla="*/ 0 h 13"/>
                      <a:gd name="T12" fmla="*/ 0 w 34"/>
                      <a:gd name="T13" fmla="*/ 0 h 13"/>
                      <a:gd name="T14" fmla="*/ 0 w 34"/>
                      <a:gd name="T15" fmla="*/ 0 h 13"/>
                      <a:gd name="T16" fmla="*/ 0 w 34"/>
                      <a:gd name="T17" fmla="*/ 0 h 13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34"/>
                      <a:gd name="T28" fmla="*/ 0 h 13"/>
                      <a:gd name="T29" fmla="*/ 34 w 34"/>
                      <a:gd name="T30" fmla="*/ 13 h 13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34" h="13">
                        <a:moveTo>
                          <a:pt x="0" y="13"/>
                        </a:moveTo>
                        <a:lnTo>
                          <a:pt x="6" y="13"/>
                        </a:lnTo>
                        <a:lnTo>
                          <a:pt x="10" y="11"/>
                        </a:lnTo>
                        <a:lnTo>
                          <a:pt x="16" y="10"/>
                        </a:lnTo>
                        <a:lnTo>
                          <a:pt x="20" y="7"/>
                        </a:lnTo>
                        <a:lnTo>
                          <a:pt x="28" y="2"/>
                        </a:lnTo>
                        <a:lnTo>
                          <a:pt x="34" y="0"/>
                        </a:lnTo>
                        <a:lnTo>
                          <a:pt x="25" y="0"/>
                        </a:lnTo>
                        <a:lnTo>
                          <a:pt x="15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28" name="Freeform 304">
                    <a:extLst>
                      <a:ext uri="{FF2B5EF4-FFF2-40B4-BE49-F238E27FC236}">
                        <a16:creationId xmlns:a16="http://schemas.microsoft.com/office/drawing/2014/main" xmlns="" id="{44A93749-9549-4FCD-BEC5-DF6263DE236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27" y="2547"/>
                    <a:ext cx="12" cy="6"/>
                  </a:xfrm>
                  <a:custGeom>
                    <a:avLst/>
                    <a:gdLst>
                      <a:gd name="T0" fmla="*/ 0 w 34"/>
                      <a:gd name="T1" fmla="*/ 0 h 18"/>
                      <a:gd name="T2" fmla="*/ 0 w 34"/>
                      <a:gd name="T3" fmla="*/ 0 h 18"/>
                      <a:gd name="T4" fmla="*/ 0 w 34"/>
                      <a:gd name="T5" fmla="*/ 0 h 18"/>
                      <a:gd name="T6" fmla="*/ 0 w 34"/>
                      <a:gd name="T7" fmla="*/ 0 h 18"/>
                      <a:gd name="T8" fmla="*/ 0 w 34"/>
                      <a:gd name="T9" fmla="*/ 0 h 18"/>
                      <a:gd name="T10" fmla="*/ 0 w 34"/>
                      <a:gd name="T11" fmla="*/ 0 h 18"/>
                      <a:gd name="T12" fmla="*/ 0 w 34"/>
                      <a:gd name="T13" fmla="*/ 0 h 18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34"/>
                      <a:gd name="T22" fmla="*/ 0 h 18"/>
                      <a:gd name="T23" fmla="*/ 34 w 34"/>
                      <a:gd name="T24" fmla="*/ 18 h 18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34" h="18">
                        <a:moveTo>
                          <a:pt x="34" y="18"/>
                        </a:moveTo>
                        <a:lnTo>
                          <a:pt x="34" y="0"/>
                        </a:lnTo>
                        <a:lnTo>
                          <a:pt x="28" y="0"/>
                        </a:lnTo>
                        <a:lnTo>
                          <a:pt x="20" y="0"/>
                        </a:lnTo>
                        <a:lnTo>
                          <a:pt x="10" y="0"/>
                        </a:lnTo>
                        <a:lnTo>
                          <a:pt x="0" y="0"/>
                        </a:lnTo>
                        <a:lnTo>
                          <a:pt x="34" y="18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29" name="Freeform 305">
                    <a:extLst>
                      <a:ext uri="{FF2B5EF4-FFF2-40B4-BE49-F238E27FC236}">
                        <a16:creationId xmlns:a16="http://schemas.microsoft.com/office/drawing/2014/main" xmlns="" id="{C842512E-651F-4420-B247-04B340AF9DB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41" y="2535"/>
                    <a:ext cx="20" cy="8"/>
                  </a:xfrm>
                  <a:custGeom>
                    <a:avLst/>
                    <a:gdLst>
                      <a:gd name="T0" fmla="*/ 0 w 59"/>
                      <a:gd name="T1" fmla="*/ 0 h 25"/>
                      <a:gd name="T2" fmla="*/ 0 w 59"/>
                      <a:gd name="T3" fmla="*/ 0 h 25"/>
                      <a:gd name="T4" fmla="*/ 0 w 59"/>
                      <a:gd name="T5" fmla="*/ 0 h 25"/>
                      <a:gd name="T6" fmla="*/ 0 w 59"/>
                      <a:gd name="T7" fmla="*/ 0 h 25"/>
                      <a:gd name="T8" fmla="*/ 0 w 59"/>
                      <a:gd name="T9" fmla="*/ 0 h 25"/>
                      <a:gd name="T10" fmla="*/ 0 w 59"/>
                      <a:gd name="T11" fmla="*/ 0 h 25"/>
                      <a:gd name="T12" fmla="*/ 0 w 59"/>
                      <a:gd name="T13" fmla="*/ 0 h 25"/>
                      <a:gd name="T14" fmla="*/ 0 w 59"/>
                      <a:gd name="T15" fmla="*/ 0 h 25"/>
                      <a:gd name="T16" fmla="*/ 0 w 59"/>
                      <a:gd name="T17" fmla="*/ 0 h 25"/>
                      <a:gd name="T18" fmla="*/ 0 w 59"/>
                      <a:gd name="T19" fmla="*/ 0 h 25"/>
                      <a:gd name="T20" fmla="*/ 0 w 59"/>
                      <a:gd name="T21" fmla="*/ 0 h 25"/>
                      <a:gd name="T22" fmla="*/ 0 w 59"/>
                      <a:gd name="T23" fmla="*/ 0 h 25"/>
                      <a:gd name="T24" fmla="*/ 0 w 59"/>
                      <a:gd name="T25" fmla="*/ 0 h 25"/>
                      <a:gd name="T26" fmla="*/ 0 w 59"/>
                      <a:gd name="T27" fmla="*/ 0 h 25"/>
                      <a:gd name="T28" fmla="*/ 0 w 59"/>
                      <a:gd name="T29" fmla="*/ 0 h 25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59"/>
                      <a:gd name="T46" fmla="*/ 0 h 25"/>
                      <a:gd name="T47" fmla="*/ 59 w 59"/>
                      <a:gd name="T48" fmla="*/ 25 h 25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59" h="25">
                        <a:moveTo>
                          <a:pt x="53" y="25"/>
                        </a:moveTo>
                        <a:lnTo>
                          <a:pt x="56" y="12"/>
                        </a:lnTo>
                        <a:lnTo>
                          <a:pt x="59" y="0"/>
                        </a:lnTo>
                        <a:lnTo>
                          <a:pt x="44" y="0"/>
                        </a:lnTo>
                        <a:lnTo>
                          <a:pt x="27" y="0"/>
                        </a:lnTo>
                        <a:lnTo>
                          <a:pt x="19" y="1"/>
                        </a:lnTo>
                        <a:lnTo>
                          <a:pt x="12" y="2"/>
                        </a:lnTo>
                        <a:lnTo>
                          <a:pt x="5" y="4"/>
                        </a:lnTo>
                        <a:lnTo>
                          <a:pt x="0" y="6"/>
                        </a:lnTo>
                        <a:lnTo>
                          <a:pt x="13" y="14"/>
                        </a:lnTo>
                        <a:lnTo>
                          <a:pt x="26" y="20"/>
                        </a:lnTo>
                        <a:lnTo>
                          <a:pt x="33" y="22"/>
                        </a:lnTo>
                        <a:lnTo>
                          <a:pt x="38" y="24"/>
                        </a:lnTo>
                        <a:lnTo>
                          <a:pt x="46" y="25"/>
                        </a:lnTo>
                        <a:lnTo>
                          <a:pt x="53" y="25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30" name="Line 306">
                    <a:extLst>
                      <a:ext uri="{FF2B5EF4-FFF2-40B4-BE49-F238E27FC236}">
                        <a16:creationId xmlns:a16="http://schemas.microsoft.com/office/drawing/2014/main" xmlns="" id="{F8A34107-4FC4-4E5E-B9E7-96D2E613CD6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191" y="2516"/>
                    <a:ext cx="6" cy="2"/>
                  </a:xfrm>
                  <a:prstGeom prst="line">
                    <a:avLst/>
                  </a:prstGeom>
                  <a:grpFill/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263" name="Freeform 307">
                  <a:extLst>
                    <a:ext uri="{FF2B5EF4-FFF2-40B4-BE49-F238E27FC236}">
                      <a16:creationId xmlns:a16="http://schemas.microsoft.com/office/drawing/2014/main" xmlns="" id="{39F2CBBF-E255-495B-A904-463D36B83A59}"/>
                    </a:ext>
                  </a:extLst>
                </p:cNvPr>
                <p:cNvSpPr>
                  <a:spLocks/>
                </p:cNvSpPr>
                <p:nvPr>
                  <p:custDataLst>
                    <p:tags r:id="rId210"/>
                  </p:custDataLst>
                </p:nvPr>
              </p:nvSpPr>
              <p:spPr bwMode="auto">
                <a:xfrm>
                  <a:off x="7280275" y="3879850"/>
                  <a:ext cx="14288" cy="55563"/>
                </a:xfrm>
                <a:custGeom>
                  <a:avLst/>
                  <a:gdLst>
                    <a:gd name="T0" fmla="*/ 0 w 33"/>
                    <a:gd name="T1" fmla="*/ 2147483646 h 43"/>
                    <a:gd name="T2" fmla="*/ 2147483646 w 33"/>
                    <a:gd name="T3" fmla="*/ 2147483646 h 43"/>
                    <a:gd name="T4" fmla="*/ 2147483646 w 33"/>
                    <a:gd name="T5" fmla="*/ 2147483646 h 43"/>
                    <a:gd name="T6" fmla="*/ 2147483646 w 33"/>
                    <a:gd name="T7" fmla="*/ 2147483646 h 43"/>
                    <a:gd name="T8" fmla="*/ 2147483646 w 33"/>
                    <a:gd name="T9" fmla="*/ 2147483646 h 43"/>
                    <a:gd name="T10" fmla="*/ 2147483646 w 33"/>
                    <a:gd name="T11" fmla="*/ 2147483646 h 43"/>
                    <a:gd name="T12" fmla="*/ 2147483646 w 33"/>
                    <a:gd name="T13" fmla="*/ 2147483646 h 43"/>
                    <a:gd name="T14" fmla="*/ 2147483646 w 33"/>
                    <a:gd name="T15" fmla="*/ 2147483646 h 43"/>
                    <a:gd name="T16" fmla="*/ 2147483646 w 33"/>
                    <a:gd name="T17" fmla="*/ 0 h 43"/>
                    <a:gd name="T18" fmla="*/ 2147483646 w 33"/>
                    <a:gd name="T19" fmla="*/ 2147483646 h 43"/>
                    <a:gd name="T20" fmla="*/ 2147483646 w 33"/>
                    <a:gd name="T21" fmla="*/ 2147483646 h 43"/>
                    <a:gd name="T22" fmla="*/ 2147483646 w 33"/>
                    <a:gd name="T23" fmla="*/ 2147483646 h 43"/>
                    <a:gd name="T24" fmla="*/ 2147483646 w 33"/>
                    <a:gd name="T25" fmla="*/ 2147483646 h 43"/>
                    <a:gd name="T26" fmla="*/ 2147483646 w 33"/>
                    <a:gd name="T27" fmla="*/ 2147483646 h 43"/>
                    <a:gd name="T28" fmla="*/ 2147483646 w 33"/>
                    <a:gd name="T29" fmla="*/ 2147483646 h 43"/>
                    <a:gd name="T30" fmla="*/ 2147483646 w 33"/>
                    <a:gd name="T31" fmla="*/ 2147483646 h 43"/>
                    <a:gd name="T32" fmla="*/ 2147483646 w 33"/>
                    <a:gd name="T33" fmla="*/ 2147483646 h 43"/>
                    <a:gd name="T34" fmla="*/ 0 w 33"/>
                    <a:gd name="T35" fmla="*/ 2147483646 h 4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33"/>
                    <a:gd name="T55" fmla="*/ 0 h 43"/>
                    <a:gd name="T56" fmla="*/ 33 w 33"/>
                    <a:gd name="T57" fmla="*/ 43 h 43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33" h="43">
                      <a:moveTo>
                        <a:pt x="0" y="43"/>
                      </a:moveTo>
                      <a:lnTo>
                        <a:pt x="1" y="34"/>
                      </a:lnTo>
                      <a:lnTo>
                        <a:pt x="2" y="27"/>
                      </a:lnTo>
                      <a:lnTo>
                        <a:pt x="5" y="21"/>
                      </a:lnTo>
                      <a:lnTo>
                        <a:pt x="9" y="15"/>
                      </a:lnTo>
                      <a:lnTo>
                        <a:pt x="14" y="9"/>
                      </a:lnTo>
                      <a:lnTo>
                        <a:pt x="20" y="5"/>
                      </a:lnTo>
                      <a:lnTo>
                        <a:pt x="26" y="2"/>
                      </a:lnTo>
                      <a:lnTo>
                        <a:pt x="33" y="0"/>
                      </a:lnTo>
                      <a:lnTo>
                        <a:pt x="33" y="25"/>
                      </a:lnTo>
                      <a:lnTo>
                        <a:pt x="23" y="27"/>
                      </a:lnTo>
                      <a:lnTo>
                        <a:pt x="18" y="29"/>
                      </a:lnTo>
                      <a:lnTo>
                        <a:pt x="16" y="32"/>
                      </a:lnTo>
                      <a:lnTo>
                        <a:pt x="16" y="34"/>
                      </a:lnTo>
                      <a:lnTo>
                        <a:pt x="16" y="36"/>
                      </a:lnTo>
                      <a:lnTo>
                        <a:pt x="14" y="38"/>
                      </a:lnTo>
                      <a:lnTo>
                        <a:pt x="10" y="41"/>
                      </a:lnTo>
                      <a:lnTo>
                        <a:pt x="0" y="4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64" name="Freeform 308">
                  <a:extLst>
                    <a:ext uri="{FF2B5EF4-FFF2-40B4-BE49-F238E27FC236}">
                      <a16:creationId xmlns:a16="http://schemas.microsoft.com/office/drawing/2014/main" xmlns="" id="{823668A2-12D1-485D-89A2-3EA6D0CE5786}"/>
                    </a:ext>
                  </a:extLst>
                </p:cNvPr>
                <p:cNvSpPr>
                  <a:spLocks/>
                </p:cNvSpPr>
                <p:nvPr>
                  <p:custDataLst>
                    <p:tags r:id="rId211"/>
                  </p:custDataLst>
                </p:nvPr>
              </p:nvSpPr>
              <p:spPr bwMode="auto">
                <a:xfrm>
                  <a:off x="7356475" y="3819525"/>
                  <a:ext cx="22225" cy="58738"/>
                </a:xfrm>
                <a:custGeom>
                  <a:avLst/>
                  <a:gdLst>
                    <a:gd name="T0" fmla="*/ 0 w 54"/>
                    <a:gd name="T1" fmla="*/ 2147483646 h 92"/>
                    <a:gd name="T2" fmla="*/ 2147483646 w 54"/>
                    <a:gd name="T3" fmla="*/ 2147483646 h 92"/>
                    <a:gd name="T4" fmla="*/ 2147483646 w 54"/>
                    <a:gd name="T5" fmla="*/ 2147483646 h 92"/>
                    <a:gd name="T6" fmla="*/ 2147483646 w 54"/>
                    <a:gd name="T7" fmla="*/ 2147483646 h 92"/>
                    <a:gd name="T8" fmla="*/ 2147483646 w 54"/>
                    <a:gd name="T9" fmla="*/ 2147483646 h 92"/>
                    <a:gd name="T10" fmla="*/ 2147483646 w 54"/>
                    <a:gd name="T11" fmla="*/ 2147483646 h 92"/>
                    <a:gd name="T12" fmla="*/ 2147483646 w 54"/>
                    <a:gd name="T13" fmla="*/ 2147483646 h 92"/>
                    <a:gd name="T14" fmla="*/ 2147483646 w 54"/>
                    <a:gd name="T15" fmla="*/ 2147483646 h 92"/>
                    <a:gd name="T16" fmla="*/ 2147483646 w 54"/>
                    <a:gd name="T17" fmla="*/ 0 h 92"/>
                    <a:gd name="T18" fmla="*/ 2147483646 w 54"/>
                    <a:gd name="T19" fmla="*/ 2147483646 h 92"/>
                    <a:gd name="T20" fmla="*/ 2147483646 w 54"/>
                    <a:gd name="T21" fmla="*/ 2147483646 h 92"/>
                    <a:gd name="T22" fmla="*/ 2147483646 w 54"/>
                    <a:gd name="T23" fmla="*/ 2147483646 h 92"/>
                    <a:gd name="T24" fmla="*/ 2147483646 w 54"/>
                    <a:gd name="T25" fmla="*/ 2147483646 h 92"/>
                    <a:gd name="T26" fmla="*/ 2147483646 w 54"/>
                    <a:gd name="T27" fmla="*/ 2147483646 h 92"/>
                    <a:gd name="T28" fmla="*/ 2147483646 w 54"/>
                    <a:gd name="T29" fmla="*/ 2147483646 h 92"/>
                    <a:gd name="T30" fmla="*/ 2147483646 w 54"/>
                    <a:gd name="T31" fmla="*/ 2147483646 h 92"/>
                    <a:gd name="T32" fmla="*/ 2147483646 w 54"/>
                    <a:gd name="T33" fmla="*/ 2147483646 h 92"/>
                    <a:gd name="T34" fmla="*/ 2147483646 w 54"/>
                    <a:gd name="T35" fmla="*/ 2147483646 h 92"/>
                    <a:gd name="T36" fmla="*/ 2147483646 w 54"/>
                    <a:gd name="T37" fmla="*/ 2147483646 h 92"/>
                    <a:gd name="T38" fmla="*/ 2147483646 w 54"/>
                    <a:gd name="T39" fmla="*/ 2147483646 h 92"/>
                    <a:gd name="T40" fmla="*/ 2147483646 w 54"/>
                    <a:gd name="T41" fmla="*/ 2147483646 h 92"/>
                    <a:gd name="T42" fmla="*/ 2147483646 w 54"/>
                    <a:gd name="T43" fmla="*/ 2147483646 h 92"/>
                    <a:gd name="T44" fmla="*/ 2147483646 w 54"/>
                    <a:gd name="T45" fmla="*/ 2147483646 h 92"/>
                    <a:gd name="T46" fmla="*/ 2147483646 w 54"/>
                    <a:gd name="T47" fmla="*/ 2147483646 h 92"/>
                    <a:gd name="T48" fmla="*/ 2147483646 w 54"/>
                    <a:gd name="T49" fmla="*/ 2147483646 h 92"/>
                    <a:gd name="T50" fmla="*/ 0 w 54"/>
                    <a:gd name="T51" fmla="*/ 2147483646 h 92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54"/>
                    <a:gd name="T79" fmla="*/ 0 h 92"/>
                    <a:gd name="T80" fmla="*/ 54 w 54"/>
                    <a:gd name="T81" fmla="*/ 92 h 92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54" h="92">
                      <a:moveTo>
                        <a:pt x="0" y="55"/>
                      </a:moveTo>
                      <a:lnTo>
                        <a:pt x="1" y="51"/>
                      </a:lnTo>
                      <a:lnTo>
                        <a:pt x="2" y="46"/>
                      </a:lnTo>
                      <a:lnTo>
                        <a:pt x="3" y="42"/>
                      </a:lnTo>
                      <a:lnTo>
                        <a:pt x="6" y="37"/>
                      </a:lnTo>
                      <a:lnTo>
                        <a:pt x="11" y="29"/>
                      </a:lnTo>
                      <a:lnTo>
                        <a:pt x="18" y="21"/>
                      </a:lnTo>
                      <a:lnTo>
                        <a:pt x="31" y="7"/>
                      </a:lnTo>
                      <a:lnTo>
                        <a:pt x="41" y="0"/>
                      </a:lnTo>
                      <a:lnTo>
                        <a:pt x="54" y="12"/>
                      </a:lnTo>
                      <a:lnTo>
                        <a:pt x="51" y="21"/>
                      </a:lnTo>
                      <a:lnTo>
                        <a:pt x="47" y="29"/>
                      </a:lnTo>
                      <a:lnTo>
                        <a:pt x="44" y="35"/>
                      </a:lnTo>
                      <a:lnTo>
                        <a:pt x="41" y="41"/>
                      </a:lnTo>
                      <a:lnTo>
                        <a:pt x="33" y="49"/>
                      </a:lnTo>
                      <a:lnTo>
                        <a:pt x="28" y="55"/>
                      </a:lnTo>
                      <a:lnTo>
                        <a:pt x="26" y="64"/>
                      </a:lnTo>
                      <a:lnTo>
                        <a:pt x="26" y="74"/>
                      </a:lnTo>
                      <a:lnTo>
                        <a:pt x="24" y="83"/>
                      </a:lnTo>
                      <a:lnTo>
                        <a:pt x="20" y="92"/>
                      </a:lnTo>
                      <a:lnTo>
                        <a:pt x="14" y="83"/>
                      </a:lnTo>
                      <a:lnTo>
                        <a:pt x="8" y="74"/>
                      </a:lnTo>
                      <a:lnTo>
                        <a:pt x="5" y="70"/>
                      </a:lnTo>
                      <a:lnTo>
                        <a:pt x="2" y="64"/>
                      </a:lnTo>
                      <a:lnTo>
                        <a:pt x="1" y="60"/>
                      </a:lnTo>
                      <a:lnTo>
                        <a:pt x="0" y="5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65" name="Freeform 309">
                  <a:extLst>
                    <a:ext uri="{FF2B5EF4-FFF2-40B4-BE49-F238E27FC236}">
                      <a16:creationId xmlns:a16="http://schemas.microsoft.com/office/drawing/2014/main" xmlns="" id="{44DBCFE8-AA00-46E5-9880-F12FBBCD7BC9}"/>
                    </a:ext>
                  </a:extLst>
                </p:cNvPr>
                <p:cNvSpPr>
                  <a:spLocks/>
                </p:cNvSpPr>
                <p:nvPr>
                  <p:custDataLst>
                    <p:tags r:id="rId212"/>
                  </p:custDataLst>
                </p:nvPr>
              </p:nvSpPr>
              <p:spPr bwMode="auto">
                <a:xfrm>
                  <a:off x="7404100" y="3698875"/>
                  <a:ext cx="23813" cy="57150"/>
                </a:xfrm>
                <a:custGeom>
                  <a:avLst/>
                  <a:gdLst>
                    <a:gd name="T0" fmla="*/ 0 w 60"/>
                    <a:gd name="T1" fmla="*/ 0 h 18"/>
                    <a:gd name="T2" fmla="*/ 2147483646 w 60"/>
                    <a:gd name="T3" fmla="*/ 2147483646 h 18"/>
                    <a:gd name="T4" fmla="*/ 2147483646 w 60"/>
                    <a:gd name="T5" fmla="*/ 2147483646 h 18"/>
                    <a:gd name="T6" fmla="*/ 2147483646 w 60"/>
                    <a:gd name="T7" fmla="*/ 2147483646 h 18"/>
                    <a:gd name="T8" fmla="*/ 2147483646 w 60"/>
                    <a:gd name="T9" fmla="*/ 2147483646 h 18"/>
                    <a:gd name="T10" fmla="*/ 2147483646 w 60"/>
                    <a:gd name="T11" fmla="*/ 2147483646 h 18"/>
                    <a:gd name="T12" fmla="*/ 2147483646 w 60"/>
                    <a:gd name="T13" fmla="*/ 2147483646 h 18"/>
                    <a:gd name="T14" fmla="*/ 2147483646 w 60"/>
                    <a:gd name="T15" fmla="*/ 2147483646 h 18"/>
                    <a:gd name="T16" fmla="*/ 2147483646 w 60"/>
                    <a:gd name="T17" fmla="*/ 2147483646 h 18"/>
                    <a:gd name="T18" fmla="*/ 2147483646 w 60"/>
                    <a:gd name="T19" fmla="*/ 2147483646 h 18"/>
                    <a:gd name="T20" fmla="*/ 0 w 60"/>
                    <a:gd name="T21" fmla="*/ 2147483646 h 18"/>
                    <a:gd name="T22" fmla="*/ 0 w 60"/>
                    <a:gd name="T23" fmla="*/ 0 h 1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0"/>
                    <a:gd name="T37" fmla="*/ 0 h 18"/>
                    <a:gd name="T38" fmla="*/ 60 w 60"/>
                    <a:gd name="T39" fmla="*/ 18 h 1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0" h="18">
                      <a:moveTo>
                        <a:pt x="0" y="0"/>
                      </a:moveTo>
                      <a:lnTo>
                        <a:pt x="19" y="4"/>
                      </a:lnTo>
                      <a:lnTo>
                        <a:pt x="37" y="9"/>
                      </a:lnTo>
                      <a:lnTo>
                        <a:pt x="45" y="11"/>
                      </a:lnTo>
                      <a:lnTo>
                        <a:pt x="51" y="13"/>
                      </a:lnTo>
                      <a:lnTo>
                        <a:pt x="56" y="16"/>
                      </a:lnTo>
                      <a:lnTo>
                        <a:pt x="60" y="18"/>
                      </a:lnTo>
                      <a:lnTo>
                        <a:pt x="38" y="18"/>
                      </a:lnTo>
                      <a:lnTo>
                        <a:pt x="23" y="18"/>
                      </a:lnTo>
                      <a:lnTo>
                        <a:pt x="10" y="18"/>
                      </a:lnTo>
                      <a:lnTo>
                        <a:pt x="0" y="18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66" name="Freeform 310">
                  <a:extLst>
                    <a:ext uri="{FF2B5EF4-FFF2-40B4-BE49-F238E27FC236}">
                      <a16:creationId xmlns:a16="http://schemas.microsoft.com/office/drawing/2014/main" xmlns="" id="{0F53C7E1-1A31-479A-BDAF-E864307AE227}"/>
                    </a:ext>
                  </a:extLst>
                </p:cNvPr>
                <p:cNvSpPr>
                  <a:spLocks/>
                </p:cNvSpPr>
                <p:nvPr>
                  <p:custDataLst>
                    <p:tags r:id="rId213"/>
                  </p:custDataLst>
                </p:nvPr>
              </p:nvSpPr>
              <p:spPr bwMode="auto">
                <a:xfrm>
                  <a:off x="7388225" y="3668713"/>
                  <a:ext cx="25400" cy="57150"/>
                </a:xfrm>
                <a:custGeom>
                  <a:avLst/>
                  <a:gdLst>
                    <a:gd name="T0" fmla="*/ 0 w 66"/>
                    <a:gd name="T1" fmla="*/ 2147483646 h 18"/>
                    <a:gd name="T2" fmla="*/ 2147483646 w 66"/>
                    <a:gd name="T3" fmla="*/ 2147483646 h 18"/>
                    <a:gd name="T4" fmla="*/ 2147483646 w 66"/>
                    <a:gd name="T5" fmla="*/ 2147483646 h 18"/>
                    <a:gd name="T6" fmla="*/ 2147483646 w 66"/>
                    <a:gd name="T7" fmla="*/ 2147483646 h 18"/>
                    <a:gd name="T8" fmla="*/ 2147483646 w 66"/>
                    <a:gd name="T9" fmla="*/ 2147483646 h 18"/>
                    <a:gd name="T10" fmla="*/ 2147483646 w 66"/>
                    <a:gd name="T11" fmla="*/ 2147483646 h 18"/>
                    <a:gd name="T12" fmla="*/ 2147483646 w 66"/>
                    <a:gd name="T13" fmla="*/ 2147483646 h 18"/>
                    <a:gd name="T14" fmla="*/ 2147483646 w 66"/>
                    <a:gd name="T15" fmla="*/ 0 h 18"/>
                    <a:gd name="T16" fmla="*/ 0 w 66"/>
                    <a:gd name="T17" fmla="*/ 2147483646 h 1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6"/>
                    <a:gd name="T28" fmla="*/ 0 h 18"/>
                    <a:gd name="T29" fmla="*/ 66 w 66"/>
                    <a:gd name="T30" fmla="*/ 18 h 1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6" h="18">
                      <a:moveTo>
                        <a:pt x="0" y="18"/>
                      </a:moveTo>
                      <a:lnTo>
                        <a:pt x="66" y="18"/>
                      </a:lnTo>
                      <a:lnTo>
                        <a:pt x="52" y="13"/>
                      </a:lnTo>
                      <a:lnTo>
                        <a:pt x="40" y="7"/>
                      </a:lnTo>
                      <a:lnTo>
                        <a:pt x="35" y="4"/>
                      </a:lnTo>
                      <a:lnTo>
                        <a:pt x="29" y="2"/>
                      </a:lnTo>
                      <a:lnTo>
                        <a:pt x="25" y="1"/>
                      </a:lnTo>
                      <a:lnTo>
                        <a:pt x="19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67" name="Freeform 311">
                  <a:extLst>
                    <a:ext uri="{FF2B5EF4-FFF2-40B4-BE49-F238E27FC236}">
                      <a16:creationId xmlns:a16="http://schemas.microsoft.com/office/drawing/2014/main" xmlns="" id="{80F7F7B9-3D11-4B16-BAC4-459BB0BEBC3F}"/>
                    </a:ext>
                  </a:extLst>
                </p:cNvPr>
                <p:cNvSpPr>
                  <a:spLocks/>
                </p:cNvSpPr>
                <p:nvPr>
                  <p:custDataLst>
                    <p:tags r:id="rId214"/>
                  </p:custDataLst>
                </p:nvPr>
              </p:nvSpPr>
              <p:spPr bwMode="auto">
                <a:xfrm>
                  <a:off x="7213600" y="3565525"/>
                  <a:ext cx="7938" cy="57150"/>
                </a:xfrm>
                <a:custGeom>
                  <a:avLst/>
                  <a:gdLst>
                    <a:gd name="T0" fmla="*/ 0 w 17"/>
                    <a:gd name="T1" fmla="*/ 2147483646 h 42"/>
                    <a:gd name="T2" fmla="*/ 2147483646 w 17"/>
                    <a:gd name="T3" fmla="*/ 2147483646 h 42"/>
                    <a:gd name="T4" fmla="*/ 2147483646 w 17"/>
                    <a:gd name="T5" fmla="*/ 2147483646 h 42"/>
                    <a:gd name="T6" fmla="*/ 2147483646 w 17"/>
                    <a:gd name="T7" fmla="*/ 2147483646 h 42"/>
                    <a:gd name="T8" fmla="*/ 2147483646 w 17"/>
                    <a:gd name="T9" fmla="*/ 2147483646 h 42"/>
                    <a:gd name="T10" fmla="*/ 2147483646 w 17"/>
                    <a:gd name="T11" fmla="*/ 2147483646 h 42"/>
                    <a:gd name="T12" fmla="*/ 2147483646 w 17"/>
                    <a:gd name="T13" fmla="*/ 2147483646 h 42"/>
                    <a:gd name="T14" fmla="*/ 2147483646 w 17"/>
                    <a:gd name="T15" fmla="*/ 0 h 42"/>
                    <a:gd name="T16" fmla="*/ 0 w 17"/>
                    <a:gd name="T17" fmla="*/ 2147483646 h 4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7"/>
                    <a:gd name="T28" fmla="*/ 0 h 42"/>
                    <a:gd name="T29" fmla="*/ 17 w 17"/>
                    <a:gd name="T30" fmla="*/ 42 h 4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7" h="42">
                      <a:moveTo>
                        <a:pt x="0" y="36"/>
                      </a:moveTo>
                      <a:lnTo>
                        <a:pt x="13" y="42"/>
                      </a:lnTo>
                      <a:lnTo>
                        <a:pt x="14" y="33"/>
                      </a:lnTo>
                      <a:lnTo>
                        <a:pt x="16" y="23"/>
                      </a:lnTo>
                      <a:lnTo>
                        <a:pt x="17" y="18"/>
                      </a:lnTo>
                      <a:lnTo>
                        <a:pt x="16" y="12"/>
                      </a:lnTo>
                      <a:lnTo>
                        <a:pt x="16" y="6"/>
                      </a:lnTo>
                      <a:lnTo>
                        <a:pt x="13" y="0"/>
                      </a:lnTo>
                      <a:lnTo>
                        <a:pt x="0" y="3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68" name="Freeform 312">
                  <a:extLst>
                    <a:ext uri="{FF2B5EF4-FFF2-40B4-BE49-F238E27FC236}">
                      <a16:creationId xmlns:a16="http://schemas.microsoft.com/office/drawing/2014/main" xmlns="" id="{006B053B-E9AF-451B-BAD1-DCB960DADEC5}"/>
                    </a:ext>
                  </a:extLst>
                </p:cNvPr>
                <p:cNvSpPr>
                  <a:spLocks/>
                </p:cNvSpPr>
                <p:nvPr>
                  <p:custDataLst>
                    <p:tags r:id="rId215"/>
                  </p:custDataLst>
                </p:nvPr>
              </p:nvSpPr>
              <p:spPr bwMode="auto">
                <a:xfrm>
                  <a:off x="7140575" y="3700463"/>
                  <a:ext cx="30163" cy="58737"/>
                </a:xfrm>
                <a:custGeom>
                  <a:avLst/>
                  <a:gdLst>
                    <a:gd name="T0" fmla="*/ 2147483646 w 72"/>
                    <a:gd name="T1" fmla="*/ 2147483646 h 29"/>
                    <a:gd name="T2" fmla="*/ 2147483646 w 72"/>
                    <a:gd name="T3" fmla="*/ 2147483646 h 29"/>
                    <a:gd name="T4" fmla="*/ 2147483646 w 72"/>
                    <a:gd name="T5" fmla="*/ 2147483646 h 29"/>
                    <a:gd name="T6" fmla="*/ 2147483646 w 72"/>
                    <a:gd name="T7" fmla="*/ 2147483646 h 29"/>
                    <a:gd name="T8" fmla="*/ 2147483646 w 72"/>
                    <a:gd name="T9" fmla="*/ 2147483646 h 29"/>
                    <a:gd name="T10" fmla="*/ 2147483646 w 72"/>
                    <a:gd name="T11" fmla="*/ 2147483646 h 29"/>
                    <a:gd name="T12" fmla="*/ 2147483646 w 72"/>
                    <a:gd name="T13" fmla="*/ 2147483646 h 29"/>
                    <a:gd name="T14" fmla="*/ 2147483646 w 72"/>
                    <a:gd name="T15" fmla="*/ 2147483646 h 29"/>
                    <a:gd name="T16" fmla="*/ 2147483646 w 72"/>
                    <a:gd name="T17" fmla="*/ 2147483646 h 29"/>
                    <a:gd name="T18" fmla="*/ 2147483646 w 72"/>
                    <a:gd name="T19" fmla="*/ 0 h 29"/>
                    <a:gd name="T20" fmla="*/ 2147483646 w 72"/>
                    <a:gd name="T21" fmla="*/ 0 h 29"/>
                    <a:gd name="T22" fmla="*/ 2147483646 w 72"/>
                    <a:gd name="T23" fmla="*/ 2147483646 h 29"/>
                    <a:gd name="T24" fmla="*/ 2147483646 w 72"/>
                    <a:gd name="T25" fmla="*/ 2147483646 h 29"/>
                    <a:gd name="T26" fmla="*/ 2147483646 w 72"/>
                    <a:gd name="T27" fmla="*/ 2147483646 h 29"/>
                    <a:gd name="T28" fmla="*/ 2147483646 w 72"/>
                    <a:gd name="T29" fmla="*/ 2147483646 h 29"/>
                    <a:gd name="T30" fmla="*/ 0 w 72"/>
                    <a:gd name="T31" fmla="*/ 2147483646 h 29"/>
                    <a:gd name="T32" fmla="*/ 2147483646 w 72"/>
                    <a:gd name="T33" fmla="*/ 2147483646 h 29"/>
                    <a:gd name="T34" fmla="*/ 2147483646 w 72"/>
                    <a:gd name="T35" fmla="*/ 2147483646 h 2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2"/>
                    <a:gd name="T55" fmla="*/ 0 h 29"/>
                    <a:gd name="T56" fmla="*/ 72 w 72"/>
                    <a:gd name="T57" fmla="*/ 29 h 2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2" h="29">
                      <a:moveTo>
                        <a:pt x="6" y="29"/>
                      </a:moveTo>
                      <a:lnTo>
                        <a:pt x="15" y="26"/>
                      </a:lnTo>
                      <a:lnTo>
                        <a:pt x="24" y="24"/>
                      </a:lnTo>
                      <a:lnTo>
                        <a:pt x="32" y="24"/>
                      </a:lnTo>
                      <a:lnTo>
                        <a:pt x="39" y="24"/>
                      </a:lnTo>
                      <a:lnTo>
                        <a:pt x="55" y="27"/>
                      </a:lnTo>
                      <a:lnTo>
                        <a:pt x="72" y="29"/>
                      </a:lnTo>
                      <a:lnTo>
                        <a:pt x="72" y="4"/>
                      </a:lnTo>
                      <a:lnTo>
                        <a:pt x="58" y="1"/>
                      </a:lnTo>
                      <a:lnTo>
                        <a:pt x="47" y="0"/>
                      </a:lnTo>
                      <a:lnTo>
                        <a:pt x="39" y="0"/>
                      </a:lnTo>
                      <a:lnTo>
                        <a:pt x="34" y="2"/>
                      </a:lnTo>
                      <a:lnTo>
                        <a:pt x="27" y="3"/>
                      </a:lnTo>
                      <a:lnTo>
                        <a:pt x="21" y="5"/>
                      </a:lnTo>
                      <a:lnTo>
                        <a:pt x="12" y="5"/>
                      </a:lnTo>
                      <a:lnTo>
                        <a:pt x="0" y="4"/>
                      </a:lnTo>
                      <a:lnTo>
                        <a:pt x="3" y="16"/>
                      </a:lnTo>
                      <a:lnTo>
                        <a:pt x="6" y="2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69" name="Freeform 313">
                  <a:extLst>
                    <a:ext uri="{FF2B5EF4-FFF2-40B4-BE49-F238E27FC236}">
                      <a16:creationId xmlns:a16="http://schemas.microsoft.com/office/drawing/2014/main" xmlns="" id="{F3028702-68A7-4979-93F3-92F3D4DE31CF}"/>
                    </a:ext>
                  </a:extLst>
                </p:cNvPr>
                <p:cNvSpPr>
                  <a:spLocks/>
                </p:cNvSpPr>
                <p:nvPr>
                  <p:custDataLst>
                    <p:tags r:id="rId216"/>
                  </p:custDataLst>
                </p:nvPr>
              </p:nvSpPr>
              <p:spPr bwMode="auto">
                <a:xfrm>
                  <a:off x="7148513" y="3886200"/>
                  <a:ext cx="19050" cy="55563"/>
                </a:xfrm>
                <a:custGeom>
                  <a:avLst/>
                  <a:gdLst>
                    <a:gd name="T0" fmla="*/ 0 w 46"/>
                    <a:gd name="T1" fmla="*/ 0 h 37"/>
                    <a:gd name="T2" fmla="*/ 2147483646 w 46"/>
                    <a:gd name="T3" fmla="*/ 2147483646 h 37"/>
                    <a:gd name="T4" fmla="*/ 2147483646 w 46"/>
                    <a:gd name="T5" fmla="*/ 2147483646 h 37"/>
                    <a:gd name="T6" fmla="*/ 2147483646 w 46"/>
                    <a:gd name="T7" fmla="*/ 2147483646 h 37"/>
                    <a:gd name="T8" fmla="*/ 2147483646 w 46"/>
                    <a:gd name="T9" fmla="*/ 2147483646 h 37"/>
                    <a:gd name="T10" fmla="*/ 2147483646 w 46"/>
                    <a:gd name="T11" fmla="*/ 2147483646 h 37"/>
                    <a:gd name="T12" fmla="*/ 2147483646 w 46"/>
                    <a:gd name="T13" fmla="*/ 2147483646 h 37"/>
                    <a:gd name="T14" fmla="*/ 2147483646 w 46"/>
                    <a:gd name="T15" fmla="*/ 2147483646 h 37"/>
                    <a:gd name="T16" fmla="*/ 2147483646 w 46"/>
                    <a:gd name="T17" fmla="*/ 2147483646 h 37"/>
                    <a:gd name="T18" fmla="*/ 2147483646 w 46"/>
                    <a:gd name="T19" fmla="*/ 2147483646 h 37"/>
                    <a:gd name="T20" fmla="*/ 2147483646 w 46"/>
                    <a:gd name="T21" fmla="*/ 2147483646 h 37"/>
                    <a:gd name="T22" fmla="*/ 2147483646 w 46"/>
                    <a:gd name="T23" fmla="*/ 2147483646 h 37"/>
                    <a:gd name="T24" fmla="*/ 2147483646 w 46"/>
                    <a:gd name="T25" fmla="*/ 2147483646 h 37"/>
                    <a:gd name="T26" fmla="*/ 2147483646 w 46"/>
                    <a:gd name="T27" fmla="*/ 2147483646 h 37"/>
                    <a:gd name="T28" fmla="*/ 0 w 46"/>
                    <a:gd name="T29" fmla="*/ 0 h 3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6"/>
                    <a:gd name="T46" fmla="*/ 0 h 37"/>
                    <a:gd name="T47" fmla="*/ 46 w 46"/>
                    <a:gd name="T48" fmla="*/ 37 h 3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6" h="37">
                      <a:moveTo>
                        <a:pt x="0" y="0"/>
                      </a:moveTo>
                      <a:lnTo>
                        <a:pt x="9" y="9"/>
                      </a:lnTo>
                      <a:lnTo>
                        <a:pt x="20" y="15"/>
                      </a:lnTo>
                      <a:lnTo>
                        <a:pt x="31" y="20"/>
                      </a:lnTo>
                      <a:lnTo>
                        <a:pt x="46" y="25"/>
                      </a:lnTo>
                      <a:lnTo>
                        <a:pt x="37" y="29"/>
                      </a:lnTo>
                      <a:lnTo>
                        <a:pt x="29" y="33"/>
                      </a:lnTo>
                      <a:lnTo>
                        <a:pt x="21" y="36"/>
                      </a:lnTo>
                      <a:lnTo>
                        <a:pt x="13" y="37"/>
                      </a:lnTo>
                      <a:lnTo>
                        <a:pt x="9" y="36"/>
                      </a:lnTo>
                      <a:lnTo>
                        <a:pt x="7" y="33"/>
                      </a:lnTo>
                      <a:lnTo>
                        <a:pt x="5" y="29"/>
                      </a:lnTo>
                      <a:lnTo>
                        <a:pt x="3" y="23"/>
                      </a:lnTo>
                      <a:lnTo>
                        <a:pt x="1" y="1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0" name="Freeform 314">
                  <a:extLst>
                    <a:ext uri="{FF2B5EF4-FFF2-40B4-BE49-F238E27FC236}">
                      <a16:creationId xmlns:a16="http://schemas.microsoft.com/office/drawing/2014/main" xmlns="" id="{FA21C26F-247F-4E90-B966-EF79F4301CAE}"/>
                    </a:ext>
                  </a:extLst>
                </p:cNvPr>
                <p:cNvSpPr>
                  <a:spLocks/>
                </p:cNvSpPr>
                <p:nvPr>
                  <p:custDataLst>
                    <p:tags r:id="rId217"/>
                  </p:custDataLst>
                </p:nvPr>
              </p:nvSpPr>
              <p:spPr bwMode="auto">
                <a:xfrm>
                  <a:off x="7261225" y="3705225"/>
                  <a:ext cx="11113" cy="57150"/>
                </a:xfrm>
                <a:custGeom>
                  <a:avLst/>
                  <a:gdLst>
                    <a:gd name="T0" fmla="*/ 0 w 26"/>
                    <a:gd name="T1" fmla="*/ 0 h 19"/>
                    <a:gd name="T2" fmla="*/ 2147483646 w 26"/>
                    <a:gd name="T3" fmla="*/ 2147483646 h 19"/>
                    <a:gd name="T4" fmla="*/ 2147483646 w 26"/>
                    <a:gd name="T5" fmla="*/ 2147483646 h 19"/>
                    <a:gd name="T6" fmla="*/ 2147483646 w 26"/>
                    <a:gd name="T7" fmla="*/ 0 h 19"/>
                    <a:gd name="T8" fmla="*/ 2147483646 w 26"/>
                    <a:gd name="T9" fmla="*/ 0 h 19"/>
                    <a:gd name="T10" fmla="*/ 0 w 26"/>
                    <a:gd name="T11" fmla="*/ 0 h 1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19"/>
                    <a:gd name="T20" fmla="*/ 26 w 26"/>
                    <a:gd name="T21" fmla="*/ 19 h 1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19">
                      <a:moveTo>
                        <a:pt x="0" y="0"/>
                      </a:moveTo>
                      <a:lnTo>
                        <a:pt x="26" y="19"/>
                      </a:lnTo>
                      <a:lnTo>
                        <a:pt x="26" y="9"/>
                      </a:lnTo>
                      <a:lnTo>
                        <a:pt x="26" y="0"/>
                      </a:lnTo>
                      <a:lnTo>
                        <a:pt x="15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1" name="Freeform 315">
                  <a:extLst>
                    <a:ext uri="{FF2B5EF4-FFF2-40B4-BE49-F238E27FC236}">
                      <a16:creationId xmlns:a16="http://schemas.microsoft.com/office/drawing/2014/main" xmlns="" id="{DA122B8E-8EA6-4C9F-87BC-95CECEEC1B39}"/>
                    </a:ext>
                  </a:extLst>
                </p:cNvPr>
                <p:cNvSpPr>
                  <a:spLocks/>
                </p:cNvSpPr>
                <p:nvPr>
                  <p:custDataLst>
                    <p:tags r:id="rId218"/>
                  </p:custDataLst>
                </p:nvPr>
              </p:nvSpPr>
              <p:spPr bwMode="auto">
                <a:xfrm>
                  <a:off x="7121525" y="3700463"/>
                  <a:ext cx="19050" cy="58737"/>
                </a:xfrm>
                <a:custGeom>
                  <a:avLst/>
                  <a:gdLst>
                    <a:gd name="T0" fmla="*/ 2147483646 w 43"/>
                    <a:gd name="T1" fmla="*/ 0 h 31"/>
                    <a:gd name="T2" fmla="*/ 2147483646 w 43"/>
                    <a:gd name="T3" fmla="*/ 2147483646 h 31"/>
                    <a:gd name="T4" fmla="*/ 0 w 43"/>
                    <a:gd name="T5" fmla="*/ 2147483646 h 31"/>
                    <a:gd name="T6" fmla="*/ 0 w 43"/>
                    <a:gd name="T7" fmla="*/ 2147483646 h 31"/>
                    <a:gd name="T8" fmla="*/ 0 w 43"/>
                    <a:gd name="T9" fmla="*/ 2147483646 h 31"/>
                    <a:gd name="T10" fmla="*/ 0 w 43"/>
                    <a:gd name="T11" fmla="*/ 2147483646 h 31"/>
                    <a:gd name="T12" fmla="*/ 2147483646 w 43"/>
                    <a:gd name="T13" fmla="*/ 2147483646 h 31"/>
                    <a:gd name="T14" fmla="*/ 2147483646 w 43"/>
                    <a:gd name="T15" fmla="*/ 2147483646 h 31"/>
                    <a:gd name="T16" fmla="*/ 2147483646 w 43"/>
                    <a:gd name="T17" fmla="*/ 2147483646 h 31"/>
                    <a:gd name="T18" fmla="*/ 2147483646 w 43"/>
                    <a:gd name="T19" fmla="*/ 2147483646 h 31"/>
                    <a:gd name="T20" fmla="*/ 2147483646 w 43"/>
                    <a:gd name="T21" fmla="*/ 0 h 31"/>
                    <a:gd name="T22" fmla="*/ 2147483646 w 43"/>
                    <a:gd name="T23" fmla="*/ 0 h 31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3"/>
                    <a:gd name="T37" fmla="*/ 0 h 31"/>
                    <a:gd name="T38" fmla="*/ 43 w 43"/>
                    <a:gd name="T39" fmla="*/ 31 h 31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3" h="31">
                      <a:moveTo>
                        <a:pt x="2" y="0"/>
                      </a:moveTo>
                      <a:lnTo>
                        <a:pt x="1" y="12"/>
                      </a:lnTo>
                      <a:lnTo>
                        <a:pt x="0" y="23"/>
                      </a:lnTo>
                      <a:lnTo>
                        <a:pt x="0" y="26"/>
                      </a:lnTo>
                      <a:lnTo>
                        <a:pt x="0" y="29"/>
                      </a:lnTo>
                      <a:lnTo>
                        <a:pt x="0" y="31"/>
                      </a:lnTo>
                      <a:lnTo>
                        <a:pt x="2" y="31"/>
                      </a:lnTo>
                      <a:lnTo>
                        <a:pt x="13" y="22"/>
                      </a:lnTo>
                      <a:lnTo>
                        <a:pt x="25" y="13"/>
                      </a:lnTo>
                      <a:lnTo>
                        <a:pt x="35" y="5"/>
                      </a:lnTo>
                      <a:lnTo>
                        <a:pt x="43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2" name="Freeform 316">
                  <a:extLst>
                    <a:ext uri="{FF2B5EF4-FFF2-40B4-BE49-F238E27FC236}">
                      <a16:creationId xmlns:a16="http://schemas.microsoft.com/office/drawing/2014/main" xmlns="" id="{8F4BA66A-A13E-4BBA-BC22-E06B27825259}"/>
                    </a:ext>
                  </a:extLst>
                </p:cNvPr>
                <p:cNvSpPr>
                  <a:spLocks/>
                </p:cNvSpPr>
                <p:nvPr>
                  <p:custDataLst>
                    <p:tags r:id="rId219"/>
                  </p:custDataLst>
                </p:nvPr>
              </p:nvSpPr>
              <p:spPr bwMode="auto">
                <a:xfrm>
                  <a:off x="7165975" y="3748088"/>
                  <a:ext cx="30163" cy="57150"/>
                </a:xfrm>
                <a:custGeom>
                  <a:avLst/>
                  <a:gdLst>
                    <a:gd name="T0" fmla="*/ 2147483646 w 71"/>
                    <a:gd name="T1" fmla="*/ 2147483646 h 49"/>
                    <a:gd name="T2" fmla="*/ 2147483646 w 71"/>
                    <a:gd name="T3" fmla="*/ 2147483646 h 49"/>
                    <a:gd name="T4" fmla="*/ 2147483646 w 71"/>
                    <a:gd name="T5" fmla="*/ 2147483646 h 49"/>
                    <a:gd name="T6" fmla="*/ 2147483646 w 71"/>
                    <a:gd name="T7" fmla="*/ 2147483646 h 49"/>
                    <a:gd name="T8" fmla="*/ 2147483646 w 71"/>
                    <a:gd name="T9" fmla="*/ 2147483646 h 49"/>
                    <a:gd name="T10" fmla="*/ 2147483646 w 71"/>
                    <a:gd name="T11" fmla="*/ 2147483646 h 49"/>
                    <a:gd name="T12" fmla="*/ 2147483646 w 71"/>
                    <a:gd name="T13" fmla="*/ 2147483646 h 49"/>
                    <a:gd name="T14" fmla="*/ 2147483646 w 71"/>
                    <a:gd name="T15" fmla="*/ 2147483646 h 49"/>
                    <a:gd name="T16" fmla="*/ 2147483646 w 71"/>
                    <a:gd name="T17" fmla="*/ 2147483646 h 49"/>
                    <a:gd name="T18" fmla="*/ 2147483646 w 71"/>
                    <a:gd name="T19" fmla="*/ 2147483646 h 49"/>
                    <a:gd name="T20" fmla="*/ 2147483646 w 71"/>
                    <a:gd name="T21" fmla="*/ 2147483646 h 49"/>
                    <a:gd name="T22" fmla="*/ 2147483646 w 71"/>
                    <a:gd name="T23" fmla="*/ 2147483646 h 49"/>
                    <a:gd name="T24" fmla="*/ 2147483646 w 71"/>
                    <a:gd name="T25" fmla="*/ 2147483646 h 49"/>
                    <a:gd name="T26" fmla="*/ 2147483646 w 71"/>
                    <a:gd name="T27" fmla="*/ 2147483646 h 49"/>
                    <a:gd name="T28" fmla="*/ 2147483646 w 71"/>
                    <a:gd name="T29" fmla="*/ 2147483646 h 49"/>
                    <a:gd name="T30" fmla="*/ 2147483646 w 71"/>
                    <a:gd name="T31" fmla="*/ 2147483646 h 49"/>
                    <a:gd name="T32" fmla="*/ 2147483646 w 71"/>
                    <a:gd name="T33" fmla="*/ 2147483646 h 49"/>
                    <a:gd name="T34" fmla="*/ 2147483646 w 71"/>
                    <a:gd name="T35" fmla="*/ 2147483646 h 49"/>
                    <a:gd name="T36" fmla="*/ 2147483646 w 71"/>
                    <a:gd name="T37" fmla="*/ 2147483646 h 49"/>
                    <a:gd name="T38" fmla="*/ 2147483646 w 71"/>
                    <a:gd name="T39" fmla="*/ 2147483646 h 49"/>
                    <a:gd name="T40" fmla="*/ 2147483646 w 71"/>
                    <a:gd name="T41" fmla="*/ 2147483646 h 49"/>
                    <a:gd name="T42" fmla="*/ 2147483646 w 71"/>
                    <a:gd name="T43" fmla="*/ 2147483646 h 49"/>
                    <a:gd name="T44" fmla="*/ 2147483646 w 71"/>
                    <a:gd name="T45" fmla="*/ 0 h 49"/>
                    <a:gd name="T46" fmla="*/ 2147483646 w 71"/>
                    <a:gd name="T47" fmla="*/ 2147483646 h 49"/>
                    <a:gd name="T48" fmla="*/ 2147483646 w 71"/>
                    <a:gd name="T49" fmla="*/ 2147483646 h 49"/>
                    <a:gd name="T50" fmla="*/ 0 w 71"/>
                    <a:gd name="T51" fmla="*/ 2147483646 h 49"/>
                    <a:gd name="T52" fmla="*/ 0 w 71"/>
                    <a:gd name="T53" fmla="*/ 2147483646 h 49"/>
                    <a:gd name="T54" fmla="*/ 2147483646 w 71"/>
                    <a:gd name="T55" fmla="*/ 2147483646 h 49"/>
                    <a:gd name="T56" fmla="*/ 2147483646 w 71"/>
                    <a:gd name="T57" fmla="*/ 2147483646 h 49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71"/>
                    <a:gd name="T88" fmla="*/ 0 h 49"/>
                    <a:gd name="T89" fmla="*/ 71 w 71"/>
                    <a:gd name="T90" fmla="*/ 49 h 49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71" h="49">
                      <a:moveTo>
                        <a:pt x="4" y="12"/>
                      </a:moveTo>
                      <a:lnTo>
                        <a:pt x="4" y="18"/>
                      </a:lnTo>
                      <a:lnTo>
                        <a:pt x="5" y="25"/>
                      </a:lnTo>
                      <a:lnTo>
                        <a:pt x="7" y="31"/>
                      </a:lnTo>
                      <a:lnTo>
                        <a:pt x="9" y="37"/>
                      </a:lnTo>
                      <a:lnTo>
                        <a:pt x="14" y="41"/>
                      </a:lnTo>
                      <a:lnTo>
                        <a:pt x="18" y="46"/>
                      </a:lnTo>
                      <a:lnTo>
                        <a:pt x="23" y="48"/>
                      </a:lnTo>
                      <a:lnTo>
                        <a:pt x="30" y="49"/>
                      </a:lnTo>
                      <a:lnTo>
                        <a:pt x="35" y="48"/>
                      </a:lnTo>
                      <a:lnTo>
                        <a:pt x="40" y="46"/>
                      </a:lnTo>
                      <a:lnTo>
                        <a:pt x="45" y="42"/>
                      </a:lnTo>
                      <a:lnTo>
                        <a:pt x="50" y="37"/>
                      </a:lnTo>
                      <a:lnTo>
                        <a:pt x="60" y="28"/>
                      </a:lnTo>
                      <a:lnTo>
                        <a:pt x="71" y="18"/>
                      </a:lnTo>
                      <a:lnTo>
                        <a:pt x="61" y="12"/>
                      </a:lnTo>
                      <a:lnTo>
                        <a:pt x="52" y="9"/>
                      </a:lnTo>
                      <a:lnTo>
                        <a:pt x="44" y="7"/>
                      </a:lnTo>
                      <a:lnTo>
                        <a:pt x="37" y="6"/>
                      </a:lnTo>
                      <a:lnTo>
                        <a:pt x="29" y="6"/>
                      </a:lnTo>
                      <a:lnTo>
                        <a:pt x="21" y="5"/>
                      </a:lnTo>
                      <a:lnTo>
                        <a:pt x="14" y="3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1" y="6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1" y="11"/>
                      </a:lnTo>
                      <a:lnTo>
                        <a:pt x="4" y="1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3" name="Freeform 317">
                  <a:extLst>
                    <a:ext uri="{FF2B5EF4-FFF2-40B4-BE49-F238E27FC236}">
                      <a16:creationId xmlns:a16="http://schemas.microsoft.com/office/drawing/2014/main" xmlns="" id="{5FE2FB5C-FC9E-45BE-9D6B-F62B25E5816B}"/>
                    </a:ext>
                  </a:extLst>
                </p:cNvPr>
                <p:cNvSpPr>
                  <a:spLocks/>
                </p:cNvSpPr>
                <p:nvPr>
                  <p:custDataLst>
                    <p:tags r:id="rId220"/>
                  </p:custDataLst>
                </p:nvPr>
              </p:nvSpPr>
              <p:spPr bwMode="auto">
                <a:xfrm>
                  <a:off x="6967538" y="3951288"/>
                  <a:ext cx="46037" cy="58737"/>
                </a:xfrm>
                <a:custGeom>
                  <a:avLst/>
                  <a:gdLst>
                    <a:gd name="T0" fmla="*/ 2147483646 w 112"/>
                    <a:gd name="T1" fmla="*/ 2147483646 h 26"/>
                    <a:gd name="T2" fmla="*/ 2147483646 w 112"/>
                    <a:gd name="T3" fmla="*/ 2147483646 h 26"/>
                    <a:gd name="T4" fmla="*/ 2147483646 w 112"/>
                    <a:gd name="T5" fmla="*/ 2147483646 h 26"/>
                    <a:gd name="T6" fmla="*/ 2147483646 w 112"/>
                    <a:gd name="T7" fmla="*/ 2147483646 h 26"/>
                    <a:gd name="T8" fmla="*/ 2147483646 w 112"/>
                    <a:gd name="T9" fmla="*/ 2147483646 h 26"/>
                    <a:gd name="T10" fmla="*/ 2147483646 w 112"/>
                    <a:gd name="T11" fmla="*/ 2147483646 h 26"/>
                    <a:gd name="T12" fmla="*/ 2147483646 w 112"/>
                    <a:gd name="T13" fmla="*/ 2147483646 h 26"/>
                    <a:gd name="T14" fmla="*/ 2147483646 w 112"/>
                    <a:gd name="T15" fmla="*/ 2147483646 h 26"/>
                    <a:gd name="T16" fmla="*/ 2147483646 w 112"/>
                    <a:gd name="T17" fmla="*/ 2147483646 h 26"/>
                    <a:gd name="T18" fmla="*/ 2147483646 w 112"/>
                    <a:gd name="T19" fmla="*/ 2147483646 h 26"/>
                    <a:gd name="T20" fmla="*/ 2147483646 w 112"/>
                    <a:gd name="T21" fmla="*/ 2147483646 h 26"/>
                    <a:gd name="T22" fmla="*/ 2147483646 w 112"/>
                    <a:gd name="T23" fmla="*/ 2147483646 h 26"/>
                    <a:gd name="T24" fmla="*/ 2147483646 w 112"/>
                    <a:gd name="T25" fmla="*/ 2147483646 h 26"/>
                    <a:gd name="T26" fmla="*/ 2147483646 w 112"/>
                    <a:gd name="T27" fmla="*/ 2147483646 h 26"/>
                    <a:gd name="T28" fmla="*/ 2147483646 w 112"/>
                    <a:gd name="T29" fmla="*/ 2147483646 h 26"/>
                    <a:gd name="T30" fmla="*/ 2147483646 w 112"/>
                    <a:gd name="T31" fmla="*/ 2147483646 h 26"/>
                    <a:gd name="T32" fmla="*/ 2147483646 w 112"/>
                    <a:gd name="T33" fmla="*/ 2147483646 h 26"/>
                    <a:gd name="T34" fmla="*/ 2147483646 w 112"/>
                    <a:gd name="T35" fmla="*/ 2147483646 h 26"/>
                    <a:gd name="T36" fmla="*/ 0 w 112"/>
                    <a:gd name="T37" fmla="*/ 2147483646 h 26"/>
                    <a:gd name="T38" fmla="*/ 2147483646 w 112"/>
                    <a:gd name="T39" fmla="*/ 2147483646 h 26"/>
                    <a:gd name="T40" fmla="*/ 2147483646 w 112"/>
                    <a:gd name="T41" fmla="*/ 2147483646 h 26"/>
                    <a:gd name="T42" fmla="*/ 2147483646 w 112"/>
                    <a:gd name="T43" fmla="*/ 2147483646 h 26"/>
                    <a:gd name="T44" fmla="*/ 2147483646 w 112"/>
                    <a:gd name="T45" fmla="*/ 0 h 26"/>
                    <a:gd name="T46" fmla="*/ 2147483646 w 112"/>
                    <a:gd name="T47" fmla="*/ 2147483646 h 26"/>
                    <a:gd name="T48" fmla="*/ 2147483646 w 112"/>
                    <a:gd name="T49" fmla="*/ 2147483646 h 2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12"/>
                    <a:gd name="T76" fmla="*/ 0 h 26"/>
                    <a:gd name="T77" fmla="*/ 112 w 112"/>
                    <a:gd name="T78" fmla="*/ 26 h 2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12" h="26">
                      <a:moveTo>
                        <a:pt x="46" y="2"/>
                      </a:moveTo>
                      <a:lnTo>
                        <a:pt x="56" y="2"/>
                      </a:lnTo>
                      <a:lnTo>
                        <a:pt x="66" y="3"/>
                      </a:lnTo>
                      <a:lnTo>
                        <a:pt x="74" y="4"/>
                      </a:lnTo>
                      <a:lnTo>
                        <a:pt x="84" y="6"/>
                      </a:lnTo>
                      <a:lnTo>
                        <a:pt x="92" y="9"/>
                      </a:lnTo>
                      <a:lnTo>
                        <a:pt x="100" y="12"/>
                      </a:lnTo>
                      <a:lnTo>
                        <a:pt x="106" y="16"/>
                      </a:lnTo>
                      <a:lnTo>
                        <a:pt x="112" y="20"/>
                      </a:lnTo>
                      <a:lnTo>
                        <a:pt x="110" y="22"/>
                      </a:lnTo>
                      <a:lnTo>
                        <a:pt x="105" y="23"/>
                      </a:lnTo>
                      <a:lnTo>
                        <a:pt x="101" y="25"/>
                      </a:lnTo>
                      <a:lnTo>
                        <a:pt x="95" y="25"/>
                      </a:lnTo>
                      <a:lnTo>
                        <a:pt x="87" y="26"/>
                      </a:lnTo>
                      <a:lnTo>
                        <a:pt x="79" y="26"/>
                      </a:lnTo>
                      <a:lnTo>
                        <a:pt x="66" y="24"/>
                      </a:lnTo>
                      <a:lnTo>
                        <a:pt x="41" y="19"/>
                      </a:lnTo>
                      <a:lnTo>
                        <a:pt x="16" y="13"/>
                      </a:lnTo>
                      <a:lnTo>
                        <a:pt x="0" y="8"/>
                      </a:lnTo>
                      <a:lnTo>
                        <a:pt x="5" y="4"/>
                      </a:lnTo>
                      <a:lnTo>
                        <a:pt x="11" y="2"/>
                      </a:lnTo>
                      <a:lnTo>
                        <a:pt x="18" y="1"/>
                      </a:lnTo>
                      <a:lnTo>
                        <a:pt x="25" y="0"/>
                      </a:lnTo>
                      <a:lnTo>
                        <a:pt x="37" y="1"/>
                      </a:lnTo>
                      <a:lnTo>
                        <a:pt x="46" y="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4" name="Freeform 318">
                  <a:extLst>
                    <a:ext uri="{FF2B5EF4-FFF2-40B4-BE49-F238E27FC236}">
                      <a16:creationId xmlns:a16="http://schemas.microsoft.com/office/drawing/2014/main" xmlns="" id="{51474645-21B1-4D3A-A3A7-F64D65103C3A}"/>
                    </a:ext>
                  </a:extLst>
                </p:cNvPr>
                <p:cNvSpPr>
                  <a:spLocks/>
                </p:cNvSpPr>
                <p:nvPr>
                  <p:custDataLst>
                    <p:tags r:id="rId221"/>
                  </p:custDataLst>
                </p:nvPr>
              </p:nvSpPr>
              <p:spPr bwMode="auto">
                <a:xfrm>
                  <a:off x="7065963" y="3989388"/>
                  <a:ext cx="14287" cy="58737"/>
                </a:xfrm>
                <a:custGeom>
                  <a:avLst/>
                  <a:gdLst>
                    <a:gd name="T0" fmla="*/ 0 w 41"/>
                    <a:gd name="T1" fmla="*/ 0 h 25"/>
                    <a:gd name="T2" fmla="*/ 2147483646 w 41"/>
                    <a:gd name="T3" fmla="*/ 0 h 25"/>
                    <a:gd name="T4" fmla="*/ 2147483646 w 41"/>
                    <a:gd name="T5" fmla="*/ 2147483646 h 25"/>
                    <a:gd name="T6" fmla="*/ 2147483646 w 41"/>
                    <a:gd name="T7" fmla="*/ 2147483646 h 25"/>
                    <a:gd name="T8" fmla="*/ 2147483646 w 41"/>
                    <a:gd name="T9" fmla="*/ 2147483646 h 25"/>
                    <a:gd name="T10" fmla="*/ 0 w 41"/>
                    <a:gd name="T11" fmla="*/ 2147483646 h 25"/>
                    <a:gd name="T12" fmla="*/ 0 w 41"/>
                    <a:gd name="T13" fmla="*/ 0 h 2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1"/>
                    <a:gd name="T22" fmla="*/ 0 h 25"/>
                    <a:gd name="T23" fmla="*/ 41 w 41"/>
                    <a:gd name="T24" fmla="*/ 25 h 2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1" h="25">
                      <a:moveTo>
                        <a:pt x="0" y="0"/>
                      </a:moveTo>
                      <a:lnTo>
                        <a:pt x="41" y="0"/>
                      </a:lnTo>
                      <a:lnTo>
                        <a:pt x="28" y="8"/>
                      </a:lnTo>
                      <a:lnTo>
                        <a:pt x="18" y="15"/>
                      </a:lnTo>
                      <a:lnTo>
                        <a:pt x="9" y="20"/>
                      </a:lnTo>
                      <a:lnTo>
                        <a:pt x="0" y="25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5" name="Freeform 319">
                  <a:extLst>
                    <a:ext uri="{FF2B5EF4-FFF2-40B4-BE49-F238E27FC236}">
                      <a16:creationId xmlns:a16="http://schemas.microsoft.com/office/drawing/2014/main" xmlns="" id="{A853B09B-B5CD-4923-B2DD-5241765A565E}"/>
                    </a:ext>
                  </a:extLst>
                </p:cNvPr>
                <p:cNvSpPr>
                  <a:spLocks/>
                </p:cNvSpPr>
                <p:nvPr>
                  <p:custDataLst>
                    <p:tags r:id="rId222"/>
                  </p:custDataLst>
                </p:nvPr>
              </p:nvSpPr>
              <p:spPr bwMode="auto">
                <a:xfrm>
                  <a:off x="6899275" y="3921125"/>
                  <a:ext cx="36513" cy="55563"/>
                </a:xfrm>
                <a:custGeom>
                  <a:avLst/>
                  <a:gdLst>
                    <a:gd name="T0" fmla="*/ 0 w 81"/>
                    <a:gd name="T1" fmla="*/ 2147483646 h 31"/>
                    <a:gd name="T2" fmla="*/ 0 w 81"/>
                    <a:gd name="T3" fmla="*/ 2147483646 h 31"/>
                    <a:gd name="T4" fmla="*/ 0 w 81"/>
                    <a:gd name="T5" fmla="*/ 2147483646 h 31"/>
                    <a:gd name="T6" fmla="*/ 0 w 81"/>
                    <a:gd name="T7" fmla="*/ 2147483646 h 31"/>
                    <a:gd name="T8" fmla="*/ 2147483646 w 81"/>
                    <a:gd name="T9" fmla="*/ 2147483646 h 31"/>
                    <a:gd name="T10" fmla="*/ 2147483646 w 81"/>
                    <a:gd name="T11" fmla="*/ 2147483646 h 31"/>
                    <a:gd name="T12" fmla="*/ 2147483646 w 81"/>
                    <a:gd name="T13" fmla="*/ 2147483646 h 31"/>
                    <a:gd name="T14" fmla="*/ 2147483646 w 81"/>
                    <a:gd name="T15" fmla="*/ 2147483646 h 31"/>
                    <a:gd name="T16" fmla="*/ 2147483646 w 81"/>
                    <a:gd name="T17" fmla="*/ 0 h 31"/>
                    <a:gd name="T18" fmla="*/ 2147483646 w 81"/>
                    <a:gd name="T19" fmla="*/ 2147483646 h 31"/>
                    <a:gd name="T20" fmla="*/ 2147483646 w 81"/>
                    <a:gd name="T21" fmla="*/ 2147483646 h 31"/>
                    <a:gd name="T22" fmla="*/ 2147483646 w 81"/>
                    <a:gd name="T23" fmla="*/ 2147483646 h 31"/>
                    <a:gd name="T24" fmla="*/ 2147483646 w 81"/>
                    <a:gd name="T25" fmla="*/ 2147483646 h 31"/>
                    <a:gd name="T26" fmla="*/ 2147483646 w 81"/>
                    <a:gd name="T27" fmla="*/ 2147483646 h 31"/>
                    <a:gd name="T28" fmla="*/ 2147483646 w 81"/>
                    <a:gd name="T29" fmla="*/ 2147483646 h 31"/>
                    <a:gd name="T30" fmla="*/ 2147483646 w 81"/>
                    <a:gd name="T31" fmla="*/ 2147483646 h 31"/>
                    <a:gd name="T32" fmla="*/ 2147483646 w 81"/>
                    <a:gd name="T33" fmla="*/ 2147483646 h 31"/>
                    <a:gd name="T34" fmla="*/ 2147483646 w 81"/>
                    <a:gd name="T35" fmla="*/ 2147483646 h 31"/>
                    <a:gd name="T36" fmla="*/ 2147483646 w 81"/>
                    <a:gd name="T37" fmla="*/ 2147483646 h 31"/>
                    <a:gd name="T38" fmla="*/ 2147483646 w 81"/>
                    <a:gd name="T39" fmla="*/ 2147483646 h 31"/>
                    <a:gd name="T40" fmla="*/ 2147483646 w 81"/>
                    <a:gd name="T41" fmla="*/ 2147483646 h 31"/>
                    <a:gd name="T42" fmla="*/ 2147483646 w 81"/>
                    <a:gd name="T43" fmla="*/ 2147483646 h 31"/>
                    <a:gd name="T44" fmla="*/ 2147483646 w 81"/>
                    <a:gd name="T45" fmla="*/ 2147483646 h 31"/>
                    <a:gd name="T46" fmla="*/ 0 w 81"/>
                    <a:gd name="T47" fmla="*/ 2147483646 h 3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81"/>
                    <a:gd name="T73" fmla="*/ 0 h 31"/>
                    <a:gd name="T74" fmla="*/ 81 w 81"/>
                    <a:gd name="T75" fmla="*/ 31 h 3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81" h="31">
                      <a:moveTo>
                        <a:pt x="0" y="31"/>
                      </a:moveTo>
                      <a:lnTo>
                        <a:pt x="0" y="22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2" y="8"/>
                      </a:lnTo>
                      <a:lnTo>
                        <a:pt x="3" y="6"/>
                      </a:lnTo>
                      <a:lnTo>
                        <a:pt x="4" y="4"/>
                      </a:lnTo>
                      <a:lnTo>
                        <a:pt x="8" y="2"/>
                      </a:lnTo>
                      <a:lnTo>
                        <a:pt x="14" y="0"/>
                      </a:lnTo>
                      <a:lnTo>
                        <a:pt x="26" y="1"/>
                      </a:lnTo>
                      <a:lnTo>
                        <a:pt x="41" y="1"/>
                      </a:lnTo>
                      <a:lnTo>
                        <a:pt x="56" y="1"/>
                      </a:lnTo>
                      <a:lnTo>
                        <a:pt x="65" y="1"/>
                      </a:lnTo>
                      <a:lnTo>
                        <a:pt x="73" y="1"/>
                      </a:lnTo>
                      <a:lnTo>
                        <a:pt x="81" y="1"/>
                      </a:lnTo>
                      <a:lnTo>
                        <a:pt x="73" y="6"/>
                      </a:lnTo>
                      <a:lnTo>
                        <a:pt x="67" y="10"/>
                      </a:lnTo>
                      <a:lnTo>
                        <a:pt x="64" y="14"/>
                      </a:lnTo>
                      <a:lnTo>
                        <a:pt x="62" y="18"/>
                      </a:lnTo>
                      <a:lnTo>
                        <a:pt x="59" y="21"/>
                      </a:lnTo>
                      <a:lnTo>
                        <a:pt x="54" y="23"/>
                      </a:lnTo>
                      <a:lnTo>
                        <a:pt x="47" y="25"/>
                      </a:lnTo>
                      <a:lnTo>
                        <a:pt x="34" y="25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6" name="Freeform 320">
                  <a:extLst>
                    <a:ext uri="{FF2B5EF4-FFF2-40B4-BE49-F238E27FC236}">
                      <a16:creationId xmlns:a16="http://schemas.microsoft.com/office/drawing/2014/main" xmlns="" id="{70797663-5177-4002-898D-3607DED2C376}"/>
                    </a:ext>
                  </a:extLst>
                </p:cNvPr>
                <p:cNvSpPr>
                  <a:spLocks/>
                </p:cNvSpPr>
                <p:nvPr>
                  <p:custDataLst>
                    <p:tags r:id="rId223"/>
                  </p:custDataLst>
                </p:nvPr>
              </p:nvSpPr>
              <p:spPr bwMode="auto">
                <a:xfrm>
                  <a:off x="6943725" y="3906838"/>
                  <a:ext cx="39688" cy="55562"/>
                </a:xfrm>
                <a:custGeom>
                  <a:avLst/>
                  <a:gdLst>
                    <a:gd name="T0" fmla="*/ 2147483646 w 89"/>
                    <a:gd name="T1" fmla="*/ 2147483646 h 49"/>
                    <a:gd name="T2" fmla="*/ 2147483646 w 89"/>
                    <a:gd name="T3" fmla="*/ 2147483646 h 49"/>
                    <a:gd name="T4" fmla="*/ 2147483646 w 89"/>
                    <a:gd name="T5" fmla="*/ 2147483646 h 49"/>
                    <a:gd name="T6" fmla="*/ 2147483646 w 89"/>
                    <a:gd name="T7" fmla="*/ 2147483646 h 49"/>
                    <a:gd name="T8" fmla="*/ 2147483646 w 89"/>
                    <a:gd name="T9" fmla="*/ 2147483646 h 49"/>
                    <a:gd name="T10" fmla="*/ 2147483646 w 89"/>
                    <a:gd name="T11" fmla="*/ 2147483646 h 49"/>
                    <a:gd name="T12" fmla="*/ 2147483646 w 89"/>
                    <a:gd name="T13" fmla="*/ 2147483646 h 49"/>
                    <a:gd name="T14" fmla="*/ 2147483646 w 89"/>
                    <a:gd name="T15" fmla="*/ 2147483646 h 49"/>
                    <a:gd name="T16" fmla="*/ 2147483646 w 89"/>
                    <a:gd name="T17" fmla="*/ 2147483646 h 49"/>
                    <a:gd name="T18" fmla="*/ 2147483646 w 89"/>
                    <a:gd name="T19" fmla="*/ 0 h 49"/>
                    <a:gd name="T20" fmla="*/ 2147483646 w 89"/>
                    <a:gd name="T21" fmla="*/ 2147483646 h 49"/>
                    <a:gd name="T22" fmla="*/ 2147483646 w 89"/>
                    <a:gd name="T23" fmla="*/ 2147483646 h 49"/>
                    <a:gd name="T24" fmla="*/ 0 w 89"/>
                    <a:gd name="T25" fmla="*/ 2147483646 h 49"/>
                    <a:gd name="T26" fmla="*/ 0 w 89"/>
                    <a:gd name="T27" fmla="*/ 2147483646 h 49"/>
                    <a:gd name="T28" fmla="*/ 0 w 89"/>
                    <a:gd name="T29" fmla="*/ 2147483646 h 49"/>
                    <a:gd name="T30" fmla="*/ 2147483646 w 89"/>
                    <a:gd name="T31" fmla="*/ 2147483646 h 4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9"/>
                    <a:gd name="T49" fmla="*/ 0 h 49"/>
                    <a:gd name="T50" fmla="*/ 89 w 89"/>
                    <a:gd name="T51" fmla="*/ 49 h 4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9" h="49">
                      <a:moveTo>
                        <a:pt x="2" y="49"/>
                      </a:moveTo>
                      <a:lnTo>
                        <a:pt x="89" y="49"/>
                      </a:lnTo>
                      <a:lnTo>
                        <a:pt x="78" y="41"/>
                      </a:lnTo>
                      <a:lnTo>
                        <a:pt x="68" y="35"/>
                      </a:lnTo>
                      <a:lnTo>
                        <a:pt x="57" y="30"/>
                      </a:lnTo>
                      <a:lnTo>
                        <a:pt x="46" y="25"/>
                      </a:lnTo>
                      <a:lnTo>
                        <a:pt x="36" y="21"/>
                      </a:lnTo>
                      <a:lnTo>
                        <a:pt x="26" y="14"/>
                      </a:lnTo>
                      <a:lnTo>
                        <a:pt x="16" y="8"/>
                      </a:lnTo>
                      <a:lnTo>
                        <a:pt x="9" y="0"/>
                      </a:lnTo>
                      <a:lnTo>
                        <a:pt x="4" y="10"/>
                      </a:lnTo>
                      <a:lnTo>
                        <a:pt x="1" y="23"/>
                      </a:lnTo>
                      <a:lnTo>
                        <a:pt x="0" y="29"/>
                      </a:lnTo>
                      <a:lnTo>
                        <a:pt x="0" y="36"/>
                      </a:lnTo>
                      <a:lnTo>
                        <a:pt x="0" y="43"/>
                      </a:lnTo>
                      <a:lnTo>
                        <a:pt x="2" y="4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7" name="Freeform 321">
                  <a:extLst>
                    <a:ext uri="{FF2B5EF4-FFF2-40B4-BE49-F238E27FC236}">
                      <a16:creationId xmlns:a16="http://schemas.microsoft.com/office/drawing/2014/main" xmlns="" id="{21FA1BC4-CE90-404D-82B0-5641A5695E40}"/>
                    </a:ext>
                  </a:extLst>
                </p:cNvPr>
                <p:cNvSpPr>
                  <a:spLocks/>
                </p:cNvSpPr>
                <p:nvPr>
                  <p:custDataLst>
                    <p:tags r:id="rId224"/>
                  </p:custDataLst>
                </p:nvPr>
              </p:nvSpPr>
              <p:spPr bwMode="auto">
                <a:xfrm>
                  <a:off x="6996113" y="3916363"/>
                  <a:ext cx="36512" cy="58737"/>
                </a:xfrm>
                <a:custGeom>
                  <a:avLst/>
                  <a:gdLst>
                    <a:gd name="T0" fmla="*/ 0 w 86"/>
                    <a:gd name="T1" fmla="*/ 2147483646 h 46"/>
                    <a:gd name="T2" fmla="*/ 2147483646 w 86"/>
                    <a:gd name="T3" fmla="*/ 2147483646 h 46"/>
                    <a:gd name="T4" fmla="*/ 2147483646 w 86"/>
                    <a:gd name="T5" fmla="*/ 2147483646 h 46"/>
                    <a:gd name="T6" fmla="*/ 2147483646 w 86"/>
                    <a:gd name="T7" fmla="*/ 2147483646 h 46"/>
                    <a:gd name="T8" fmla="*/ 2147483646 w 86"/>
                    <a:gd name="T9" fmla="*/ 2147483646 h 46"/>
                    <a:gd name="T10" fmla="*/ 2147483646 w 86"/>
                    <a:gd name="T11" fmla="*/ 2147483646 h 46"/>
                    <a:gd name="T12" fmla="*/ 2147483646 w 86"/>
                    <a:gd name="T13" fmla="*/ 2147483646 h 46"/>
                    <a:gd name="T14" fmla="*/ 2147483646 w 86"/>
                    <a:gd name="T15" fmla="*/ 2147483646 h 46"/>
                    <a:gd name="T16" fmla="*/ 2147483646 w 86"/>
                    <a:gd name="T17" fmla="*/ 2147483646 h 46"/>
                    <a:gd name="T18" fmla="*/ 2147483646 w 86"/>
                    <a:gd name="T19" fmla="*/ 2147483646 h 46"/>
                    <a:gd name="T20" fmla="*/ 2147483646 w 86"/>
                    <a:gd name="T21" fmla="*/ 2147483646 h 46"/>
                    <a:gd name="T22" fmla="*/ 2147483646 w 86"/>
                    <a:gd name="T23" fmla="*/ 2147483646 h 46"/>
                    <a:gd name="T24" fmla="*/ 2147483646 w 86"/>
                    <a:gd name="T25" fmla="*/ 2147483646 h 46"/>
                    <a:gd name="T26" fmla="*/ 2147483646 w 86"/>
                    <a:gd name="T27" fmla="*/ 2147483646 h 46"/>
                    <a:gd name="T28" fmla="*/ 2147483646 w 86"/>
                    <a:gd name="T29" fmla="*/ 2147483646 h 46"/>
                    <a:gd name="T30" fmla="*/ 2147483646 w 86"/>
                    <a:gd name="T31" fmla="*/ 2147483646 h 46"/>
                    <a:gd name="T32" fmla="*/ 2147483646 w 86"/>
                    <a:gd name="T33" fmla="*/ 2147483646 h 46"/>
                    <a:gd name="T34" fmla="*/ 2147483646 w 86"/>
                    <a:gd name="T35" fmla="*/ 2147483646 h 46"/>
                    <a:gd name="T36" fmla="*/ 2147483646 w 86"/>
                    <a:gd name="T37" fmla="*/ 2147483646 h 46"/>
                    <a:gd name="T38" fmla="*/ 2147483646 w 86"/>
                    <a:gd name="T39" fmla="*/ 2147483646 h 46"/>
                    <a:gd name="T40" fmla="*/ 2147483646 w 86"/>
                    <a:gd name="T41" fmla="*/ 2147483646 h 46"/>
                    <a:gd name="T42" fmla="*/ 2147483646 w 86"/>
                    <a:gd name="T43" fmla="*/ 0 h 46"/>
                    <a:gd name="T44" fmla="*/ 2147483646 w 86"/>
                    <a:gd name="T45" fmla="*/ 0 h 46"/>
                    <a:gd name="T46" fmla="*/ 2147483646 w 86"/>
                    <a:gd name="T47" fmla="*/ 2147483646 h 46"/>
                    <a:gd name="T48" fmla="*/ 2147483646 w 86"/>
                    <a:gd name="T49" fmla="*/ 2147483646 h 46"/>
                    <a:gd name="T50" fmla="*/ 2147483646 w 86"/>
                    <a:gd name="T51" fmla="*/ 2147483646 h 46"/>
                    <a:gd name="T52" fmla="*/ 2147483646 w 86"/>
                    <a:gd name="T53" fmla="*/ 2147483646 h 46"/>
                    <a:gd name="T54" fmla="*/ 2147483646 w 86"/>
                    <a:gd name="T55" fmla="*/ 2147483646 h 46"/>
                    <a:gd name="T56" fmla="*/ 0 w 86"/>
                    <a:gd name="T57" fmla="*/ 2147483646 h 4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86"/>
                    <a:gd name="T88" fmla="*/ 0 h 46"/>
                    <a:gd name="T89" fmla="*/ 86 w 86"/>
                    <a:gd name="T90" fmla="*/ 46 h 4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86" h="46">
                      <a:moveTo>
                        <a:pt x="0" y="21"/>
                      </a:moveTo>
                      <a:lnTo>
                        <a:pt x="14" y="26"/>
                      </a:lnTo>
                      <a:lnTo>
                        <a:pt x="25" y="29"/>
                      </a:lnTo>
                      <a:lnTo>
                        <a:pt x="30" y="30"/>
                      </a:lnTo>
                      <a:lnTo>
                        <a:pt x="36" y="30"/>
                      </a:lnTo>
                      <a:lnTo>
                        <a:pt x="41" y="29"/>
                      </a:lnTo>
                      <a:lnTo>
                        <a:pt x="46" y="27"/>
                      </a:lnTo>
                      <a:lnTo>
                        <a:pt x="46" y="36"/>
                      </a:lnTo>
                      <a:lnTo>
                        <a:pt x="46" y="46"/>
                      </a:lnTo>
                      <a:lnTo>
                        <a:pt x="56" y="45"/>
                      </a:lnTo>
                      <a:lnTo>
                        <a:pt x="67" y="43"/>
                      </a:lnTo>
                      <a:lnTo>
                        <a:pt x="77" y="40"/>
                      </a:lnTo>
                      <a:lnTo>
                        <a:pt x="86" y="40"/>
                      </a:lnTo>
                      <a:lnTo>
                        <a:pt x="83" y="32"/>
                      </a:lnTo>
                      <a:lnTo>
                        <a:pt x="80" y="25"/>
                      </a:lnTo>
                      <a:lnTo>
                        <a:pt x="74" y="19"/>
                      </a:lnTo>
                      <a:lnTo>
                        <a:pt x="70" y="14"/>
                      </a:lnTo>
                      <a:lnTo>
                        <a:pt x="64" y="9"/>
                      </a:lnTo>
                      <a:lnTo>
                        <a:pt x="58" y="6"/>
                      </a:lnTo>
                      <a:lnTo>
                        <a:pt x="51" y="3"/>
                      </a:lnTo>
                      <a:lnTo>
                        <a:pt x="46" y="1"/>
                      </a:lnTo>
                      <a:lnTo>
                        <a:pt x="39" y="0"/>
                      </a:lnTo>
                      <a:lnTo>
                        <a:pt x="33" y="0"/>
                      </a:lnTo>
                      <a:lnTo>
                        <a:pt x="26" y="1"/>
                      </a:lnTo>
                      <a:lnTo>
                        <a:pt x="19" y="3"/>
                      </a:lnTo>
                      <a:lnTo>
                        <a:pt x="14" y="6"/>
                      </a:lnTo>
                      <a:lnTo>
                        <a:pt x="8" y="10"/>
                      </a:lnTo>
                      <a:lnTo>
                        <a:pt x="4" y="15"/>
                      </a:lnTo>
                      <a:lnTo>
                        <a:pt x="0" y="2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8" name="Freeform 322">
                  <a:extLst>
                    <a:ext uri="{FF2B5EF4-FFF2-40B4-BE49-F238E27FC236}">
                      <a16:creationId xmlns:a16="http://schemas.microsoft.com/office/drawing/2014/main" xmlns="" id="{F2A4087D-9882-40D9-B82F-43018FB6E705}"/>
                    </a:ext>
                  </a:extLst>
                </p:cNvPr>
                <p:cNvSpPr>
                  <a:spLocks/>
                </p:cNvSpPr>
                <p:nvPr>
                  <p:custDataLst>
                    <p:tags r:id="rId225"/>
                  </p:custDataLst>
                </p:nvPr>
              </p:nvSpPr>
              <p:spPr bwMode="auto">
                <a:xfrm>
                  <a:off x="7048500" y="3921125"/>
                  <a:ext cx="25400" cy="55563"/>
                </a:xfrm>
                <a:custGeom>
                  <a:avLst/>
                  <a:gdLst>
                    <a:gd name="T0" fmla="*/ 0 w 59"/>
                    <a:gd name="T1" fmla="*/ 0 h 18"/>
                    <a:gd name="T2" fmla="*/ 0 w 59"/>
                    <a:gd name="T3" fmla="*/ 2147483646 h 18"/>
                    <a:gd name="T4" fmla="*/ 2147483646 w 59"/>
                    <a:gd name="T5" fmla="*/ 2147483646 h 18"/>
                    <a:gd name="T6" fmla="*/ 2147483646 w 59"/>
                    <a:gd name="T7" fmla="*/ 2147483646 h 18"/>
                    <a:gd name="T8" fmla="*/ 2147483646 w 59"/>
                    <a:gd name="T9" fmla="*/ 2147483646 h 18"/>
                    <a:gd name="T10" fmla="*/ 2147483646 w 59"/>
                    <a:gd name="T11" fmla="*/ 2147483646 h 18"/>
                    <a:gd name="T12" fmla="*/ 2147483646 w 59"/>
                    <a:gd name="T13" fmla="*/ 2147483646 h 18"/>
                    <a:gd name="T14" fmla="*/ 2147483646 w 59"/>
                    <a:gd name="T15" fmla="*/ 2147483646 h 18"/>
                    <a:gd name="T16" fmla="*/ 2147483646 w 59"/>
                    <a:gd name="T17" fmla="*/ 2147483646 h 18"/>
                    <a:gd name="T18" fmla="*/ 2147483646 w 59"/>
                    <a:gd name="T19" fmla="*/ 2147483646 h 18"/>
                    <a:gd name="T20" fmla="*/ 2147483646 w 59"/>
                    <a:gd name="T21" fmla="*/ 2147483646 h 18"/>
                    <a:gd name="T22" fmla="*/ 0 w 59"/>
                    <a:gd name="T23" fmla="*/ 0 h 1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59"/>
                    <a:gd name="T37" fmla="*/ 0 h 18"/>
                    <a:gd name="T38" fmla="*/ 59 w 59"/>
                    <a:gd name="T39" fmla="*/ 18 h 1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59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39" y="18"/>
                      </a:lnTo>
                      <a:lnTo>
                        <a:pt x="59" y="6"/>
                      </a:lnTo>
                      <a:lnTo>
                        <a:pt x="51" y="5"/>
                      </a:lnTo>
                      <a:lnTo>
                        <a:pt x="45" y="4"/>
                      </a:lnTo>
                      <a:lnTo>
                        <a:pt x="37" y="5"/>
                      </a:lnTo>
                      <a:lnTo>
                        <a:pt x="29" y="6"/>
                      </a:lnTo>
                      <a:lnTo>
                        <a:pt x="22" y="6"/>
                      </a:lnTo>
                      <a:lnTo>
                        <a:pt x="14" y="5"/>
                      </a:lnTo>
                      <a:lnTo>
                        <a:pt x="7" y="4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79" name="Freeform 323">
                  <a:extLst>
                    <a:ext uri="{FF2B5EF4-FFF2-40B4-BE49-F238E27FC236}">
                      <a16:creationId xmlns:a16="http://schemas.microsoft.com/office/drawing/2014/main" xmlns="" id="{6E62B8AC-12F6-40E0-B6C3-945A69C38763}"/>
                    </a:ext>
                  </a:extLst>
                </p:cNvPr>
                <p:cNvSpPr>
                  <a:spLocks/>
                </p:cNvSpPr>
                <p:nvPr>
                  <p:custDataLst>
                    <p:tags r:id="rId226"/>
                  </p:custDataLst>
                </p:nvPr>
              </p:nvSpPr>
              <p:spPr bwMode="auto">
                <a:xfrm>
                  <a:off x="7121525" y="3913188"/>
                  <a:ext cx="1588" cy="55562"/>
                </a:xfrm>
                <a:custGeom>
                  <a:avLst/>
                  <a:gdLst>
                    <a:gd name="T0" fmla="*/ 2147483646 w 4"/>
                    <a:gd name="T1" fmla="*/ 2147483646 h 19"/>
                    <a:gd name="T2" fmla="*/ 2147483646 w 4"/>
                    <a:gd name="T3" fmla="*/ 0 h 19"/>
                    <a:gd name="T4" fmla="*/ 2147483646 w 4"/>
                    <a:gd name="T5" fmla="*/ 2147483646 h 19"/>
                    <a:gd name="T6" fmla="*/ 2147483646 w 4"/>
                    <a:gd name="T7" fmla="*/ 2147483646 h 19"/>
                    <a:gd name="T8" fmla="*/ 0 w 4"/>
                    <a:gd name="T9" fmla="*/ 2147483646 h 19"/>
                    <a:gd name="T10" fmla="*/ 0 w 4"/>
                    <a:gd name="T11" fmla="*/ 2147483646 h 19"/>
                    <a:gd name="T12" fmla="*/ 0 w 4"/>
                    <a:gd name="T13" fmla="*/ 2147483646 h 19"/>
                    <a:gd name="T14" fmla="*/ 2147483646 w 4"/>
                    <a:gd name="T15" fmla="*/ 2147483646 h 19"/>
                    <a:gd name="T16" fmla="*/ 2147483646 w 4"/>
                    <a:gd name="T17" fmla="*/ 2147483646 h 19"/>
                    <a:gd name="T18" fmla="*/ 2147483646 w 4"/>
                    <a:gd name="T19" fmla="*/ 2147483646 h 19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"/>
                    <a:gd name="T31" fmla="*/ 0 h 19"/>
                    <a:gd name="T32" fmla="*/ 4 w 4"/>
                    <a:gd name="T33" fmla="*/ 19 h 19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" h="19">
                      <a:moveTo>
                        <a:pt x="4" y="19"/>
                      </a:move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0" y="14"/>
                      </a:lnTo>
                      <a:lnTo>
                        <a:pt x="1" y="16"/>
                      </a:lnTo>
                      <a:lnTo>
                        <a:pt x="2" y="19"/>
                      </a:lnTo>
                      <a:lnTo>
                        <a:pt x="4" y="1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80" name="Freeform 324">
                  <a:extLst>
                    <a:ext uri="{FF2B5EF4-FFF2-40B4-BE49-F238E27FC236}">
                      <a16:creationId xmlns:a16="http://schemas.microsoft.com/office/drawing/2014/main" xmlns="" id="{F673D895-32E4-479D-B297-DAA1E212AD35}"/>
                    </a:ext>
                  </a:extLst>
                </p:cNvPr>
                <p:cNvSpPr>
                  <a:spLocks/>
                </p:cNvSpPr>
                <p:nvPr>
                  <p:custDataLst>
                    <p:tags r:id="rId227"/>
                  </p:custDataLst>
                </p:nvPr>
              </p:nvSpPr>
              <p:spPr bwMode="auto">
                <a:xfrm>
                  <a:off x="6696075" y="3727450"/>
                  <a:ext cx="20638" cy="58738"/>
                </a:xfrm>
                <a:custGeom>
                  <a:avLst/>
                  <a:gdLst>
                    <a:gd name="T0" fmla="*/ 0 w 46"/>
                    <a:gd name="T1" fmla="*/ 2147483646 h 50"/>
                    <a:gd name="T2" fmla="*/ 2147483646 w 46"/>
                    <a:gd name="T3" fmla="*/ 0 h 50"/>
                    <a:gd name="T4" fmla="*/ 2147483646 w 46"/>
                    <a:gd name="T5" fmla="*/ 2147483646 h 50"/>
                    <a:gd name="T6" fmla="*/ 2147483646 w 46"/>
                    <a:gd name="T7" fmla="*/ 2147483646 h 50"/>
                    <a:gd name="T8" fmla="*/ 2147483646 w 46"/>
                    <a:gd name="T9" fmla="*/ 2147483646 h 50"/>
                    <a:gd name="T10" fmla="*/ 2147483646 w 46"/>
                    <a:gd name="T11" fmla="*/ 2147483646 h 50"/>
                    <a:gd name="T12" fmla="*/ 2147483646 w 46"/>
                    <a:gd name="T13" fmla="*/ 2147483646 h 50"/>
                    <a:gd name="T14" fmla="*/ 2147483646 w 46"/>
                    <a:gd name="T15" fmla="*/ 2147483646 h 50"/>
                    <a:gd name="T16" fmla="*/ 2147483646 w 46"/>
                    <a:gd name="T17" fmla="*/ 2147483646 h 50"/>
                    <a:gd name="T18" fmla="*/ 2147483646 w 46"/>
                    <a:gd name="T19" fmla="*/ 2147483646 h 50"/>
                    <a:gd name="T20" fmla="*/ 2147483646 w 46"/>
                    <a:gd name="T21" fmla="*/ 2147483646 h 50"/>
                    <a:gd name="T22" fmla="*/ 0 w 46"/>
                    <a:gd name="T23" fmla="*/ 2147483646 h 5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6"/>
                    <a:gd name="T37" fmla="*/ 0 h 50"/>
                    <a:gd name="T38" fmla="*/ 46 w 46"/>
                    <a:gd name="T39" fmla="*/ 50 h 5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6" h="50">
                      <a:moveTo>
                        <a:pt x="0" y="50"/>
                      </a:moveTo>
                      <a:lnTo>
                        <a:pt x="7" y="0"/>
                      </a:lnTo>
                      <a:lnTo>
                        <a:pt x="23" y="8"/>
                      </a:lnTo>
                      <a:lnTo>
                        <a:pt x="34" y="14"/>
                      </a:lnTo>
                      <a:lnTo>
                        <a:pt x="37" y="18"/>
                      </a:lnTo>
                      <a:lnTo>
                        <a:pt x="41" y="22"/>
                      </a:lnTo>
                      <a:lnTo>
                        <a:pt x="44" y="30"/>
                      </a:lnTo>
                      <a:lnTo>
                        <a:pt x="46" y="38"/>
                      </a:lnTo>
                      <a:lnTo>
                        <a:pt x="34" y="42"/>
                      </a:lnTo>
                      <a:lnTo>
                        <a:pt x="21" y="46"/>
                      </a:lnTo>
                      <a:lnTo>
                        <a:pt x="8" y="49"/>
                      </a:lnTo>
                      <a:lnTo>
                        <a:pt x="0" y="5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81" name="Freeform 325">
                  <a:extLst>
                    <a:ext uri="{FF2B5EF4-FFF2-40B4-BE49-F238E27FC236}">
                      <a16:creationId xmlns:a16="http://schemas.microsoft.com/office/drawing/2014/main" xmlns="" id="{6058CB23-1D37-4F59-A321-1E09C495A2CC}"/>
                    </a:ext>
                  </a:extLst>
                </p:cNvPr>
                <p:cNvSpPr>
                  <a:spLocks/>
                </p:cNvSpPr>
                <p:nvPr>
                  <p:custDataLst>
                    <p:tags r:id="rId228"/>
                  </p:custDataLst>
                </p:nvPr>
              </p:nvSpPr>
              <p:spPr bwMode="auto">
                <a:xfrm>
                  <a:off x="6642100" y="3700463"/>
                  <a:ext cx="30163" cy="58737"/>
                </a:xfrm>
                <a:custGeom>
                  <a:avLst/>
                  <a:gdLst>
                    <a:gd name="T0" fmla="*/ 0 w 66"/>
                    <a:gd name="T1" fmla="*/ 0 h 80"/>
                    <a:gd name="T2" fmla="*/ 2147483646 w 66"/>
                    <a:gd name="T3" fmla="*/ 0 h 80"/>
                    <a:gd name="T4" fmla="*/ 2147483646 w 66"/>
                    <a:gd name="T5" fmla="*/ 0 h 80"/>
                    <a:gd name="T6" fmla="*/ 2147483646 w 66"/>
                    <a:gd name="T7" fmla="*/ 0 h 80"/>
                    <a:gd name="T8" fmla="*/ 2147483646 w 66"/>
                    <a:gd name="T9" fmla="*/ 0 h 80"/>
                    <a:gd name="T10" fmla="*/ 2147483646 w 66"/>
                    <a:gd name="T11" fmla="*/ 2147483646 h 80"/>
                    <a:gd name="T12" fmla="*/ 2147483646 w 66"/>
                    <a:gd name="T13" fmla="*/ 2147483646 h 80"/>
                    <a:gd name="T14" fmla="*/ 2147483646 w 66"/>
                    <a:gd name="T15" fmla="*/ 2147483646 h 80"/>
                    <a:gd name="T16" fmla="*/ 2147483646 w 66"/>
                    <a:gd name="T17" fmla="*/ 2147483646 h 80"/>
                    <a:gd name="T18" fmla="*/ 2147483646 w 66"/>
                    <a:gd name="T19" fmla="*/ 2147483646 h 80"/>
                    <a:gd name="T20" fmla="*/ 2147483646 w 66"/>
                    <a:gd name="T21" fmla="*/ 2147483646 h 80"/>
                    <a:gd name="T22" fmla="*/ 2147483646 w 66"/>
                    <a:gd name="T23" fmla="*/ 2147483646 h 80"/>
                    <a:gd name="T24" fmla="*/ 2147483646 w 66"/>
                    <a:gd name="T25" fmla="*/ 2147483646 h 80"/>
                    <a:gd name="T26" fmla="*/ 2147483646 w 66"/>
                    <a:gd name="T27" fmla="*/ 2147483646 h 80"/>
                    <a:gd name="T28" fmla="*/ 2147483646 w 66"/>
                    <a:gd name="T29" fmla="*/ 2147483646 h 80"/>
                    <a:gd name="T30" fmla="*/ 2147483646 w 66"/>
                    <a:gd name="T31" fmla="*/ 2147483646 h 80"/>
                    <a:gd name="T32" fmla="*/ 2147483646 w 66"/>
                    <a:gd name="T33" fmla="*/ 2147483646 h 80"/>
                    <a:gd name="T34" fmla="*/ 0 w 66"/>
                    <a:gd name="T35" fmla="*/ 2147483646 h 80"/>
                    <a:gd name="T36" fmla="*/ 0 w 66"/>
                    <a:gd name="T37" fmla="*/ 0 h 8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66"/>
                    <a:gd name="T58" fmla="*/ 0 h 80"/>
                    <a:gd name="T59" fmla="*/ 66 w 66"/>
                    <a:gd name="T60" fmla="*/ 80 h 8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66" h="80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8" y="0"/>
                      </a:lnTo>
                      <a:lnTo>
                        <a:pt x="26" y="0"/>
                      </a:lnTo>
                      <a:lnTo>
                        <a:pt x="33" y="0"/>
                      </a:lnTo>
                      <a:lnTo>
                        <a:pt x="33" y="7"/>
                      </a:lnTo>
                      <a:lnTo>
                        <a:pt x="34" y="14"/>
                      </a:lnTo>
                      <a:lnTo>
                        <a:pt x="36" y="21"/>
                      </a:lnTo>
                      <a:lnTo>
                        <a:pt x="38" y="27"/>
                      </a:lnTo>
                      <a:lnTo>
                        <a:pt x="44" y="36"/>
                      </a:lnTo>
                      <a:lnTo>
                        <a:pt x="49" y="45"/>
                      </a:lnTo>
                      <a:lnTo>
                        <a:pt x="56" y="52"/>
                      </a:lnTo>
                      <a:lnTo>
                        <a:pt x="61" y="60"/>
                      </a:lnTo>
                      <a:lnTo>
                        <a:pt x="62" y="65"/>
                      </a:lnTo>
                      <a:lnTo>
                        <a:pt x="65" y="69"/>
                      </a:lnTo>
                      <a:lnTo>
                        <a:pt x="66" y="75"/>
                      </a:lnTo>
                      <a:lnTo>
                        <a:pt x="66" y="80"/>
                      </a:lnTo>
                      <a:lnTo>
                        <a:pt x="0" y="18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82" name="Freeform 326">
                  <a:extLst>
                    <a:ext uri="{FF2B5EF4-FFF2-40B4-BE49-F238E27FC236}">
                      <a16:creationId xmlns:a16="http://schemas.microsoft.com/office/drawing/2014/main" xmlns="" id="{ED839814-872F-45C6-B506-66B803ECE726}"/>
                    </a:ext>
                  </a:extLst>
                </p:cNvPr>
                <p:cNvSpPr>
                  <a:spLocks/>
                </p:cNvSpPr>
                <p:nvPr>
                  <p:custDataLst>
                    <p:tags r:id="rId229"/>
                  </p:custDataLst>
                </p:nvPr>
              </p:nvSpPr>
              <p:spPr bwMode="auto">
                <a:xfrm>
                  <a:off x="6477000" y="3684588"/>
                  <a:ext cx="7938" cy="57150"/>
                </a:xfrm>
                <a:custGeom>
                  <a:avLst/>
                  <a:gdLst>
                    <a:gd name="T0" fmla="*/ 2147483646 w 20"/>
                    <a:gd name="T1" fmla="*/ 2147483646 h 48"/>
                    <a:gd name="T2" fmla="*/ 2147483646 w 20"/>
                    <a:gd name="T3" fmla="*/ 2147483646 h 48"/>
                    <a:gd name="T4" fmla="*/ 2147483646 w 20"/>
                    <a:gd name="T5" fmla="*/ 2147483646 h 48"/>
                    <a:gd name="T6" fmla="*/ 2147483646 w 20"/>
                    <a:gd name="T7" fmla="*/ 2147483646 h 48"/>
                    <a:gd name="T8" fmla="*/ 2147483646 w 20"/>
                    <a:gd name="T9" fmla="*/ 2147483646 h 48"/>
                    <a:gd name="T10" fmla="*/ 2147483646 w 20"/>
                    <a:gd name="T11" fmla="*/ 2147483646 h 48"/>
                    <a:gd name="T12" fmla="*/ 2147483646 w 20"/>
                    <a:gd name="T13" fmla="*/ 2147483646 h 48"/>
                    <a:gd name="T14" fmla="*/ 2147483646 w 20"/>
                    <a:gd name="T15" fmla="*/ 2147483646 h 48"/>
                    <a:gd name="T16" fmla="*/ 0 w 20"/>
                    <a:gd name="T17" fmla="*/ 0 h 48"/>
                    <a:gd name="T18" fmla="*/ 0 w 20"/>
                    <a:gd name="T19" fmla="*/ 2147483646 h 48"/>
                    <a:gd name="T20" fmla="*/ 2147483646 w 20"/>
                    <a:gd name="T21" fmla="*/ 2147483646 h 48"/>
                    <a:gd name="T22" fmla="*/ 2147483646 w 20"/>
                    <a:gd name="T23" fmla="*/ 2147483646 h 48"/>
                    <a:gd name="T24" fmla="*/ 2147483646 w 20"/>
                    <a:gd name="T25" fmla="*/ 2147483646 h 48"/>
                    <a:gd name="T26" fmla="*/ 2147483646 w 20"/>
                    <a:gd name="T27" fmla="*/ 2147483646 h 48"/>
                    <a:gd name="T28" fmla="*/ 2147483646 w 20"/>
                    <a:gd name="T29" fmla="*/ 2147483646 h 4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0"/>
                    <a:gd name="T46" fmla="*/ 0 h 48"/>
                    <a:gd name="T47" fmla="*/ 20 w 20"/>
                    <a:gd name="T48" fmla="*/ 48 h 4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0" h="48">
                      <a:moveTo>
                        <a:pt x="20" y="48"/>
                      </a:moveTo>
                      <a:lnTo>
                        <a:pt x="20" y="39"/>
                      </a:lnTo>
                      <a:lnTo>
                        <a:pt x="19" y="32"/>
                      </a:lnTo>
                      <a:lnTo>
                        <a:pt x="16" y="25"/>
                      </a:lnTo>
                      <a:lnTo>
                        <a:pt x="14" y="19"/>
                      </a:lnTo>
                      <a:lnTo>
                        <a:pt x="12" y="14"/>
                      </a:lnTo>
                      <a:lnTo>
                        <a:pt x="9" y="9"/>
                      </a:lnTo>
                      <a:lnTo>
                        <a:pt x="4" y="4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2" y="17"/>
                      </a:lnTo>
                      <a:lnTo>
                        <a:pt x="4" y="24"/>
                      </a:lnTo>
                      <a:lnTo>
                        <a:pt x="8" y="31"/>
                      </a:lnTo>
                      <a:lnTo>
                        <a:pt x="14" y="41"/>
                      </a:lnTo>
                      <a:lnTo>
                        <a:pt x="20" y="4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83" name="Line 327" descr="Horizontal dunkel">
                  <a:extLst>
                    <a:ext uri="{FF2B5EF4-FFF2-40B4-BE49-F238E27FC236}">
                      <a16:creationId xmlns:a16="http://schemas.microsoft.com/office/drawing/2014/main" xmlns="" id="{C9B7D244-78BE-411E-BB61-305A192FD6A9}"/>
                    </a:ext>
                  </a:extLst>
                </p:cNvPr>
                <p:cNvSpPr>
                  <a:spLocks noChangeShapeType="1"/>
                </p:cNvSpPr>
                <p:nvPr>
                  <p:custDataLst>
                    <p:tags r:id="rId230"/>
                  </p:custDataLst>
                </p:nvPr>
              </p:nvSpPr>
              <p:spPr bwMode="auto">
                <a:xfrm>
                  <a:off x="6502400" y="3721100"/>
                  <a:ext cx="4763" cy="6350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84" name="Freeform 328">
                  <a:extLst>
                    <a:ext uri="{FF2B5EF4-FFF2-40B4-BE49-F238E27FC236}">
                      <a16:creationId xmlns:a16="http://schemas.microsoft.com/office/drawing/2014/main" xmlns="" id="{C55B3FD0-78B6-4896-996B-65DEA48913D0}"/>
                    </a:ext>
                  </a:extLst>
                </p:cNvPr>
                <p:cNvSpPr>
                  <a:spLocks/>
                </p:cNvSpPr>
                <p:nvPr>
                  <p:custDataLst>
                    <p:tags r:id="rId231"/>
                  </p:custDataLst>
                </p:nvPr>
              </p:nvSpPr>
              <p:spPr bwMode="auto">
                <a:xfrm>
                  <a:off x="6499225" y="3721100"/>
                  <a:ext cx="7938" cy="57150"/>
                </a:xfrm>
                <a:custGeom>
                  <a:avLst/>
                  <a:gdLst>
                    <a:gd name="T0" fmla="*/ 2147483646 w 20"/>
                    <a:gd name="T1" fmla="*/ 2147483646 h 12"/>
                    <a:gd name="T2" fmla="*/ 2147483646 w 20"/>
                    <a:gd name="T3" fmla="*/ 2147483646 h 12"/>
                    <a:gd name="T4" fmla="*/ 2147483646 w 20"/>
                    <a:gd name="T5" fmla="*/ 2147483646 h 12"/>
                    <a:gd name="T6" fmla="*/ 2147483646 w 20"/>
                    <a:gd name="T7" fmla="*/ 2147483646 h 12"/>
                    <a:gd name="T8" fmla="*/ 2147483646 w 20"/>
                    <a:gd name="T9" fmla="*/ 2147483646 h 12"/>
                    <a:gd name="T10" fmla="*/ 2147483646 w 20"/>
                    <a:gd name="T11" fmla="*/ 0 h 12"/>
                    <a:gd name="T12" fmla="*/ 0 w 20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"/>
                    <a:gd name="T22" fmla="*/ 0 h 12"/>
                    <a:gd name="T23" fmla="*/ 20 w 20"/>
                    <a:gd name="T24" fmla="*/ 12 h 1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" h="12">
                      <a:moveTo>
                        <a:pt x="20" y="12"/>
                      </a:moveTo>
                      <a:lnTo>
                        <a:pt x="20" y="8"/>
                      </a:lnTo>
                      <a:lnTo>
                        <a:pt x="18" y="5"/>
                      </a:lnTo>
                      <a:lnTo>
                        <a:pt x="15" y="3"/>
                      </a:lnTo>
                      <a:lnTo>
                        <a:pt x="13" y="2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85" name="Freeform 329">
                  <a:extLst>
                    <a:ext uri="{FF2B5EF4-FFF2-40B4-BE49-F238E27FC236}">
                      <a16:creationId xmlns:a16="http://schemas.microsoft.com/office/drawing/2014/main" xmlns="" id="{7087FFAC-4B3D-4A7F-B56C-AAAFE28B2D0E}"/>
                    </a:ext>
                  </a:extLst>
                </p:cNvPr>
                <p:cNvSpPr>
                  <a:spLocks/>
                </p:cNvSpPr>
                <p:nvPr>
                  <p:custDataLst>
                    <p:tags r:id="rId232"/>
                  </p:custDataLst>
                </p:nvPr>
              </p:nvSpPr>
              <p:spPr bwMode="auto">
                <a:xfrm>
                  <a:off x="6400800" y="3565525"/>
                  <a:ext cx="22225" cy="57150"/>
                </a:xfrm>
                <a:custGeom>
                  <a:avLst/>
                  <a:gdLst>
                    <a:gd name="T0" fmla="*/ 2147483646 w 53"/>
                    <a:gd name="T1" fmla="*/ 0 h 30"/>
                    <a:gd name="T2" fmla="*/ 2147483646 w 53"/>
                    <a:gd name="T3" fmla="*/ 2147483646 h 30"/>
                    <a:gd name="T4" fmla="*/ 2147483646 w 53"/>
                    <a:gd name="T5" fmla="*/ 2147483646 h 30"/>
                    <a:gd name="T6" fmla="*/ 2147483646 w 53"/>
                    <a:gd name="T7" fmla="*/ 2147483646 h 30"/>
                    <a:gd name="T8" fmla="*/ 2147483646 w 53"/>
                    <a:gd name="T9" fmla="*/ 2147483646 h 30"/>
                    <a:gd name="T10" fmla="*/ 2147483646 w 53"/>
                    <a:gd name="T11" fmla="*/ 2147483646 h 30"/>
                    <a:gd name="T12" fmla="*/ 2147483646 w 53"/>
                    <a:gd name="T13" fmla="*/ 2147483646 h 30"/>
                    <a:gd name="T14" fmla="*/ 2147483646 w 53"/>
                    <a:gd name="T15" fmla="*/ 2147483646 h 30"/>
                    <a:gd name="T16" fmla="*/ 2147483646 w 53"/>
                    <a:gd name="T17" fmla="*/ 2147483646 h 30"/>
                    <a:gd name="T18" fmla="*/ 2147483646 w 53"/>
                    <a:gd name="T19" fmla="*/ 2147483646 h 30"/>
                    <a:gd name="T20" fmla="*/ 2147483646 w 53"/>
                    <a:gd name="T21" fmla="*/ 2147483646 h 30"/>
                    <a:gd name="T22" fmla="*/ 2147483646 w 53"/>
                    <a:gd name="T23" fmla="*/ 2147483646 h 30"/>
                    <a:gd name="T24" fmla="*/ 0 w 53"/>
                    <a:gd name="T25" fmla="*/ 2147483646 h 30"/>
                    <a:gd name="T26" fmla="*/ 2147483646 w 53"/>
                    <a:gd name="T27" fmla="*/ 0 h 3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3"/>
                    <a:gd name="T43" fmla="*/ 0 h 30"/>
                    <a:gd name="T44" fmla="*/ 53 w 53"/>
                    <a:gd name="T45" fmla="*/ 30 h 3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3" h="30">
                      <a:moveTo>
                        <a:pt x="7" y="0"/>
                      </a:moveTo>
                      <a:lnTo>
                        <a:pt x="11" y="4"/>
                      </a:lnTo>
                      <a:lnTo>
                        <a:pt x="23" y="13"/>
                      </a:lnTo>
                      <a:lnTo>
                        <a:pt x="37" y="23"/>
                      </a:lnTo>
                      <a:lnTo>
                        <a:pt x="46" y="30"/>
                      </a:lnTo>
                      <a:lnTo>
                        <a:pt x="49" y="18"/>
                      </a:lnTo>
                      <a:lnTo>
                        <a:pt x="53" y="6"/>
                      </a:lnTo>
                      <a:lnTo>
                        <a:pt x="37" y="5"/>
                      </a:lnTo>
                      <a:lnTo>
                        <a:pt x="26" y="3"/>
                      </a:lnTo>
                      <a:lnTo>
                        <a:pt x="21" y="3"/>
                      </a:lnTo>
                      <a:lnTo>
                        <a:pt x="15" y="3"/>
                      </a:lnTo>
                      <a:lnTo>
                        <a:pt x="9" y="4"/>
                      </a:lnTo>
                      <a:lnTo>
                        <a:pt x="0" y="6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86" name="Freeform 330">
                  <a:extLst>
                    <a:ext uri="{FF2B5EF4-FFF2-40B4-BE49-F238E27FC236}">
                      <a16:creationId xmlns:a16="http://schemas.microsoft.com/office/drawing/2014/main" xmlns="" id="{3FF4CD29-65C7-44D5-B8D0-E22F34F40252}"/>
                    </a:ext>
                  </a:extLst>
                </p:cNvPr>
                <p:cNvSpPr>
                  <a:spLocks/>
                </p:cNvSpPr>
                <p:nvPr>
                  <p:custDataLst>
                    <p:tags r:id="rId233"/>
                  </p:custDataLst>
                </p:nvPr>
              </p:nvSpPr>
              <p:spPr bwMode="auto">
                <a:xfrm>
                  <a:off x="6929438" y="3929063"/>
                  <a:ext cx="11112" cy="57150"/>
                </a:xfrm>
                <a:custGeom>
                  <a:avLst/>
                  <a:gdLst>
                    <a:gd name="T0" fmla="*/ 0 w 33"/>
                    <a:gd name="T1" fmla="*/ 2147483646 h 31"/>
                    <a:gd name="T2" fmla="*/ 2147483646 w 33"/>
                    <a:gd name="T3" fmla="*/ 2147483646 h 31"/>
                    <a:gd name="T4" fmla="*/ 2147483646 w 33"/>
                    <a:gd name="T5" fmla="*/ 2147483646 h 31"/>
                    <a:gd name="T6" fmla="*/ 2147483646 w 33"/>
                    <a:gd name="T7" fmla="*/ 2147483646 h 31"/>
                    <a:gd name="T8" fmla="*/ 2147483646 w 33"/>
                    <a:gd name="T9" fmla="*/ 2147483646 h 31"/>
                    <a:gd name="T10" fmla="*/ 2147483646 w 33"/>
                    <a:gd name="T11" fmla="*/ 0 h 31"/>
                    <a:gd name="T12" fmla="*/ 2147483646 w 33"/>
                    <a:gd name="T13" fmla="*/ 0 h 31"/>
                    <a:gd name="T14" fmla="*/ 2147483646 w 33"/>
                    <a:gd name="T15" fmla="*/ 0 h 31"/>
                    <a:gd name="T16" fmla="*/ 2147483646 w 33"/>
                    <a:gd name="T17" fmla="*/ 0 h 31"/>
                    <a:gd name="T18" fmla="*/ 0 w 33"/>
                    <a:gd name="T19" fmla="*/ 0 h 31"/>
                    <a:gd name="T20" fmla="*/ 0 w 33"/>
                    <a:gd name="T21" fmla="*/ 2147483646 h 31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3"/>
                    <a:gd name="T34" fmla="*/ 0 h 31"/>
                    <a:gd name="T35" fmla="*/ 33 w 33"/>
                    <a:gd name="T36" fmla="*/ 31 h 31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3" h="31">
                      <a:moveTo>
                        <a:pt x="0" y="6"/>
                      </a:moveTo>
                      <a:lnTo>
                        <a:pt x="4" y="21"/>
                      </a:lnTo>
                      <a:lnTo>
                        <a:pt x="7" y="31"/>
                      </a:lnTo>
                      <a:lnTo>
                        <a:pt x="22" y="31"/>
                      </a:lnTo>
                      <a:lnTo>
                        <a:pt x="33" y="31"/>
                      </a:lnTo>
                      <a:lnTo>
                        <a:pt x="33" y="0"/>
                      </a:lnTo>
                      <a:lnTo>
                        <a:pt x="27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87" name="Freeform 331">
                  <a:extLst>
                    <a:ext uri="{FF2B5EF4-FFF2-40B4-BE49-F238E27FC236}">
                      <a16:creationId xmlns:a16="http://schemas.microsoft.com/office/drawing/2014/main" xmlns="" id="{5FF8C835-7AD3-43DC-9E67-98BF315CE8ED}"/>
                    </a:ext>
                  </a:extLst>
                </p:cNvPr>
                <p:cNvSpPr>
                  <a:spLocks/>
                </p:cNvSpPr>
                <p:nvPr>
                  <p:custDataLst>
                    <p:tags r:id="rId234"/>
                  </p:custDataLst>
                </p:nvPr>
              </p:nvSpPr>
              <p:spPr bwMode="auto">
                <a:xfrm>
                  <a:off x="7445375" y="3886200"/>
                  <a:ext cx="28575" cy="55563"/>
                </a:xfrm>
                <a:custGeom>
                  <a:avLst/>
                  <a:gdLst>
                    <a:gd name="T0" fmla="*/ 2147483646 w 65"/>
                    <a:gd name="T1" fmla="*/ 2147483646 h 68"/>
                    <a:gd name="T2" fmla="*/ 2147483646 w 65"/>
                    <a:gd name="T3" fmla="*/ 2147483646 h 68"/>
                    <a:gd name="T4" fmla="*/ 2147483646 w 65"/>
                    <a:gd name="T5" fmla="*/ 2147483646 h 68"/>
                    <a:gd name="T6" fmla="*/ 2147483646 w 65"/>
                    <a:gd name="T7" fmla="*/ 2147483646 h 68"/>
                    <a:gd name="T8" fmla="*/ 2147483646 w 65"/>
                    <a:gd name="T9" fmla="*/ 2147483646 h 68"/>
                    <a:gd name="T10" fmla="*/ 2147483646 w 65"/>
                    <a:gd name="T11" fmla="*/ 2147483646 h 68"/>
                    <a:gd name="T12" fmla="*/ 2147483646 w 65"/>
                    <a:gd name="T13" fmla="*/ 2147483646 h 68"/>
                    <a:gd name="T14" fmla="*/ 0 w 65"/>
                    <a:gd name="T15" fmla="*/ 2147483646 h 68"/>
                    <a:gd name="T16" fmla="*/ 0 w 65"/>
                    <a:gd name="T17" fmla="*/ 2147483646 h 68"/>
                    <a:gd name="T18" fmla="*/ 0 w 65"/>
                    <a:gd name="T19" fmla="*/ 2147483646 h 68"/>
                    <a:gd name="T20" fmla="*/ 2147483646 w 65"/>
                    <a:gd name="T21" fmla="*/ 2147483646 h 68"/>
                    <a:gd name="T22" fmla="*/ 2147483646 w 65"/>
                    <a:gd name="T23" fmla="*/ 2147483646 h 68"/>
                    <a:gd name="T24" fmla="*/ 2147483646 w 65"/>
                    <a:gd name="T25" fmla="*/ 2147483646 h 68"/>
                    <a:gd name="T26" fmla="*/ 2147483646 w 65"/>
                    <a:gd name="T27" fmla="*/ 2147483646 h 68"/>
                    <a:gd name="T28" fmla="*/ 2147483646 w 65"/>
                    <a:gd name="T29" fmla="*/ 2147483646 h 68"/>
                    <a:gd name="T30" fmla="*/ 2147483646 w 65"/>
                    <a:gd name="T31" fmla="*/ 2147483646 h 68"/>
                    <a:gd name="T32" fmla="*/ 2147483646 w 65"/>
                    <a:gd name="T33" fmla="*/ 0 h 68"/>
                    <a:gd name="T34" fmla="*/ 2147483646 w 65"/>
                    <a:gd name="T35" fmla="*/ 0 h 68"/>
                    <a:gd name="T36" fmla="*/ 2147483646 w 65"/>
                    <a:gd name="T37" fmla="*/ 0 h 68"/>
                    <a:gd name="T38" fmla="*/ 2147483646 w 65"/>
                    <a:gd name="T39" fmla="*/ 2147483646 h 68"/>
                    <a:gd name="T40" fmla="*/ 2147483646 w 65"/>
                    <a:gd name="T41" fmla="*/ 2147483646 h 68"/>
                    <a:gd name="T42" fmla="*/ 2147483646 w 65"/>
                    <a:gd name="T43" fmla="*/ 2147483646 h 68"/>
                    <a:gd name="T44" fmla="*/ 2147483646 w 65"/>
                    <a:gd name="T45" fmla="*/ 2147483646 h 68"/>
                    <a:gd name="T46" fmla="*/ 2147483646 w 65"/>
                    <a:gd name="T47" fmla="*/ 2147483646 h 68"/>
                    <a:gd name="T48" fmla="*/ 2147483646 w 65"/>
                    <a:gd name="T49" fmla="*/ 2147483646 h 68"/>
                    <a:gd name="T50" fmla="*/ 2147483646 w 65"/>
                    <a:gd name="T51" fmla="*/ 2147483646 h 68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65"/>
                    <a:gd name="T79" fmla="*/ 0 h 68"/>
                    <a:gd name="T80" fmla="*/ 65 w 65"/>
                    <a:gd name="T81" fmla="*/ 68 h 68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65" h="68">
                      <a:moveTo>
                        <a:pt x="19" y="68"/>
                      </a:moveTo>
                      <a:lnTo>
                        <a:pt x="16" y="68"/>
                      </a:lnTo>
                      <a:lnTo>
                        <a:pt x="14" y="66"/>
                      </a:lnTo>
                      <a:lnTo>
                        <a:pt x="11" y="64"/>
                      </a:lnTo>
                      <a:lnTo>
                        <a:pt x="7" y="61"/>
                      </a:lnTo>
                      <a:lnTo>
                        <a:pt x="4" y="59"/>
                      </a:lnTo>
                      <a:lnTo>
                        <a:pt x="2" y="55"/>
                      </a:lnTo>
                      <a:lnTo>
                        <a:pt x="0" y="52"/>
                      </a:lnTo>
                      <a:lnTo>
                        <a:pt x="0" y="49"/>
                      </a:lnTo>
                      <a:lnTo>
                        <a:pt x="0" y="38"/>
                      </a:lnTo>
                      <a:lnTo>
                        <a:pt x="2" y="29"/>
                      </a:lnTo>
                      <a:lnTo>
                        <a:pt x="5" y="21"/>
                      </a:lnTo>
                      <a:lnTo>
                        <a:pt x="9" y="14"/>
                      </a:lnTo>
                      <a:lnTo>
                        <a:pt x="15" y="8"/>
                      </a:lnTo>
                      <a:lnTo>
                        <a:pt x="22" y="4"/>
                      </a:lnTo>
                      <a:lnTo>
                        <a:pt x="30" y="2"/>
                      </a:lnTo>
                      <a:lnTo>
                        <a:pt x="39" y="0"/>
                      </a:lnTo>
                      <a:lnTo>
                        <a:pt x="52" y="0"/>
                      </a:lnTo>
                      <a:lnTo>
                        <a:pt x="65" y="0"/>
                      </a:lnTo>
                      <a:lnTo>
                        <a:pt x="65" y="43"/>
                      </a:lnTo>
                      <a:lnTo>
                        <a:pt x="56" y="52"/>
                      </a:lnTo>
                      <a:lnTo>
                        <a:pt x="45" y="61"/>
                      </a:lnTo>
                      <a:lnTo>
                        <a:pt x="39" y="64"/>
                      </a:lnTo>
                      <a:lnTo>
                        <a:pt x="34" y="66"/>
                      </a:lnTo>
                      <a:lnTo>
                        <a:pt x="27" y="68"/>
                      </a:lnTo>
                      <a:lnTo>
                        <a:pt x="19" y="6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88" name="Freeform 332">
                  <a:extLst>
                    <a:ext uri="{FF2B5EF4-FFF2-40B4-BE49-F238E27FC236}">
                      <a16:creationId xmlns:a16="http://schemas.microsoft.com/office/drawing/2014/main" xmlns="" id="{FFF3E9DB-48BA-4B48-9AEC-A7C15A5CBC24}"/>
                    </a:ext>
                  </a:extLst>
                </p:cNvPr>
                <p:cNvSpPr>
                  <a:spLocks/>
                </p:cNvSpPr>
                <p:nvPr>
                  <p:custDataLst>
                    <p:tags r:id="rId235"/>
                  </p:custDataLst>
                </p:nvPr>
              </p:nvSpPr>
              <p:spPr bwMode="auto">
                <a:xfrm>
                  <a:off x="6383338" y="3468688"/>
                  <a:ext cx="274637" cy="368300"/>
                </a:xfrm>
                <a:custGeom>
                  <a:avLst/>
                  <a:gdLst>
                    <a:gd name="T0" fmla="*/ 2147483646 w 625"/>
                    <a:gd name="T1" fmla="*/ 2147483646 h 694"/>
                    <a:gd name="T2" fmla="*/ 2147483646 w 625"/>
                    <a:gd name="T3" fmla="*/ 2147483646 h 694"/>
                    <a:gd name="T4" fmla="*/ 2147483646 w 625"/>
                    <a:gd name="T5" fmla="*/ 2147483646 h 694"/>
                    <a:gd name="T6" fmla="*/ 2147483646 w 625"/>
                    <a:gd name="T7" fmla="*/ 2147483646 h 694"/>
                    <a:gd name="T8" fmla="*/ 2147483646 w 625"/>
                    <a:gd name="T9" fmla="*/ 2147483646 h 694"/>
                    <a:gd name="T10" fmla="*/ 2147483646 w 625"/>
                    <a:gd name="T11" fmla="*/ 2147483646 h 694"/>
                    <a:gd name="T12" fmla="*/ 2147483646 w 625"/>
                    <a:gd name="T13" fmla="*/ 2147483646 h 694"/>
                    <a:gd name="T14" fmla="*/ 2147483646 w 625"/>
                    <a:gd name="T15" fmla="*/ 2147483646 h 694"/>
                    <a:gd name="T16" fmla="*/ 2147483646 w 625"/>
                    <a:gd name="T17" fmla="*/ 2147483646 h 694"/>
                    <a:gd name="T18" fmla="*/ 2147483646 w 625"/>
                    <a:gd name="T19" fmla="*/ 2147483646 h 694"/>
                    <a:gd name="T20" fmla="*/ 2147483646 w 625"/>
                    <a:gd name="T21" fmla="*/ 2147483646 h 694"/>
                    <a:gd name="T22" fmla="*/ 2147483646 w 625"/>
                    <a:gd name="T23" fmla="*/ 2147483646 h 694"/>
                    <a:gd name="T24" fmla="*/ 2147483646 w 625"/>
                    <a:gd name="T25" fmla="*/ 2147483646 h 694"/>
                    <a:gd name="T26" fmla="*/ 2147483646 w 625"/>
                    <a:gd name="T27" fmla="*/ 2147483646 h 694"/>
                    <a:gd name="T28" fmla="*/ 2147483646 w 625"/>
                    <a:gd name="T29" fmla="*/ 2147483646 h 694"/>
                    <a:gd name="T30" fmla="*/ 2147483646 w 625"/>
                    <a:gd name="T31" fmla="*/ 2147483646 h 694"/>
                    <a:gd name="T32" fmla="*/ 2147483646 w 625"/>
                    <a:gd name="T33" fmla="*/ 2147483646 h 694"/>
                    <a:gd name="T34" fmla="*/ 2147483646 w 625"/>
                    <a:gd name="T35" fmla="*/ 2147483646 h 694"/>
                    <a:gd name="T36" fmla="*/ 2147483646 w 625"/>
                    <a:gd name="T37" fmla="*/ 2147483646 h 694"/>
                    <a:gd name="T38" fmla="*/ 2147483646 w 625"/>
                    <a:gd name="T39" fmla="*/ 2147483646 h 694"/>
                    <a:gd name="T40" fmla="*/ 2147483646 w 625"/>
                    <a:gd name="T41" fmla="*/ 2147483646 h 694"/>
                    <a:gd name="T42" fmla="*/ 2147483646 w 625"/>
                    <a:gd name="T43" fmla="*/ 2147483646 h 694"/>
                    <a:gd name="T44" fmla="*/ 2147483646 w 625"/>
                    <a:gd name="T45" fmla="*/ 2147483646 h 694"/>
                    <a:gd name="T46" fmla="*/ 2147483646 w 625"/>
                    <a:gd name="T47" fmla="*/ 2147483646 h 694"/>
                    <a:gd name="T48" fmla="*/ 2147483646 w 625"/>
                    <a:gd name="T49" fmla="*/ 2147483646 h 694"/>
                    <a:gd name="T50" fmla="*/ 2147483646 w 625"/>
                    <a:gd name="T51" fmla="*/ 2147483646 h 694"/>
                    <a:gd name="T52" fmla="*/ 2147483646 w 625"/>
                    <a:gd name="T53" fmla="*/ 2147483646 h 694"/>
                    <a:gd name="T54" fmla="*/ 2147483646 w 625"/>
                    <a:gd name="T55" fmla="*/ 2147483646 h 694"/>
                    <a:gd name="T56" fmla="*/ 2147483646 w 625"/>
                    <a:gd name="T57" fmla="*/ 2147483646 h 694"/>
                    <a:gd name="T58" fmla="*/ 2147483646 w 625"/>
                    <a:gd name="T59" fmla="*/ 2147483646 h 694"/>
                    <a:gd name="T60" fmla="*/ 2147483646 w 625"/>
                    <a:gd name="T61" fmla="*/ 2147483646 h 694"/>
                    <a:gd name="T62" fmla="*/ 2147483646 w 625"/>
                    <a:gd name="T63" fmla="*/ 2147483646 h 694"/>
                    <a:gd name="T64" fmla="*/ 2147483646 w 625"/>
                    <a:gd name="T65" fmla="*/ 2147483646 h 694"/>
                    <a:gd name="T66" fmla="*/ 2147483646 w 625"/>
                    <a:gd name="T67" fmla="*/ 2147483646 h 694"/>
                    <a:gd name="T68" fmla="*/ 2147483646 w 625"/>
                    <a:gd name="T69" fmla="*/ 2147483646 h 694"/>
                    <a:gd name="T70" fmla="*/ 2147483646 w 625"/>
                    <a:gd name="T71" fmla="*/ 2147483646 h 694"/>
                    <a:gd name="T72" fmla="*/ 2147483646 w 625"/>
                    <a:gd name="T73" fmla="*/ 2147483646 h 694"/>
                    <a:gd name="T74" fmla="*/ 2147483646 w 625"/>
                    <a:gd name="T75" fmla="*/ 2147483646 h 694"/>
                    <a:gd name="T76" fmla="*/ 2147483646 w 625"/>
                    <a:gd name="T77" fmla="*/ 2147483646 h 694"/>
                    <a:gd name="T78" fmla="*/ 2147483646 w 625"/>
                    <a:gd name="T79" fmla="*/ 2147483646 h 694"/>
                    <a:gd name="T80" fmla="*/ 2147483646 w 625"/>
                    <a:gd name="T81" fmla="*/ 2147483646 h 694"/>
                    <a:gd name="T82" fmla="*/ 2147483646 w 625"/>
                    <a:gd name="T83" fmla="*/ 2147483646 h 694"/>
                    <a:gd name="T84" fmla="*/ 2147483646 w 625"/>
                    <a:gd name="T85" fmla="*/ 2147483646 h 694"/>
                    <a:gd name="T86" fmla="*/ 2147483646 w 625"/>
                    <a:gd name="T87" fmla="*/ 2147483646 h 694"/>
                    <a:gd name="T88" fmla="*/ 2147483646 w 625"/>
                    <a:gd name="T89" fmla="*/ 2147483646 h 694"/>
                    <a:gd name="T90" fmla="*/ 2147483646 w 625"/>
                    <a:gd name="T91" fmla="*/ 2147483646 h 694"/>
                    <a:gd name="T92" fmla="*/ 2147483646 w 625"/>
                    <a:gd name="T93" fmla="*/ 2147483646 h 694"/>
                    <a:gd name="T94" fmla="*/ 2147483646 w 625"/>
                    <a:gd name="T95" fmla="*/ 2147483646 h 694"/>
                    <a:gd name="T96" fmla="*/ 2147483646 w 625"/>
                    <a:gd name="T97" fmla="*/ 2147483646 h 694"/>
                    <a:gd name="T98" fmla="*/ 2147483646 w 625"/>
                    <a:gd name="T99" fmla="*/ 2147483646 h 694"/>
                    <a:gd name="T100" fmla="*/ 2147483646 w 625"/>
                    <a:gd name="T101" fmla="*/ 2147483646 h 694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625"/>
                    <a:gd name="T154" fmla="*/ 0 h 694"/>
                    <a:gd name="T155" fmla="*/ 625 w 625"/>
                    <a:gd name="T156" fmla="*/ 694 h 694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625" h="694">
                      <a:moveTo>
                        <a:pt x="433" y="265"/>
                      </a:moveTo>
                      <a:lnTo>
                        <a:pt x="512" y="333"/>
                      </a:lnTo>
                      <a:lnTo>
                        <a:pt x="502" y="337"/>
                      </a:lnTo>
                      <a:lnTo>
                        <a:pt x="493" y="341"/>
                      </a:lnTo>
                      <a:lnTo>
                        <a:pt x="489" y="341"/>
                      </a:lnTo>
                      <a:lnTo>
                        <a:pt x="484" y="341"/>
                      </a:lnTo>
                      <a:lnTo>
                        <a:pt x="481" y="341"/>
                      </a:lnTo>
                      <a:lnTo>
                        <a:pt x="479" y="339"/>
                      </a:lnTo>
                      <a:lnTo>
                        <a:pt x="479" y="382"/>
                      </a:lnTo>
                      <a:lnTo>
                        <a:pt x="493" y="392"/>
                      </a:lnTo>
                      <a:lnTo>
                        <a:pt x="507" y="402"/>
                      </a:lnTo>
                      <a:lnTo>
                        <a:pt x="515" y="404"/>
                      </a:lnTo>
                      <a:lnTo>
                        <a:pt x="524" y="406"/>
                      </a:lnTo>
                      <a:lnTo>
                        <a:pt x="528" y="405"/>
                      </a:lnTo>
                      <a:lnTo>
                        <a:pt x="534" y="405"/>
                      </a:lnTo>
                      <a:lnTo>
                        <a:pt x="539" y="403"/>
                      </a:lnTo>
                      <a:lnTo>
                        <a:pt x="545" y="402"/>
                      </a:lnTo>
                      <a:lnTo>
                        <a:pt x="550" y="424"/>
                      </a:lnTo>
                      <a:lnTo>
                        <a:pt x="554" y="443"/>
                      </a:lnTo>
                      <a:lnTo>
                        <a:pt x="558" y="451"/>
                      </a:lnTo>
                      <a:lnTo>
                        <a:pt x="560" y="459"/>
                      </a:lnTo>
                      <a:lnTo>
                        <a:pt x="563" y="465"/>
                      </a:lnTo>
                      <a:lnTo>
                        <a:pt x="568" y="470"/>
                      </a:lnTo>
                      <a:lnTo>
                        <a:pt x="572" y="474"/>
                      </a:lnTo>
                      <a:lnTo>
                        <a:pt x="576" y="478"/>
                      </a:lnTo>
                      <a:lnTo>
                        <a:pt x="582" y="481"/>
                      </a:lnTo>
                      <a:lnTo>
                        <a:pt x="588" y="483"/>
                      </a:lnTo>
                      <a:lnTo>
                        <a:pt x="596" y="485"/>
                      </a:lnTo>
                      <a:lnTo>
                        <a:pt x="605" y="486"/>
                      </a:lnTo>
                      <a:lnTo>
                        <a:pt x="614" y="487"/>
                      </a:lnTo>
                      <a:lnTo>
                        <a:pt x="625" y="487"/>
                      </a:lnTo>
                      <a:lnTo>
                        <a:pt x="625" y="496"/>
                      </a:lnTo>
                      <a:lnTo>
                        <a:pt x="625" y="505"/>
                      </a:lnTo>
                      <a:lnTo>
                        <a:pt x="625" y="515"/>
                      </a:lnTo>
                      <a:lnTo>
                        <a:pt x="625" y="525"/>
                      </a:lnTo>
                      <a:lnTo>
                        <a:pt x="625" y="539"/>
                      </a:lnTo>
                      <a:lnTo>
                        <a:pt x="622" y="557"/>
                      </a:lnTo>
                      <a:lnTo>
                        <a:pt x="620" y="579"/>
                      </a:lnTo>
                      <a:lnTo>
                        <a:pt x="618" y="603"/>
                      </a:lnTo>
                      <a:lnTo>
                        <a:pt x="616" y="628"/>
                      </a:lnTo>
                      <a:lnTo>
                        <a:pt x="614" y="651"/>
                      </a:lnTo>
                      <a:lnTo>
                        <a:pt x="611" y="672"/>
                      </a:lnTo>
                      <a:lnTo>
                        <a:pt x="611" y="691"/>
                      </a:lnTo>
                      <a:lnTo>
                        <a:pt x="582" y="692"/>
                      </a:lnTo>
                      <a:lnTo>
                        <a:pt x="562" y="693"/>
                      </a:lnTo>
                      <a:lnTo>
                        <a:pt x="553" y="694"/>
                      </a:lnTo>
                      <a:lnTo>
                        <a:pt x="546" y="693"/>
                      </a:lnTo>
                      <a:lnTo>
                        <a:pt x="539" y="693"/>
                      </a:lnTo>
                      <a:lnTo>
                        <a:pt x="531" y="691"/>
                      </a:lnTo>
                      <a:lnTo>
                        <a:pt x="392" y="567"/>
                      </a:lnTo>
                      <a:lnTo>
                        <a:pt x="394" y="564"/>
                      </a:lnTo>
                      <a:lnTo>
                        <a:pt x="396" y="560"/>
                      </a:lnTo>
                      <a:lnTo>
                        <a:pt x="397" y="556"/>
                      </a:lnTo>
                      <a:lnTo>
                        <a:pt x="397" y="552"/>
                      </a:lnTo>
                      <a:lnTo>
                        <a:pt x="397" y="547"/>
                      </a:lnTo>
                      <a:lnTo>
                        <a:pt x="396" y="543"/>
                      </a:lnTo>
                      <a:lnTo>
                        <a:pt x="394" y="539"/>
                      </a:lnTo>
                      <a:lnTo>
                        <a:pt x="392" y="537"/>
                      </a:lnTo>
                      <a:lnTo>
                        <a:pt x="366" y="513"/>
                      </a:lnTo>
                      <a:lnTo>
                        <a:pt x="338" y="488"/>
                      </a:lnTo>
                      <a:lnTo>
                        <a:pt x="326" y="476"/>
                      </a:lnTo>
                      <a:lnTo>
                        <a:pt x="315" y="465"/>
                      </a:lnTo>
                      <a:lnTo>
                        <a:pt x="305" y="453"/>
                      </a:lnTo>
                      <a:lnTo>
                        <a:pt x="300" y="444"/>
                      </a:lnTo>
                      <a:lnTo>
                        <a:pt x="295" y="432"/>
                      </a:lnTo>
                      <a:lnTo>
                        <a:pt x="293" y="419"/>
                      </a:lnTo>
                      <a:lnTo>
                        <a:pt x="292" y="407"/>
                      </a:lnTo>
                      <a:lnTo>
                        <a:pt x="292" y="393"/>
                      </a:lnTo>
                      <a:lnTo>
                        <a:pt x="291" y="381"/>
                      </a:lnTo>
                      <a:lnTo>
                        <a:pt x="289" y="370"/>
                      </a:lnTo>
                      <a:lnTo>
                        <a:pt x="288" y="365"/>
                      </a:lnTo>
                      <a:lnTo>
                        <a:pt x="285" y="360"/>
                      </a:lnTo>
                      <a:lnTo>
                        <a:pt x="282" y="356"/>
                      </a:lnTo>
                      <a:lnTo>
                        <a:pt x="279" y="352"/>
                      </a:lnTo>
                      <a:lnTo>
                        <a:pt x="268" y="342"/>
                      </a:lnTo>
                      <a:lnTo>
                        <a:pt x="258" y="332"/>
                      </a:lnTo>
                      <a:lnTo>
                        <a:pt x="249" y="321"/>
                      </a:lnTo>
                      <a:lnTo>
                        <a:pt x="241" y="310"/>
                      </a:lnTo>
                      <a:lnTo>
                        <a:pt x="235" y="297"/>
                      </a:lnTo>
                      <a:lnTo>
                        <a:pt x="229" y="283"/>
                      </a:lnTo>
                      <a:lnTo>
                        <a:pt x="224" y="269"/>
                      </a:lnTo>
                      <a:lnTo>
                        <a:pt x="220" y="253"/>
                      </a:lnTo>
                      <a:lnTo>
                        <a:pt x="216" y="246"/>
                      </a:lnTo>
                      <a:lnTo>
                        <a:pt x="213" y="238"/>
                      </a:lnTo>
                      <a:lnTo>
                        <a:pt x="207" y="231"/>
                      </a:lnTo>
                      <a:lnTo>
                        <a:pt x="202" y="224"/>
                      </a:lnTo>
                      <a:lnTo>
                        <a:pt x="190" y="212"/>
                      </a:lnTo>
                      <a:lnTo>
                        <a:pt x="177" y="199"/>
                      </a:lnTo>
                      <a:lnTo>
                        <a:pt x="162" y="187"/>
                      </a:lnTo>
                      <a:lnTo>
                        <a:pt x="150" y="171"/>
                      </a:lnTo>
                      <a:lnTo>
                        <a:pt x="145" y="164"/>
                      </a:lnTo>
                      <a:lnTo>
                        <a:pt x="140" y="155"/>
                      </a:lnTo>
                      <a:lnTo>
                        <a:pt x="136" y="146"/>
                      </a:lnTo>
                      <a:lnTo>
                        <a:pt x="133" y="136"/>
                      </a:lnTo>
                      <a:lnTo>
                        <a:pt x="123" y="135"/>
                      </a:lnTo>
                      <a:lnTo>
                        <a:pt x="112" y="132"/>
                      </a:lnTo>
                      <a:lnTo>
                        <a:pt x="102" y="128"/>
                      </a:lnTo>
                      <a:lnTo>
                        <a:pt x="91" y="121"/>
                      </a:lnTo>
                      <a:lnTo>
                        <a:pt x="80" y="113"/>
                      </a:lnTo>
                      <a:lnTo>
                        <a:pt x="69" y="104"/>
                      </a:lnTo>
                      <a:lnTo>
                        <a:pt x="59" y="95"/>
                      </a:lnTo>
                      <a:lnTo>
                        <a:pt x="49" y="85"/>
                      </a:lnTo>
                      <a:lnTo>
                        <a:pt x="39" y="74"/>
                      </a:lnTo>
                      <a:lnTo>
                        <a:pt x="31" y="62"/>
                      </a:lnTo>
                      <a:lnTo>
                        <a:pt x="23" y="51"/>
                      </a:lnTo>
                      <a:lnTo>
                        <a:pt x="16" y="40"/>
                      </a:lnTo>
                      <a:lnTo>
                        <a:pt x="10" y="29"/>
                      </a:lnTo>
                      <a:lnTo>
                        <a:pt x="5" y="19"/>
                      </a:lnTo>
                      <a:lnTo>
                        <a:pt x="2" y="9"/>
                      </a:lnTo>
                      <a:lnTo>
                        <a:pt x="0" y="0"/>
                      </a:lnTo>
                      <a:lnTo>
                        <a:pt x="10" y="4"/>
                      </a:lnTo>
                      <a:lnTo>
                        <a:pt x="20" y="7"/>
                      </a:lnTo>
                      <a:lnTo>
                        <a:pt x="28" y="10"/>
                      </a:lnTo>
                      <a:lnTo>
                        <a:pt x="37" y="13"/>
                      </a:lnTo>
                      <a:lnTo>
                        <a:pt x="54" y="15"/>
                      </a:lnTo>
                      <a:lnTo>
                        <a:pt x="69" y="16"/>
                      </a:lnTo>
                      <a:lnTo>
                        <a:pt x="84" y="16"/>
                      </a:lnTo>
                      <a:lnTo>
                        <a:pt x="100" y="17"/>
                      </a:lnTo>
                      <a:lnTo>
                        <a:pt x="108" y="19"/>
                      </a:lnTo>
                      <a:lnTo>
                        <a:pt x="116" y="20"/>
                      </a:lnTo>
                      <a:lnTo>
                        <a:pt x="124" y="22"/>
                      </a:lnTo>
                      <a:lnTo>
                        <a:pt x="133" y="25"/>
                      </a:lnTo>
                      <a:lnTo>
                        <a:pt x="138" y="27"/>
                      </a:lnTo>
                      <a:lnTo>
                        <a:pt x="144" y="31"/>
                      </a:lnTo>
                      <a:lnTo>
                        <a:pt x="149" y="36"/>
                      </a:lnTo>
                      <a:lnTo>
                        <a:pt x="156" y="42"/>
                      </a:lnTo>
                      <a:lnTo>
                        <a:pt x="169" y="57"/>
                      </a:lnTo>
                      <a:lnTo>
                        <a:pt x="181" y="76"/>
                      </a:lnTo>
                      <a:lnTo>
                        <a:pt x="204" y="109"/>
                      </a:lnTo>
                      <a:lnTo>
                        <a:pt x="220" y="130"/>
                      </a:lnTo>
                      <a:lnTo>
                        <a:pt x="237" y="147"/>
                      </a:lnTo>
                      <a:lnTo>
                        <a:pt x="254" y="163"/>
                      </a:lnTo>
                      <a:lnTo>
                        <a:pt x="271" y="181"/>
                      </a:lnTo>
                      <a:lnTo>
                        <a:pt x="289" y="196"/>
                      </a:lnTo>
                      <a:lnTo>
                        <a:pt x="299" y="202"/>
                      </a:lnTo>
                      <a:lnTo>
                        <a:pt x="308" y="209"/>
                      </a:lnTo>
                      <a:lnTo>
                        <a:pt x="318" y="214"/>
                      </a:lnTo>
                      <a:lnTo>
                        <a:pt x="329" y="219"/>
                      </a:lnTo>
                      <a:lnTo>
                        <a:pt x="341" y="223"/>
                      </a:lnTo>
                      <a:lnTo>
                        <a:pt x="353" y="226"/>
                      </a:lnTo>
                      <a:lnTo>
                        <a:pt x="366" y="227"/>
                      </a:lnTo>
                      <a:lnTo>
                        <a:pt x="379" y="228"/>
                      </a:lnTo>
                      <a:lnTo>
                        <a:pt x="383" y="229"/>
                      </a:lnTo>
                      <a:lnTo>
                        <a:pt x="388" y="230"/>
                      </a:lnTo>
                      <a:lnTo>
                        <a:pt x="392" y="231"/>
                      </a:lnTo>
                      <a:lnTo>
                        <a:pt x="395" y="235"/>
                      </a:lnTo>
                      <a:lnTo>
                        <a:pt x="401" y="241"/>
                      </a:lnTo>
                      <a:lnTo>
                        <a:pt x="405" y="247"/>
                      </a:lnTo>
                      <a:lnTo>
                        <a:pt x="411" y="254"/>
                      </a:lnTo>
                      <a:lnTo>
                        <a:pt x="416" y="260"/>
                      </a:lnTo>
                      <a:lnTo>
                        <a:pt x="419" y="262"/>
                      </a:lnTo>
                      <a:lnTo>
                        <a:pt x="423" y="264"/>
                      </a:lnTo>
                      <a:lnTo>
                        <a:pt x="427" y="265"/>
                      </a:lnTo>
                      <a:lnTo>
                        <a:pt x="433" y="26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89" name="Freeform 333">
                  <a:extLst>
                    <a:ext uri="{FF2B5EF4-FFF2-40B4-BE49-F238E27FC236}">
                      <a16:creationId xmlns:a16="http://schemas.microsoft.com/office/drawing/2014/main" xmlns="" id="{6A7377DA-03D4-4826-A2AA-03029483C942}"/>
                    </a:ext>
                  </a:extLst>
                </p:cNvPr>
                <p:cNvSpPr>
                  <a:spLocks/>
                </p:cNvSpPr>
                <p:nvPr>
                  <p:custDataLst>
                    <p:tags r:id="rId236"/>
                  </p:custDataLst>
                </p:nvPr>
              </p:nvSpPr>
              <p:spPr bwMode="auto">
                <a:xfrm>
                  <a:off x="6724650" y="3517900"/>
                  <a:ext cx="254000" cy="257175"/>
                </a:xfrm>
                <a:custGeom>
                  <a:avLst/>
                  <a:gdLst>
                    <a:gd name="T0" fmla="*/ 2147483646 w 585"/>
                    <a:gd name="T1" fmla="*/ 2147483646 h 493"/>
                    <a:gd name="T2" fmla="*/ 2147483646 w 585"/>
                    <a:gd name="T3" fmla="*/ 2147483646 h 493"/>
                    <a:gd name="T4" fmla="*/ 2147483646 w 585"/>
                    <a:gd name="T5" fmla="*/ 2147483646 h 493"/>
                    <a:gd name="T6" fmla="*/ 2147483646 w 585"/>
                    <a:gd name="T7" fmla="*/ 2147483646 h 493"/>
                    <a:gd name="T8" fmla="*/ 2147483646 w 585"/>
                    <a:gd name="T9" fmla="*/ 2147483646 h 493"/>
                    <a:gd name="T10" fmla="*/ 2147483646 w 585"/>
                    <a:gd name="T11" fmla="*/ 2147483646 h 493"/>
                    <a:gd name="T12" fmla="*/ 2147483646 w 585"/>
                    <a:gd name="T13" fmla="*/ 2147483646 h 493"/>
                    <a:gd name="T14" fmla="*/ 2147483646 w 585"/>
                    <a:gd name="T15" fmla="*/ 2147483646 h 493"/>
                    <a:gd name="T16" fmla="*/ 2147483646 w 585"/>
                    <a:gd name="T17" fmla="*/ 2147483646 h 493"/>
                    <a:gd name="T18" fmla="*/ 2147483646 w 585"/>
                    <a:gd name="T19" fmla="*/ 2147483646 h 493"/>
                    <a:gd name="T20" fmla="*/ 2147483646 w 585"/>
                    <a:gd name="T21" fmla="*/ 2147483646 h 493"/>
                    <a:gd name="T22" fmla="*/ 2147483646 w 585"/>
                    <a:gd name="T23" fmla="*/ 2147483646 h 493"/>
                    <a:gd name="T24" fmla="*/ 2147483646 w 585"/>
                    <a:gd name="T25" fmla="*/ 2147483646 h 493"/>
                    <a:gd name="T26" fmla="*/ 2147483646 w 585"/>
                    <a:gd name="T27" fmla="*/ 2147483646 h 493"/>
                    <a:gd name="T28" fmla="*/ 2147483646 w 585"/>
                    <a:gd name="T29" fmla="*/ 2147483646 h 493"/>
                    <a:gd name="T30" fmla="*/ 2147483646 w 585"/>
                    <a:gd name="T31" fmla="*/ 2147483646 h 493"/>
                    <a:gd name="T32" fmla="*/ 2147483646 w 585"/>
                    <a:gd name="T33" fmla="*/ 2147483646 h 493"/>
                    <a:gd name="T34" fmla="*/ 2147483646 w 585"/>
                    <a:gd name="T35" fmla="*/ 2147483646 h 493"/>
                    <a:gd name="T36" fmla="*/ 2147483646 w 585"/>
                    <a:gd name="T37" fmla="*/ 2147483646 h 493"/>
                    <a:gd name="T38" fmla="*/ 2147483646 w 585"/>
                    <a:gd name="T39" fmla="*/ 2147483646 h 493"/>
                    <a:gd name="T40" fmla="*/ 2147483646 w 585"/>
                    <a:gd name="T41" fmla="*/ 2147483646 h 493"/>
                    <a:gd name="T42" fmla="*/ 2147483646 w 585"/>
                    <a:gd name="T43" fmla="*/ 2147483646 h 493"/>
                    <a:gd name="T44" fmla="*/ 2147483646 w 585"/>
                    <a:gd name="T45" fmla="*/ 2147483646 h 493"/>
                    <a:gd name="T46" fmla="*/ 2147483646 w 585"/>
                    <a:gd name="T47" fmla="*/ 2147483646 h 493"/>
                    <a:gd name="T48" fmla="*/ 2147483646 w 585"/>
                    <a:gd name="T49" fmla="*/ 2147483646 h 493"/>
                    <a:gd name="T50" fmla="*/ 2147483646 w 585"/>
                    <a:gd name="T51" fmla="*/ 2147483646 h 493"/>
                    <a:gd name="T52" fmla="*/ 2147483646 w 585"/>
                    <a:gd name="T53" fmla="*/ 2147483646 h 493"/>
                    <a:gd name="T54" fmla="*/ 2147483646 w 585"/>
                    <a:gd name="T55" fmla="*/ 2147483646 h 493"/>
                    <a:gd name="T56" fmla="*/ 2147483646 w 585"/>
                    <a:gd name="T57" fmla="*/ 2147483646 h 493"/>
                    <a:gd name="T58" fmla="*/ 2147483646 w 585"/>
                    <a:gd name="T59" fmla="*/ 2147483646 h 493"/>
                    <a:gd name="T60" fmla="*/ 2147483646 w 585"/>
                    <a:gd name="T61" fmla="*/ 2147483646 h 493"/>
                    <a:gd name="T62" fmla="*/ 2147483646 w 585"/>
                    <a:gd name="T63" fmla="*/ 2147483646 h 493"/>
                    <a:gd name="T64" fmla="*/ 2147483646 w 585"/>
                    <a:gd name="T65" fmla="*/ 2147483646 h 493"/>
                    <a:gd name="T66" fmla="*/ 2147483646 w 585"/>
                    <a:gd name="T67" fmla="*/ 2147483646 h 493"/>
                    <a:gd name="T68" fmla="*/ 2147483646 w 585"/>
                    <a:gd name="T69" fmla="*/ 2147483646 h 493"/>
                    <a:gd name="T70" fmla="*/ 2147483646 w 585"/>
                    <a:gd name="T71" fmla="*/ 2147483646 h 493"/>
                    <a:gd name="T72" fmla="*/ 2147483646 w 585"/>
                    <a:gd name="T73" fmla="*/ 2147483646 h 493"/>
                    <a:gd name="T74" fmla="*/ 2147483646 w 585"/>
                    <a:gd name="T75" fmla="*/ 2147483646 h 493"/>
                    <a:gd name="T76" fmla="*/ 2147483646 w 585"/>
                    <a:gd name="T77" fmla="*/ 2147483646 h 493"/>
                    <a:gd name="T78" fmla="*/ 2147483646 w 585"/>
                    <a:gd name="T79" fmla="*/ 2147483646 h 493"/>
                    <a:gd name="T80" fmla="*/ 2147483646 w 585"/>
                    <a:gd name="T81" fmla="*/ 2147483646 h 493"/>
                    <a:gd name="T82" fmla="*/ 2147483646 w 585"/>
                    <a:gd name="T83" fmla="*/ 2147483646 h 493"/>
                    <a:gd name="T84" fmla="*/ 2147483646 w 585"/>
                    <a:gd name="T85" fmla="*/ 2147483646 h 493"/>
                    <a:gd name="T86" fmla="*/ 2147483646 w 585"/>
                    <a:gd name="T87" fmla="*/ 2147483646 h 493"/>
                    <a:gd name="T88" fmla="*/ 2147483646 w 585"/>
                    <a:gd name="T89" fmla="*/ 2147483646 h 493"/>
                    <a:gd name="T90" fmla="*/ 2147483646 w 585"/>
                    <a:gd name="T91" fmla="*/ 2147483646 h 493"/>
                    <a:gd name="T92" fmla="*/ 2147483646 w 585"/>
                    <a:gd name="T93" fmla="*/ 2147483646 h 493"/>
                    <a:gd name="T94" fmla="*/ 2147483646 w 585"/>
                    <a:gd name="T95" fmla="*/ 2147483646 h 493"/>
                    <a:gd name="T96" fmla="*/ 2147483646 w 585"/>
                    <a:gd name="T97" fmla="*/ 2147483646 h 493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585"/>
                    <a:gd name="T148" fmla="*/ 0 h 493"/>
                    <a:gd name="T149" fmla="*/ 585 w 585"/>
                    <a:gd name="T150" fmla="*/ 493 h 493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585" h="493">
                      <a:moveTo>
                        <a:pt x="525" y="12"/>
                      </a:moveTo>
                      <a:lnTo>
                        <a:pt x="524" y="17"/>
                      </a:lnTo>
                      <a:lnTo>
                        <a:pt x="520" y="22"/>
                      </a:lnTo>
                      <a:lnTo>
                        <a:pt x="516" y="28"/>
                      </a:lnTo>
                      <a:lnTo>
                        <a:pt x="510" y="33"/>
                      </a:lnTo>
                      <a:lnTo>
                        <a:pt x="497" y="45"/>
                      </a:lnTo>
                      <a:lnTo>
                        <a:pt x="485" y="55"/>
                      </a:lnTo>
                      <a:lnTo>
                        <a:pt x="495" y="55"/>
                      </a:lnTo>
                      <a:lnTo>
                        <a:pt x="505" y="55"/>
                      </a:lnTo>
                      <a:lnTo>
                        <a:pt x="506" y="68"/>
                      </a:lnTo>
                      <a:lnTo>
                        <a:pt x="508" y="81"/>
                      </a:lnTo>
                      <a:lnTo>
                        <a:pt x="512" y="93"/>
                      </a:lnTo>
                      <a:lnTo>
                        <a:pt x="516" y="103"/>
                      </a:lnTo>
                      <a:lnTo>
                        <a:pt x="520" y="112"/>
                      </a:lnTo>
                      <a:lnTo>
                        <a:pt x="527" y="121"/>
                      </a:lnTo>
                      <a:lnTo>
                        <a:pt x="534" y="130"/>
                      </a:lnTo>
                      <a:lnTo>
                        <a:pt x="540" y="138"/>
                      </a:lnTo>
                      <a:lnTo>
                        <a:pt x="553" y="155"/>
                      </a:lnTo>
                      <a:lnTo>
                        <a:pt x="566" y="170"/>
                      </a:lnTo>
                      <a:lnTo>
                        <a:pt x="573" y="177"/>
                      </a:lnTo>
                      <a:lnTo>
                        <a:pt x="577" y="185"/>
                      </a:lnTo>
                      <a:lnTo>
                        <a:pt x="582" y="194"/>
                      </a:lnTo>
                      <a:lnTo>
                        <a:pt x="585" y="204"/>
                      </a:lnTo>
                      <a:lnTo>
                        <a:pt x="580" y="205"/>
                      </a:lnTo>
                      <a:lnTo>
                        <a:pt x="574" y="206"/>
                      </a:lnTo>
                      <a:lnTo>
                        <a:pt x="568" y="206"/>
                      </a:lnTo>
                      <a:lnTo>
                        <a:pt x="561" y="206"/>
                      </a:lnTo>
                      <a:lnTo>
                        <a:pt x="547" y="204"/>
                      </a:lnTo>
                      <a:lnTo>
                        <a:pt x="531" y="204"/>
                      </a:lnTo>
                      <a:lnTo>
                        <a:pt x="524" y="217"/>
                      </a:lnTo>
                      <a:lnTo>
                        <a:pt x="518" y="229"/>
                      </a:lnTo>
                      <a:lnTo>
                        <a:pt x="516" y="233"/>
                      </a:lnTo>
                      <a:lnTo>
                        <a:pt x="513" y="237"/>
                      </a:lnTo>
                      <a:lnTo>
                        <a:pt x="509" y="239"/>
                      </a:lnTo>
                      <a:lnTo>
                        <a:pt x="505" y="240"/>
                      </a:lnTo>
                      <a:lnTo>
                        <a:pt x="506" y="246"/>
                      </a:lnTo>
                      <a:lnTo>
                        <a:pt x="508" y="253"/>
                      </a:lnTo>
                      <a:lnTo>
                        <a:pt x="512" y="259"/>
                      </a:lnTo>
                      <a:lnTo>
                        <a:pt x="515" y="265"/>
                      </a:lnTo>
                      <a:lnTo>
                        <a:pt x="518" y="271"/>
                      </a:lnTo>
                      <a:lnTo>
                        <a:pt x="521" y="277"/>
                      </a:lnTo>
                      <a:lnTo>
                        <a:pt x="524" y="283"/>
                      </a:lnTo>
                      <a:lnTo>
                        <a:pt x="525" y="289"/>
                      </a:lnTo>
                      <a:lnTo>
                        <a:pt x="525" y="294"/>
                      </a:lnTo>
                      <a:lnTo>
                        <a:pt x="523" y="297"/>
                      </a:lnTo>
                      <a:lnTo>
                        <a:pt x="519" y="301"/>
                      </a:lnTo>
                      <a:lnTo>
                        <a:pt x="516" y="304"/>
                      </a:lnTo>
                      <a:lnTo>
                        <a:pt x="505" y="308"/>
                      </a:lnTo>
                      <a:lnTo>
                        <a:pt x="494" y="312"/>
                      </a:lnTo>
                      <a:lnTo>
                        <a:pt x="481" y="316"/>
                      </a:lnTo>
                      <a:lnTo>
                        <a:pt x="469" y="319"/>
                      </a:lnTo>
                      <a:lnTo>
                        <a:pt x="459" y="323"/>
                      </a:lnTo>
                      <a:lnTo>
                        <a:pt x="452" y="327"/>
                      </a:lnTo>
                      <a:lnTo>
                        <a:pt x="448" y="334"/>
                      </a:lnTo>
                      <a:lnTo>
                        <a:pt x="446" y="344"/>
                      </a:lnTo>
                      <a:lnTo>
                        <a:pt x="443" y="354"/>
                      </a:lnTo>
                      <a:lnTo>
                        <a:pt x="443" y="365"/>
                      </a:lnTo>
                      <a:lnTo>
                        <a:pt x="445" y="386"/>
                      </a:lnTo>
                      <a:lnTo>
                        <a:pt x="446" y="400"/>
                      </a:lnTo>
                      <a:lnTo>
                        <a:pt x="445" y="415"/>
                      </a:lnTo>
                      <a:lnTo>
                        <a:pt x="442" y="428"/>
                      </a:lnTo>
                      <a:lnTo>
                        <a:pt x="439" y="439"/>
                      </a:lnTo>
                      <a:lnTo>
                        <a:pt x="436" y="447"/>
                      </a:lnTo>
                      <a:lnTo>
                        <a:pt x="430" y="454"/>
                      </a:lnTo>
                      <a:lnTo>
                        <a:pt x="425" y="459"/>
                      </a:lnTo>
                      <a:lnTo>
                        <a:pt x="419" y="464"/>
                      </a:lnTo>
                      <a:lnTo>
                        <a:pt x="413" y="467"/>
                      </a:lnTo>
                      <a:lnTo>
                        <a:pt x="400" y="472"/>
                      </a:lnTo>
                      <a:lnTo>
                        <a:pt x="386" y="477"/>
                      </a:lnTo>
                      <a:lnTo>
                        <a:pt x="380" y="480"/>
                      </a:lnTo>
                      <a:lnTo>
                        <a:pt x="374" y="484"/>
                      </a:lnTo>
                      <a:lnTo>
                        <a:pt x="370" y="488"/>
                      </a:lnTo>
                      <a:lnTo>
                        <a:pt x="366" y="493"/>
                      </a:lnTo>
                      <a:lnTo>
                        <a:pt x="356" y="493"/>
                      </a:lnTo>
                      <a:lnTo>
                        <a:pt x="346" y="493"/>
                      </a:lnTo>
                      <a:lnTo>
                        <a:pt x="341" y="493"/>
                      </a:lnTo>
                      <a:lnTo>
                        <a:pt x="337" y="492"/>
                      </a:lnTo>
                      <a:lnTo>
                        <a:pt x="334" y="491"/>
                      </a:lnTo>
                      <a:lnTo>
                        <a:pt x="331" y="489"/>
                      </a:lnTo>
                      <a:lnTo>
                        <a:pt x="329" y="487"/>
                      </a:lnTo>
                      <a:lnTo>
                        <a:pt x="328" y="484"/>
                      </a:lnTo>
                      <a:lnTo>
                        <a:pt x="327" y="482"/>
                      </a:lnTo>
                      <a:lnTo>
                        <a:pt x="326" y="478"/>
                      </a:lnTo>
                      <a:lnTo>
                        <a:pt x="327" y="471"/>
                      </a:lnTo>
                      <a:lnTo>
                        <a:pt x="328" y="464"/>
                      </a:lnTo>
                      <a:lnTo>
                        <a:pt x="330" y="457"/>
                      </a:lnTo>
                      <a:lnTo>
                        <a:pt x="333" y="450"/>
                      </a:lnTo>
                      <a:lnTo>
                        <a:pt x="304" y="451"/>
                      </a:lnTo>
                      <a:lnTo>
                        <a:pt x="279" y="454"/>
                      </a:lnTo>
                      <a:lnTo>
                        <a:pt x="267" y="455"/>
                      </a:lnTo>
                      <a:lnTo>
                        <a:pt x="257" y="455"/>
                      </a:lnTo>
                      <a:lnTo>
                        <a:pt x="251" y="454"/>
                      </a:lnTo>
                      <a:lnTo>
                        <a:pt x="247" y="453"/>
                      </a:lnTo>
                      <a:lnTo>
                        <a:pt x="244" y="452"/>
                      </a:lnTo>
                      <a:lnTo>
                        <a:pt x="239" y="450"/>
                      </a:lnTo>
                      <a:lnTo>
                        <a:pt x="219" y="462"/>
                      </a:lnTo>
                      <a:lnTo>
                        <a:pt x="207" y="455"/>
                      </a:lnTo>
                      <a:lnTo>
                        <a:pt x="192" y="447"/>
                      </a:lnTo>
                      <a:lnTo>
                        <a:pt x="183" y="444"/>
                      </a:lnTo>
                      <a:lnTo>
                        <a:pt x="176" y="440"/>
                      </a:lnTo>
                      <a:lnTo>
                        <a:pt x="168" y="438"/>
                      </a:lnTo>
                      <a:lnTo>
                        <a:pt x="159" y="438"/>
                      </a:lnTo>
                      <a:lnTo>
                        <a:pt x="144" y="437"/>
                      </a:lnTo>
                      <a:lnTo>
                        <a:pt x="122" y="436"/>
                      </a:lnTo>
                      <a:lnTo>
                        <a:pt x="111" y="435"/>
                      </a:lnTo>
                      <a:lnTo>
                        <a:pt x="102" y="432"/>
                      </a:lnTo>
                      <a:lnTo>
                        <a:pt x="98" y="431"/>
                      </a:lnTo>
                      <a:lnTo>
                        <a:pt x="95" y="429"/>
                      </a:lnTo>
                      <a:lnTo>
                        <a:pt x="93" y="428"/>
                      </a:lnTo>
                      <a:lnTo>
                        <a:pt x="93" y="424"/>
                      </a:lnTo>
                      <a:lnTo>
                        <a:pt x="87" y="393"/>
                      </a:lnTo>
                      <a:lnTo>
                        <a:pt x="81" y="366"/>
                      </a:lnTo>
                      <a:lnTo>
                        <a:pt x="75" y="346"/>
                      </a:lnTo>
                      <a:lnTo>
                        <a:pt x="69" y="331"/>
                      </a:lnTo>
                      <a:lnTo>
                        <a:pt x="64" y="320"/>
                      </a:lnTo>
                      <a:lnTo>
                        <a:pt x="58" y="310"/>
                      </a:lnTo>
                      <a:lnTo>
                        <a:pt x="53" y="304"/>
                      </a:lnTo>
                      <a:lnTo>
                        <a:pt x="47" y="300"/>
                      </a:lnTo>
                      <a:lnTo>
                        <a:pt x="41" y="296"/>
                      </a:lnTo>
                      <a:lnTo>
                        <a:pt x="35" y="292"/>
                      </a:lnTo>
                      <a:lnTo>
                        <a:pt x="30" y="288"/>
                      </a:lnTo>
                      <a:lnTo>
                        <a:pt x="24" y="281"/>
                      </a:lnTo>
                      <a:lnTo>
                        <a:pt x="19" y="272"/>
                      </a:lnTo>
                      <a:lnTo>
                        <a:pt x="12" y="260"/>
                      </a:lnTo>
                      <a:lnTo>
                        <a:pt x="6" y="243"/>
                      </a:lnTo>
                      <a:lnTo>
                        <a:pt x="0" y="222"/>
                      </a:lnTo>
                      <a:lnTo>
                        <a:pt x="2" y="215"/>
                      </a:lnTo>
                      <a:lnTo>
                        <a:pt x="5" y="204"/>
                      </a:lnTo>
                      <a:lnTo>
                        <a:pt x="11" y="191"/>
                      </a:lnTo>
                      <a:lnTo>
                        <a:pt x="17" y="177"/>
                      </a:lnTo>
                      <a:lnTo>
                        <a:pt x="24" y="164"/>
                      </a:lnTo>
                      <a:lnTo>
                        <a:pt x="31" y="153"/>
                      </a:lnTo>
                      <a:lnTo>
                        <a:pt x="36" y="144"/>
                      </a:lnTo>
                      <a:lnTo>
                        <a:pt x="41" y="141"/>
                      </a:lnTo>
                      <a:lnTo>
                        <a:pt x="46" y="141"/>
                      </a:lnTo>
                      <a:lnTo>
                        <a:pt x="54" y="141"/>
                      </a:lnTo>
                      <a:lnTo>
                        <a:pt x="64" y="141"/>
                      </a:lnTo>
                      <a:lnTo>
                        <a:pt x="73" y="141"/>
                      </a:lnTo>
                      <a:lnTo>
                        <a:pt x="73" y="146"/>
                      </a:lnTo>
                      <a:lnTo>
                        <a:pt x="75" y="152"/>
                      </a:lnTo>
                      <a:lnTo>
                        <a:pt x="77" y="158"/>
                      </a:lnTo>
                      <a:lnTo>
                        <a:pt x="80" y="164"/>
                      </a:lnTo>
                      <a:lnTo>
                        <a:pt x="88" y="176"/>
                      </a:lnTo>
                      <a:lnTo>
                        <a:pt x="97" y="187"/>
                      </a:lnTo>
                      <a:lnTo>
                        <a:pt x="107" y="198"/>
                      </a:lnTo>
                      <a:lnTo>
                        <a:pt x="118" y="208"/>
                      </a:lnTo>
                      <a:lnTo>
                        <a:pt x="124" y="211"/>
                      </a:lnTo>
                      <a:lnTo>
                        <a:pt x="129" y="214"/>
                      </a:lnTo>
                      <a:lnTo>
                        <a:pt x="135" y="215"/>
                      </a:lnTo>
                      <a:lnTo>
                        <a:pt x="139" y="216"/>
                      </a:lnTo>
                      <a:lnTo>
                        <a:pt x="155" y="215"/>
                      </a:lnTo>
                      <a:lnTo>
                        <a:pt x="170" y="213"/>
                      </a:lnTo>
                      <a:lnTo>
                        <a:pt x="184" y="209"/>
                      </a:lnTo>
                      <a:lnTo>
                        <a:pt x="199" y="204"/>
                      </a:lnTo>
                      <a:lnTo>
                        <a:pt x="211" y="196"/>
                      </a:lnTo>
                      <a:lnTo>
                        <a:pt x="221" y="189"/>
                      </a:lnTo>
                      <a:lnTo>
                        <a:pt x="225" y="185"/>
                      </a:lnTo>
                      <a:lnTo>
                        <a:pt x="228" y="181"/>
                      </a:lnTo>
                      <a:lnTo>
                        <a:pt x="230" y="177"/>
                      </a:lnTo>
                      <a:lnTo>
                        <a:pt x="233" y="172"/>
                      </a:lnTo>
                      <a:lnTo>
                        <a:pt x="256" y="175"/>
                      </a:lnTo>
                      <a:lnTo>
                        <a:pt x="273" y="176"/>
                      </a:lnTo>
                      <a:lnTo>
                        <a:pt x="281" y="177"/>
                      </a:lnTo>
                      <a:lnTo>
                        <a:pt x="288" y="178"/>
                      </a:lnTo>
                      <a:lnTo>
                        <a:pt x="294" y="181"/>
                      </a:lnTo>
                      <a:lnTo>
                        <a:pt x="300" y="184"/>
                      </a:lnTo>
                      <a:lnTo>
                        <a:pt x="326" y="184"/>
                      </a:lnTo>
                      <a:lnTo>
                        <a:pt x="326" y="181"/>
                      </a:lnTo>
                      <a:lnTo>
                        <a:pt x="327" y="178"/>
                      </a:lnTo>
                      <a:lnTo>
                        <a:pt x="329" y="176"/>
                      </a:lnTo>
                      <a:lnTo>
                        <a:pt x="331" y="174"/>
                      </a:lnTo>
                      <a:lnTo>
                        <a:pt x="337" y="170"/>
                      </a:lnTo>
                      <a:lnTo>
                        <a:pt x="344" y="167"/>
                      </a:lnTo>
                      <a:lnTo>
                        <a:pt x="350" y="164"/>
                      </a:lnTo>
                      <a:lnTo>
                        <a:pt x="357" y="162"/>
                      </a:lnTo>
                      <a:lnTo>
                        <a:pt x="362" y="158"/>
                      </a:lnTo>
                      <a:lnTo>
                        <a:pt x="366" y="154"/>
                      </a:lnTo>
                      <a:lnTo>
                        <a:pt x="372" y="149"/>
                      </a:lnTo>
                      <a:lnTo>
                        <a:pt x="378" y="143"/>
                      </a:lnTo>
                      <a:lnTo>
                        <a:pt x="383" y="136"/>
                      </a:lnTo>
                      <a:lnTo>
                        <a:pt x="389" y="129"/>
                      </a:lnTo>
                      <a:lnTo>
                        <a:pt x="400" y="114"/>
                      </a:lnTo>
                      <a:lnTo>
                        <a:pt x="408" y="97"/>
                      </a:lnTo>
                      <a:lnTo>
                        <a:pt x="415" y="79"/>
                      </a:lnTo>
                      <a:lnTo>
                        <a:pt x="420" y="62"/>
                      </a:lnTo>
                      <a:lnTo>
                        <a:pt x="424" y="46"/>
                      </a:lnTo>
                      <a:lnTo>
                        <a:pt x="426" y="30"/>
                      </a:lnTo>
                      <a:lnTo>
                        <a:pt x="427" y="25"/>
                      </a:lnTo>
                      <a:lnTo>
                        <a:pt x="429" y="20"/>
                      </a:lnTo>
                      <a:lnTo>
                        <a:pt x="435" y="15"/>
                      </a:lnTo>
                      <a:lnTo>
                        <a:pt x="440" y="11"/>
                      </a:lnTo>
                      <a:lnTo>
                        <a:pt x="447" y="6"/>
                      </a:lnTo>
                      <a:lnTo>
                        <a:pt x="453" y="3"/>
                      </a:lnTo>
                      <a:lnTo>
                        <a:pt x="460" y="1"/>
                      </a:lnTo>
                      <a:lnTo>
                        <a:pt x="465" y="0"/>
                      </a:lnTo>
                      <a:lnTo>
                        <a:pt x="479" y="2"/>
                      </a:lnTo>
                      <a:lnTo>
                        <a:pt x="495" y="6"/>
                      </a:lnTo>
                      <a:lnTo>
                        <a:pt x="512" y="10"/>
                      </a:lnTo>
                      <a:lnTo>
                        <a:pt x="525" y="1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90" name="Freeform 334">
                  <a:extLst>
                    <a:ext uri="{FF2B5EF4-FFF2-40B4-BE49-F238E27FC236}">
                      <a16:creationId xmlns:a16="http://schemas.microsoft.com/office/drawing/2014/main" xmlns="" id="{07BFC63A-FBE1-486A-900C-8D64A1374EBC}"/>
                    </a:ext>
                  </a:extLst>
                </p:cNvPr>
                <p:cNvSpPr>
                  <a:spLocks/>
                </p:cNvSpPr>
                <p:nvPr>
                  <p:custDataLst>
                    <p:tags r:id="rId237"/>
                  </p:custDataLst>
                </p:nvPr>
              </p:nvSpPr>
              <p:spPr bwMode="auto">
                <a:xfrm>
                  <a:off x="7080250" y="3924300"/>
                  <a:ext cx="92075" cy="57150"/>
                </a:xfrm>
                <a:custGeom>
                  <a:avLst/>
                  <a:gdLst>
                    <a:gd name="T0" fmla="*/ 0 w 212"/>
                    <a:gd name="T1" fmla="*/ 2147483646 h 105"/>
                    <a:gd name="T2" fmla="*/ 2147483646 w 212"/>
                    <a:gd name="T3" fmla="*/ 2147483646 h 105"/>
                    <a:gd name="T4" fmla="*/ 2147483646 w 212"/>
                    <a:gd name="T5" fmla="*/ 2147483646 h 105"/>
                    <a:gd name="T6" fmla="*/ 2147483646 w 212"/>
                    <a:gd name="T7" fmla="*/ 2147483646 h 105"/>
                    <a:gd name="T8" fmla="*/ 2147483646 w 212"/>
                    <a:gd name="T9" fmla="*/ 2147483646 h 105"/>
                    <a:gd name="T10" fmla="*/ 2147483646 w 212"/>
                    <a:gd name="T11" fmla="*/ 2147483646 h 105"/>
                    <a:gd name="T12" fmla="*/ 2147483646 w 212"/>
                    <a:gd name="T13" fmla="*/ 2147483646 h 105"/>
                    <a:gd name="T14" fmla="*/ 2147483646 w 212"/>
                    <a:gd name="T15" fmla="*/ 2147483646 h 105"/>
                    <a:gd name="T16" fmla="*/ 2147483646 w 212"/>
                    <a:gd name="T17" fmla="*/ 2147483646 h 105"/>
                    <a:gd name="T18" fmla="*/ 2147483646 w 212"/>
                    <a:gd name="T19" fmla="*/ 2147483646 h 105"/>
                    <a:gd name="T20" fmla="*/ 2147483646 w 212"/>
                    <a:gd name="T21" fmla="*/ 2147483646 h 105"/>
                    <a:gd name="T22" fmla="*/ 2147483646 w 212"/>
                    <a:gd name="T23" fmla="*/ 2147483646 h 105"/>
                    <a:gd name="T24" fmla="*/ 2147483646 w 212"/>
                    <a:gd name="T25" fmla="*/ 0 h 105"/>
                    <a:gd name="T26" fmla="*/ 2147483646 w 212"/>
                    <a:gd name="T27" fmla="*/ 0 h 105"/>
                    <a:gd name="T28" fmla="*/ 2147483646 w 212"/>
                    <a:gd name="T29" fmla="*/ 2147483646 h 105"/>
                    <a:gd name="T30" fmla="*/ 2147483646 w 212"/>
                    <a:gd name="T31" fmla="*/ 2147483646 h 105"/>
                    <a:gd name="T32" fmla="*/ 2147483646 w 212"/>
                    <a:gd name="T33" fmla="*/ 2147483646 h 105"/>
                    <a:gd name="T34" fmla="*/ 2147483646 w 212"/>
                    <a:gd name="T35" fmla="*/ 2147483646 h 105"/>
                    <a:gd name="T36" fmla="*/ 2147483646 w 212"/>
                    <a:gd name="T37" fmla="*/ 2147483646 h 105"/>
                    <a:gd name="T38" fmla="*/ 2147483646 w 212"/>
                    <a:gd name="T39" fmla="*/ 2147483646 h 105"/>
                    <a:gd name="T40" fmla="*/ 2147483646 w 212"/>
                    <a:gd name="T41" fmla="*/ 2147483646 h 105"/>
                    <a:gd name="T42" fmla="*/ 2147483646 w 212"/>
                    <a:gd name="T43" fmla="*/ 2147483646 h 105"/>
                    <a:gd name="T44" fmla="*/ 2147483646 w 212"/>
                    <a:gd name="T45" fmla="*/ 2147483646 h 105"/>
                    <a:gd name="T46" fmla="*/ 0 w 212"/>
                    <a:gd name="T47" fmla="*/ 2147483646 h 10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12"/>
                    <a:gd name="T73" fmla="*/ 0 h 105"/>
                    <a:gd name="T74" fmla="*/ 212 w 212"/>
                    <a:gd name="T75" fmla="*/ 105 h 105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12" h="105">
                      <a:moveTo>
                        <a:pt x="0" y="105"/>
                      </a:moveTo>
                      <a:lnTo>
                        <a:pt x="16" y="85"/>
                      </a:lnTo>
                      <a:lnTo>
                        <a:pt x="35" y="68"/>
                      </a:lnTo>
                      <a:lnTo>
                        <a:pt x="44" y="60"/>
                      </a:lnTo>
                      <a:lnTo>
                        <a:pt x="54" y="53"/>
                      </a:lnTo>
                      <a:lnTo>
                        <a:pt x="64" y="46"/>
                      </a:lnTo>
                      <a:lnTo>
                        <a:pt x="73" y="38"/>
                      </a:lnTo>
                      <a:lnTo>
                        <a:pt x="83" y="32"/>
                      </a:lnTo>
                      <a:lnTo>
                        <a:pt x="94" y="27"/>
                      </a:lnTo>
                      <a:lnTo>
                        <a:pt x="106" y="21"/>
                      </a:lnTo>
                      <a:lnTo>
                        <a:pt x="118" y="16"/>
                      </a:lnTo>
                      <a:lnTo>
                        <a:pt x="144" y="8"/>
                      </a:lnTo>
                      <a:lnTo>
                        <a:pt x="172" y="0"/>
                      </a:lnTo>
                      <a:lnTo>
                        <a:pt x="212" y="0"/>
                      </a:lnTo>
                      <a:lnTo>
                        <a:pt x="202" y="9"/>
                      </a:lnTo>
                      <a:lnTo>
                        <a:pt x="190" y="18"/>
                      </a:lnTo>
                      <a:lnTo>
                        <a:pt x="178" y="27"/>
                      </a:lnTo>
                      <a:lnTo>
                        <a:pt x="165" y="35"/>
                      </a:lnTo>
                      <a:lnTo>
                        <a:pt x="137" y="52"/>
                      </a:lnTo>
                      <a:lnTo>
                        <a:pt x="109" y="66"/>
                      </a:lnTo>
                      <a:lnTo>
                        <a:pt x="79" y="79"/>
                      </a:lnTo>
                      <a:lnTo>
                        <a:pt x="50" y="90"/>
                      </a:lnTo>
                      <a:lnTo>
                        <a:pt x="23" y="99"/>
                      </a:lnTo>
                      <a:lnTo>
                        <a:pt x="0" y="10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91" name="Freeform 335">
                  <a:extLst>
                    <a:ext uri="{FF2B5EF4-FFF2-40B4-BE49-F238E27FC236}">
                      <a16:creationId xmlns:a16="http://schemas.microsoft.com/office/drawing/2014/main" xmlns="" id="{3D1A65E4-E262-4291-8093-BCF66AE0B135}"/>
                    </a:ext>
                  </a:extLst>
                </p:cNvPr>
                <p:cNvSpPr>
                  <a:spLocks/>
                </p:cNvSpPr>
                <p:nvPr>
                  <p:custDataLst>
                    <p:tags r:id="rId238"/>
                  </p:custDataLst>
                </p:nvPr>
              </p:nvSpPr>
              <p:spPr bwMode="auto">
                <a:xfrm>
                  <a:off x="7196138" y="3590925"/>
                  <a:ext cx="42862" cy="88900"/>
                </a:xfrm>
                <a:custGeom>
                  <a:avLst/>
                  <a:gdLst>
                    <a:gd name="T0" fmla="*/ 0 w 92"/>
                    <a:gd name="T1" fmla="*/ 2147483646 h 166"/>
                    <a:gd name="T2" fmla="*/ 0 w 92"/>
                    <a:gd name="T3" fmla="*/ 2147483646 h 166"/>
                    <a:gd name="T4" fmla="*/ 2147483646 w 92"/>
                    <a:gd name="T5" fmla="*/ 2147483646 h 166"/>
                    <a:gd name="T6" fmla="*/ 2147483646 w 92"/>
                    <a:gd name="T7" fmla="*/ 2147483646 h 166"/>
                    <a:gd name="T8" fmla="*/ 2147483646 w 92"/>
                    <a:gd name="T9" fmla="*/ 2147483646 h 166"/>
                    <a:gd name="T10" fmla="*/ 2147483646 w 92"/>
                    <a:gd name="T11" fmla="*/ 2147483646 h 166"/>
                    <a:gd name="T12" fmla="*/ 2147483646 w 92"/>
                    <a:gd name="T13" fmla="*/ 2147483646 h 166"/>
                    <a:gd name="T14" fmla="*/ 2147483646 w 92"/>
                    <a:gd name="T15" fmla="*/ 2147483646 h 166"/>
                    <a:gd name="T16" fmla="*/ 2147483646 w 92"/>
                    <a:gd name="T17" fmla="*/ 2147483646 h 166"/>
                    <a:gd name="T18" fmla="*/ 2147483646 w 92"/>
                    <a:gd name="T19" fmla="*/ 2147483646 h 166"/>
                    <a:gd name="T20" fmla="*/ 2147483646 w 92"/>
                    <a:gd name="T21" fmla="*/ 2147483646 h 166"/>
                    <a:gd name="T22" fmla="*/ 2147483646 w 92"/>
                    <a:gd name="T23" fmla="*/ 2147483646 h 166"/>
                    <a:gd name="T24" fmla="*/ 2147483646 w 92"/>
                    <a:gd name="T25" fmla="*/ 2147483646 h 166"/>
                    <a:gd name="T26" fmla="*/ 2147483646 w 92"/>
                    <a:gd name="T27" fmla="*/ 2147483646 h 166"/>
                    <a:gd name="T28" fmla="*/ 2147483646 w 92"/>
                    <a:gd name="T29" fmla="*/ 2147483646 h 166"/>
                    <a:gd name="T30" fmla="*/ 2147483646 w 92"/>
                    <a:gd name="T31" fmla="*/ 2147483646 h 166"/>
                    <a:gd name="T32" fmla="*/ 2147483646 w 92"/>
                    <a:gd name="T33" fmla="*/ 2147483646 h 166"/>
                    <a:gd name="T34" fmla="*/ 2147483646 w 92"/>
                    <a:gd name="T35" fmla="*/ 2147483646 h 166"/>
                    <a:gd name="T36" fmla="*/ 2147483646 w 92"/>
                    <a:gd name="T37" fmla="*/ 2147483646 h 166"/>
                    <a:gd name="T38" fmla="*/ 2147483646 w 92"/>
                    <a:gd name="T39" fmla="*/ 2147483646 h 166"/>
                    <a:gd name="T40" fmla="*/ 2147483646 w 92"/>
                    <a:gd name="T41" fmla="*/ 2147483646 h 166"/>
                    <a:gd name="T42" fmla="*/ 2147483646 w 92"/>
                    <a:gd name="T43" fmla="*/ 2147483646 h 166"/>
                    <a:gd name="T44" fmla="*/ 2147483646 w 92"/>
                    <a:gd name="T45" fmla="*/ 2147483646 h 166"/>
                    <a:gd name="T46" fmla="*/ 2147483646 w 92"/>
                    <a:gd name="T47" fmla="*/ 2147483646 h 166"/>
                    <a:gd name="T48" fmla="*/ 2147483646 w 92"/>
                    <a:gd name="T49" fmla="*/ 2147483646 h 166"/>
                    <a:gd name="T50" fmla="*/ 2147483646 w 92"/>
                    <a:gd name="T51" fmla="*/ 2147483646 h 166"/>
                    <a:gd name="T52" fmla="*/ 2147483646 w 92"/>
                    <a:gd name="T53" fmla="*/ 2147483646 h 166"/>
                    <a:gd name="T54" fmla="*/ 2147483646 w 92"/>
                    <a:gd name="T55" fmla="*/ 2147483646 h 166"/>
                    <a:gd name="T56" fmla="*/ 2147483646 w 92"/>
                    <a:gd name="T57" fmla="*/ 2147483646 h 166"/>
                    <a:gd name="T58" fmla="*/ 2147483646 w 92"/>
                    <a:gd name="T59" fmla="*/ 2147483646 h 166"/>
                    <a:gd name="T60" fmla="*/ 2147483646 w 92"/>
                    <a:gd name="T61" fmla="*/ 2147483646 h 166"/>
                    <a:gd name="T62" fmla="*/ 2147483646 w 92"/>
                    <a:gd name="T63" fmla="*/ 2147483646 h 166"/>
                    <a:gd name="T64" fmla="*/ 2147483646 w 92"/>
                    <a:gd name="T65" fmla="*/ 2147483646 h 166"/>
                    <a:gd name="T66" fmla="*/ 2147483646 w 92"/>
                    <a:gd name="T67" fmla="*/ 2147483646 h 166"/>
                    <a:gd name="T68" fmla="*/ 2147483646 w 92"/>
                    <a:gd name="T69" fmla="*/ 2147483646 h 166"/>
                    <a:gd name="T70" fmla="*/ 2147483646 w 92"/>
                    <a:gd name="T71" fmla="*/ 2147483646 h 166"/>
                    <a:gd name="T72" fmla="*/ 2147483646 w 92"/>
                    <a:gd name="T73" fmla="*/ 2147483646 h 166"/>
                    <a:gd name="T74" fmla="*/ 2147483646 w 92"/>
                    <a:gd name="T75" fmla="*/ 2147483646 h 166"/>
                    <a:gd name="T76" fmla="*/ 2147483646 w 92"/>
                    <a:gd name="T77" fmla="*/ 2147483646 h 166"/>
                    <a:gd name="T78" fmla="*/ 2147483646 w 92"/>
                    <a:gd name="T79" fmla="*/ 2147483646 h 166"/>
                    <a:gd name="T80" fmla="*/ 2147483646 w 92"/>
                    <a:gd name="T81" fmla="*/ 2147483646 h 166"/>
                    <a:gd name="T82" fmla="*/ 2147483646 w 92"/>
                    <a:gd name="T83" fmla="*/ 2147483646 h 166"/>
                    <a:gd name="T84" fmla="*/ 2147483646 w 92"/>
                    <a:gd name="T85" fmla="*/ 2147483646 h 166"/>
                    <a:gd name="T86" fmla="*/ 2147483646 w 92"/>
                    <a:gd name="T87" fmla="*/ 2147483646 h 166"/>
                    <a:gd name="T88" fmla="*/ 2147483646 w 92"/>
                    <a:gd name="T89" fmla="*/ 2147483646 h 166"/>
                    <a:gd name="T90" fmla="*/ 0 w 92"/>
                    <a:gd name="T91" fmla="*/ 0 h 166"/>
                    <a:gd name="T92" fmla="*/ 0 w 92"/>
                    <a:gd name="T93" fmla="*/ 2147483646 h 166"/>
                    <a:gd name="T94" fmla="*/ 0 w 92"/>
                    <a:gd name="T95" fmla="*/ 2147483646 h 166"/>
                    <a:gd name="T96" fmla="*/ 0 w 92"/>
                    <a:gd name="T97" fmla="*/ 2147483646 h 166"/>
                    <a:gd name="T98" fmla="*/ 0 w 92"/>
                    <a:gd name="T99" fmla="*/ 2147483646 h 166"/>
                    <a:gd name="T100" fmla="*/ 0 w 92"/>
                    <a:gd name="T101" fmla="*/ 2147483646 h 166"/>
                    <a:gd name="T102" fmla="*/ 0 w 92"/>
                    <a:gd name="T103" fmla="*/ 2147483646 h 16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2"/>
                    <a:gd name="T157" fmla="*/ 0 h 166"/>
                    <a:gd name="T158" fmla="*/ 92 w 92"/>
                    <a:gd name="T159" fmla="*/ 166 h 16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2" h="166">
                      <a:moveTo>
                        <a:pt x="0" y="81"/>
                      </a:moveTo>
                      <a:lnTo>
                        <a:pt x="0" y="148"/>
                      </a:lnTo>
                      <a:lnTo>
                        <a:pt x="5" y="144"/>
                      </a:lnTo>
                      <a:lnTo>
                        <a:pt x="12" y="139"/>
                      </a:lnTo>
                      <a:lnTo>
                        <a:pt x="14" y="137"/>
                      </a:lnTo>
                      <a:lnTo>
                        <a:pt x="17" y="135"/>
                      </a:lnTo>
                      <a:lnTo>
                        <a:pt x="18" y="132"/>
                      </a:lnTo>
                      <a:lnTo>
                        <a:pt x="19" y="130"/>
                      </a:lnTo>
                      <a:lnTo>
                        <a:pt x="20" y="138"/>
                      </a:lnTo>
                      <a:lnTo>
                        <a:pt x="24" y="148"/>
                      </a:lnTo>
                      <a:lnTo>
                        <a:pt x="27" y="154"/>
                      </a:lnTo>
                      <a:lnTo>
                        <a:pt x="30" y="159"/>
                      </a:lnTo>
                      <a:lnTo>
                        <a:pt x="35" y="163"/>
                      </a:lnTo>
                      <a:lnTo>
                        <a:pt x="39" y="166"/>
                      </a:lnTo>
                      <a:lnTo>
                        <a:pt x="41" y="158"/>
                      </a:lnTo>
                      <a:lnTo>
                        <a:pt x="41" y="148"/>
                      </a:lnTo>
                      <a:lnTo>
                        <a:pt x="41" y="137"/>
                      </a:lnTo>
                      <a:lnTo>
                        <a:pt x="41" y="126"/>
                      </a:lnTo>
                      <a:lnTo>
                        <a:pt x="40" y="107"/>
                      </a:lnTo>
                      <a:lnTo>
                        <a:pt x="39" y="99"/>
                      </a:lnTo>
                      <a:lnTo>
                        <a:pt x="48" y="100"/>
                      </a:lnTo>
                      <a:lnTo>
                        <a:pt x="57" y="102"/>
                      </a:lnTo>
                      <a:lnTo>
                        <a:pt x="64" y="105"/>
                      </a:lnTo>
                      <a:lnTo>
                        <a:pt x="71" y="108"/>
                      </a:lnTo>
                      <a:lnTo>
                        <a:pt x="76" y="111"/>
                      </a:lnTo>
                      <a:lnTo>
                        <a:pt x="82" y="114"/>
                      </a:lnTo>
                      <a:lnTo>
                        <a:pt x="87" y="116"/>
                      </a:lnTo>
                      <a:lnTo>
                        <a:pt x="92" y="118"/>
                      </a:lnTo>
                      <a:lnTo>
                        <a:pt x="85" y="103"/>
                      </a:lnTo>
                      <a:lnTo>
                        <a:pt x="81" y="89"/>
                      </a:lnTo>
                      <a:lnTo>
                        <a:pt x="76" y="75"/>
                      </a:lnTo>
                      <a:lnTo>
                        <a:pt x="73" y="60"/>
                      </a:lnTo>
                      <a:lnTo>
                        <a:pt x="70" y="47"/>
                      </a:lnTo>
                      <a:lnTo>
                        <a:pt x="67" y="34"/>
                      </a:lnTo>
                      <a:lnTo>
                        <a:pt x="63" y="23"/>
                      </a:lnTo>
                      <a:lnTo>
                        <a:pt x="59" y="13"/>
                      </a:lnTo>
                      <a:lnTo>
                        <a:pt x="59" y="19"/>
                      </a:lnTo>
                      <a:lnTo>
                        <a:pt x="59" y="25"/>
                      </a:lnTo>
                      <a:lnTo>
                        <a:pt x="50" y="23"/>
                      </a:lnTo>
                      <a:lnTo>
                        <a:pt x="42" y="19"/>
                      </a:lnTo>
                      <a:lnTo>
                        <a:pt x="35" y="15"/>
                      </a:lnTo>
                      <a:lnTo>
                        <a:pt x="29" y="11"/>
                      </a:lnTo>
                      <a:lnTo>
                        <a:pt x="23" y="7"/>
                      </a:lnTo>
                      <a:lnTo>
                        <a:pt x="16" y="3"/>
                      </a:lnTo>
                      <a:lnTo>
                        <a:pt x="8" y="1"/>
                      </a:lnTo>
                      <a:lnTo>
                        <a:pt x="0" y="0"/>
                      </a:lnTo>
                      <a:lnTo>
                        <a:pt x="0" y="10"/>
                      </a:lnTo>
                      <a:lnTo>
                        <a:pt x="0" y="19"/>
                      </a:lnTo>
                      <a:lnTo>
                        <a:pt x="0" y="33"/>
                      </a:lnTo>
                      <a:lnTo>
                        <a:pt x="0" y="52"/>
                      </a:lnTo>
                      <a:lnTo>
                        <a:pt x="0" y="70"/>
                      </a:lnTo>
                      <a:lnTo>
                        <a:pt x="0" y="8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92" name="Freeform 336">
                  <a:extLst>
                    <a:ext uri="{FF2B5EF4-FFF2-40B4-BE49-F238E27FC236}">
                      <a16:creationId xmlns:a16="http://schemas.microsoft.com/office/drawing/2014/main" xmlns="" id="{85FC56FD-C8DA-425B-8EF0-F6A779C409CF}"/>
                    </a:ext>
                  </a:extLst>
                </p:cNvPr>
                <p:cNvSpPr>
                  <a:spLocks/>
                </p:cNvSpPr>
                <p:nvPr>
                  <p:custDataLst>
                    <p:tags r:id="rId239"/>
                  </p:custDataLst>
                </p:nvPr>
              </p:nvSpPr>
              <p:spPr bwMode="auto">
                <a:xfrm>
                  <a:off x="7208838" y="3735388"/>
                  <a:ext cx="71437" cy="55562"/>
                </a:xfrm>
                <a:custGeom>
                  <a:avLst/>
                  <a:gdLst>
                    <a:gd name="T0" fmla="*/ 2147483646 w 166"/>
                    <a:gd name="T1" fmla="*/ 0 h 62"/>
                    <a:gd name="T2" fmla="*/ 2147483646 w 166"/>
                    <a:gd name="T3" fmla="*/ 2147483646 h 62"/>
                    <a:gd name="T4" fmla="*/ 2147483646 w 166"/>
                    <a:gd name="T5" fmla="*/ 2147483646 h 62"/>
                    <a:gd name="T6" fmla="*/ 2147483646 w 166"/>
                    <a:gd name="T7" fmla="*/ 2147483646 h 62"/>
                    <a:gd name="T8" fmla="*/ 2147483646 w 166"/>
                    <a:gd name="T9" fmla="*/ 2147483646 h 62"/>
                    <a:gd name="T10" fmla="*/ 2147483646 w 166"/>
                    <a:gd name="T11" fmla="*/ 2147483646 h 62"/>
                    <a:gd name="T12" fmla="*/ 2147483646 w 166"/>
                    <a:gd name="T13" fmla="*/ 2147483646 h 62"/>
                    <a:gd name="T14" fmla="*/ 2147483646 w 166"/>
                    <a:gd name="T15" fmla="*/ 2147483646 h 62"/>
                    <a:gd name="T16" fmla="*/ 2147483646 w 166"/>
                    <a:gd name="T17" fmla="*/ 2147483646 h 62"/>
                    <a:gd name="T18" fmla="*/ 2147483646 w 166"/>
                    <a:gd name="T19" fmla="*/ 2147483646 h 62"/>
                    <a:gd name="T20" fmla="*/ 2147483646 w 166"/>
                    <a:gd name="T21" fmla="*/ 0 h 62"/>
                    <a:gd name="T22" fmla="*/ 2147483646 w 166"/>
                    <a:gd name="T23" fmla="*/ 2147483646 h 62"/>
                    <a:gd name="T24" fmla="*/ 2147483646 w 166"/>
                    <a:gd name="T25" fmla="*/ 2147483646 h 62"/>
                    <a:gd name="T26" fmla="*/ 2147483646 w 166"/>
                    <a:gd name="T27" fmla="*/ 2147483646 h 62"/>
                    <a:gd name="T28" fmla="*/ 2147483646 w 166"/>
                    <a:gd name="T29" fmla="*/ 2147483646 h 62"/>
                    <a:gd name="T30" fmla="*/ 2147483646 w 166"/>
                    <a:gd name="T31" fmla="*/ 2147483646 h 62"/>
                    <a:gd name="T32" fmla="*/ 2147483646 w 166"/>
                    <a:gd name="T33" fmla="*/ 2147483646 h 62"/>
                    <a:gd name="T34" fmla="*/ 2147483646 w 166"/>
                    <a:gd name="T35" fmla="*/ 2147483646 h 62"/>
                    <a:gd name="T36" fmla="*/ 2147483646 w 166"/>
                    <a:gd name="T37" fmla="*/ 2147483646 h 62"/>
                    <a:gd name="T38" fmla="*/ 2147483646 w 166"/>
                    <a:gd name="T39" fmla="*/ 2147483646 h 62"/>
                    <a:gd name="T40" fmla="*/ 2147483646 w 166"/>
                    <a:gd name="T41" fmla="*/ 2147483646 h 62"/>
                    <a:gd name="T42" fmla="*/ 2147483646 w 166"/>
                    <a:gd name="T43" fmla="*/ 2147483646 h 62"/>
                    <a:gd name="T44" fmla="*/ 2147483646 w 166"/>
                    <a:gd name="T45" fmla="*/ 2147483646 h 62"/>
                    <a:gd name="T46" fmla="*/ 2147483646 w 166"/>
                    <a:gd name="T47" fmla="*/ 2147483646 h 62"/>
                    <a:gd name="T48" fmla="*/ 2147483646 w 166"/>
                    <a:gd name="T49" fmla="*/ 2147483646 h 62"/>
                    <a:gd name="T50" fmla="*/ 2147483646 w 166"/>
                    <a:gd name="T51" fmla="*/ 2147483646 h 62"/>
                    <a:gd name="T52" fmla="*/ 2147483646 w 166"/>
                    <a:gd name="T53" fmla="*/ 2147483646 h 62"/>
                    <a:gd name="T54" fmla="*/ 2147483646 w 166"/>
                    <a:gd name="T55" fmla="*/ 2147483646 h 62"/>
                    <a:gd name="T56" fmla="*/ 2147483646 w 166"/>
                    <a:gd name="T57" fmla="*/ 2147483646 h 62"/>
                    <a:gd name="T58" fmla="*/ 2147483646 w 166"/>
                    <a:gd name="T59" fmla="*/ 2147483646 h 62"/>
                    <a:gd name="T60" fmla="*/ 2147483646 w 166"/>
                    <a:gd name="T61" fmla="*/ 2147483646 h 62"/>
                    <a:gd name="T62" fmla="*/ 2147483646 w 166"/>
                    <a:gd name="T63" fmla="*/ 2147483646 h 62"/>
                    <a:gd name="T64" fmla="*/ 2147483646 w 166"/>
                    <a:gd name="T65" fmla="*/ 2147483646 h 62"/>
                    <a:gd name="T66" fmla="*/ 2147483646 w 166"/>
                    <a:gd name="T67" fmla="*/ 2147483646 h 62"/>
                    <a:gd name="T68" fmla="*/ 2147483646 w 166"/>
                    <a:gd name="T69" fmla="*/ 2147483646 h 62"/>
                    <a:gd name="T70" fmla="*/ 2147483646 w 166"/>
                    <a:gd name="T71" fmla="*/ 2147483646 h 62"/>
                    <a:gd name="T72" fmla="*/ 2147483646 w 166"/>
                    <a:gd name="T73" fmla="*/ 2147483646 h 62"/>
                    <a:gd name="T74" fmla="*/ 2147483646 w 166"/>
                    <a:gd name="T75" fmla="*/ 2147483646 h 62"/>
                    <a:gd name="T76" fmla="*/ 2147483646 w 166"/>
                    <a:gd name="T77" fmla="*/ 2147483646 h 62"/>
                    <a:gd name="T78" fmla="*/ 2147483646 w 166"/>
                    <a:gd name="T79" fmla="*/ 2147483646 h 62"/>
                    <a:gd name="T80" fmla="*/ 2147483646 w 166"/>
                    <a:gd name="T81" fmla="*/ 2147483646 h 62"/>
                    <a:gd name="T82" fmla="*/ 2147483646 w 166"/>
                    <a:gd name="T83" fmla="*/ 2147483646 h 62"/>
                    <a:gd name="T84" fmla="*/ 2147483646 w 166"/>
                    <a:gd name="T85" fmla="*/ 2147483646 h 62"/>
                    <a:gd name="T86" fmla="*/ 0 w 166"/>
                    <a:gd name="T87" fmla="*/ 2147483646 h 62"/>
                    <a:gd name="T88" fmla="*/ 2147483646 w 166"/>
                    <a:gd name="T89" fmla="*/ 2147483646 h 62"/>
                    <a:gd name="T90" fmla="*/ 2147483646 w 166"/>
                    <a:gd name="T91" fmla="*/ 2147483646 h 62"/>
                    <a:gd name="T92" fmla="*/ 2147483646 w 166"/>
                    <a:gd name="T93" fmla="*/ 0 h 62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166"/>
                    <a:gd name="T142" fmla="*/ 0 h 62"/>
                    <a:gd name="T143" fmla="*/ 166 w 166"/>
                    <a:gd name="T144" fmla="*/ 62 h 62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166" h="62">
                      <a:moveTo>
                        <a:pt x="7" y="0"/>
                      </a:moveTo>
                      <a:lnTo>
                        <a:pt x="14" y="3"/>
                      </a:lnTo>
                      <a:lnTo>
                        <a:pt x="22" y="6"/>
                      </a:lnTo>
                      <a:lnTo>
                        <a:pt x="30" y="7"/>
                      </a:lnTo>
                      <a:lnTo>
                        <a:pt x="36" y="8"/>
                      </a:lnTo>
                      <a:lnTo>
                        <a:pt x="48" y="8"/>
                      </a:lnTo>
                      <a:lnTo>
                        <a:pt x="58" y="7"/>
                      </a:lnTo>
                      <a:lnTo>
                        <a:pt x="69" y="5"/>
                      </a:lnTo>
                      <a:lnTo>
                        <a:pt x="80" y="3"/>
                      </a:lnTo>
                      <a:lnTo>
                        <a:pt x="92" y="1"/>
                      </a:lnTo>
                      <a:lnTo>
                        <a:pt x="106" y="0"/>
                      </a:lnTo>
                      <a:lnTo>
                        <a:pt x="111" y="1"/>
                      </a:lnTo>
                      <a:lnTo>
                        <a:pt x="115" y="2"/>
                      </a:lnTo>
                      <a:lnTo>
                        <a:pt x="120" y="5"/>
                      </a:lnTo>
                      <a:lnTo>
                        <a:pt x="124" y="8"/>
                      </a:lnTo>
                      <a:lnTo>
                        <a:pt x="132" y="17"/>
                      </a:lnTo>
                      <a:lnTo>
                        <a:pt x="138" y="26"/>
                      </a:lnTo>
                      <a:lnTo>
                        <a:pt x="145" y="36"/>
                      </a:lnTo>
                      <a:lnTo>
                        <a:pt x="151" y="45"/>
                      </a:lnTo>
                      <a:lnTo>
                        <a:pt x="155" y="49"/>
                      </a:lnTo>
                      <a:lnTo>
                        <a:pt x="158" y="52"/>
                      </a:lnTo>
                      <a:lnTo>
                        <a:pt x="162" y="54"/>
                      </a:lnTo>
                      <a:lnTo>
                        <a:pt x="166" y="56"/>
                      </a:lnTo>
                      <a:lnTo>
                        <a:pt x="159" y="57"/>
                      </a:lnTo>
                      <a:lnTo>
                        <a:pt x="151" y="59"/>
                      </a:lnTo>
                      <a:lnTo>
                        <a:pt x="143" y="61"/>
                      </a:lnTo>
                      <a:lnTo>
                        <a:pt x="133" y="62"/>
                      </a:lnTo>
                      <a:lnTo>
                        <a:pt x="125" y="61"/>
                      </a:lnTo>
                      <a:lnTo>
                        <a:pt x="119" y="58"/>
                      </a:lnTo>
                      <a:lnTo>
                        <a:pt x="112" y="54"/>
                      </a:lnTo>
                      <a:lnTo>
                        <a:pt x="106" y="50"/>
                      </a:lnTo>
                      <a:lnTo>
                        <a:pt x="100" y="45"/>
                      </a:lnTo>
                      <a:lnTo>
                        <a:pt x="93" y="41"/>
                      </a:lnTo>
                      <a:lnTo>
                        <a:pt x="87" y="39"/>
                      </a:lnTo>
                      <a:lnTo>
                        <a:pt x="79" y="38"/>
                      </a:lnTo>
                      <a:lnTo>
                        <a:pt x="56" y="38"/>
                      </a:lnTo>
                      <a:lnTo>
                        <a:pt x="35" y="39"/>
                      </a:lnTo>
                      <a:lnTo>
                        <a:pt x="26" y="41"/>
                      </a:lnTo>
                      <a:lnTo>
                        <a:pt x="19" y="43"/>
                      </a:lnTo>
                      <a:lnTo>
                        <a:pt x="12" y="46"/>
                      </a:lnTo>
                      <a:lnTo>
                        <a:pt x="7" y="50"/>
                      </a:lnTo>
                      <a:lnTo>
                        <a:pt x="2" y="45"/>
                      </a:lnTo>
                      <a:lnTo>
                        <a:pt x="1" y="40"/>
                      </a:lnTo>
                      <a:lnTo>
                        <a:pt x="0" y="34"/>
                      </a:lnTo>
                      <a:lnTo>
                        <a:pt x="1" y="28"/>
                      </a:lnTo>
                      <a:lnTo>
                        <a:pt x="4" y="15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93" name="Freeform 337">
                  <a:extLst>
                    <a:ext uri="{FF2B5EF4-FFF2-40B4-BE49-F238E27FC236}">
                      <a16:creationId xmlns:a16="http://schemas.microsoft.com/office/drawing/2014/main" xmlns="" id="{C1CEC0AC-EC30-4A4E-883F-3130877BE505}"/>
                    </a:ext>
                  </a:extLst>
                </p:cNvPr>
                <p:cNvSpPr>
                  <a:spLocks/>
                </p:cNvSpPr>
                <p:nvPr>
                  <p:custDataLst>
                    <p:tags r:id="rId240"/>
                  </p:custDataLst>
                </p:nvPr>
              </p:nvSpPr>
              <p:spPr bwMode="auto">
                <a:xfrm>
                  <a:off x="7285038" y="3659188"/>
                  <a:ext cx="85725" cy="63500"/>
                </a:xfrm>
                <a:custGeom>
                  <a:avLst/>
                  <a:gdLst>
                    <a:gd name="T0" fmla="*/ 2147483646 w 193"/>
                    <a:gd name="T1" fmla="*/ 2147483646 h 121"/>
                    <a:gd name="T2" fmla="*/ 2147483646 w 193"/>
                    <a:gd name="T3" fmla="*/ 2147483646 h 121"/>
                    <a:gd name="T4" fmla="*/ 2147483646 w 193"/>
                    <a:gd name="T5" fmla="*/ 2147483646 h 121"/>
                    <a:gd name="T6" fmla="*/ 2147483646 w 193"/>
                    <a:gd name="T7" fmla="*/ 2147483646 h 121"/>
                    <a:gd name="T8" fmla="*/ 2147483646 w 193"/>
                    <a:gd name="T9" fmla="*/ 2147483646 h 121"/>
                    <a:gd name="T10" fmla="*/ 2147483646 w 193"/>
                    <a:gd name="T11" fmla="*/ 2147483646 h 121"/>
                    <a:gd name="T12" fmla="*/ 2147483646 w 193"/>
                    <a:gd name="T13" fmla="*/ 2147483646 h 121"/>
                    <a:gd name="T14" fmla="*/ 2147483646 w 193"/>
                    <a:gd name="T15" fmla="*/ 2147483646 h 121"/>
                    <a:gd name="T16" fmla="*/ 2147483646 w 193"/>
                    <a:gd name="T17" fmla="*/ 2147483646 h 121"/>
                    <a:gd name="T18" fmla="*/ 2147483646 w 193"/>
                    <a:gd name="T19" fmla="*/ 2147483646 h 121"/>
                    <a:gd name="T20" fmla="*/ 2147483646 w 193"/>
                    <a:gd name="T21" fmla="*/ 2147483646 h 121"/>
                    <a:gd name="T22" fmla="*/ 2147483646 w 193"/>
                    <a:gd name="T23" fmla="*/ 2147483646 h 121"/>
                    <a:gd name="T24" fmla="*/ 2147483646 w 193"/>
                    <a:gd name="T25" fmla="*/ 2147483646 h 121"/>
                    <a:gd name="T26" fmla="*/ 2147483646 w 193"/>
                    <a:gd name="T27" fmla="*/ 2147483646 h 121"/>
                    <a:gd name="T28" fmla="*/ 2147483646 w 193"/>
                    <a:gd name="T29" fmla="*/ 2147483646 h 121"/>
                    <a:gd name="T30" fmla="*/ 2147483646 w 193"/>
                    <a:gd name="T31" fmla="*/ 2147483646 h 121"/>
                    <a:gd name="T32" fmla="*/ 2147483646 w 193"/>
                    <a:gd name="T33" fmla="*/ 2147483646 h 121"/>
                    <a:gd name="T34" fmla="*/ 2147483646 w 193"/>
                    <a:gd name="T35" fmla="*/ 2147483646 h 121"/>
                    <a:gd name="T36" fmla="*/ 2147483646 w 193"/>
                    <a:gd name="T37" fmla="*/ 2147483646 h 121"/>
                    <a:gd name="T38" fmla="*/ 2147483646 w 193"/>
                    <a:gd name="T39" fmla="*/ 2147483646 h 121"/>
                    <a:gd name="T40" fmla="*/ 2147483646 w 193"/>
                    <a:gd name="T41" fmla="*/ 2147483646 h 121"/>
                    <a:gd name="T42" fmla="*/ 2147483646 w 193"/>
                    <a:gd name="T43" fmla="*/ 2147483646 h 121"/>
                    <a:gd name="T44" fmla="*/ 2147483646 w 193"/>
                    <a:gd name="T45" fmla="*/ 2147483646 h 121"/>
                    <a:gd name="T46" fmla="*/ 2147483646 w 193"/>
                    <a:gd name="T47" fmla="*/ 2147483646 h 121"/>
                    <a:gd name="T48" fmla="*/ 2147483646 w 193"/>
                    <a:gd name="T49" fmla="*/ 2147483646 h 121"/>
                    <a:gd name="T50" fmla="*/ 2147483646 w 193"/>
                    <a:gd name="T51" fmla="*/ 2147483646 h 121"/>
                    <a:gd name="T52" fmla="*/ 2147483646 w 193"/>
                    <a:gd name="T53" fmla="*/ 2147483646 h 121"/>
                    <a:gd name="T54" fmla="*/ 2147483646 w 193"/>
                    <a:gd name="T55" fmla="*/ 2147483646 h 121"/>
                    <a:gd name="T56" fmla="*/ 2147483646 w 193"/>
                    <a:gd name="T57" fmla="*/ 2147483646 h 121"/>
                    <a:gd name="T58" fmla="*/ 0 w 193"/>
                    <a:gd name="T59" fmla="*/ 2147483646 h 121"/>
                    <a:gd name="T60" fmla="*/ 2147483646 w 193"/>
                    <a:gd name="T61" fmla="*/ 2147483646 h 121"/>
                    <a:gd name="T62" fmla="*/ 2147483646 w 193"/>
                    <a:gd name="T63" fmla="*/ 2147483646 h 121"/>
                    <a:gd name="T64" fmla="*/ 2147483646 w 193"/>
                    <a:gd name="T65" fmla="*/ 2147483646 h 12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93"/>
                    <a:gd name="T100" fmla="*/ 0 h 121"/>
                    <a:gd name="T101" fmla="*/ 193 w 193"/>
                    <a:gd name="T102" fmla="*/ 121 h 121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93" h="121">
                      <a:moveTo>
                        <a:pt x="26" y="36"/>
                      </a:moveTo>
                      <a:lnTo>
                        <a:pt x="33" y="35"/>
                      </a:lnTo>
                      <a:lnTo>
                        <a:pt x="39" y="31"/>
                      </a:lnTo>
                      <a:lnTo>
                        <a:pt x="48" y="25"/>
                      </a:lnTo>
                      <a:lnTo>
                        <a:pt x="58" y="18"/>
                      </a:lnTo>
                      <a:lnTo>
                        <a:pt x="68" y="12"/>
                      </a:lnTo>
                      <a:lnTo>
                        <a:pt x="79" y="6"/>
                      </a:lnTo>
                      <a:lnTo>
                        <a:pt x="84" y="4"/>
                      </a:lnTo>
                      <a:lnTo>
                        <a:pt x="90" y="2"/>
                      </a:lnTo>
                      <a:lnTo>
                        <a:pt x="94" y="1"/>
                      </a:lnTo>
                      <a:lnTo>
                        <a:pt x="100" y="0"/>
                      </a:lnTo>
                      <a:lnTo>
                        <a:pt x="105" y="1"/>
                      </a:lnTo>
                      <a:lnTo>
                        <a:pt x="111" y="1"/>
                      </a:lnTo>
                      <a:lnTo>
                        <a:pt x="116" y="3"/>
                      </a:lnTo>
                      <a:lnTo>
                        <a:pt x="122" y="5"/>
                      </a:lnTo>
                      <a:lnTo>
                        <a:pt x="131" y="10"/>
                      </a:lnTo>
                      <a:lnTo>
                        <a:pt x="139" y="15"/>
                      </a:lnTo>
                      <a:lnTo>
                        <a:pt x="148" y="21"/>
                      </a:lnTo>
                      <a:lnTo>
                        <a:pt x="158" y="26"/>
                      </a:lnTo>
                      <a:lnTo>
                        <a:pt x="162" y="28"/>
                      </a:lnTo>
                      <a:lnTo>
                        <a:pt x="168" y="29"/>
                      </a:lnTo>
                      <a:lnTo>
                        <a:pt x="173" y="30"/>
                      </a:lnTo>
                      <a:lnTo>
                        <a:pt x="179" y="30"/>
                      </a:lnTo>
                      <a:lnTo>
                        <a:pt x="179" y="48"/>
                      </a:lnTo>
                      <a:lnTo>
                        <a:pt x="178" y="60"/>
                      </a:lnTo>
                      <a:lnTo>
                        <a:pt x="178" y="66"/>
                      </a:lnTo>
                      <a:lnTo>
                        <a:pt x="179" y="71"/>
                      </a:lnTo>
                      <a:lnTo>
                        <a:pt x="182" y="75"/>
                      </a:lnTo>
                      <a:lnTo>
                        <a:pt x="187" y="80"/>
                      </a:lnTo>
                      <a:lnTo>
                        <a:pt x="187" y="89"/>
                      </a:lnTo>
                      <a:lnTo>
                        <a:pt x="187" y="97"/>
                      </a:lnTo>
                      <a:lnTo>
                        <a:pt x="188" y="102"/>
                      </a:lnTo>
                      <a:lnTo>
                        <a:pt x="189" y="106"/>
                      </a:lnTo>
                      <a:lnTo>
                        <a:pt x="191" y="109"/>
                      </a:lnTo>
                      <a:lnTo>
                        <a:pt x="193" y="111"/>
                      </a:lnTo>
                      <a:lnTo>
                        <a:pt x="188" y="114"/>
                      </a:lnTo>
                      <a:lnTo>
                        <a:pt x="182" y="117"/>
                      </a:lnTo>
                      <a:lnTo>
                        <a:pt x="177" y="118"/>
                      </a:lnTo>
                      <a:lnTo>
                        <a:pt x="171" y="120"/>
                      </a:lnTo>
                      <a:lnTo>
                        <a:pt x="159" y="121"/>
                      </a:lnTo>
                      <a:lnTo>
                        <a:pt x="146" y="121"/>
                      </a:lnTo>
                      <a:lnTo>
                        <a:pt x="116" y="119"/>
                      </a:lnTo>
                      <a:lnTo>
                        <a:pt x="80" y="117"/>
                      </a:lnTo>
                      <a:lnTo>
                        <a:pt x="72" y="116"/>
                      </a:lnTo>
                      <a:lnTo>
                        <a:pt x="67" y="114"/>
                      </a:lnTo>
                      <a:lnTo>
                        <a:pt x="63" y="110"/>
                      </a:lnTo>
                      <a:lnTo>
                        <a:pt x="59" y="106"/>
                      </a:lnTo>
                      <a:lnTo>
                        <a:pt x="56" y="100"/>
                      </a:lnTo>
                      <a:lnTo>
                        <a:pt x="55" y="93"/>
                      </a:lnTo>
                      <a:lnTo>
                        <a:pt x="54" y="87"/>
                      </a:lnTo>
                      <a:lnTo>
                        <a:pt x="54" y="80"/>
                      </a:lnTo>
                      <a:lnTo>
                        <a:pt x="47" y="79"/>
                      </a:lnTo>
                      <a:lnTo>
                        <a:pt x="39" y="78"/>
                      </a:lnTo>
                      <a:lnTo>
                        <a:pt x="31" y="75"/>
                      </a:lnTo>
                      <a:lnTo>
                        <a:pt x="22" y="72"/>
                      </a:lnTo>
                      <a:lnTo>
                        <a:pt x="13" y="69"/>
                      </a:lnTo>
                      <a:lnTo>
                        <a:pt x="7" y="65"/>
                      </a:lnTo>
                      <a:lnTo>
                        <a:pt x="3" y="62"/>
                      </a:lnTo>
                      <a:lnTo>
                        <a:pt x="2" y="60"/>
                      </a:lnTo>
                      <a:lnTo>
                        <a:pt x="0" y="58"/>
                      </a:lnTo>
                      <a:lnTo>
                        <a:pt x="0" y="56"/>
                      </a:lnTo>
                      <a:lnTo>
                        <a:pt x="1" y="51"/>
                      </a:lnTo>
                      <a:lnTo>
                        <a:pt x="3" y="48"/>
                      </a:lnTo>
                      <a:lnTo>
                        <a:pt x="7" y="45"/>
                      </a:lnTo>
                      <a:lnTo>
                        <a:pt x="11" y="41"/>
                      </a:lnTo>
                      <a:lnTo>
                        <a:pt x="20" y="38"/>
                      </a:lnTo>
                      <a:lnTo>
                        <a:pt x="26" y="3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94" name="Freeform 338">
                  <a:extLst>
                    <a:ext uri="{FF2B5EF4-FFF2-40B4-BE49-F238E27FC236}">
                      <a16:creationId xmlns:a16="http://schemas.microsoft.com/office/drawing/2014/main" xmlns="" id="{0844EE3C-B53B-42AE-A690-502CBF433F10}"/>
                    </a:ext>
                  </a:extLst>
                </p:cNvPr>
                <p:cNvSpPr>
                  <a:spLocks/>
                </p:cNvSpPr>
                <p:nvPr>
                  <p:custDataLst>
                    <p:tags r:id="rId241"/>
                  </p:custDataLst>
                </p:nvPr>
              </p:nvSpPr>
              <p:spPr bwMode="auto">
                <a:xfrm>
                  <a:off x="6973888" y="3597275"/>
                  <a:ext cx="166687" cy="230188"/>
                </a:xfrm>
                <a:custGeom>
                  <a:avLst/>
                  <a:gdLst>
                    <a:gd name="T0" fmla="*/ 2147483646 w 379"/>
                    <a:gd name="T1" fmla="*/ 2147483646 h 437"/>
                    <a:gd name="T2" fmla="*/ 2147483646 w 379"/>
                    <a:gd name="T3" fmla="*/ 2147483646 h 437"/>
                    <a:gd name="T4" fmla="*/ 2147483646 w 379"/>
                    <a:gd name="T5" fmla="*/ 2147483646 h 437"/>
                    <a:gd name="T6" fmla="*/ 2147483646 w 379"/>
                    <a:gd name="T7" fmla="*/ 2147483646 h 437"/>
                    <a:gd name="T8" fmla="*/ 2147483646 w 379"/>
                    <a:gd name="T9" fmla="*/ 2147483646 h 437"/>
                    <a:gd name="T10" fmla="*/ 2147483646 w 379"/>
                    <a:gd name="T11" fmla="*/ 2147483646 h 437"/>
                    <a:gd name="T12" fmla="*/ 2147483646 w 379"/>
                    <a:gd name="T13" fmla="*/ 2147483646 h 437"/>
                    <a:gd name="T14" fmla="*/ 2147483646 w 379"/>
                    <a:gd name="T15" fmla="*/ 2147483646 h 437"/>
                    <a:gd name="T16" fmla="*/ 2147483646 w 379"/>
                    <a:gd name="T17" fmla="*/ 2147483646 h 437"/>
                    <a:gd name="T18" fmla="*/ 2147483646 w 379"/>
                    <a:gd name="T19" fmla="*/ 2147483646 h 437"/>
                    <a:gd name="T20" fmla="*/ 2147483646 w 379"/>
                    <a:gd name="T21" fmla="*/ 2147483646 h 437"/>
                    <a:gd name="T22" fmla="*/ 2147483646 w 379"/>
                    <a:gd name="T23" fmla="*/ 2147483646 h 437"/>
                    <a:gd name="T24" fmla="*/ 2147483646 w 379"/>
                    <a:gd name="T25" fmla="*/ 2147483646 h 437"/>
                    <a:gd name="T26" fmla="*/ 2147483646 w 379"/>
                    <a:gd name="T27" fmla="*/ 2147483646 h 437"/>
                    <a:gd name="T28" fmla="*/ 2147483646 w 379"/>
                    <a:gd name="T29" fmla="*/ 2147483646 h 437"/>
                    <a:gd name="T30" fmla="*/ 2147483646 w 379"/>
                    <a:gd name="T31" fmla="*/ 2147483646 h 437"/>
                    <a:gd name="T32" fmla="*/ 2147483646 w 379"/>
                    <a:gd name="T33" fmla="*/ 2147483646 h 437"/>
                    <a:gd name="T34" fmla="*/ 2147483646 w 379"/>
                    <a:gd name="T35" fmla="*/ 2147483646 h 437"/>
                    <a:gd name="T36" fmla="*/ 2147483646 w 379"/>
                    <a:gd name="T37" fmla="*/ 2147483646 h 437"/>
                    <a:gd name="T38" fmla="*/ 2147483646 w 379"/>
                    <a:gd name="T39" fmla="*/ 2147483646 h 437"/>
                    <a:gd name="T40" fmla="*/ 2147483646 w 379"/>
                    <a:gd name="T41" fmla="*/ 2147483646 h 437"/>
                    <a:gd name="T42" fmla="*/ 2147483646 w 379"/>
                    <a:gd name="T43" fmla="*/ 2147483646 h 437"/>
                    <a:gd name="T44" fmla="*/ 2147483646 w 379"/>
                    <a:gd name="T45" fmla="*/ 2147483646 h 437"/>
                    <a:gd name="T46" fmla="*/ 2147483646 w 379"/>
                    <a:gd name="T47" fmla="*/ 2147483646 h 437"/>
                    <a:gd name="T48" fmla="*/ 2147483646 w 379"/>
                    <a:gd name="T49" fmla="*/ 2147483646 h 437"/>
                    <a:gd name="T50" fmla="*/ 2147483646 w 379"/>
                    <a:gd name="T51" fmla="*/ 2147483646 h 437"/>
                    <a:gd name="T52" fmla="*/ 2147483646 w 379"/>
                    <a:gd name="T53" fmla="*/ 2147483646 h 437"/>
                    <a:gd name="T54" fmla="*/ 2147483646 w 379"/>
                    <a:gd name="T55" fmla="*/ 2147483646 h 437"/>
                    <a:gd name="T56" fmla="*/ 2147483646 w 379"/>
                    <a:gd name="T57" fmla="*/ 2147483646 h 437"/>
                    <a:gd name="T58" fmla="*/ 2147483646 w 379"/>
                    <a:gd name="T59" fmla="*/ 2147483646 h 437"/>
                    <a:gd name="T60" fmla="*/ 2147483646 w 379"/>
                    <a:gd name="T61" fmla="*/ 2147483646 h 437"/>
                    <a:gd name="T62" fmla="*/ 2147483646 w 379"/>
                    <a:gd name="T63" fmla="*/ 2147483646 h 437"/>
                    <a:gd name="T64" fmla="*/ 2147483646 w 379"/>
                    <a:gd name="T65" fmla="*/ 2147483646 h 437"/>
                    <a:gd name="T66" fmla="*/ 2147483646 w 379"/>
                    <a:gd name="T67" fmla="*/ 2147483646 h 437"/>
                    <a:gd name="T68" fmla="*/ 2147483646 w 379"/>
                    <a:gd name="T69" fmla="*/ 2147483646 h 437"/>
                    <a:gd name="T70" fmla="*/ 2147483646 w 379"/>
                    <a:gd name="T71" fmla="*/ 2147483646 h 437"/>
                    <a:gd name="T72" fmla="*/ 2147483646 w 379"/>
                    <a:gd name="T73" fmla="*/ 2147483646 h 437"/>
                    <a:gd name="T74" fmla="*/ 2147483646 w 379"/>
                    <a:gd name="T75" fmla="*/ 2147483646 h 437"/>
                    <a:gd name="T76" fmla="*/ 2147483646 w 379"/>
                    <a:gd name="T77" fmla="*/ 2147483646 h 437"/>
                    <a:gd name="T78" fmla="*/ 2147483646 w 379"/>
                    <a:gd name="T79" fmla="*/ 2147483646 h 437"/>
                    <a:gd name="T80" fmla="*/ 2147483646 w 379"/>
                    <a:gd name="T81" fmla="*/ 2147483646 h 437"/>
                    <a:gd name="T82" fmla="*/ 2147483646 w 379"/>
                    <a:gd name="T83" fmla="*/ 2147483646 h 437"/>
                    <a:gd name="T84" fmla="*/ 2147483646 w 379"/>
                    <a:gd name="T85" fmla="*/ 2147483646 h 437"/>
                    <a:gd name="T86" fmla="*/ 2147483646 w 379"/>
                    <a:gd name="T87" fmla="*/ 2147483646 h 437"/>
                    <a:gd name="T88" fmla="*/ 2147483646 w 379"/>
                    <a:gd name="T89" fmla="*/ 2147483646 h 437"/>
                    <a:gd name="T90" fmla="*/ 2147483646 w 379"/>
                    <a:gd name="T91" fmla="*/ 2147483646 h 437"/>
                    <a:gd name="T92" fmla="*/ 2147483646 w 379"/>
                    <a:gd name="T93" fmla="*/ 2147483646 h 437"/>
                    <a:gd name="T94" fmla="*/ 2147483646 w 379"/>
                    <a:gd name="T95" fmla="*/ 2147483646 h 437"/>
                    <a:gd name="T96" fmla="*/ 2147483646 w 379"/>
                    <a:gd name="T97" fmla="*/ 2147483646 h 437"/>
                    <a:gd name="T98" fmla="*/ 2147483646 w 379"/>
                    <a:gd name="T99" fmla="*/ 2147483646 h 437"/>
                    <a:gd name="T100" fmla="*/ 2147483646 w 379"/>
                    <a:gd name="T101" fmla="*/ 2147483646 h 437"/>
                    <a:gd name="T102" fmla="*/ 2147483646 w 379"/>
                    <a:gd name="T103" fmla="*/ 2147483646 h 437"/>
                    <a:gd name="T104" fmla="*/ 2147483646 w 379"/>
                    <a:gd name="T105" fmla="*/ 2147483646 h 437"/>
                    <a:gd name="T106" fmla="*/ 2147483646 w 379"/>
                    <a:gd name="T107" fmla="*/ 2147483646 h 437"/>
                    <a:gd name="T108" fmla="*/ 2147483646 w 379"/>
                    <a:gd name="T109" fmla="*/ 2147483646 h 437"/>
                    <a:gd name="T110" fmla="*/ 2147483646 w 379"/>
                    <a:gd name="T111" fmla="*/ 2147483646 h 437"/>
                    <a:gd name="T112" fmla="*/ 2147483646 w 379"/>
                    <a:gd name="T113" fmla="*/ 2147483646 h 437"/>
                    <a:gd name="T114" fmla="*/ 2147483646 w 379"/>
                    <a:gd name="T115" fmla="*/ 2147483646 h 437"/>
                    <a:gd name="T116" fmla="*/ 2147483646 w 379"/>
                    <a:gd name="T117" fmla="*/ 2147483646 h 437"/>
                    <a:gd name="T118" fmla="*/ 2147483646 w 379"/>
                    <a:gd name="T119" fmla="*/ 2147483646 h 437"/>
                    <a:gd name="T120" fmla="*/ 2147483646 w 379"/>
                    <a:gd name="T121" fmla="*/ 2147483646 h 437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379"/>
                    <a:gd name="T184" fmla="*/ 0 h 437"/>
                    <a:gd name="T185" fmla="*/ 379 w 379"/>
                    <a:gd name="T186" fmla="*/ 437 h 437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379" h="437">
                      <a:moveTo>
                        <a:pt x="59" y="437"/>
                      </a:moveTo>
                      <a:lnTo>
                        <a:pt x="33" y="437"/>
                      </a:lnTo>
                      <a:lnTo>
                        <a:pt x="34" y="430"/>
                      </a:lnTo>
                      <a:lnTo>
                        <a:pt x="37" y="419"/>
                      </a:lnTo>
                      <a:lnTo>
                        <a:pt x="38" y="415"/>
                      </a:lnTo>
                      <a:lnTo>
                        <a:pt x="41" y="410"/>
                      </a:lnTo>
                      <a:lnTo>
                        <a:pt x="44" y="408"/>
                      </a:lnTo>
                      <a:lnTo>
                        <a:pt x="46" y="407"/>
                      </a:lnTo>
                      <a:lnTo>
                        <a:pt x="46" y="320"/>
                      </a:lnTo>
                      <a:lnTo>
                        <a:pt x="38" y="317"/>
                      </a:lnTo>
                      <a:lnTo>
                        <a:pt x="32" y="314"/>
                      </a:lnTo>
                      <a:lnTo>
                        <a:pt x="24" y="311"/>
                      </a:lnTo>
                      <a:lnTo>
                        <a:pt x="18" y="307"/>
                      </a:lnTo>
                      <a:lnTo>
                        <a:pt x="12" y="303"/>
                      </a:lnTo>
                      <a:lnTo>
                        <a:pt x="7" y="299"/>
                      </a:lnTo>
                      <a:lnTo>
                        <a:pt x="2" y="294"/>
                      </a:lnTo>
                      <a:lnTo>
                        <a:pt x="0" y="290"/>
                      </a:lnTo>
                      <a:lnTo>
                        <a:pt x="5" y="284"/>
                      </a:lnTo>
                      <a:lnTo>
                        <a:pt x="11" y="278"/>
                      </a:lnTo>
                      <a:lnTo>
                        <a:pt x="15" y="270"/>
                      </a:lnTo>
                      <a:lnTo>
                        <a:pt x="19" y="264"/>
                      </a:lnTo>
                      <a:lnTo>
                        <a:pt x="24" y="250"/>
                      </a:lnTo>
                      <a:lnTo>
                        <a:pt x="28" y="236"/>
                      </a:lnTo>
                      <a:lnTo>
                        <a:pt x="31" y="221"/>
                      </a:lnTo>
                      <a:lnTo>
                        <a:pt x="32" y="204"/>
                      </a:lnTo>
                      <a:lnTo>
                        <a:pt x="33" y="189"/>
                      </a:lnTo>
                      <a:lnTo>
                        <a:pt x="33" y="173"/>
                      </a:lnTo>
                      <a:lnTo>
                        <a:pt x="39" y="172"/>
                      </a:lnTo>
                      <a:lnTo>
                        <a:pt x="45" y="170"/>
                      </a:lnTo>
                      <a:lnTo>
                        <a:pt x="50" y="168"/>
                      </a:lnTo>
                      <a:lnTo>
                        <a:pt x="54" y="164"/>
                      </a:lnTo>
                      <a:lnTo>
                        <a:pt x="57" y="159"/>
                      </a:lnTo>
                      <a:lnTo>
                        <a:pt x="59" y="154"/>
                      </a:lnTo>
                      <a:lnTo>
                        <a:pt x="61" y="149"/>
                      </a:lnTo>
                      <a:lnTo>
                        <a:pt x="63" y="143"/>
                      </a:lnTo>
                      <a:lnTo>
                        <a:pt x="65" y="130"/>
                      </a:lnTo>
                      <a:lnTo>
                        <a:pt x="66" y="115"/>
                      </a:lnTo>
                      <a:lnTo>
                        <a:pt x="69" y="100"/>
                      </a:lnTo>
                      <a:lnTo>
                        <a:pt x="72" y="86"/>
                      </a:lnTo>
                      <a:lnTo>
                        <a:pt x="76" y="78"/>
                      </a:lnTo>
                      <a:lnTo>
                        <a:pt x="78" y="71"/>
                      </a:lnTo>
                      <a:lnTo>
                        <a:pt x="81" y="64"/>
                      </a:lnTo>
                      <a:lnTo>
                        <a:pt x="86" y="57"/>
                      </a:lnTo>
                      <a:lnTo>
                        <a:pt x="90" y="51"/>
                      </a:lnTo>
                      <a:lnTo>
                        <a:pt x="95" y="44"/>
                      </a:lnTo>
                      <a:lnTo>
                        <a:pt x="101" y="39"/>
                      </a:lnTo>
                      <a:lnTo>
                        <a:pt x="108" y="35"/>
                      </a:lnTo>
                      <a:lnTo>
                        <a:pt x="115" y="31"/>
                      </a:lnTo>
                      <a:lnTo>
                        <a:pt x="123" y="29"/>
                      </a:lnTo>
                      <a:lnTo>
                        <a:pt x="132" y="27"/>
                      </a:lnTo>
                      <a:lnTo>
                        <a:pt x="142" y="25"/>
                      </a:lnTo>
                      <a:lnTo>
                        <a:pt x="153" y="25"/>
                      </a:lnTo>
                      <a:lnTo>
                        <a:pt x="165" y="26"/>
                      </a:lnTo>
                      <a:lnTo>
                        <a:pt x="178" y="28"/>
                      </a:lnTo>
                      <a:lnTo>
                        <a:pt x="192" y="30"/>
                      </a:lnTo>
                      <a:lnTo>
                        <a:pt x="217" y="38"/>
                      </a:lnTo>
                      <a:lnTo>
                        <a:pt x="237" y="44"/>
                      </a:lnTo>
                      <a:lnTo>
                        <a:pt x="246" y="46"/>
                      </a:lnTo>
                      <a:lnTo>
                        <a:pt x="254" y="47"/>
                      </a:lnTo>
                      <a:lnTo>
                        <a:pt x="262" y="48"/>
                      </a:lnTo>
                      <a:lnTo>
                        <a:pt x="272" y="50"/>
                      </a:lnTo>
                      <a:lnTo>
                        <a:pt x="283" y="48"/>
                      </a:lnTo>
                      <a:lnTo>
                        <a:pt x="294" y="47"/>
                      </a:lnTo>
                      <a:lnTo>
                        <a:pt x="303" y="45"/>
                      </a:lnTo>
                      <a:lnTo>
                        <a:pt x="311" y="42"/>
                      </a:lnTo>
                      <a:lnTo>
                        <a:pt x="317" y="39"/>
                      </a:lnTo>
                      <a:lnTo>
                        <a:pt x="324" y="35"/>
                      </a:lnTo>
                      <a:lnTo>
                        <a:pt x="329" y="31"/>
                      </a:lnTo>
                      <a:lnTo>
                        <a:pt x="334" y="27"/>
                      </a:lnTo>
                      <a:lnTo>
                        <a:pt x="343" y="18"/>
                      </a:lnTo>
                      <a:lnTo>
                        <a:pt x="351" y="10"/>
                      </a:lnTo>
                      <a:lnTo>
                        <a:pt x="356" y="7"/>
                      </a:lnTo>
                      <a:lnTo>
                        <a:pt x="360" y="4"/>
                      </a:lnTo>
                      <a:lnTo>
                        <a:pt x="366" y="2"/>
                      </a:lnTo>
                      <a:lnTo>
                        <a:pt x="371" y="0"/>
                      </a:lnTo>
                      <a:lnTo>
                        <a:pt x="374" y="9"/>
                      </a:lnTo>
                      <a:lnTo>
                        <a:pt x="379" y="18"/>
                      </a:lnTo>
                      <a:lnTo>
                        <a:pt x="378" y="23"/>
                      </a:lnTo>
                      <a:lnTo>
                        <a:pt x="375" y="29"/>
                      </a:lnTo>
                      <a:lnTo>
                        <a:pt x="372" y="35"/>
                      </a:lnTo>
                      <a:lnTo>
                        <a:pt x="369" y="41"/>
                      </a:lnTo>
                      <a:lnTo>
                        <a:pt x="358" y="55"/>
                      </a:lnTo>
                      <a:lnTo>
                        <a:pt x="344" y="68"/>
                      </a:lnTo>
                      <a:lnTo>
                        <a:pt x="329" y="80"/>
                      </a:lnTo>
                      <a:lnTo>
                        <a:pt x="314" y="89"/>
                      </a:lnTo>
                      <a:lnTo>
                        <a:pt x="306" y="93"/>
                      </a:lnTo>
                      <a:lnTo>
                        <a:pt x="299" y="96"/>
                      </a:lnTo>
                      <a:lnTo>
                        <a:pt x="292" y="97"/>
                      </a:lnTo>
                      <a:lnTo>
                        <a:pt x="285" y="98"/>
                      </a:lnTo>
                      <a:lnTo>
                        <a:pt x="280" y="98"/>
                      </a:lnTo>
                      <a:lnTo>
                        <a:pt x="276" y="96"/>
                      </a:lnTo>
                      <a:lnTo>
                        <a:pt x="271" y="94"/>
                      </a:lnTo>
                      <a:lnTo>
                        <a:pt x="266" y="91"/>
                      </a:lnTo>
                      <a:lnTo>
                        <a:pt x="257" y="85"/>
                      </a:lnTo>
                      <a:lnTo>
                        <a:pt x="248" y="77"/>
                      </a:lnTo>
                      <a:lnTo>
                        <a:pt x="238" y="69"/>
                      </a:lnTo>
                      <a:lnTo>
                        <a:pt x="228" y="62"/>
                      </a:lnTo>
                      <a:lnTo>
                        <a:pt x="223" y="60"/>
                      </a:lnTo>
                      <a:lnTo>
                        <a:pt x="217" y="57"/>
                      </a:lnTo>
                      <a:lnTo>
                        <a:pt x="212" y="56"/>
                      </a:lnTo>
                      <a:lnTo>
                        <a:pt x="205" y="56"/>
                      </a:lnTo>
                      <a:lnTo>
                        <a:pt x="199" y="56"/>
                      </a:lnTo>
                      <a:lnTo>
                        <a:pt x="190" y="56"/>
                      </a:lnTo>
                      <a:lnTo>
                        <a:pt x="177" y="56"/>
                      </a:lnTo>
                      <a:lnTo>
                        <a:pt x="159" y="56"/>
                      </a:lnTo>
                      <a:lnTo>
                        <a:pt x="151" y="56"/>
                      </a:lnTo>
                      <a:lnTo>
                        <a:pt x="145" y="58"/>
                      </a:lnTo>
                      <a:lnTo>
                        <a:pt x="138" y="61"/>
                      </a:lnTo>
                      <a:lnTo>
                        <a:pt x="132" y="64"/>
                      </a:lnTo>
                      <a:lnTo>
                        <a:pt x="125" y="69"/>
                      </a:lnTo>
                      <a:lnTo>
                        <a:pt x="120" y="74"/>
                      </a:lnTo>
                      <a:lnTo>
                        <a:pt x="114" y="79"/>
                      </a:lnTo>
                      <a:lnTo>
                        <a:pt x="109" y="85"/>
                      </a:lnTo>
                      <a:lnTo>
                        <a:pt x="92" y="110"/>
                      </a:lnTo>
                      <a:lnTo>
                        <a:pt x="79" y="129"/>
                      </a:lnTo>
                      <a:lnTo>
                        <a:pt x="79" y="161"/>
                      </a:lnTo>
                      <a:lnTo>
                        <a:pt x="91" y="161"/>
                      </a:lnTo>
                      <a:lnTo>
                        <a:pt x="102" y="163"/>
                      </a:lnTo>
                      <a:lnTo>
                        <a:pt x="111" y="165"/>
                      </a:lnTo>
                      <a:lnTo>
                        <a:pt x="119" y="169"/>
                      </a:lnTo>
                      <a:lnTo>
                        <a:pt x="124" y="173"/>
                      </a:lnTo>
                      <a:lnTo>
                        <a:pt x="128" y="178"/>
                      </a:lnTo>
                      <a:lnTo>
                        <a:pt x="132" y="184"/>
                      </a:lnTo>
                      <a:lnTo>
                        <a:pt x="133" y="191"/>
                      </a:lnTo>
                      <a:lnTo>
                        <a:pt x="139" y="186"/>
                      </a:lnTo>
                      <a:lnTo>
                        <a:pt x="145" y="180"/>
                      </a:lnTo>
                      <a:lnTo>
                        <a:pt x="150" y="174"/>
                      </a:lnTo>
                      <a:lnTo>
                        <a:pt x="155" y="168"/>
                      </a:lnTo>
                      <a:lnTo>
                        <a:pt x="159" y="163"/>
                      </a:lnTo>
                      <a:lnTo>
                        <a:pt x="164" y="157"/>
                      </a:lnTo>
                      <a:lnTo>
                        <a:pt x="168" y="155"/>
                      </a:lnTo>
                      <a:lnTo>
                        <a:pt x="172" y="153"/>
                      </a:lnTo>
                      <a:lnTo>
                        <a:pt x="184" y="150"/>
                      </a:lnTo>
                      <a:lnTo>
                        <a:pt x="196" y="149"/>
                      </a:lnTo>
                      <a:lnTo>
                        <a:pt x="209" y="149"/>
                      </a:lnTo>
                      <a:lnTo>
                        <a:pt x="221" y="150"/>
                      </a:lnTo>
                      <a:lnTo>
                        <a:pt x="232" y="150"/>
                      </a:lnTo>
                      <a:lnTo>
                        <a:pt x="242" y="149"/>
                      </a:lnTo>
                      <a:lnTo>
                        <a:pt x="246" y="148"/>
                      </a:lnTo>
                      <a:lnTo>
                        <a:pt x="250" y="147"/>
                      </a:lnTo>
                      <a:lnTo>
                        <a:pt x="255" y="144"/>
                      </a:lnTo>
                      <a:lnTo>
                        <a:pt x="259" y="141"/>
                      </a:lnTo>
                      <a:lnTo>
                        <a:pt x="268" y="158"/>
                      </a:lnTo>
                      <a:lnTo>
                        <a:pt x="273" y="173"/>
                      </a:lnTo>
                      <a:lnTo>
                        <a:pt x="276" y="179"/>
                      </a:lnTo>
                      <a:lnTo>
                        <a:pt x="278" y="187"/>
                      </a:lnTo>
                      <a:lnTo>
                        <a:pt x="278" y="194"/>
                      </a:lnTo>
                      <a:lnTo>
                        <a:pt x="279" y="203"/>
                      </a:lnTo>
                      <a:lnTo>
                        <a:pt x="268" y="200"/>
                      </a:lnTo>
                      <a:lnTo>
                        <a:pt x="259" y="198"/>
                      </a:lnTo>
                      <a:lnTo>
                        <a:pt x="252" y="195"/>
                      </a:lnTo>
                      <a:lnTo>
                        <a:pt x="246" y="192"/>
                      </a:lnTo>
                      <a:lnTo>
                        <a:pt x="240" y="189"/>
                      </a:lnTo>
                      <a:lnTo>
                        <a:pt x="235" y="187"/>
                      </a:lnTo>
                      <a:lnTo>
                        <a:pt x="227" y="185"/>
                      </a:lnTo>
                      <a:lnTo>
                        <a:pt x="218" y="185"/>
                      </a:lnTo>
                      <a:lnTo>
                        <a:pt x="210" y="186"/>
                      </a:lnTo>
                      <a:lnTo>
                        <a:pt x="202" y="188"/>
                      </a:lnTo>
                      <a:lnTo>
                        <a:pt x="196" y="191"/>
                      </a:lnTo>
                      <a:lnTo>
                        <a:pt x="192" y="195"/>
                      </a:lnTo>
                      <a:lnTo>
                        <a:pt x="189" y="199"/>
                      </a:lnTo>
                      <a:lnTo>
                        <a:pt x="187" y="203"/>
                      </a:lnTo>
                      <a:lnTo>
                        <a:pt x="186" y="206"/>
                      </a:lnTo>
                      <a:lnTo>
                        <a:pt x="186" y="209"/>
                      </a:lnTo>
                      <a:lnTo>
                        <a:pt x="186" y="215"/>
                      </a:lnTo>
                      <a:lnTo>
                        <a:pt x="188" y="223"/>
                      </a:lnTo>
                      <a:lnTo>
                        <a:pt x="189" y="228"/>
                      </a:lnTo>
                      <a:lnTo>
                        <a:pt x="192" y="233"/>
                      </a:lnTo>
                      <a:lnTo>
                        <a:pt x="198" y="243"/>
                      </a:lnTo>
                      <a:lnTo>
                        <a:pt x="205" y="252"/>
                      </a:lnTo>
                      <a:lnTo>
                        <a:pt x="213" y="261"/>
                      </a:lnTo>
                      <a:lnTo>
                        <a:pt x="220" y="272"/>
                      </a:lnTo>
                      <a:lnTo>
                        <a:pt x="222" y="277"/>
                      </a:lnTo>
                      <a:lnTo>
                        <a:pt x="224" y="283"/>
                      </a:lnTo>
                      <a:lnTo>
                        <a:pt x="225" y="289"/>
                      </a:lnTo>
                      <a:lnTo>
                        <a:pt x="225" y="296"/>
                      </a:lnTo>
                      <a:lnTo>
                        <a:pt x="225" y="302"/>
                      </a:lnTo>
                      <a:lnTo>
                        <a:pt x="222" y="309"/>
                      </a:lnTo>
                      <a:lnTo>
                        <a:pt x="220" y="316"/>
                      </a:lnTo>
                      <a:lnTo>
                        <a:pt x="215" y="322"/>
                      </a:lnTo>
                      <a:lnTo>
                        <a:pt x="212" y="329"/>
                      </a:lnTo>
                      <a:lnTo>
                        <a:pt x="209" y="335"/>
                      </a:lnTo>
                      <a:lnTo>
                        <a:pt x="206" y="340"/>
                      </a:lnTo>
                      <a:lnTo>
                        <a:pt x="205" y="345"/>
                      </a:lnTo>
                      <a:lnTo>
                        <a:pt x="205" y="348"/>
                      </a:lnTo>
                      <a:lnTo>
                        <a:pt x="206" y="351"/>
                      </a:lnTo>
                      <a:lnTo>
                        <a:pt x="209" y="354"/>
                      </a:lnTo>
                      <a:lnTo>
                        <a:pt x="210" y="356"/>
                      </a:lnTo>
                      <a:lnTo>
                        <a:pt x="215" y="361"/>
                      </a:lnTo>
                      <a:lnTo>
                        <a:pt x="222" y="364"/>
                      </a:lnTo>
                      <a:lnTo>
                        <a:pt x="228" y="366"/>
                      </a:lnTo>
                      <a:lnTo>
                        <a:pt x="236" y="368"/>
                      </a:lnTo>
                      <a:lnTo>
                        <a:pt x="244" y="369"/>
                      </a:lnTo>
                      <a:lnTo>
                        <a:pt x="252" y="369"/>
                      </a:lnTo>
                      <a:lnTo>
                        <a:pt x="252" y="390"/>
                      </a:lnTo>
                      <a:lnTo>
                        <a:pt x="252" y="400"/>
                      </a:lnTo>
                      <a:lnTo>
                        <a:pt x="252" y="411"/>
                      </a:lnTo>
                      <a:lnTo>
                        <a:pt x="252" y="431"/>
                      </a:lnTo>
                      <a:lnTo>
                        <a:pt x="245" y="430"/>
                      </a:lnTo>
                      <a:lnTo>
                        <a:pt x="239" y="429"/>
                      </a:lnTo>
                      <a:lnTo>
                        <a:pt x="234" y="427"/>
                      </a:lnTo>
                      <a:lnTo>
                        <a:pt x="229" y="425"/>
                      </a:lnTo>
                      <a:lnTo>
                        <a:pt x="225" y="423"/>
                      </a:lnTo>
                      <a:lnTo>
                        <a:pt x="221" y="421"/>
                      </a:lnTo>
                      <a:lnTo>
                        <a:pt x="217" y="419"/>
                      </a:lnTo>
                      <a:lnTo>
                        <a:pt x="212" y="419"/>
                      </a:lnTo>
                      <a:lnTo>
                        <a:pt x="207" y="418"/>
                      </a:lnTo>
                      <a:lnTo>
                        <a:pt x="202" y="417"/>
                      </a:lnTo>
                      <a:lnTo>
                        <a:pt x="198" y="416"/>
                      </a:lnTo>
                      <a:lnTo>
                        <a:pt x="193" y="414"/>
                      </a:lnTo>
                      <a:lnTo>
                        <a:pt x="186" y="408"/>
                      </a:lnTo>
                      <a:lnTo>
                        <a:pt x="177" y="400"/>
                      </a:lnTo>
                      <a:lnTo>
                        <a:pt x="170" y="391"/>
                      </a:lnTo>
                      <a:lnTo>
                        <a:pt x="164" y="379"/>
                      </a:lnTo>
                      <a:lnTo>
                        <a:pt x="158" y="368"/>
                      </a:lnTo>
                      <a:lnTo>
                        <a:pt x="153" y="356"/>
                      </a:lnTo>
                      <a:lnTo>
                        <a:pt x="148" y="343"/>
                      </a:lnTo>
                      <a:lnTo>
                        <a:pt x="144" y="330"/>
                      </a:lnTo>
                      <a:lnTo>
                        <a:pt x="140" y="317"/>
                      </a:lnTo>
                      <a:lnTo>
                        <a:pt x="137" y="304"/>
                      </a:lnTo>
                      <a:lnTo>
                        <a:pt x="134" y="282"/>
                      </a:lnTo>
                      <a:lnTo>
                        <a:pt x="133" y="264"/>
                      </a:lnTo>
                      <a:lnTo>
                        <a:pt x="122" y="264"/>
                      </a:lnTo>
                      <a:lnTo>
                        <a:pt x="114" y="263"/>
                      </a:lnTo>
                      <a:lnTo>
                        <a:pt x="109" y="261"/>
                      </a:lnTo>
                      <a:lnTo>
                        <a:pt x="104" y="260"/>
                      </a:lnTo>
                      <a:lnTo>
                        <a:pt x="101" y="259"/>
                      </a:lnTo>
                      <a:lnTo>
                        <a:pt x="97" y="259"/>
                      </a:lnTo>
                      <a:lnTo>
                        <a:pt x="92" y="261"/>
                      </a:lnTo>
                      <a:lnTo>
                        <a:pt x="86" y="264"/>
                      </a:lnTo>
                      <a:lnTo>
                        <a:pt x="86" y="296"/>
                      </a:lnTo>
                      <a:lnTo>
                        <a:pt x="105" y="381"/>
                      </a:lnTo>
                      <a:lnTo>
                        <a:pt x="104" y="389"/>
                      </a:lnTo>
                      <a:lnTo>
                        <a:pt x="101" y="394"/>
                      </a:lnTo>
                      <a:lnTo>
                        <a:pt x="98" y="399"/>
                      </a:lnTo>
                      <a:lnTo>
                        <a:pt x="93" y="404"/>
                      </a:lnTo>
                      <a:lnTo>
                        <a:pt x="83" y="411"/>
                      </a:lnTo>
                      <a:lnTo>
                        <a:pt x="72" y="416"/>
                      </a:lnTo>
                      <a:lnTo>
                        <a:pt x="64" y="421"/>
                      </a:lnTo>
                      <a:lnTo>
                        <a:pt x="57" y="426"/>
                      </a:lnTo>
                      <a:lnTo>
                        <a:pt x="56" y="428"/>
                      </a:lnTo>
                      <a:lnTo>
                        <a:pt x="55" y="431"/>
                      </a:lnTo>
                      <a:lnTo>
                        <a:pt x="56" y="434"/>
                      </a:lnTo>
                      <a:lnTo>
                        <a:pt x="59" y="43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95" name="Freeform 339">
                  <a:extLst>
                    <a:ext uri="{FF2B5EF4-FFF2-40B4-BE49-F238E27FC236}">
                      <a16:creationId xmlns:a16="http://schemas.microsoft.com/office/drawing/2014/main" xmlns="" id="{F6C55B1F-7B2B-48BD-A7AD-1F2D7A24DFDA}"/>
                    </a:ext>
                  </a:extLst>
                </p:cNvPr>
                <p:cNvSpPr>
                  <a:spLocks/>
                </p:cNvSpPr>
                <p:nvPr>
                  <p:custDataLst>
                    <p:tags r:id="rId242"/>
                  </p:custDataLst>
                </p:nvPr>
              </p:nvSpPr>
              <p:spPr bwMode="auto">
                <a:xfrm>
                  <a:off x="6638925" y="3838575"/>
                  <a:ext cx="250825" cy="95250"/>
                </a:xfrm>
                <a:custGeom>
                  <a:avLst/>
                  <a:gdLst>
                    <a:gd name="T0" fmla="*/ 2147483646 w 578"/>
                    <a:gd name="T1" fmla="*/ 2147483646 h 184"/>
                    <a:gd name="T2" fmla="*/ 2147483646 w 578"/>
                    <a:gd name="T3" fmla="*/ 2147483646 h 184"/>
                    <a:gd name="T4" fmla="*/ 2147483646 w 578"/>
                    <a:gd name="T5" fmla="*/ 2147483646 h 184"/>
                    <a:gd name="T6" fmla="*/ 2147483646 w 578"/>
                    <a:gd name="T7" fmla="*/ 0 h 184"/>
                    <a:gd name="T8" fmla="*/ 2147483646 w 578"/>
                    <a:gd name="T9" fmla="*/ 2147483646 h 184"/>
                    <a:gd name="T10" fmla="*/ 2147483646 w 578"/>
                    <a:gd name="T11" fmla="*/ 2147483646 h 184"/>
                    <a:gd name="T12" fmla="*/ 2147483646 w 578"/>
                    <a:gd name="T13" fmla="*/ 2147483646 h 184"/>
                    <a:gd name="T14" fmla="*/ 2147483646 w 578"/>
                    <a:gd name="T15" fmla="*/ 2147483646 h 184"/>
                    <a:gd name="T16" fmla="*/ 2147483646 w 578"/>
                    <a:gd name="T17" fmla="*/ 2147483646 h 184"/>
                    <a:gd name="T18" fmla="*/ 2147483646 w 578"/>
                    <a:gd name="T19" fmla="*/ 2147483646 h 184"/>
                    <a:gd name="T20" fmla="*/ 2147483646 w 578"/>
                    <a:gd name="T21" fmla="*/ 2147483646 h 184"/>
                    <a:gd name="T22" fmla="*/ 2147483646 w 578"/>
                    <a:gd name="T23" fmla="*/ 2147483646 h 184"/>
                    <a:gd name="T24" fmla="*/ 2147483646 w 578"/>
                    <a:gd name="T25" fmla="*/ 2147483646 h 184"/>
                    <a:gd name="T26" fmla="*/ 2147483646 w 578"/>
                    <a:gd name="T27" fmla="*/ 2147483646 h 184"/>
                    <a:gd name="T28" fmla="*/ 2147483646 w 578"/>
                    <a:gd name="T29" fmla="*/ 2147483646 h 184"/>
                    <a:gd name="T30" fmla="*/ 2147483646 w 578"/>
                    <a:gd name="T31" fmla="*/ 2147483646 h 184"/>
                    <a:gd name="T32" fmla="*/ 2147483646 w 578"/>
                    <a:gd name="T33" fmla="*/ 2147483646 h 184"/>
                    <a:gd name="T34" fmla="*/ 2147483646 w 578"/>
                    <a:gd name="T35" fmla="*/ 2147483646 h 184"/>
                    <a:gd name="T36" fmla="*/ 2147483646 w 578"/>
                    <a:gd name="T37" fmla="*/ 2147483646 h 184"/>
                    <a:gd name="T38" fmla="*/ 2147483646 w 578"/>
                    <a:gd name="T39" fmla="*/ 2147483646 h 184"/>
                    <a:gd name="T40" fmla="*/ 2147483646 w 578"/>
                    <a:gd name="T41" fmla="*/ 2147483646 h 184"/>
                    <a:gd name="T42" fmla="*/ 2147483646 w 578"/>
                    <a:gd name="T43" fmla="*/ 2147483646 h 184"/>
                    <a:gd name="T44" fmla="*/ 2147483646 w 578"/>
                    <a:gd name="T45" fmla="*/ 2147483646 h 184"/>
                    <a:gd name="T46" fmla="*/ 2147483646 w 578"/>
                    <a:gd name="T47" fmla="*/ 2147483646 h 184"/>
                    <a:gd name="T48" fmla="*/ 2147483646 w 578"/>
                    <a:gd name="T49" fmla="*/ 2147483646 h 184"/>
                    <a:gd name="T50" fmla="*/ 2147483646 w 578"/>
                    <a:gd name="T51" fmla="*/ 2147483646 h 184"/>
                    <a:gd name="T52" fmla="*/ 2147483646 w 578"/>
                    <a:gd name="T53" fmla="*/ 2147483646 h 184"/>
                    <a:gd name="T54" fmla="*/ 2147483646 w 578"/>
                    <a:gd name="T55" fmla="*/ 2147483646 h 184"/>
                    <a:gd name="T56" fmla="*/ 2147483646 w 578"/>
                    <a:gd name="T57" fmla="*/ 2147483646 h 184"/>
                    <a:gd name="T58" fmla="*/ 2147483646 w 578"/>
                    <a:gd name="T59" fmla="*/ 2147483646 h 184"/>
                    <a:gd name="T60" fmla="*/ 2147483646 w 578"/>
                    <a:gd name="T61" fmla="*/ 2147483646 h 184"/>
                    <a:gd name="T62" fmla="*/ 2147483646 w 578"/>
                    <a:gd name="T63" fmla="*/ 2147483646 h 184"/>
                    <a:gd name="T64" fmla="*/ 2147483646 w 578"/>
                    <a:gd name="T65" fmla="*/ 2147483646 h 184"/>
                    <a:gd name="T66" fmla="*/ 2147483646 w 578"/>
                    <a:gd name="T67" fmla="*/ 2147483646 h 184"/>
                    <a:gd name="T68" fmla="*/ 2147483646 w 578"/>
                    <a:gd name="T69" fmla="*/ 2147483646 h 184"/>
                    <a:gd name="T70" fmla="*/ 2147483646 w 578"/>
                    <a:gd name="T71" fmla="*/ 2147483646 h 184"/>
                    <a:gd name="T72" fmla="*/ 2147483646 w 578"/>
                    <a:gd name="T73" fmla="*/ 2147483646 h 184"/>
                    <a:gd name="T74" fmla="*/ 2147483646 w 578"/>
                    <a:gd name="T75" fmla="*/ 2147483646 h 184"/>
                    <a:gd name="T76" fmla="*/ 2147483646 w 578"/>
                    <a:gd name="T77" fmla="*/ 2147483646 h 184"/>
                    <a:gd name="T78" fmla="*/ 2147483646 w 578"/>
                    <a:gd name="T79" fmla="*/ 2147483646 h 184"/>
                    <a:gd name="T80" fmla="*/ 2147483646 w 578"/>
                    <a:gd name="T81" fmla="*/ 2147483646 h 184"/>
                    <a:gd name="T82" fmla="*/ 2147483646 w 578"/>
                    <a:gd name="T83" fmla="*/ 2147483646 h 184"/>
                    <a:gd name="T84" fmla="*/ 2147483646 w 578"/>
                    <a:gd name="T85" fmla="*/ 2147483646 h 184"/>
                    <a:gd name="T86" fmla="*/ 2147483646 w 578"/>
                    <a:gd name="T87" fmla="*/ 2147483646 h 184"/>
                    <a:gd name="T88" fmla="*/ 2147483646 w 578"/>
                    <a:gd name="T89" fmla="*/ 2147483646 h 184"/>
                    <a:gd name="T90" fmla="*/ 2147483646 w 578"/>
                    <a:gd name="T91" fmla="*/ 2147483646 h 184"/>
                    <a:gd name="T92" fmla="*/ 2147483646 w 578"/>
                    <a:gd name="T93" fmla="*/ 2147483646 h 184"/>
                    <a:gd name="T94" fmla="*/ 2147483646 w 578"/>
                    <a:gd name="T95" fmla="*/ 2147483646 h 184"/>
                    <a:gd name="T96" fmla="*/ 2147483646 w 578"/>
                    <a:gd name="T97" fmla="*/ 2147483646 h 184"/>
                    <a:gd name="T98" fmla="*/ 2147483646 w 578"/>
                    <a:gd name="T99" fmla="*/ 2147483646 h 184"/>
                    <a:gd name="T100" fmla="*/ 2147483646 w 578"/>
                    <a:gd name="T101" fmla="*/ 2147483646 h 184"/>
                    <a:gd name="T102" fmla="*/ 2147483646 w 578"/>
                    <a:gd name="T103" fmla="*/ 2147483646 h 184"/>
                    <a:gd name="T104" fmla="*/ 2147483646 w 578"/>
                    <a:gd name="T105" fmla="*/ 2147483646 h 184"/>
                    <a:gd name="T106" fmla="*/ 0 w 578"/>
                    <a:gd name="T107" fmla="*/ 2147483646 h 184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578"/>
                    <a:gd name="T163" fmla="*/ 0 h 184"/>
                    <a:gd name="T164" fmla="*/ 578 w 578"/>
                    <a:gd name="T165" fmla="*/ 184 h 184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578" h="184">
                      <a:moveTo>
                        <a:pt x="0" y="55"/>
                      </a:moveTo>
                      <a:lnTo>
                        <a:pt x="6" y="53"/>
                      </a:lnTo>
                      <a:lnTo>
                        <a:pt x="11" y="50"/>
                      </a:lnTo>
                      <a:lnTo>
                        <a:pt x="14" y="46"/>
                      </a:lnTo>
                      <a:lnTo>
                        <a:pt x="19" y="42"/>
                      </a:lnTo>
                      <a:lnTo>
                        <a:pt x="24" y="32"/>
                      </a:lnTo>
                      <a:lnTo>
                        <a:pt x="30" y="23"/>
                      </a:lnTo>
                      <a:lnTo>
                        <a:pt x="35" y="14"/>
                      </a:lnTo>
                      <a:lnTo>
                        <a:pt x="41" y="7"/>
                      </a:lnTo>
                      <a:lnTo>
                        <a:pt x="44" y="4"/>
                      </a:lnTo>
                      <a:lnTo>
                        <a:pt x="48" y="2"/>
                      </a:lnTo>
                      <a:lnTo>
                        <a:pt x="54" y="0"/>
                      </a:lnTo>
                      <a:lnTo>
                        <a:pt x="59" y="0"/>
                      </a:lnTo>
                      <a:lnTo>
                        <a:pt x="69" y="1"/>
                      </a:lnTo>
                      <a:lnTo>
                        <a:pt x="79" y="2"/>
                      </a:lnTo>
                      <a:lnTo>
                        <a:pt x="85" y="3"/>
                      </a:lnTo>
                      <a:lnTo>
                        <a:pt x="89" y="3"/>
                      </a:lnTo>
                      <a:lnTo>
                        <a:pt x="95" y="2"/>
                      </a:lnTo>
                      <a:lnTo>
                        <a:pt x="99" y="0"/>
                      </a:lnTo>
                      <a:lnTo>
                        <a:pt x="100" y="2"/>
                      </a:lnTo>
                      <a:lnTo>
                        <a:pt x="101" y="5"/>
                      </a:lnTo>
                      <a:lnTo>
                        <a:pt x="103" y="7"/>
                      </a:lnTo>
                      <a:lnTo>
                        <a:pt x="107" y="10"/>
                      </a:lnTo>
                      <a:lnTo>
                        <a:pt x="115" y="15"/>
                      </a:lnTo>
                      <a:lnTo>
                        <a:pt x="125" y="20"/>
                      </a:lnTo>
                      <a:lnTo>
                        <a:pt x="136" y="24"/>
                      </a:lnTo>
                      <a:lnTo>
                        <a:pt x="147" y="27"/>
                      </a:lnTo>
                      <a:lnTo>
                        <a:pt x="157" y="29"/>
                      </a:lnTo>
                      <a:lnTo>
                        <a:pt x="166" y="30"/>
                      </a:lnTo>
                      <a:lnTo>
                        <a:pt x="168" y="37"/>
                      </a:lnTo>
                      <a:lnTo>
                        <a:pt x="171" y="44"/>
                      </a:lnTo>
                      <a:lnTo>
                        <a:pt x="174" y="49"/>
                      </a:lnTo>
                      <a:lnTo>
                        <a:pt x="178" y="53"/>
                      </a:lnTo>
                      <a:lnTo>
                        <a:pt x="181" y="57"/>
                      </a:lnTo>
                      <a:lnTo>
                        <a:pt x="187" y="59"/>
                      </a:lnTo>
                      <a:lnTo>
                        <a:pt x="192" y="61"/>
                      </a:lnTo>
                      <a:lnTo>
                        <a:pt x="199" y="61"/>
                      </a:lnTo>
                      <a:lnTo>
                        <a:pt x="214" y="61"/>
                      </a:lnTo>
                      <a:lnTo>
                        <a:pt x="231" y="60"/>
                      </a:lnTo>
                      <a:lnTo>
                        <a:pt x="247" y="58"/>
                      </a:lnTo>
                      <a:lnTo>
                        <a:pt x="263" y="55"/>
                      </a:lnTo>
                      <a:lnTo>
                        <a:pt x="277" y="51"/>
                      </a:lnTo>
                      <a:lnTo>
                        <a:pt x="289" y="46"/>
                      </a:lnTo>
                      <a:lnTo>
                        <a:pt x="294" y="43"/>
                      </a:lnTo>
                      <a:lnTo>
                        <a:pt x="299" y="39"/>
                      </a:lnTo>
                      <a:lnTo>
                        <a:pt x="302" y="35"/>
                      </a:lnTo>
                      <a:lnTo>
                        <a:pt x="305" y="30"/>
                      </a:lnTo>
                      <a:lnTo>
                        <a:pt x="314" y="34"/>
                      </a:lnTo>
                      <a:lnTo>
                        <a:pt x="320" y="35"/>
                      </a:lnTo>
                      <a:lnTo>
                        <a:pt x="324" y="36"/>
                      </a:lnTo>
                      <a:lnTo>
                        <a:pt x="327" y="35"/>
                      </a:lnTo>
                      <a:lnTo>
                        <a:pt x="331" y="33"/>
                      </a:lnTo>
                      <a:lnTo>
                        <a:pt x="334" y="32"/>
                      </a:lnTo>
                      <a:lnTo>
                        <a:pt x="339" y="31"/>
                      </a:lnTo>
                      <a:lnTo>
                        <a:pt x="345" y="30"/>
                      </a:lnTo>
                      <a:lnTo>
                        <a:pt x="356" y="31"/>
                      </a:lnTo>
                      <a:lnTo>
                        <a:pt x="366" y="34"/>
                      </a:lnTo>
                      <a:lnTo>
                        <a:pt x="375" y="39"/>
                      </a:lnTo>
                      <a:lnTo>
                        <a:pt x="383" y="45"/>
                      </a:lnTo>
                      <a:lnTo>
                        <a:pt x="399" y="59"/>
                      </a:lnTo>
                      <a:lnTo>
                        <a:pt x="413" y="74"/>
                      </a:lnTo>
                      <a:lnTo>
                        <a:pt x="421" y="82"/>
                      </a:lnTo>
                      <a:lnTo>
                        <a:pt x="428" y="89"/>
                      </a:lnTo>
                      <a:lnTo>
                        <a:pt x="437" y="96"/>
                      </a:lnTo>
                      <a:lnTo>
                        <a:pt x="446" y="101"/>
                      </a:lnTo>
                      <a:lnTo>
                        <a:pt x="456" y="105"/>
                      </a:lnTo>
                      <a:lnTo>
                        <a:pt x="467" y="107"/>
                      </a:lnTo>
                      <a:lnTo>
                        <a:pt x="472" y="107"/>
                      </a:lnTo>
                      <a:lnTo>
                        <a:pt x="479" y="107"/>
                      </a:lnTo>
                      <a:lnTo>
                        <a:pt x="484" y="106"/>
                      </a:lnTo>
                      <a:lnTo>
                        <a:pt x="491" y="105"/>
                      </a:lnTo>
                      <a:lnTo>
                        <a:pt x="493" y="108"/>
                      </a:lnTo>
                      <a:lnTo>
                        <a:pt x="495" y="113"/>
                      </a:lnTo>
                      <a:lnTo>
                        <a:pt x="500" y="119"/>
                      </a:lnTo>
                      <a:lnTo>
                        <a:pt x="505" y="125"/>
                      </a:lnTo>
                      <a:lnTo>
                        <a:pt x="511" y="131"/>
                      </a:lnTo>
                      <a:lnTo>
                        <a:pt x="516" y="136"/>
                      </a:lnTo>
                      <a:lnTo>
                        <a:pt x="522" y="140"/>
                      </a:lnTo>
                      <a:lnTo>
                        <a:pt x="525" y="141"/>
                      </a:lnTo>
                      <a:lnTo>
                        <a:pt x="529" y="141"/>
                      </a:lnTo>
                      <a:lnTo>
                        <a:pt x="534" y="139"/>
                      </a:lnTo>
                      <a:lnTo>
                        <a:pt x="537" y="137"/>
                      </a:lnTo>
                      <a:lnTo>
                        <a:pt x="540" y="134"/>
                      </a:lnTo>
                      <a:lnTo>
                        <a:pt x="546" y="128"/>
                      </a:lnTo>
                      <a:lnTo>
                        <a:pt x="551" y="123"/>
                      </a:lnTo>
                      <a:lnTo>
                        <a:pt x="555" y="129"/>
                      </a:lnTo>
                      <a:lnTo>
                        <a:pt x="558" y="134"/>
                      </a:lnTo>
                      <a:lnTo>
                        <a:pt x="562" y="138"/>
                      </a:lnTo>
                      <a:lnTo>
                        <a:pt x="567" y="141"/>
                      </a:lnTo>
                      <a:lnTo>
                        <a:pt x="571" y="145"/>
                      </a:lnTo>
                      <a:lnTo>
                        <a:pt x="574" y="150"/>
                      </a:lnTo>
                      <a:lnTo>
                        <a:pt x="577" y="154"/>
                      </a:lnTo>
                      <a:lnTo>
                        <a:pt x="578" y="160"/>
                      </a:lnTo>
                      <a:lnTo>
                        <a:pt x="578" y="165"/>
                      </a:lnTo>
                      <a:lnTo>
                        <a:pt x="577" y="169"/>
                      </a:lnTo>
                      <a:lnTo>
                        <a:pt x="575" y="173"/>
                      </a:lnTo>
                      <a:lnTo>
                        <a:pt x="573" y="177"/>
                      </a:lnTo>
                      <a:lnTo>
                        <a:pt x="570" y="180"/>
                      </a:lnTo>
                      <a:lnTo>
                        <a:pt x="567" y="182"/>
                      </a:lnTo>
                      <a:lnTo>
                        <a:pt x="562" y="184"/>
                      </a:lnTo>
                      <a:lnTo>
                        <a:pt x="558" y="184"/>
                      </a:lnTo>
                      <a:lnTo>
                        <a:pt x="551" y="178"/>
                      </a:lnTo>
                      <a:lnTo>
                        <a:pt x="545" y="172"/>
                      </a:lnTo>
                      <a:lnTo>
                        <a:pt x="535" y="171"/>
                      </a:lnTo>
                      <a:lnTo>
                        <a:pt x="526" y="170"/>
                      </a:lnTo>
                      <a:lnTo>
                        <a:pt x="517" y="170"/>
                      </a:lnTo>
                      <a:lnTo>
                        <a:pt x="509" y="170"/>
                      </a:lnTo>
                      <a:lnTo>
                        <a:pt x="491" y="172"/>
                      </a:lnTo>
                      <a:lnTo>
                        <a:pt x="471" y="172"/>
                      </a:lnTo>
                      <a:lnTo>
                        <a:pt x="467" y="172"/>
                      </a:lnTo>
                      <a:lnTo>
                        <a:pt x="462" y="170"/>
                      </a:lnTo>
                      <a:lnTo>
                        <a:pt x="459" y="167"/>
                      </a:lnTo>
                      <a:lnTo>
                        <a:pt x="455" y="163"/>
                      </a:lnTo>
                      <a:lnTo>
                        <a:pt x="451" y="160"/>
                      </a:lnTo>
                      <a:lnTo>
                        <a:pt x="447" y="157"/>
                      </a:lnTo>
                      <a:lnTo>
                        <a:pt x="443" y="155"/>
                      </a:lnTo>
                      <a:lnTo>
                        <a:pt x="438" y="154"/>
                      </a:lnTo>
                      <a:lnTo>
                        <a:pt x="434" y="155"/>
                      </a:lnTo>
                      <a:lnTo>
                        <a:pt x="429" y="157"/>
                      </a:lnTo>
                      <a:lnTo>
                        <a:pt x="426" y="160"/>
                      </a:lnTo>
                      <a:lnTo>
                        <a:pt x="423" y="163"/>
                      </a:lnTo>
                      <a:lnTo>
                        <a:pt x="420" y="167"/>
                      </a:lnTo>
                      <a:lnTo>
                        <a:pt x="416" y="170"/>
                      </a:lnTo>
                      <a:lnTo>
                        <a:pt x="414" y="172"/>
                      </a:lnTo>
                      <a:lnTo>
                        <a:pt x="412" y="172"/>
                      </a:lnTo>
                      <a:lnTo>
                        <a:pt x="398" y="171"/>
                      </a:lnTo>
                      <a:lnTo>
                        <a:pt x="378" y="167"/>
                      </a:lnTo>
                      <a:lnTo>
                        <a:pt x="354" y="160"/>
                      </a:lnTo>
                      <a:lnTo>
                        <a:pt x="328" y="153"/>
                      </a:lnTo>
                      <a:lnTo>
                        <a:pt x="304" y="144"/>
                      </a:lnTo>
                      <a:lnTo>
                        <a:pt x="285" y="136"/>
                      </a:lnTo>
                      <a:lnTo>
                        <a:pt x="277" y="132"/>
                      </a:lnTo>
                      <a:lnTo>
                        <a:pt x="270" y="129"/>
                      </a:lnTo>
                      <a:lnTo>
                        <a:pt x="267" y="126"/>
                      </a:lnTo>
                      <a:lnTo>
                        <a:pt x="266" y="123"/>
                      </a:lnTo>
                      <a:lnTo>
                        <a:pt x="252" y="122"/>
                      </a:lnTo>
                      <a:lnTo>
                        <a:pt x="240" y="121"/>
                      </a:lnTo>
                      <a:lnTo>
                        <a:pt x="230" y="119"/>
                      </a:lnTo>
                      <a:lnTo>
                        <a:pt x="220" y="117"/>
                      </a:lnTo>
                      <a:lnTo>
                        <a:pt x="211" y="115"/>
                      </a:lnTo>
                      <a:lnTo>
                        <a:pt x="201" y="113"/>
                      </a:lnTo>
                      <a:lnTo>
                        <a:pt x="191" y="111"/>
                      </a:lnTo>
                      <a:lnTo>
                        <a:pt x="179" y="111"/>
                      </a:lnTo>
                      <a:lnTo>
                        <a:pt x="168" y="111"/>
                      </a:lnTo>
                      <a:lnTo>
                        <a:pt x="157" y="111"/>
                      </a:lnTo>
                      <a:lnTo>
                        <a:pt x="149" y="111"/>
                      </a:lnTo>
                      <a:lnTo>
                        <a:pt x="146" y="111"/>
                      </a:lnTo>
                      <a:lnTo>
                        <a:pt x="136" y="110"/>
                      </a:lnTo>
                      <a:lnTo>
                        <a:pt x="128" y="107"/>
                      </a:lnTo>
                      <a:lnTo>
                        <a:pt x="124" y="105"/>
                      </a:lnTo>
                      <a:lnTo>
                        <a:pt x="122" y="103"/>
                      </a:lnTo>
                      <a:lnTo>
                        <a:pt x="120" y="101"/>
                      </a:lnTo>
                      <a:lnTo>
                        <a:pt x="120" y="99"/>
                      </a:lnTo>
                      <a:lnTo>
                        <a:pt x="79" y="99"/>
                      </a:lnTo>
                      <a:lnTo>
                        <a:pt x="75" y="98"/>
                      </a:lnTo>
                      <a:lnTo>
                        <a:pt x="69" y="97"/>
                      </a:lnTo>
                      <a:lnTo>
                        <a:pt x="64" y="96"/>
                      </a:lnTo>
                      <a:lnTo>
                        <a:pt x="57" y="94"/>
                      </a:lnTo>
                      <a:lnTo>
                        <a:pt x="46" y="88"/>
                      </a:lnTo>
                      <a:lnTo>
                        <a:pt x="34" y="81"/>
                      </a:lnTo>
                      <a:lnTo>
                        <a:pt x="14" y="67"/>
                      </a:lnTo>
                      <a:lnTo>
                        <a:pt x="0" y="5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96" name="Freeform 340">
                  <a:extLst>
                    <a:ext uri="{FF2B5EF4-FFF2-40B4-BE49-F238E27FC236}">
                      <a16:creationId xmlns:a16="http://schemas.microsoft.com/office/drawing/2014/main" xmlns="" id="{FE613E0C-F602-4899-A2C8-F58AFE4ACEC4}"/>
                    </a:ext>
                  </a:extLst>
                </p:cNvPr>
                <p:cNvSpPr>
                  <a:spLocks/>
                </p:cNvSpPr>
                <p:nvPr>
                  <p:custDataLst>
                    <p:tags r:id="rId243"/>
                  </p:custDataLst>
                </p:nvPr>
              </p:nvSpPr>
              <p:spPr bwMode="auto">
                <a:xfrm>
                  <a:off x="7319963" y="3695700"/>
                  <a:ext cx="214312" cy="252413"/>
                </a:xfrm>
                <a:custGeom>
                  <a:avLst/>
                  <a:gdLst>
                    <a:gd name="T0" fmla="*/ 2147483646 w 491"/>
                    <a:gd name="T1" fmla="*/ 2147483646 h 481"/>
                    <a:gd name="T2" fmla="*/ 2147483646 w 491"/>
                    <a:gd name="T3" fmla="*/ 2147483646 h 481"/>
                    <a:gd name="T4" fmla="*/ 2147483646 w 491"/>
                    <a:gd name="T5" fmla="*/ 2147483646 h 481"/>
                    <a:gd name="T6" fmla="*/ 2147483646 w 491"/>
                    <a:gd name="T7" fmla="*/ 2147483646 h 481"/>
                    <a:gd name="T8" fmla="*/ 2147483646 w 491"/>
                    <a:gd name="T9" fmla="*/ 2147483646 h 481"/>
                    <a:gd name="T10" fmla="*/ 2147483646 w 491"/>
                    <a:gd name="T11" fmla="*/ 2147483646 h 481"/>
                    <a:gd name="T12" fmla="*/ 2147483646 w 491"/>
                    <a:gd name="T13" fmla="*/ 2147483646 h 481"/>
                    <a:gd name="T14" fmla="*/ 2147483646 w 491"/>
                    <a:gd name="T15" fmla="*/ 2147483646 h 481"/>
                    <a:gd name="T16" fmla="*/ 2147483646 w 491"/>
                    <a:gd name="T17" fmla="*/ 2147483646 h 481"/>
                    <a:gd name="T18" fmla="*/ 2147483646 w 491"/>
                    <a:gd name="T19" fmla="*/ 2147483646 h 481"/>
                    <a:gd name="T20" fmla="*/ 2147483646 w 491"/>
                    <a:gd name="T21" fmla="*/ 2147483646 h 481"/>
                    <a:gd name="T22" fmla="*/ 2147483646 w 491"/>
                    <a:gd name="T23" fmla="*/ 2147483646 h 481"/>
                    <a:gd name="T24" fmla="*/ 2147483646 w 491"/>
                    <a:gd name="T25" fmla="*/ 2147483646 h 481"/>
                    <a:gd name="T26" fmla="*/ 2147483646 w 491"/>
                    <a:gd name="T27" fmla="*/ 2147483646 h 481"/>
                    <a:gd name="T28" fmla="*/ 2147483646 w 491"/>
                    <a:gd name="T29" fmla="*/ 2147483646 h 481"/>
                    <a:gd name="T30" fmla="*/ 2147483646 w 491"/>
                    <a:gd name="T31" fmla="*/ 2147483646 h 481"/>
                    <a:gd name="T32" fmla="*/ 2147483646 w 491"/>
                    <a:gd name="T33" fmla="*/ 2147483646 h 481"/>
                    <a:gd name="T34" fmla="*/ 2147483646 w 491"/>
                    <a:gd name="T35" fmla="*/ 2147483646 h 481"/>
                    <a:gd name="T36" fmla="*/ 2147483646 w 491"/>
                    <a:gd name="T37" fmla="*/ 2147483646 h 481"/>
                    <a:gd name="T38" fmla="*/ 2147483646 w 491"/>
                    <a:gd name="T39" fmla="*/ 2147483646 h 481"/>
                    <a:gd name="T40" fmla="*/ 2147483646 w 491"/>
                    <a:gd name="T41" fmla="*/ 2147483646 h 481"/>
                    <a:gd name="T42" fmla="*/ 2147483646 w 491"/>
                    <a:gd name="T43" fmla="*/ 2147483646 h 481"/>
                    <a:gd name="T44" fmla="*/ 2147483646 w 491"/>
                    <a:gd name="T45" fmla="*/ 2147483646 h 481"/>
                    <a:gd name="T46" fmla="*/ 2147483646 w 491"/>
                    <a:gd name="T47" fmla="*/ 2147483646 h 481"/>
                    <a:gd name="T48" fmla="*/ 2147483646 w 491"/>
                    <a:gd name="T49" fmla="*/ 2147483646 h 481"/>
                    <a:gd name="T50" fmla="*/ 2147483646 w 491"/>
                    <a:gd name="T51" fmla="*/ 2147483646 h 481"/>
                    <a:gd name="T52" fmla="*/ 2147483646 w 491"/>
                    <a:gd name="T53" fmla="*/ 2147483646 h 481"/>
                    <a:gd name="T54" fmla="*/ 2147483646 w 491"/>
                    <a:gd name="T55" fmla="*/ 2147483646 h 481"/>
                    <a:gd name="T56" fmla="*/ 2147483646 w 491"/>
                    <a:gd name="T57" fmla="*/ 2147483646 h 481"/>
                    <a:gd name="T58" fmla="*/ 2147483646 w 491"/>
                    <a:gd name="T59" fmla="*/ 2147483646 h 481"/>
                    <a:gd name="T60" fmla="*/ 2147483646 w 491"/>
                    <a:gd name="T61" fmla="*/ 2147483646 h 481"/>
                    <a:gd name="T62" fmla="*/ 0 w 491"/>
                    <a:gd name="T63" fmla="*/ 2147483646 h 481"/>
                    <a:gd name="T64" fmla="*/ 2147483646 w 491"/>
                    <a:gd name="T65" fmla="*/ 2147483646 h 481"/>
                    <a:gd name="T66" fmla="*/ 2147483646 w 491"/>
                    <a:gd name="T67" fmla="*/ 2147483646 h 481"/>
                    <a:gd name="T68" fmla="*/ 2147483646 w 491"/>
                    <a:gd name="T69" fmla="*/ 2147483646 h 481"/>
                    <a:gd name="T70" fmla="*/ 2147483646 w 491"/>
                    <a:gd name="T71" fmla="*/ 2147483646 h 481"/>
                    <a:gd name="T72" fmla="*/ 2147483646 w 491"/>
                    <a:gd name="T73" fmla="*/ 2147483646 h 481"/>
                    <a:gd name="T74" fmla="*/ 2147483646 w 491"/>
                    <a:gd name="T75" fmla="*/ 2147483646 h 481"/>
                    <a:gd name="T76" fmla="*/ 2147483646 w 491"/>
                    <a:gd name="T77" fmla="*/ 2147483646 h 481"/>
                    <a:gd name="T78" fmla="*/ 2147483646 w 491"/>
                    <a:gd name="T79" fmla="*/ 2147483646 h 481"/>
                    <a:gd name="T80" fmla="*/ 2147483646 w 491"/>
                    <a:gd name="T81" fmla="*/ 2147483646 h 481"/>
                    <a:gd name="T82" fmla="*/ 2147483646 w 491"/>
                    <a:gd name="T83" fmla="*/ 2147483646 h 481"/>
                    <a:gd name="T84" fmla="*/ 2147483646 w 491"/>
                    <a:gd name="T85" fmla="*/ 2147483646 h 481"/>
                    <a:gd name="T86" fmla="*/ 2147483646 w 491"/>
                    <a:gd name="T87" fmla="*/ 2147483646 h 481"/>
                    <a:gd name="T88" fmla="*/ 2147483646 w 491"/>
                    <a:gd name="T89" fmla="*/ 2147483646 h 481"/>
                    <a:gd name="T90" fmla="*/ 2147483646 w 491"/>
                    <a:gd name="T91" fmla="*/ 2147483646 h 481"/>
                    <a:gd name="T92" fmla="*/ 2147483646 w 491"/>
                    <a:gd name="T93" fmla="*/ 2147483646 h 481"/>
                    <a:gd name="T94" fmla="*/ 2147483646 w 491"/>
                    <a:gd name="T95" fmla="*/ 0 h 481"/>
                    <a:gd name="T96" fmla="*/ 2147483646 w 491"/>
                    <a:gd name="T97" fmla="*/ 2147483646 h 481"/>
                    <a:gd name="T98" fmla="*/ 2147483646 w 491"/>
                    <a:gd name="T99" fmla="*/ 2147483646 h 481"/>
                    <a:gd name="T100" fmla="*/ 2147483646 w 491"/>
                    <a:gd name="T101" fmla="*/ 2147483646 h 481"/>
                    <a:gd name="T102" fmla="*/ 2147483646 w 491"/>
                    <a:gd name="T103" fmla="*/ 2147483646 h 481"/>
                    <a:gd name="T104" fmla="*/ 2147483646 w 491"/>
                    <a:gd name="T105" fmla="*/ 2147483646 h 481"/>
                    <a:gd name="T106" fmla="*/ 2147483646 w 491"/>
                    <a:gd name="T107" fmla="*/ 2147483646 h 481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491"/>
                    <a:gd name="T163" fmla="*/ 0 h 481"/>
                    <a:gd name="T164" fmla="*/ 491 w 491"/>
                    <a:gd name="T165" fmla="*/ 481 h 481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491" h="481">
                      <a:moveTo>
                        <a:pt x="491" y="481"/>
                      </a:moveTo>
                      <a:lnTo>
                        <a:pt x="488" y="480"/>
                      </a:lnTo>
                      <a:lnTo>
                        <a:pt x="482" y="479"/>
                      </a:lnTo>
                      <a:lnTo>
                        <a:pt x="477" y="477"/>
                      </a:lnTo>
                      <a:lnTo>
                        <a:pt x="470" y="473"/>
                      </a:lnTo>
                      <a:lnTo>
                        <a:pt x="457" y="465"/>
                      </a:lnTo>
                      <a:lnTo>
                        <a:pt x="444" y="455"/>
                      </a:lnTo>
                      <a:lnTo>
                        <a:pt x="432" y="445"/>
                      </a:lnTo>
                      <a:lnTo>
                        <a:pt x="422" y="434"/>
                      </a:lnTo>
                      <a:lnTo>
                        <a:pt x="417" y="428"/>
                      </a:lnTo>
                      <a:lnTo>
                        <a:pt x="414" y="423"/>
                      </a:lnTo>
                      <a:lnTo>
                        <a:pt x="412" y="417"/>
                      </a:lnTo>
                      <a:lnTo>
                        <a:pt x="412" y="412"/>
                      </a:lnTo>
                      <a:lnTo>
                        <a:pt x="392" y="412"/>
                      </a:lnTo>
                      <a:lnTo>
                        <a:pt x="376" y="410"/>
                      </a:lnTo>
                      <a:lnTo>
                        <a:pt x="370" y="409"/>
                      </a:lnTo>
                      <a:lnTo>
                        <a:pt x="365" y="408"/>
                      </a:lnTo>
                      <a:lnTo>
                        <a:pt x="360" y="406"/>
                      </a:lnTo>
                      <a:lnTo>
                        <a:pt x="356" y="403"/>
                      </a:lnTo>
                      <a:lnTo>
                        <a:pt x="353" y="400"/>
                      </a:lnTo>
                      <a:lnTo>
                        <a:pt x="350" y="396"/>
                      </a:lnTo>
                      <a:lnTo>
                        <a:pt x="348" y="392"/>
                      </a:lnTo>
                      <a:lnTo>
                        <a:pt x="347" y="387"/>
                      </a:lnTo>
                      <a:lnTo>
                        <a:pt x="346" y="374"/>
                      </a:lnTo>
                      <a:lnTo>
                        <a:pt x="345" y="357"/>
                      </a:lnTo>
                      <a:lnTo>
                        <a:pt x="344" y="344"/>
                      </a:lnTo>
                      <a:lnTo>
                        <a:pt x="342" y="332"/>
                      </a:lnTo>
                      <a:lnTo>
                        <a:pt x="337" y="322"/>
                      </a:lnTo>
                      <a:lnTo>
                        <a:pt x="332" y="313"/>
                      </a:lnTo>
                      <a:lnTo>
                        <a:pt x="327" y="303"/>
                      </a:lnTo>
                      <a:lnTo>
                        <a:pt x="323" y="294"/>
                      </a:lnTo>
                      <a:lnTo>
                        <a:pt x="320" y="286"/>
                      </a:lnTo>
                      <a:lnTo>
                        <a:pt x="319" y="277"/>
                      </a:lnTo>
                      <a:lnTo>
                        <a:pt x="319" y="267"/>
                      </a:lnTo>
                      <a:lnTo>
                        <a:pt x="319" y="252"/>
                      </a:lnTo>
                      <a:lnTo>
                        <a:pt x="314" y="244"/>
                      </a:lnTo>
                      <a:lnTo>
                        <a:pt x="309" y="237"/>
                      </a:lnTo>
                      <a:lnTo>
                        <a:pt x="301" y="229"/>
                      </a:lnTo>
                      <a:lnTo>
                        <a:pt x="292" y="223"/>
                      </a:lnTo>
                      <a:lnTo>
                        <a:pt x="282" y="216"/>
                      </a:lnTo>
                      <a:lnTo>
                        <a:pt x="272" y="210"/>
                      </a:lnTo>
                      <a:lnTo>
                        <a:pt x="260" y="205"/>
                      </a:lnTo>
                      <a:lnTo>
                        <a:pt x="248" y="200"/>
                      </a:lnTo>
                      <a:lnTo>
                        <a:pt x="235" y="194"/>
                      </a:lnTo>
                      <a:lnTo>
                        <a:pt x="221" y="190"/>
                      </a:lnTo>
                      <a:lnTo>
                        <a:pt x="208" y="187"/>
                      </a:lnTo>
                      <a:lnTo>
                        <a:pt x="192" y="184"/>
                      </a:lnTo>
                      <a:lnTo>
                        <a:pt x="178" y="181"/>
                      </a:lnTo>
                      <a:lnTo>
                        <a:pt x="163" y="180"/>
                      </a:lnTo>
                      <a:lnTo>
                        <a:pt x="147" y="179"/>
                      </a:lnTo>
                      <a:lnTo>
                        <a:pt x="133" y="178"/>
                      </a:lnTo>
                      <a:lnTo>
                        <a:pt x="133" y="170"/>
                      </a:lnTo>
                      <a:lnTo>
                        <a:pt x="133" y="163"/>
                      </a:lnTo>
                      <a:lnTo>
                        <a:pt x="133" y="156"/>
                      </a:lnTo>
                      <a:lnTo>
                        <a:pt x="133" y="148"/>
                      </a:lnTo>
                      <a:lnTo>
                        <a:pt x="121" y="147"/>
                      </a:lnTo>
                      <a:lnTo>
                        <a:pt x="110" y="145"/>
                      </a:lnTo>
                      <a:lnTo>
                        <a:pt x="100" y="140"/>
                      </a:lnTo>
                      <a:lnTo>
                        <a:pt x="92" y="136"/>
                      </a:lnTo>
                      <a:lnTo>
                        <a:pt x="85" y="130"/>
                      </a:lnTo>
                      <a:lnTo>
                        <a:pt x="77" y="124"/>
                      </a:lnTo>
                      <a:lnTo>
                        <a:pt x="71" y="117"/>
                      </a:lnTo>
                      <a:lnTo>
                        <a:pt x="66" y="111"/>
                      </a:lnTo>
                      <a:lnTo>
                        <a:pt x="92" y="111"/>
                      </a:lnTo>
                      <a:lnTo>
                        <a:pt x="82" y="121"/>
                      </a:lnTo>
                      <a:lnTo>
                        <a:pt x="73" y="133"/>
                      </a:lnTo>
                      <a:lnTo>
                        <a:pt x="66" y="139"/>
                      </a:lnTo>
                      <a:lnTo>
                        <a:pt x="60" y="144"/>
                      </a:lnTo>
                      <a:lnTo>
                        <a:pt x="54" y="147"/>
                      </a:lnTo>
                      <a:lnTo>
                        <a:pt x="46" y="148"/>
                      </a:lnTo>
                      <a:lnTo>
                        <a:pt x="43" y="163"/>
                      </a:lnTo>
                      <a:lnTo>
                        <a:pt x="40" y="178"/>
                      </a:lnTo>
                      <a:lnTo>
                        <a:pt x="34" y="192"/>
                      </a:lnTo>
                      <a:lnTo>
                        <a:pt x="30" y="206"/>
                      </a:lnTo>
                      <a:lnTo>
                        <a:pt x="24" y="220"/>
                      </a:lnTo>
                      <a:lnTo>
                        <a:pt x="20" y="234"/>
                      </a:lnTo>
                      <a:lnTo>
                        <a:pt x="17" y="249"/>
                      </a:lnTo>
                      <a:lnTo>
                        <a:pt x="13" y="265"/>
                      </a:lnTo>
                      <a:lnTo>
                        <a:pt x="13" y="256"/>
                      </a:lnTo>
                      <a:lnTo>
                        <a:pt x="13" y="246"/>
                      </a:lnTo>
                      <a:lnTo>
                        <a:pt x="14" y="237"/>
                      </a:lnTo>
                      <a:lnTo>
                        <a:pt x="17" y="228"/>
                      </a:lnTo>
                      <a:lnTo>
                        <a:pt x="20" y="219"/>
                      </a:lnTo>
                      <a:lnTo>
                        <a:pt x="23" y="209"/>
                      </a:lnTo>
                      <a:lnTo>
                        <a:pt x="26" y="200"/>
                      </a:lnTo>
                      <a:lnTo>
                        <a:pt x="30" y="190"/>
                      </a:lnTo>
                      <a:lnTo>
                        <a:pt x="32" y="181"/>
                      </a:lnTo>
                      <a:lnTo>
                        <a:pt x="33" y="172"/>
                      </a:lnTo>
                      <a:lnTo>
                        <a:pt x="32" y="156"/>
                      </a:lnTo>
                      <a:lnTo>
                        <a:pt x="30" y="143"/>
                      </a:lnTo>
                      <a:lnTo>
                        <a:pt x="26" y="130"/>
                      </a:lnTo>
                      <a:lnTo>
                        <a:pt x="21" y="120"/>
                      </a:lnTo>
                      <a:lnTo>
                        <a:pt x="17" y="111"/>
                      </a:lnTo>
                      <a:lnTo>
                        <a:pt x="11" y="101"/>
                      </a:lnTo>
                      <a:lnTo>
                        <a:pt x="4" y="89"/>
                      </a:lnTo>
                      <a:lnTo>
                        <a:pt x="0" y="73"/>
                      </a:lnTo>
                      <a:lnTo>
                        <a:pt x="13" y="68"/>
                      </a:lnTo>
                      <a:lnTo>
                        <a:pt x="28" y="62"/>
                      </a:lnTo>
                      <a:lnTo>
                        <a:pt x="34" y="59"/>
                      </a:lnTo>
                      <a:lnTo>
                        <a:pt x="42" y="57"/>
                      </a:lnTo>
                      <a:lnTo>
                        <a:pt x="51" y="56"/>
                      </a:lnTo>
                      <a:lnTo>
                        <a:pt x="59" y="55"/>
                      </a:lnTo>
                      <a:lnTo>
                        <a:pt x="68" y="56"/>
                      </a:lnTo>
                      <a:lnTo>
                        <a:pt x="76" y="57"/>
                      </a:lnTo>
                      <a:lnTo>
                        <a:pt x="84" y="58"/>
                      </a:lnTo>
                      <a:lnTo>
                        <a:pt x="90" y="60"/>
                      </a:lnTo>
                      <a:lnTo>
                        <a:pt x="96" y="63"/>
                      </a:lnTo>
                      <a:lnTo>
                        <a:pt x="102" y="66"/>
                      </a:lnTo>
                      <a:lnTo>
                        <a:pt x="107" y="70"/>
                      </a:lnTo>
                      <a:lnTo>
                        <a:pt x="112" y="73"/>
                      </a:lnTo>
                      <a:lnTo>
                        <a:pt x="121" y="82"/>
                      </a:lnTo>
                      <a:lnTo>
                        <a:pt x="127" y="92"/>
                      </a:lnTo>
                      <a:lnTo>
                        <a:pt x="134" y="101"/>
                      </a:lnTo>
                      <a:lnTo>
                        <a:pt x="140" y="111"/>
                      </a:lnTo>
                      <a:lnTo>
                        <a:pt x="179" y="111"/>
                      </a:lnTo>
                      <a:lnTo>
                        <a:pt x="180" y="107"/>
                      </a:lnTo>
                      <a:lnTo>
                        <a:pt x="183" y="103"/>
                      </a:lnTo>
                      <a:lnTo>
                        <a:pt x="187" y="101"/>
                      </a:lnTo>
                      <a:lnTo>
                        <a:pt x="191" y="99"/>
                      </a:lnTo>
                      <a:lnTo>
                        <a:pt x="196" y="96"/>
                      </a:lnTo>
                      <a:lnTo>
                        <a:pt x="199" y="94"/>
                      </a:lnTo>
                      <a:lnTo>
                        <a:pt x="200" y="92"/>
                      </a:lnTo>
                      <a:lnTo>
                        <a:pt x="200" y="90"/>
                      </a:lnTo>
                      <a:lnTo>
                        <a:pt x="200" y="89"/>
                      </a:lnTo>
                      <a:lnTo>
                        <a:pt x="199" y="85"/>
                      </a:lnTo>
                      <a:lnTo>
                        <a:pt x="207" y="73"/>
                      </a:lnTo>
                      <a:lnTo>
                        <a:pt x="215" y="64"/>
                      </a:lnTo>
                      <a:lnTo>
                        <a:pt x="223" y="58"/>
                      </a:lnTo>
                      <a:lnTo>
                        <a:pt x="232" y="54"/>
                      </a:lnTo>
                      <a:lnTo>
                        <a:pt x="239" y="51"/>
                      </a:lnTo>
                      <a:lnTo>
                        <a:pt x="247" y="50"/>
                      </a:lnTo>
                      <a:lnTo>
                        <a:pt x="254" y="49"/>
                      </a:lnTo>
                      <a:lnTo>
                        <a:pt x="259" y="49"/>
                      </a:lnTo>
                      <a:lnTo>
                        <a:pt x="260" y="40"/>
                      </a:lnTo>
                      <a:lnTo>
                        <a:pt x="263" y="30"/>
                      </a:lnTo>
                      <a:lnTo>
                        <a:pt x="267" y="22"/>
                      </a:lnTo>
                      <a:lnTo>
                        <a:pt x="273" y="15"/>
                      </a:lnTo>
                      <a:lnTo>
                        <a:pt x="280" y="9"/>
                      </a:lnTo>
                      <a:lnTo>
                        <a:pt x="290" y="4"/>
                      </a:lnTo>
                      <a:lnTo>
                        <a:pt x="294" y="2"/>
                      </a:lnTo>
                      <a:lnTo>
                        <a:pt x="300" y="1"/>
                      </a:lnTo>
                      <a:lnTo>
                        <a:pt x="306" y="0"/>
                      </a:lnTo>
                      <a:lnTo>
                        <a:pt x="312" y="0"/>
                      </a:lnTo>
                      <a:lnTo>
                        <a:pt x="323" y="0"/>
                      </a:lnTo>
                      <a:lnTo>
                        <a:pt x="333" y="2"/>
                      </a:lnTo>
                      <a:lnTo>
                        <a:pt x="343" y="5"/>
                      </a:lnTo>
                      <a:lnTo>
                        <a:pt x="351" y="8"/>
                      </a:lnTo>
                      <a:lnTo>
                        <a:pt x="368" y="17"/>
                      </a:lnTo>
                      <a:lnTo>
                        <a:pt x="383" y="27"/>
                      </a:lnTo>
                      <a:lnTo>
                        <a:pt x="399" y="38"/>
                      </a:lnTo>
                      <a:lnTo>
                        <a:pt x="413" y="47"/>
                      </a:lnTo>
                      <a:lnTo>
                        <a:pt x="421" y="50"/>
                      </a:lnTo>
                      <a:lnTo>
                        <a:pt x="428" y="53"/>
                      </a:lnTo>
                      <a:lnTo>
                        <a:pt x="436" y="55"/>
                      </a:lnTo>
                      <a:lnTo>
                        <a:pt x="445" y="55"/>
                      </a:lnTo>
                      <a:lnTo>
                        <a:pt x="459" y="60"/>
                      </a:lnTo>
                      <a:lnTo>
                        <a:pt x="471" y="64"/>
                      </a:lnTo>
                      <a:lnTo>
                        <a:pt x="481" y="66"/>
                      </a:lnTo>
                      <a:lnTo>
                        <a:pt x="491" y="67"/>
                      </a:lnTo>
                      <a:lnTo>
                        <a:pt x="491" y="289"/>
                      </a:lnTo>
                      <a:lnTo>
                        <a:pt x="471" y="301"/>
                      </a:lnTo>
                      <a:lnTo>
                        <a:pt x="491" y="326"/>
                      </a:lnTo>
                      <a:lnTo>
                        <a:pt x="491" y="474"/>
                      </a:lnTo>
                      <a:lnTo>
                        <a:pt x="491" y="48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97" name="Freeform 341">
                  <a:extLst>
                    <a:ext uri="{FF2B5EF4-FFF2-40B4-BE49-F238E27FC236}">
                      <a16:creationId xmlns:a16="http://schemas.microsoft.com/office/drawing/2014/main" xmlns="" id="{126CC079-276F-4F80-AA23-430446A06A14}"/>
                    </a:ext>
                  </a:extLst>
                </p:cNvPr>
                <p:cNvSpPr>
                  <a:spLocks/>
                </p:cNvSpPr>
                <p:nvPr>
                  <p:custDataLst>
                    <p:tags r:id="rId244"/>
                  </p:custDataLst>
                </p:nvPr>
              </p:nvSpPr>
              <p:spPr bwMode="auto">
                <a:xfrm>
                  <a:off x="5851525" y="2527300"/>
                  <a:ext cx="53975" cy="60325"/>
                </a:xfrm>
                <a:custGeom>
                  <a:avLst/>
                  <a:gdLst>
                    <a:gd name="T0" fmla="*/ 0 w 133"/>
                    <a:gd name="T1" fmla="*/ 2147483646 h 117"/>
                    <a:gd name="T2" fmla="*/ 2147483646 w 133"/>
                    <a:gd name="T3" fmla="*/ 0 h 117"/>
                    <a:gd name="T4" fmla="*/ 2147483646 w 133"/>
                    <a:gd name="T5" fmla="*/ 2147483646 h 117"/>
                    <a:gd name="T6" fmla="*/ 2147483646 w 133"/>
                    <a:gd name="T7" fmla="*/ 2147483646 h 117"/>
                    <a:gd name="T8" fmla="*/ 2147483646 w 133"/>
                    <a:gd name="T9" fmla="*/ 2147483646 h 117"/>
                    <a:gd name="T10" fmla="*/ 2147483646 w 133"/>
                    <a:gd name="T11" fmla="*/ 2147483646 h 117"/>
                    <a:gd name="T12" fmla="*/ 2147483646 w 133"/>
                    <a:gd name="T13" fmla="*/ 2147483646 h 117"/>
                    <a:gd name="T14" fmla="*/ 2147483646 w 133"/>
                    <a:gd name="T15" fmla="*/ 2147483646 h 117"/>
                    <a:gd name="T16" fmla="*/ 2147483646 w 133"/>
                    <a:gd name="T17" fmla="*/ 2147483646 h 117"/>
                    <a:gd name="T18" fmla="*/ 2147483646 w 133"/>
                    <a:gd name="T19" fmla="*/ 2147483646 h 117"/>
                    <a:gd name="T20" fmla="*/ 2147483646 w 133"/>
                    <a:gd name="T21" fmla="*/ 2147483646 h 117"/>
                    <a:gd name="T22" fmla="*/ 2147483646 w 133"/>
                    <a:gd name="T23" fmla="*/ 2147483646 h 117"/>
                    <a:gd name="T24" fmla="*/ 2147483646 w 133"/>
                    <a:gd name="T25" fmla="*/ 2147483646 h 117"/>
                    <a:gd name="T26" fmla="*/ 2147483646 w 133"/>
                    <a:gd name="T27" fmla="*/ 2147483646 h 117"/>
                    <a:gd name="T28" fmla="*/ 2147483646 w 133"/>
                    <a:gd name="T29" fmla="*/ 2147483646 h 117"/>
                    <a:gd name="T30" fmla="*/ 2147483646 w 133"/>
                    <a:gd name="T31" fmla="*/ 2147483646 h 117"/>
                    <a:gd name="T32" fmla="*/ 2147483646 w 133"/>
                    <a:gd name="T33" fmla="*/ 2147483646 h 117"/>
                    <a:gd name="T34" fmla="*/ 2147483646 w 133"/>
                    <a:gd name="T35" fmla="*/ 2147483646 h 117"/>
                    <a:gd name="T36" fmla="*/ 2147483646 w 133"/>
                    <a:gd name="T37" fmla="*/ 2147483646 h 117"/>
                    <a:gd name="T38" fmla="*/ 2147483646 w 133"/>
                    <a:gd name="T39" fmla="*/ 2147483646 h 117"/>
                    <a:gd name="T40" fmla="*/ 2147483646 w 133"/>
                    <a:gd name="T41" fmla="*/ 2147483646 h 117"/>
                    <a:gd name="T42" fmla="*/ 2147483646 w 133"/>
                    <a:gd name="T43" fmla="*/ 2147483646 h 117"/>
                    <a:gd name="T44" fmla="*/ 2147483646 w 133"/>
                    <a:gd name="T45" fmla="*/ 2147483646 h 117"/>
                    <a:gd name="T46" fmla="*/ 2147483646 w 133"/>
                    <a:gd name="T47" fmla="*/ 2147483646 h 117"/>
                    <a:gd name="T48" fmla="*/ 2147483646 w 133"/>
                    <a:gd name="T49" fmla="*/ 2147483646 h 117"/>
                    <a:gd name="T50" fmla="*/ 0 w 133"/>
                    <a:gd name="T51" fmla="*/ 2147483646 h 117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33"/>
                    <a:gd name="T79" fmla="*/ 0 h 117"/>
                    <a:gd name="T80" fmla="*/ 133 w 133"/>
                    <a:gd name="T81" fmla="*/ 117 h 117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33" h="117">
                      <a:moveTo>
                        <a:pt x="0" y="19"/>
                      </a:moveTo>
                      <a:lnTo>
                        <a:pt x="72" y="0"/>
                      </a:lnTo>
                      <a:lnTo>
                        <a:pt x="81" y="6"/>
                      </a:lnTo>
                      <a:lnTo>
                        <a:pt x="91" y="14"/>
                      </a:lnTo>
                      <a:lnTo>
                        <a:pt x="101" y="25"/>
                      </a:lnTo>
                      <a:lnTo>
                        <a:pt x="109" y="37"/>
                      </a:lnTo>
                      <a:lnTo>
                        <a:pt x="118" y="49"/>
                      </a:lnTo>
                      <a:lnTo>
                        <a:pt x="126" y="62"/>
                      </a:lnTo>
                      <a:lnTo>
                        <a:pt x="128" y="68"/>
                      </a:lnTo>
                      <a:lnTo>
                        <a:pt x="130" y="74"/>
                      </a:lnTo>
                      <a:lnTo>
                        <a:pt x="131" y="80"/>
                      </a:lnTo>
                      <a:lnTo>
                        <a:pt x="133" y="86"/>
                      </a:lnTo>
                      <a:lnTo>
                        <a:pt x="131" y="92"/>
                      </a:lnTo>
                      <a:lnTo>
                        <a:pt x="128" y="97"/>
                      </a:lnTo>
                      <a:lnTo>
                        <a:pt x="124" y="102"/>
                      </a:lnTo>
                      <a:lnTo>
                        <a:pt x="118" y="107"/>
                      </a:lnTo>
                      <a:lnTo>
                        <a:pt x="113" y="111"/>
                      </a:lnTo>
                      <a:lnTo>
                        <a:pt x="107" y="114"/>
                      </a:lnTo>
                      <a:lnTo>
                        <a:pt x="103" y="117"/>
                      </a:lnTo>
                      <a:lnTo>
                        <a:pt x="100" y="117"/>
                      </a:lnTo>
                      <a:lnTo>
                        <a:pt x="72" y="95"/>
                      </a:lnTo>
                      <a:lnTo>
                        <a:pt x="45" y="70"/>
                      </a:lnTo>
                      <a:lnTo>
                        <a:pt x="32" y="58"/>
                      </a:lnTo>
                      <a:lnTo>
                        <a:pt x="18" y="46"/>
                      </a:lnTo>
                      <a:lnTo>
                        <a:pt x="8" y="33"/>
                      </a:lnTo>
                      <a:lnTo>
                        <a:pt x="0" y="1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98" name="Freeform 342">
                  <a:extLst>
                    <a:ext uri="{FF2B5EF4-FFF2-40B4-BE49-F238E27FC236}">
                      <a16:creationId xmlns:a16="http://schemas.microsoft.com/office/drawing/2014/main" xmlns="" id="{A6AF8657-DE7C-4539-97EB-A71F4859A119}"/>
                    </a:ext>
                  </a:extLst>
                </p:cNvPr>
                <p:cNvSpPr>
                  <a:spLocks/>
                </p:cNvSpPr>
                <p:nvPr>
                  <p:custDataLst>
                    <p:tags r:id="rId245"/>
                  </p:custDataLst>
                </p:nvPr>
              </p:nvSpPr>
              <p:spPr bwMode="auto">
                <a:xfrm>
                  <a:off x="4308475" y="1931988"/>
                  <a:ext cx="220663" cy="177800"/>
                </a:xfrm>
                <a:custGeom>
                  <a:avLst/>
                  <a:gdLst>
                    <a:gd name="T0" fmla="*/ 2147483646 w 505"/>
                    <a:gd name="T1" fmla="*/ 2147483646 h 339"/>
                    <a:gd name="T2" fmla="*/ 2147483646 w 505"/>
                    <a:gd name="T3" fmla="*/ 2147483646 h 339"/>
                    <a:gd name="T4" fmla="*/ 2147483646 w 505"/>
                    <a:gd name="T5" fmla="*/ 2147483646 h 339"/>
                    <a:gd name="T6" fmla="*/ 2147483646 w 505"/>
                    <a:gd name="T7" fmla="*/ 2147483646 h 339"/>
                    <a:gd name="T8" fmla="*/ 2147483646 w 505"/>
                    <a:gd name="T9" fmla="*/ 2147483646 h 339"/>
                    <a:gd name="T10" fmla="*/ 2147483646 w 505"/>
                    <a:gd name="T11" fmla="*/ 2147483646 h 339"/>
                    <a:gd name="T12" fmla="*/ 2147483646 w 505"/>
                    <a:gd name="T13" fmla="*/ 2147483646 h 339"/>
                    <a:gd name="T14" fmla="*/ 2147483646 w 505"/>
                    <a:gd name="T15" fmla="*/ 2147483646 h 339"/>
                    <a:gd name="T16" fmla="*/ 2147483646 w 505"/>
                    <a:gd name="T17" fmla="*/ 2147483646 h 339"/>
                    <a:gd name="T18" fmla="*/ 2147483646 w 505"/>
                    <a:gd name="T19" fmla="*/ 2147483646 h 339"/>
                    <a:gd name="T20" fmla="*/ 2147483646 w 505"/>
                    <a:gd name="T21" fmla="*/ 2147483646 h 339"/>
                    <a:gd name="T22" fmla="*/ 2147483646 w 505"/>
                    <a:gd name="T23" fmla="*/ 2147483646 h 339"/>
                    <a:gd name="T24" fmla="*/ 2147483646 w 505"/>
                    <a:gd name="T25" fmla="*/ 2147483646 h 339"/>
                    <a:gd name="T26" fmla="*/ 2147483646 w 505"/>
                    <a:gd name="T27" fmla="*/ 2147483646 h 339"/>
                    <a:gd name="T28" fmla="*/ 2147483646 w 505"/>
                    <a:gd name="T29" fmla="*/ 2147483646 h 339"/>
                    <a:gd name="T30" fmla="*/ 2147483646 w 505"/>
                    <a:gd name="T31" fmla="*/ 2147483646 h 339"/>
                    <a:gd name="T32" fmla="*/ 2147483646 w 505"/>
                    <a:gd name="T33" fmla="*/ 2147483646 h 339"/>
                    <a:gd name="T34" fmla="*/ 2147483646 w 505"/>
                    <a:gd name="T35" fmla="*/ 2147483646 h 339"/>
                    <a:gd name="T36" fmla="*/ 2147483646 w 505"/>
                    <a:gd name="T37" fmla="*/ 2147483646 h 339"/>
                    <a:gd name="T38" fmla="*/ 2147483646 w 505"/>
                    <a:gd name="T39" fmla="*/ 2147483646 h 339"/>
                    <a:gd name="T40" fmla="*/ 2147483646 w 505"/>
                    <a:gd name="T41" fmla="*/ 2147483646 h 339"/>
                    <a:gd name="T42" fmla="*/ 2147483646 w 505"/>
                    <a:gd name="T43" fmla="*/ 2147483646 h 339"/>
                    <a:gd name="T44" fmla="*/ 2147483646 w 505"/>
                    <a:gd name="T45" fmla="*/ 2147483646 h 339"/>
                    <a:gd name="T46" fmla="*/ 2147483646 w 505"/>
                    <a:gd name="T47" fmla="*/ 2147483646 h 339"/>
                    <a:gd name="T48" fmla="*/ 2147483646 w 505"/>
                    <a:gd name="T49" fmla="*/ 2147483646 h 339"/>
                    <a:gd name="T50" fmla="*/ 2147483646 w 505"/>
                    <a:gd name="T51" fmla="*/ 2147483646 h 339"/>
                    <a:gd name="T52" fmla="*/ 2147483646 w 505"/>
                    <a:gd name="T53" fmla="*/ 2147483646 h 339"/>
                    <a:gd name="T54" fmla="*/ 2147483646 w 505"/>
                    <a:gd name="T55" fmla="*/ 2147483646 h 339"/>
                    <a:gd name="T56" fmla="*/ 2147483646 w 505"/>
                    <a:gd name="T57" fmla="*/ 2147483646 h 339"/>
                    <a:gd name="T58" fmla="*/ 2147483646 w 505"/>
                    <a:gd name="T59" fmla="*/ 2147483646 h 339"/>
                    <a:gd name="T60" fmla="*/ 2147483646 w 505"/>
                    <a:gd name="T61" fmla="*/ 2147483646 h 339"/>
                    <a:gd name="T62" fmla="*/ 2147483646 w 505"/>
                    <a:gd name="T63" fmla="*/ 2147483646 h 339"/>
                    <a:gd name="T64" fmla="*/ 2147483646 w 505"/>
                    <a:gd name="T65" fmla="*/ 2147483646 h 339"/>
                    <a:gd name="T66" fmla="*/ 2147483646 w 505"/>
                    <a:gd name="T67" fmla="*/ 2147483646 h 339"/>
                    <a:gd name="T68" fmla="*/ 2147483646 w 505"/>
                    <a:gd name="T69" fmla="*/ 2147483646 h 339"/>
                    <a:gd name="T70" fmla="*/ 2147483646 w 505"/>
                    <a:gd name="T71" fmla="*/ 2147483646 h 339"/>
                    <a:gd name="T72" fmla="*/ 2147483646 w 505"/>
                    <a:gd name="T73" fmla="*/ 2147483646 h 339"/>
                    <a:gd name="T74" fmla="*/ 2147483646 w 505"/>
                    <a:gd name="T75" fmla="*/ 2147483646 h 339"/>
                    <a:gd name="T76" fmla="*/ 2147483646 w 505"/>
                    <a:gd name="T77" fmla="*/ 2147483646 h 339"/>
                    <a:gd name="T78" fmla="*/ 2147483646 w 505"/>
                    <a:gd name="T79" fmla="*/ 2147483646 h 339"/>
                    <a:gd name="T80" fmla="*/ 2147483646 w 505"/>
                    <a:gd name="T81" fmla="*/ 2147483646 h 339"/>
                    <a:gd name="T82" fmla="*/ 2147483646 w 505"/>
                    <a:gd name="T83" fmla="*/ 2147483646 h 339"/>
                    <a:gd name="T84" fmla="*/ 2147483646 w 505"/>
                    <a:gd name="T85" fmla="*/ 2147483646 h 33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505"/>
                    <a:gd name="T130" fmla="*/ 0 h 339"/>
                    <a:gd name="T131" fmla="*/ 505 w 505"/>
                    <a:gd name="T132" fmla="*/ 339 h 33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505" h="339">
                      <a:moveTo>
                        <a:pt x="259" y="24"/>
                      </a:moveTo>
                      <a:lnTo>
                        <a:pt x="272" y="36"/>
                      </a:lnTo>
                      <a:lnTo>
                        <a:pt x="444" y="48"/>
                      </a:lnTo>
                      <a:lnTo>
                        <a:pt x="484" y="86"/>
                      </a:lnTo>
                      <a:lnTo>
                        <a:pt x="482" y="97"/>
                      </a:lnTo>
                      <a:lnTo>
                        <a:pt x="478" y="109"/>
                      </a:lnTo>
                      <a:lnTo>
                        <a:pt x="474" y="120"/>
                      </a:lnTo>
                      <a:lnTo>
                        <a:pt x="471" y="129"/>
                      </a:lnTo>
                      <a:lnTo>
                        <a:pt x="465" y="138"/>
                      </a:lnTo>
                      <a:lnTo>
                        <a:pt x="461" y="145"/>
                      </a:lnTo>
                      <a:lnTo>
                        <a:pt x="456" y="150"/>
                      </a:lnTo>
                      <a:lnTo>
                        <a:pt x="451" y="153"/>
                      </a:lnTo>
                      <a:lnTo>
                        <a:pt x="455" y="169"/>
                      </a:lnTo>
                      <a:lnTo>
                        <a:pt x="461" y="184"/>
                      </a:lnTo>
                      <a:lnTo>
                        <a:pt x="470" y="200"/>
                      </a:lnTo>
                      <a:lnTo>
                        <a:pt x="477" y="215"/>
                      </a:lnTo>
                      <a:lnTo>
                        <a:pt x="494" y="242"/>
                      </a:lnTo>
                      <a:lnTo>
                        <a:pt x="505" y="258"/>
                      </a:lnTo>
                      <a:lnTo>
                        <a:pt x="499" y="264"/>
                      </a:lnTo>
                      <a:lnTo>
                        <a:pt x="493" y="271"/>
                      </a:lnTo>
                      <a:lnTo>
                        <a:pt x="486" y="281"/>
                      </a:lnTo>
                      <a:lnTo>
                        <a:pt x="479" y="292"/>
                      </a:lnTo>
                      <a:lnTo>
                        <a:pt x="474" y="303"/>
                      </a:lnTo>
                      <a:lnTo>
                        <a:pt x="468" y="314"/>
                      </a:lnTo>
                      <a:lnTo>
                        <a:pt x="465" y="326"/>
                      </a:lnTo>
                      <a:lnTo>
                        <a:pt x="464" y="339"/>
                      </a:lnTo>
                      <a:lnTo>
                        <a:pt x="457" y="339"/>
                      </a:lnTo>
                      <a:lnTo>
                        <a:pt x="443" y="338"/>
                      </a:lnTo>
                      <a:lnTo>
                        <a:pt x="428" y="337"/>
                      </a:lnTo>
                      <a:lnTo>
                        <a:pt x="414" y="335"/>
                      </a:lnTo>
                      <a:lnTo>
                        <a:pt x="399" y="333"/>
                      </a:lnTo>
                      <a:lnTo>
                        <a:pt x="385" y="331"/>
                      </a:lnTo>
                      <a:lnTo>
                        <a:pt x="371" y="328"/>
                      </a:lnTo>
                      <a:lnTo>
                        <a:pt x="358" y="326"/>
                      </a:lnTo>
                      <a:lnTo>
                        <a:pt x="344" y="326"/>
                      </a:lnTo>
                      <a:lnTo>
                        <a:pt x="304" y="325"/>
                      </a:lnTo>
                      <a:lnTo>
                        <a:pt x="275" y="323"/>
                      </a:lnTo>
                      <a:lnTo>
                        <a:pt x="264" y="321"/>
                      </a:lnTo>
                      <a:lnTo>
                        <a:pt x="255" y="319"/>
                      </a:lnTo>
                      <a:lnTo>
                        <a:pt x="248" y="317"/>
                      </a:lnTo>
                      <a:lnTo>
                        <a:pt x="242" y="315"/>
                      </a:lnTo>
                      <a:lnTo>
                        <a:pt x="232" y="310"/>
                      </a:lnTo>
                      <a:lnTo>
                        <a:pt x="224" y="305"/>
                      </a:lnTo>
                      <a:lnTo>
                        <a:pt x="213" y="300"/>
                      </a:lnTo>
                      <a:lnTo>
                        <a:pt x="198" y="295"/>
                      </a:lnTo>
                      <a:lnTo>
                        <a:pt x="180" y="289"/>
                      </a:lnTo>
                      <a:lnTo>
                        <a:pt x="162" y="282"/>
                      </a:lnTo>
                      <a:lnTo>
                        <a:pt x="146" y="273"/>
                      </a:lnTo>
                      <a:lnTo>
                        <a:pt x="130" y="266"/>
                      </a:lnTo>
                      <a:lnTo>
                        <a:pt x="98" y="249"/>
                      </a:lnTo>
                      <a:lnTo>
                        <a:pt x="65" y="228"/>
                      </a:lnTo>
                      <a:lnTo>
                        <a:pt x="62" y="206"/>
                      </a:lnTo>
                      <a:lnTo>
                        <a:pt x="57" y="187"/>
                      </a:lnTo>
                      <a:lnTo>
                        <a:pt x="52" y="169"/>
                      </a:lnTo>
                      <a:lnTo>
                        <a:pt x="47" y="152"/>
                      </a:lnTo>
                      <a:lnTo>
                        <a:pt x="36" y="124"/>
                      </a:lnTo>
                      <a:lnTo>
                        <a:pt x="25" y="100"/>
                      </a:lnTo>
                      <a:lnTo>
                        <a:pt x="15" y="83"/>
                      </a:lnTo>
                      <a:lnTo>
                        <a:pt x="7" y="71"/>
                      </a:lnTo>
                      <a:lnTo>
                        <a:pt x="2" y="64"/>
                      </a:lnTo>
                      <a:lnTo>
                        <a:pt x="0" y="62"/>
                      </a:lnTo>
                      <a:lnTo>
                        <a:pt x="5" y="61"/>
                      </a:lnTo>
                      <a:lnTo>
                        <a:pt x="8" y="59"/>
                      </a:lnTo>
                      <a:lnTo>
                        <a:pt x="11" y="56"/>
                      </a:lnTo>
                      <a:lnTo>
                        <a:pt x="11" y="51"/>
                      </a:lnTo>
                      <a:lnTo>
                        <a:pt x="11" y="48"/>
                      </a:lnTo>
                      <a:lnTo>
                        <a:pt x="11" y="45"/>
                      </a:lnTo>
                      <a:lnTo>
                        <a:pt x="11" y="43"/>
                      </a:lnTo>
                      <a:lnTo>
                        <a:pt x="13" y="42"/>
                      </a:lnTo>
                      <a:lnTo>
                        <a:pt x="34" y="34"/>
                      </a:lnTo>
                      <a:lnTo>
                        <a:pt x="55" y="27"/>
                      </a:lnTo>
                      <a:lnTo>
                        <a:pt x="73" y="22"/>
                      </a:lnTo>
                      <a:lnTo>
                        <a:pt x="92" y="17"/>
                      </a:lnTo>
                      <a:lnTo>
                        <a:pt x="128" y="8"/>
                      </a:lnTo>
                      <a:lnTo>
                        <a:pt x="165" y="0"/>
                      </a:lnTo>
                      <a:lnTo>
                        <a:pt x="173" y="11"/>
                      </a:lnTo>
                      <a:lnTo>
                        <a:pt x="183" y="23"/>
                      </a:lnTo>
                      <a:lnTo>
                        <a:pt x="188" y="28"/>
                      </a:lnTo>
                      <a:lnTo>
                        <a:pt x="194" y="32"/>
                      </a:lnTo>
                      <a:lnTo>
                        <a:pt x="201" y="35"/>
                      </a:lnTo>
                      <a:lnTo>
                        <a:pt x="205" y="36"/>
                      </a:lnTo>
                      <a:lnTo>
                        <a:pt x="219" y="36"/>
                      </a:lnTo>
                      <a:lnTo>
                        <a:pt x="230" y="36"/>
                      </a:lnTo>
                      <a:lnTo>
                        <a:pt x="239" y="36"/>
                      </a:lnTo>
                      <a:lnTo>
                        <a:pt x="246" y="36"/>
                      </a:lnTo>
                      <a:lnTo>
                        <a:pt x="259" y="2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99" name="Freeform 343">
                  <a:extLst>
                    <a:ext uri="{FF2B5EF4-FFF2-40B4-BE49-F238E27FC236}">
                      <a16:creationId xmlns:a16="http://schemas.microsoft.com/office/drawing/2014/main" xmlns="" id="{0DDFF2F5-0E4F-48C4-A034-B61F32B5C47D}"/>
                    </a:ext>
                  </a:extLst>
                </p:cNvPr>
                <p:cNvSpPr>
                  <a:spLocks/>
                </p:cNvSpPr>
                <p:nvPr>
                  <p:custDataLst>
                    <p:tags r:id="rId246"/>
                  </p:custDataLst>
                </p:nvPr>
              </p:nvSpPr>
              <p:spPr bwMode="auto">
                <a:xfrm>
                  <a:off x="4371975" y="2136775"/>
                  <a:ext cx="146050" cy="71438"/>
                </a:xfrm>
                <a:custGeom>
                  <a:avLst/>
                  <a:gdLst>
                    <a:gd name="T0" fmla="*/ 2147483646 w 338"/>
                    <a:gd name="T1" fmla="*/ 0 h 141"/>
                    <a:gd name="T2" fmla="*/ 2147483646 w 338"/>
                    <a:gd name="T3" fmla="*/ 0 h 141"/>
                    <a:gd name="T4" fmla="*/ 2147483646 w 338"/>
                    <a:gd name="T5" fmla="*/ 2147483646 h 141"/>
                    <a:gd name="T6" fmla="*/ 2147483646 w 338"/>
                    <a:gd name="T7" fmla="*/ 2147483646 h 141"/>
                    <a:gd name="T8" fmla="*/ 2147483646 w 338"/>
                    <a:gd name="T9" fmla="*/ 2147483646 h 141"/>
                    <a:gd name="T10" fmla="*/ 2147483646 w 338"/>
                    <a:gd name="T11" fmla="*/ 2147483646 h 141"/>
                    <a:gd name="T12" fmla="*/ 2147483646 w 338"/>
                    <a:gd name="T13" fmla="*/ 2147483646 h 141"/>
                    <a:gd name="T14" fmla="*/ 2147483646 w 338"/>
                    <a:gd name="T15" fmla="*/ 2147483646 h 141"/>
                    <a:gd name="T16" fmla="*/ 2147483646 w 338"/>
                    <a:gd name="T17" fmla="*/ 2147483646 h 141"/>
                    <a:gd name="T18" fmla="*/ 2147483646 w 338"/>
                    <a:gd name="T19" fmla="*/ 2147483646 h 141"/>
                    <a:gd name="T20" fmla="*/ 2147483646 w 338"/>
                    <a:gd name="T21" fmla="*/ 2147483646 h 141"/>
                    <a:gd name="T22" fmla="*/ 2147483646 w 338"/>
                    <a:gd name="T23" fmla="*/ 2147483646 h 141"/>
                    <a:gd name="T24" fmla="*/ 2147483646 w 338"/>
                    <a:gd name="T25" fmla="*/ 2147483646 h 141"/>
                    <a:gd name="T26" fmla="*/ 2147483646 w 338"/>
                    <a:gd name="T27" fmla="*/ 2147483646 h 141"/>
                    <a:gd name="T28" fmla="*/ 2147483646 w 338"/>
                    <a:gd name="T29" fmla="*/ 2147483646 h 141"/>
                    <a:gd name="T30" fmla="*/ 2147483646 w 338"/>
                    <a:gd name="T31" fmla="*/ 2147483646 h 141"/>
                    <a:gd name="T32" fmla="*/ 2147483646 w 338"/>
                    <a:gd name="T33" fmla="*/ 2147483646 h 141"/>
                    <a:gd name="T34" fmla="*/ 2147483646 w 338"/>
                    <a:gd name="T35" fmla="*/ 2147483646 h 141"/>
                    <a:gd name="T36" fmla="*/ 2147483646 w 338"/>
                    <a:gd name="T37" fmla="*/ 2147483646 h 141"/>
                    <a:gd name="T38" fmla="*/ 2147483646 w 338"/>
                    <a:gd name="T39" fmla="*/ 2147483646 h 141"/>
                    <a:gd name="T40" fmla="*/ 2147483646 w 338"/>
                    <a:gd name="T41" fmla="*/ 2147483646 h 141"/>
                    <a:gd name="T42" fmla="*/ 0 w 338"/>
                    <a:gd name="T43" fmla="*/ 2147483646 h 141"/>
                    <a:gd name="T44" fmla="*/ 2147483646 w 338"/>
                    <a:gd name="T45" fmla="*/ 2147483646 h 141"/>
                    <a:gd name="T46" fmla="*/ 2147483646 w 338"/>
                    <a:gd name="T47" fmla="*/ 2147483646 h 141"/>
                    <a:gd name="T48" fmla="*/ 2147483646 w 338"/>
                    <a:gd name="T49" fmla="*/ 2147483646 h 141"/>
                    <a:gd name="T50" fmla="*/ 2147483646 w 338"/>
                    <a:gd name="T51" fmla="*/ 2147483646 h 141"/>
                    <a:gd name="T52" fmla="*/ 2147483646 w 338"/>
                    <a:gd name="T53" fmla="*/ 2147483646 h 141"/>
                    <a:gd name="T54" fmla="*/ 2147483646 w 338"/>
                    <a:gd name="T55" fmla="*/ 2147483646 h 141"/>
                    <a:gd name="T56" fmla="*/ 2147483646 w 338"/>
                    <a:gd name="T57" fmla="*/ 2147483646 h 141"/>
                    <a:gd name="T58" fmla="*/ 2147483646 w 338"/>
                    <a:gd name="T59" fmla="*/ 2147483646 h 141"/>
                    <a:gd name="T60" fmla="*/ 2147483646 w 338"/>
                    <a:gd name="T61" fmla="*/ 2147483646 h 141"/>
                    <a:gd name="T62" fmla="*/ 2147483646 w 338"/>
                    <a:gd name="T63" fmla="*/ 2147483646 h 141"/>
                    <a:gd name="T64" fmla="*/ 2147483646 w 338"/>
                    <a:gd name="T65" fmla="*/ 2147483646 h 141"/>
                    <a:gd name="T66" fmla="*/ 2147483646 w 338"/>
                    <a:gd name="T67" fmla="*/ 2147483646 h 141"/>
                    <a:gd name="T68" fmla="*/ 2147483646 w 338"/>
                    <a:gd name="T69" fmla="*/ 2147483646 h 141"/>
                    <a:gd name="T70" fmla="*/ 2147483646 w 338"/>
                    <a:gd name="T71" fmla="*/ 2147483646 h 141"/>
                    <a:gd name="T72" fmla="*/ 2147483646 w 338"/>
                    <a:gd name="T73" fmla="*/ 2147483646 h 141"/>
                    <a:gd name="T74" fmla="*/ 2147483646 w 338"/>
                    <a:gd name="T75" fmla="*/ 2147483646 h 141"/>
                    <a:gd name="T76" fmla="*/ 2147483646 w 338"/>
                    <a:gd name="T77" fmla="*/ 2147483646 h 141"/>
                    <a:gd name="T78" fmla="*/ 2147483646 w 338"/>
                    <a:gd name="T79" fmla="*/ 0 h 141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38"/>
                    <a:gd name="T121" fmla="*/ 0 h 141"/>
                    <a:gd name="T122" fmla="*/ 338 w 338"/>
                    <a:gd name="T123" fmla="*/ 141 h 141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38" h="141">
                      <a:moveTo>
                        <a:pt x="312" y="0"/>
                      </a:moveTo>
                      <a:lnTo>
                        <a:pt x="186" y="0"/>
                      </a:lnTo>
                      <a:lnTo>
                        <a:pt x="168" y="8"/>
                      </a:lnTo>
                      <a:lnTo>
                        <a:pt x="144" y="21"/>
                      </a:lnTo>
                      <a:lnTo>
                        <a:pt x="132" y="27"/>
                      </a:lnTo>
                      <a:lnTo>
                        <a:pt x="119" y="32"/>
                      </a:lnTo>
                      <a:lnTo>
                        <a:pt x="112" y="34"/>
                      </a:lnTo>
                      <a:lnTo>
                        <a:pt x="105" y="35"/>
                      </a:lnTo>
                      <a:lnTo>
                        <a:pt x="99" y="36"/>
                      </a:lnTo>
                      <a:lnTo>
                        <a:pt x="93" y="37"/>
                      </a:lnTo>
                      <a:lnTo>
                        <a:pt x="88" y="36"/>
                      </a:lnTo>
                      <a:lnTo>
                        <a:pt x="84" y="35"/>
                      </a:lnTo>
                      <a:lnTo>
                        <a:pt x="78" y="32"/>
                      </a:lnTo>
                      <a:lnTo>
                        <a:pt x="74" y="30"/>
                      </a:lnTo>
                      <a:lnTo>
                        <a:pt x="66" y="24"/>
                      </a:lnTo>
                      <a:lnTo>
                        <a:pt x="59" y="18"/>
                      </a:lnTo>
                      <a:lnTo>
                        <a:pt x="49" y="34"/>
                      </a:lnTo>
                      <a:lnTo>
                        <a:pt x="37" y="51"/>
                      </a:lnTo>
                      <a:lnTo>
                        <a:pt x="30" y="60"/>
                      </a:lnTo>
                      <a:lnTo>
                        <a:pt x="21" y="68"/>
                      </a:lnTo>
                      <a:lnTo>
                        <a:pt x="11" y="75"/>
                      </a:lnTo>
                      <a:lnTo>
                        <a:pt x="0" y="80"/>
                      </a:lnTo>
                      <a:lnTo>
                        <a:pt x="12" y="90"/>
                      </a:lnTo>
                      <a:lnTo>
                        <a:pt x="23" y="100"/>
                      </a:lnTo>
                      <a:lnTo>
                        <a:pt x="33" y="108"/>
                      </a:lnTo>
                      <a:lnTo>
                        <a:pt x="44" y="116"/>
                      </a:lnTo>
                      <a:lnTo>
                        <a:pt x="55" y="122"/>
                      </a:lnTo>
                      <a:lnTo>
                        <a:pt x="66" y="129"/>
                      </a:lnTo>
                      <a:lnTo>
                        <a:pt x="79" y="135"/>
                      </a:lnTo>
                      <a:lnTo>
                        <a:pt x="93" y="141"/>
                      </a:lnTo>
                      <a:lnTo>
                        <a:pt x="259" y="141"/>
                      </a:lnTo>
                      <a:lnTo>
                        <a:pt x="269" y="124"/>
                      </a:lnTo>
                      <a:lnTo>
                        <a:pt x="281" y="107"/>
                      </a:lnTo>
                      <a:lnTo>
                        <a:pt x="292" y="92"/>
                      </a:lnTo>
                      <a:lnTo>
                        <a:pt x="304" y="78"/>
                      </a:lnTo>
                      <a:lnTo>
                        <a:pt x="315" y="64"/>
                      </a:lnTo>
                      <a:lnTo>
                        <a:pt x="324" y="48"/>
                      </a:lnTo>
                      <a:lnTo>
                        <a:pt x="333" y="34"/>
                      </a:lnTo>
                      <a:lnTo>
                        <a:pt x="338" y="18"/>
                      </a:lnTo>
                      <a:lnTo>
                        <a:pt x="312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00" name="Freeform 344">
                  <a:extLst>
                    <a:ext uri="{FF2B5EF4-FFF2-40B4-BE49-F238E27FC236}">
                      <a16:creationId xmlns:a16="http://schemas.microsoft.com/office/drawing/2014/main" xmlns="" id="{7AB0D8EC-58EC-4981-90CE-AA40AA7B3C61}"/>
                    </a:ext>
                  </a:extLst>
                </p:cNvPr>
                <p:cNvSpPr>
                  <a:spLocks/>
                </p:cNvSpPr>
                <p:nvPr>
                  <p:custDataLst>
                    <p:tags r:id="rId247"/>
                  </p:custDataLst>
                </p:nvPr>
              </p:nvSpPr>
              <p:spPr bwMode="auto">
                <a:xfrm>
                  <a:off x="4471988" y="1792288"/>
                  <a:ext cx="111125" cy="65087"/>
                </a:xfrm>
                <a:custGeom>
                  <a:avLst/>
                  <a:gdLst>
                    <a:gd name="T0" fmla="*/ 2147483646 w 259"/>
                    <a:gd name="T1" fmla="*/ 2147483646 h 129"/>
                    <a:gd name="T2" fmla="*/ 2147483646 w 259"/>
                    <a:gd name="T3" fmla="*/ 2147483646 h 129"/>
                    <a:gd name="T4" fmla="*/ 2147483646 w 259"/>
                    <a:gd name="T5" fmla="*/ 2147483646 h 129"/>
                    <a:gd name="T6" fmla="*/ 2147483646 w 259"/>
                    <a:gd name="T7" fmla="*/ 2147483646 h 129"/>
                    <a:gd name="T8" fmla="*/ 2147483646 w 259"/>
                    <a:gd name="T9" fmla="*/ 2147483646 h 129"/>
                    <a:gd name="T10" fmla="*/ 2147483646 w 259"/>
                    <a:gd name="T11" fmla="*/ 2147483646 h 129"/>
                    <a:gd name="T12" fmla="*/ 2147483646 w 259"/>
                    <a:gd name="T13" fmla="*/ 2147483646 h 129"/>
                    <a:gd name="T14" fmla="*/ 2147483646 w 259"/>
                    <a:gd name="T15" fmla="*/ 2147483646 h 129"/>
                    <a:gd name="T16" fmla="*/ 2147483646 w 259"/>
                    <a:gd name="T17" fmla="*/ 2147483646 h 129"/>
                    <a:gd name="T18" fmla="*/ 2147483646 w 259"/>
                    <a:gd name="T19" fmla="*/ 2147483646 h 129"/>
                    <a:gd name="T20" fmla="*/ 2147483646 w 259"/>
                    <a:gd name="T21" fmla="*/ 2147483646 h 129"/>
                    <a:gd name="T22" fmla="*/ 2147483646 w 259"/>
                    <a:gd name="T23" fmla="*/ 2147483646 h 129"/>
                    <a:gd name="T24" fmla="*/ 2147483646 w 259"/>
                    <a:gd name="T25" fmla="*/ 2147483646 h 129"/>
                    <a:gd name="T26" fmla="*/ 2147483646 w 259"/>
                    <a:gd name="T27" fmla="*/ 2147483646 h 129"/>
                    <a:gd name="T28" fmla="*/ 2147483646 w 259"/>
                    <a:gd name="T29" fmla="*/ 2147483646 h 129"/>
                    <a:gd name="T30" fmla="*/ 2147483646 w 259"/>
                    <a:gd name="T31" fmla="*/ 2147483646 h 129"/>
                    <a:gd name="T32" fmla="*/ 2147483646 w 259"/>
                    <a:gd name="T33" fmla="*/ 2147483646 h 129"/>
                    <a:gd name="T34" fmla="*/ 2147483646 w 259"/>
                    <a:gd name="T35" fmla="*/ 2147483646 h 129"/>
                    <a:gd name="T36" fmla="*/ 2147483646 w 259"/>
                    <a:gd name="T37" fmla="*/ 2147483646 h 129"/>
                    <a:gd name="T38" fmla="*/ 2147483646 w 259"/>
                    <a:gd name="T39" fmla="*/ 2147483646 h 129"/>
                    <a:gd name="T40" fmla="*/ 2147483646 w 259"/>
                    <a:gd name="T41" fmla="*/ 2147483646 h 129"/>
                    <a:gd name="T42" fmla="*/ 2147483646 w 259"/>
                    <a:gd name="T43" fmla="*/ 2147483646 h 129"/>
                    <a:gd name="T44" fmla="*/ 2147483646 w 259"/>
                    <a:gd name="T45" fmla="*/ 0 h 129"/>
                    <a:gd name="T46" fmla="*/ 2147483646 w 259"/>
                    <a:gd name="T47" fmla="*/ 0 h 129"/>
                    <a:gd name="T48" fmla="*/ 2147483646 w 259"/>
                    <a:gd name="T49" fmla="*/ 0 h 129"/>
                    <a:gd name="T50" fmla="*/ 2147483646 w 259"/>
                    <a:gd name="T51" fmla="*/ 0 h 129"/>
                    <a:gd name="T52" fmla="*/ 2147483646 w 259"/>
                    <a:gd name="T53" fmla="*/ 2147483646 h 129"/>
                    <a:gd name="T54" fmla="*/ 2147483646 w 259"/>
                    <a:gd name="T55" fmla="*/ 2147483646 h 129"/>
                    <a:gd name="T56" fmla="*/ 2147483646 w 259"/>
                    <a:gd name="T57" fmla="*/ 2147483646 h 129"/>
                    <a:gd name="T58" fmla="*/ 2147483646 w 259"/>
                    <a:gd name="T59" fmla="*/ 2147483646 h 129"/>
                    <a:gd name="T60" fmla="*/ 2147483646 w 259"/>
                    <a:gd name="T61" fmla="*/ 2147483646 h 129"/>
                    <a:gd name="T62" fmla="*/ 2147483646 w 259"/>
                    <a:gd name="T63" fmla="*/ 2147483646 h 129"/>
                    <a:gd name="T64" fmla="*/ 2147483646 w 259"/>
                    <a:gd name="T65" fmla="*/ 2147483646 h 129"/>
                    <a:gd name="T66" fmla="*/ 0 w 259"/>
                    <a:gd name="T67" fmla="*/ 2147483646 h 129"/>
                    <a:gd name="T68" fmla="*/ 0 w 259"/>
                    <a:gd name="T69" fmla="*/ 2147483646 h 129"/>
                    <a:gd name="T70" fmla="*/ 0 w 259"/>
                    <a:gd name="T71" fmla="*/ 2147483646 h 129"/>
                    <a:gd name="T72" fmla="*/ 2147483646 w 259"/>
                    <a:gd name="T73" fmla="*/ 2147483646 h 129"/>
                    <a:gd name="T74" fmla="*/ 2147483646 w 259"/>
                    <a:gd name="T75" fmla="*/ 2147483646 h 129"/>
                    <a:gd name="T76" fmla="*/ 2147483646 w 259"/>
                    <a:gd name="T77" fmla="*/ 2147483646 h 129"/>
                    <a:gd name="T78" fmla="*/ 2147483646 w 259"/>
                    <a:gd name="T79" fmla="*/ 2147483646 h 129"/>
                    <a:gd name="T80" fmla="*/ 2147483646 w 259"/>
                    <a:gd name="T81" fmla="*/ 2147483646 h 129"/>
                    <a:gd name="T82" fmla="*/ 2147483646 w 259"/>
                    <a:gd name="T83" fmla="*/ 2147483646 h 129"/>
                    <a:gd name="T84" fmla="*/ 2147483646 w 259"/>
                    <a:gd name="T85" fmla="*/ 2147483646 h 129"/>
                    <a:gd name="T86" fmla="*/ 2147483646 w 259"/>
                    <a:gd name="T87" fmla="*/ 2147483646 h 129"/>
                    <a:gd name="T88" fmla="*/ 2147483646 w 259"/>
                    <a:gd name="T89" fmla="*/ 2147483646 h 129"/>
                    <a:gd name="T90" fmla="*/ 2147483646 w 259"/>
                    <a:gd name="T91" fmla="*/ 2147483646 h 129"/>
                    <a:gd name="T92" fmla="*/ 2147483646 w 259"/>
                    <a:gd name="T93" fmla="*/ 2147483646 h 129"/>
                    <a:gd name="T94" fmla="*/ 2147483646 w 259"/>
                    <a:gd name="T95" fmla="*/ 2147483646 h 129"/>
                    <a:gd name="T96" fmla="*/ 2147483646 w 259"/>
                    <a:gd name="T97" fmla="*/ 2147483646 h 129"/>
                    <a:gd name="T98" fmla="*/ 2147483646 w 259"/>
                    <a:gd name="T99" fmla="*/ 2147483646 h 129"/>
                    <a:gd name="T100" fmla="*/ 2147483646 w 259"/>
                    <a:gd name="T101" fmla="*/ 2147483646 h 129"/>
                    <a:gd name="T102" fmla="*/ 2147483646 w 259"/>
                    <a:gd name="T103" fmla="*/ 2147483646 h 129"/>
                    <a:gd name="T104" fmla="*/ 2147483646 w 259"/>
                    <a:gd name="T105" fmla="*/ 2147483646 h 129"/>
                    <a:gd name="T106" fmla="*/ 2147483646 w 259"/>
                    <a:gd name="T107" fmla="*/ 2147483646 h 129"/>
                    <a:gd name="T108" fmla="*/ 2147483646 w 259"/>
                    <a:gd name="T109" fmla="*/ 2147483646 h 129"/>
                    <a:gd name="T110" fmla="*/ 2147483646 w 259"/>
                    <a:gd name="T111" fmla="*/ 2147483646 h 129"/>
                    <a:gd name="T112" fmla="*/ 2147483646 w 259"/>
                    <a:gd name="T113" fmla="*/ 2147483646 h 129"/>
                    <a:gd name="T114" fmla="*/ 2147483646 w 259"/>
                    <a:gd name="T115" fmla="*/ 2147483646 h 129"/>
                    <a:gd name="T116" fmla="*/ 2147483646 w 259"/>
                    <a:gd name="T117" fmla="*/ 2147483646 h 129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59"/>
                    <a:gd name="T178" fmla="*/ 0 h 129"/>
                    <a:gd name="T179" fmla="*/ 259 w 259"/>
                    <a:gd name="T180" fmla="*/ 129 h 129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59" h="129">
                      <a:moveTo>
                        <a:pt x="259" y="129"/>
                      </a:moveTo>
                      <a:lnTo>
                        <a:pt x="255" y="102"/>
                      </a:lnTo>
                      <a:lnTo>
                        <a:pt x="252" y="80"/>
                      </a:lnTo>
                      <a:lnTo>
                        <a:pt x="252" y="63"/>
                      </a:lnTo>
                      <a:lnTo>
                        <a:pt x="253" y="50"/>
                      </a:lnTo>
                      <a:lnTo>
                        <a:pt x="257" y="29"/>
                      </a:lnTo>
                      <a:lnTo>
                        <a:pt x="259" y="12"/>
                      </a:lnTo>
                      <a:lnTo>
                        <a:pt x="258" y="14"/>
                      </a:lnTo>
                      <a:lnTo>
                        <a:pt x="256" y="16"/>
                      </a:lnTo>
                      <a:lnTo>
                        <a:pt x="253" y="17"/>
                      </a:lnTo>
                      <a:lnTo>
                        <a:pt x="249" y="18"/>
                      </a:lnTo>
                      <a:lnTo>
                        <a:pt x="239" y="19"/>
                      </a:lnTo>
                      <a:lnTo>
                        <a:pt x="228" y="19"/>
                      </a:lnTo>
                      <a:lnTo>
                        <a:pt x="205" y="19"/>
                      </a:lnTo>
                      <a:lnTo>
                        <a:pt x="192" y="18"/>
                      </a:lnTo>
                      <a:lnTo>
                        <a:pt x="181" y="17"/>
                      </a:lnTo>
                      <a:lnTo>
                        <a:pt x="172" y="15"/>
                      </a:lnTo>
                      <a:lnTo>
                        <a:pt x="163" y="12"/>
                      </a:lnTo>
                      <a:lnTo>
                        <a:pt x="156" y="9"/>
                      </a:lnTo>
                      <a:lnTo>
                        <a:pt x="146" y="6"/>
                      </a:lnTo>
                      <a:lnTo>
                        <a:pt x="134" y="3"/>
                      </a:lnTo>
                      <a:lnTo>
                        <a:pt x="118" y="1"/>
                      </a:lnTo>
                      <a:lnTo>
                        <a:pt x="99" y="0"/>
                      </a:lnTo>
                      <a:lnTo>
                        <a:pt x="83" y="0"/>
                      </a:lnTo>
                      <a:lnTo>
                        <a:pt x="67" y="0"/>
                      </a:lnTo>
                      <a:lnTo>
                        <a:pt x="50" y="0"/>
                      </a:lnTo>
                      <a:lnTo>
                        <a:pt x="34" y="2"/>
                      </a:lnTo>
                      <a:lnTo>
                        <a:pt x="27" y="4"/>
                      </a:lnTo>
                      <a:lnTo>
                        <a:pt x="21" y="6"/>
                      </a:lnTo>
                      <a:lnTo>
                        <a:pt x="14" y="9"/>
                      </a:lnTo>
                      <a:lnTo>
                        <a:pt x="10" y="13"/>
                      </a:lnTo>
                      <a:lnTo>
                        <a:pt x="5" y="17"/>
                      </a:lnTo>
                      <a:lnTo>
                        <a:pt x="2" y="22"/>
                      </a:lnTo>
                      <a:lnTo>
                        <a:pt x="0" y="29"/>
                      </a:lnTo>
                      <a:lnTo>
                        <a:pt x="0" y="36"/>
                      </a:lnTo>
                      <a:lnTo>
                        <a:pt x="0" y="48"/>
                      </a:lnTo>
                      <a:lnTo>
                        <a:pt x="3" y="58"/>
                      </a:lnTo>
                      <a:lnTo>
                        <a:pt x="6" y="65"/>
                      </a:lnTo>
                      <a:lnTo>
                        <a:pt x="12" y="71"/>
                      </a:lnTo>
                      <a:lnTo>
                        <a:pt x="17" y="76"/>
                      </a:lnTo>
                      <a:lnTo>
                        <a:pt x="24" y="80"/>
                      </a:lnTo>
                      <a:lnTo>
                        <a:pt x="31" y="83"/>
                      </a:lnTo>
                      <a:lnTo>
                        <a:pt x="37" y="85"/>
                      </a:lnTo>
                      <a:lnTo>
                        <a:pt x="50" y="88"/>
                      </a:lnTo>
                      <a:lnTo>
                        <a:pt x="61" y="92"/>
                      </a:lnTo>
                      <a:lnTo>
                        <a:pt x="65" y="95"/>
                      </a:lnTo>
                      <a:lnTo>
                        <a:pt x="67" y="99"/>
                      </a:lnTo>
                      <a:lnTo>
                        <a:pt x="67" y="105"/>
                      </a:lnTo>
                      <a:lnTo>
                        <a:pt x="66" y="111"/>
                      </a:lnTo>
                      <a:lnTo>
                        <a:pt x="81" y="110"/>
                      </a:lnTo>
                      <a:lnTo>
                        <a:pt x="91" y="108"/>
                      </a:lnTo>
                      <a:lnTo>
                        <a:pt x="98" y="106"/>
                      </a:lnTo>
                      <a:lnTo>
                        <a:pt x="105" y="105"/>
                      </a:lnTo>
                      <a:lnTo>
                        <a:pt x="120" y="106"/>
                      </a:lnTo>
                      <a:lnTo>
                        <a:pt x="140" y="108"/>
                      </a:lnTo>
                      <a:lnTo>
                        <a:pt x="166" y="112"/>
                      </a:lnTo>
                      <a:lnTo>
                        <a:pt x="192" y="117"/>
                      </a:lnTo>
                      <a:lnTo>
                        <a:pt x="238" y="125"/>
                      </a:lnTo>
                      <a:lnTo>
                        <a:pt x="259" y="12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01" name="Freeform 345">
                  <a:extLst>
                    <a:ext uri="{FF2B5EF4-FFF2-40B4-BE49-F238E27FC236}">
                      <a16:creationId xmlns:a16="http://schemas.microsoft.com/office/drawing/2014/main" xmlns="" id="{E7FDE687-A100-4CF8-B9F0-848C5BF940E6}"/>
                    </a:ext>
                  </a:extLst>
                </p:cNvPr>
                <p:cNvSpPr>
                  <a:spLocks/>
                </p:cNvSpPr>
                <p:nvPr>
                  <p:custDataLst>
                    <p:tags r:id="rId248"/>
                  </p:custDataLst>
                </p:nvPr>
              </p:nvSpPr>
              <p:spPr bwMode="auto">
                <a:xfrm>
                  <a:off x="4484688" y="2139950"/>
                  <a:ext cx="179387" cy="142875"/>
                </a:xfrm>
                <a:custGeom>
                  <a:avLst/>
                  <a:gdLst>
                    <a:gd name="T0" fmla="*/ 2147483646 w 425"/>
                    <a:gd name="T1" fmla="*/ 2147483646 h 272"/>
                    <a:gd name="T2" fmla="*/ 2147483646 w 425"/>
                    <a:gd name="T3" fmla="*/ 2147483646 h 272"/>
                    <a:gd name="T4" fmla="*/ 2147483646 w 425"/>
                    <a:gd name="T5" fmla="*/ 2147483646 h 272"/>
                    <a:gd name="T6" fmla="*/ 2147483646 w 425"/>
                    <a:gd name="T7" fmla="*/ 2147483646 h 272"/>
                    <a:gd name="T8" fmla="*/ 2147483646 w 425"/>
                    <a:gd name="T9" fmla="*/ 2147483646 h 272"/>
                    <a:gd name="T10" fmla="*/ 2147483646 w 425"/>
                    <a:gd name="T11" fmla="*/ 2147483646 h 272"/>
                    <a:gd name="T12" fmla="*/ 2147483646 w 425"/>
                    <a:gd name="T13" fmla="*/ 2147483646 h 272"/>
                    <a:gd name="T14" fmla="*/ 2147483646 w 425"/>
                    <a:gd name="T15" fmla="*/ 2147483646 h 272"/>
                    <a:gd name="T16" fmla="*/ 2147483646 w 425"/>
                    <a:gd name="T17" fmla="*/ 2147483646 h 272"/>
                    <a:gd name="T18" fmla="*/ 2147483646 w 425"/>
                    <a:gd name="T19" fmla="*/ 2147483646 h 272"/>
                    <a:gd name="T20" fmla="*/ 2147483646 w 425"/>
                    <a:gd name="T21" fmla="*/ 2147483646 h 272"/>
                    <a:gd name="T22" fmla="*/ 2147483646 w 425"/>
                    <a:gd name="T23" fmla="*/ 2147483646 h 272"/>
                    <a:gd name="T24" fmla="*/ 2147483646 w 425"/>
                    <a:gd name="T25" fmla="*/ 2147483646 h 272"/>
                    <a:gd name="T26" fmla="*/ 2147483646 w 425"/>
                    <a:gd name="T27" fmla="*/ 2147483646 h 272"/>
                    <a:gd name="T28" fmla="*/ 2147483646 w 425"/>
                    <a:gd name="T29" fmla="*/ 2147483646 h 272"/>
                    <a:gd name="T30" fmla="*/ 2147483646 w 425"/>
                    <a:gd name="T31" fmla="*/ 2147483646 h 272"/>
                    <a:gd name="T32" fmla="*/ 2147483646 w 425"/>
                    <a:gd name="T33" fmla="*/ 2147483646 h 272"/>
                    <a:gd name="T34" fmla="*/ 2147483646 w 425"/>
                    <a:gd name="T35" fmla="*/ 2147483646 h 272"/>
                    <a:gd name="T36" fmla="*/ 2147483646 w 425"/>
                    <a:gd name="T37" fmla="*/ 2147483646 h 272"/>
                    <a:gd name="T38" fmla="*/ 0 w 425"/>
                    <a:gd name="T39" fmla="*/ 2147483646 h 272"/>
                    <a:gd name="T40" fmla="*/ 2147483646 w 425"/>
                    <a:gd name="T41" fmla="*/ 2147483646 h 272"/>
                    <a:gd name="T42" fmla="*/ 2147483646 w 425"/>
                    <a:gd name="T43" fmla="*/ 2147483646 h 272"/>
                    <a:gd name="T44" fmla="*/ 2147483646 w 425"/>
                    <a:gd name="T45" fmla="*/ 2147483646 h 272"/>
                    <a:gd name="T46" fmla="*/ 2147483646 w 425"/>
                    <a:gd name="T47" fmla="*/ 2147483646 h 272"/>
                    <a:gd name="T48" fmla="*/ 2147483646 w 425"/>
                    <a:gd name="T49" fmla="*/ 2147483646 h 272"/>
                    <a:gd name="T50" fmla="*/ 2147483646 w 425"/>
                    <a:gd name="T51" fmla="*/ 2147483646 h 272"/>
                    <a:gd name="T52" fmla="*/ 2147483646 w 425"/>
                    <a:gd name="T53" fmla="*/ 2147483646 h 272"/>
                    <a:gd name="T54" fmla="*/ 2147483646 w 425"/>
                    <a:gd name="T55" fmla="*/ 2147483646 h 272"/>
                    <a:gd name="T56" fmla="*/ 2147483646 w 425"/>
                    <a:gd name="T57" fmla="*/ 2147483646 h 272"/>
                    <a:gd name="T58" fmla="*/ 2147483646 w 425"/>
                    <a:gd name="T59" fmla="*/ 2147483646 h 272"/>
                    <a:gd name="T60" fmla="*/ 2147483646 w 425"/>
                    <a:gd name="T61" fmla="*/ 2147483646 h 272"/>
                    <a:gd name="T62" fmla="*/ 2147483646 w 425"/>
                    <a:gd name="T63" fmla="*/ 2147483646 h 272"/>
                    <a:gd name="T64" fmla="*/ 2147483646 w 425"/>
                    <a:gd name="T65" fmla="*/ 2147483646 h 272"/>
                    <a:gd name="T66" fmla="*/ 2147483646 w 425"/>
                    <a:gd name="T67" fmla="*/ 0 h 272"/>
                    <a:gd name="T68" fmla="*/ 2147483646 w 425"/>
                    <a:gd name="T69" fmla="*/ 2147483646 h 272"/>
                    <a:gd name="T70" fmla="*/ 2147483646 w 425"/>
                    <a:gd name="T71" fmla="*/ 2147483646 h 272"/>
                    <a:gd name="T72" fmla="*/ 2147483646 w 425"/>
                    <a:gd name="T73" fmla="*/ 2147483646 h 272"/>
                    <a:gd name="T74" fmla="*/ 2147483646 w 425"/>
                    <a:gd name="T75" fmla="*/ 2147483646 h 272"/>
                    <a:gd name="T76" fmla="*/ 2147483646 w 425"/>
                    <a:gd name="T77" fmla="*/ 2147483646 h 272"/>
                    <a:gd name="T78" fmla="*/ 2147483646 w 425"/>
                    <a:gd name="T79" fmla="*/ 2147483646 h 272"/>
                    <a:gd name="T80" fmla="*/ 2147483646 w 425"/>
                    <a:gd name="T81" fmla="*/ 2147483646 h 272"/>
                    <a:gd name="T82" fmla="*/ 2147483646 w 425"/>
                    <a:gd name="T83" fmla="*/ 2147483646 h 272"/>
                    <a:gd name="T84" fmla="*/ 2147483646 w 425"/>
                    <a:gd name="T85" fmla="*/ 2147483646 h 272"/>
                    <a:gd name="T86" fmla="*/ 2147483646 w 425"/>
                    <a:gd name="T87" fmla="*/ 2147483646 h 272"/>
                    <a:gd name="T88" fmla="*/ 2147483646 w 425"/>
                    <a:gd name="T89" fmla="*/ 2147483646 h 272"/>
                    <a:gd name="T90" fmla="*/ 2147483646 w 425"/>
                    <a:gd name="T91" fmla="*/ 2147483646 h 272"/>
                    <a:gd name="T92" fmla="*/ 2147483646 w 425"/>
                    <a:gd name="T93" fmla="*/ 2147483646 h 272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425"/>
                    <a:gd name="T142" fmla="*/ 0 h 272"/>
                    <a:gd name="T143" fmla="*/ 425 w 425"/>
                    <a:gd name="T144" fmla="*/ 272 h 272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425" h="272">
                      <a:moveTo>
                        <a:pt x="425" y="161"/>
                      </a:moveTo>
                      <a:lnTo>
                        <a:pt x="418" y="170"/>
                      </a:lnTo>
                      <a:lnTo>
                        <a:pt x="409" y="179"/>
                      </a:lnTo>
                      <a:lnTo>
                        <a:pt x="398" y="188"/>
                      </a:lnTo>
                      <a:lnTo>
                        <a:pt x="385" y="197"/>
                      </a:lnTo>
                      <a:lnTo>
                        <a:pt x="383" y="206"/>
                      </a:lnTo>
                      <a:lnTo>
                        <a:pt x="383" y="214"/>
                      </a:lnTo>
                      <a:lnTo>
                        <a:pt x="384" y="221"/>
                      </a:lnTo>
                      <a:lnTo>
                        <a:pt x="385" y="227"/>
                      </a:lnTo>
                      <a:lnTo>
                        <a:pt x="389" y="237"/>
                      </a:lnTo>
                      <a:lnTo>
                        <a:pt x="392" y="246"/>
                      </a:lnTo>
                      <a:lnTo>
                        <a:pt x="375" y="244"/>
                      </a:lnTo>
                      <a:lnTo>
                        <a:pt x="356" y="240"/>
                      </a:lnTo>
                      <a:lnTo>
                        <a:pt x="347" y="238"/>
                      </a:lnTo>
                      <a:lnTo>
                        <a:pt x="336" y="236"/>
                      </a:lnTo>
                      <a:lnTo>
                        <a:pt x="324" y="235"/>
                      </a:lnTo>
                      <a:lnTo>
                        <a:pt x="311" y="234"/>
                      </a:lnTo>
                      <a:lnTo>
                        <a:pt x="295" y="235"/>
                      </a:lnTo>
                      <a:lnTo>
                        <a:pt x="278" y="238"/>
                      </a:lnTo>
                      <a:lnTo>
                        <a:pt x="263" y="243"/>
                      </a:lnTo>
                      <a:lnTo>
                        <a:pt x="248" y="248"/>
                      </a:lnTo>
                      <a:lnTo>
                        <a:pt x="232" y="254"/>
                      </a:lnTo>
                      <a:lnTo>
                        <a:pt x="215" y="260"/>
                      </a:lnTo>
                      <a:lnTo>
                        <a:pt x="197" y="267"/>
                      </a:lnTo>
                      <a:lnTo>
                        <a:pt x="179" y="272"/>
                      </a:lnTo>
                      <a:lnTo>
                        <a:pt x="100" y="240"/>
                      </a:lnTo>
                      <a:lnTo>
                        <a:pt x="92" y="233"/>
                      </a:lnTo>
                      <a:lnTo>
                        <a:pt x="85" y="226"/>
                      </a:lnTo>
                      <a:lnTo>
                        <a:pt x="78" y="220"/>
                      </a:lnTo>
                      <a:lnTo>
                        <a:pt x="70" y="214"/>
                      </a:lnTo>
                      <a:lnTo>
                        <a:pt x="52" y="202"/>
                      </a:lnTo>
                      <a:lnTo>
                        <a:pt x="37" y="192"/>
                      </a:lnTo>
                      <a:lnTo>
                        <a:pt x="29" y="186"/>
                      </a:lnTo>
                      <a:lnTo>
                        <a:pt x="22" y="180"/>
                      </a:lnTo>
                      <a:lnTo>
                        <a:pt x="16" y="174"/>
                      </a:lnTo>
                      <a:lnTo>
                        <a:pt x="11" y="167"/>
                      </a:lnTo>
                      <a:lnTo>
                        <a:pt x="6" y="159"/>
                      </a:lnTo>
                      <a:lnTo>
                        <a:pt x="2" y="150"/>
                      </a:lnTo>
                      <a:lnTo>
                        <a:pt x="0" y="140"/>
                      </a:lnTo>
                      <a:lnTo>
                        <a:pt x="0" y="129"/>
                      </a:lnTo>
                      <a:lnTo>
                        <a:pt x="25" y="95"/>
                      </a:lnTo>
                      <a:lnTo>
                        <a:pt x="50" y="66"/>
                      </a:lnTo>
                      <a:lnTo>
                        <a:pt x="61" y="52"/>
                      </a:lnTo>
                      <a:lnTo>
                        <a:pt x="71" y="36"/>
                      </a:lnTo>
                      <a:lnTo>
                        <a:pt x="75" y="29"/>
                      </a:lnTo>
                      <a:lnTo>
                        <a:pt x="80" y="22"/>
                      </a:lnTo>
                      <a:lnTo>
                        <a:pt x="83" y="14"/>
                      </a:lnTo>
                      <a:lnTo>
                        <a:pt x="85" y="6"/>
                      </a:lnTo>
                      <a:lnTo>
                        <a:pt x="105" y="7"/>
                      </a:lnTo>
                      <a:lnTo>
                        <a:pt x="123" y="10"/>
                      </a:lnTo>
                      <a:lnTo>
                        <a:pt x="138" y="14"/>
                      </a:lnTo>
                      <a:lnTo>
                        <a:pt x="153" y="18"/>
                      </a:lnTo>
                      <a:lnTo>
                        <a:pt x="166" y="23"/>
                      </a:lnTo>
                      <a:lnTo>
                        <a:pt x="180" y="27"/>
                      </a:lnTo>
                      <a:lnTo>
                        <a:pt x="193" y="30"/>
                      </a:lnTo>
                      <a:lnTo>
                        <a:pt x="205" y="31"/>
                      </a:lnTo>
                      <a:lnTo>
                        <a:pt x="210" y="30"/>
                      </a:lnTo>
                      <a:lnTo>
                        <a:pt x="214" y="29"/>
                      </a:lnTo>
                      <a:lnTo>
                        <a:pt x="218" y="28"/>
                      </a:lnTo>
                      <a:lnTo>
                        <a:pt x="221" y="26"/>
                      </a:lnTo>
                      <a:lnTo>
                        <a:pt x="227" y="21"/>
                      </a:lnTo>
                      <a:lnTo>
                        <a:pt x="232" y="15"/>
                      </a:lnTo>
                      <a:lnTo>
                        <a:pt x="237" y="10"/>
                      </a:lnTo>
                      <a:lnTo>
                        <a:pt x="242" y="5"/>
                      </a:lnTo>
                      <a:lnTo>
                        <a:pt x="246" y="3"/>
                      </a:lnTo>
                      <a:lnTo>
                        <a:pt x="250" y="2"/>
                      </a:lnTo>
                      <a:lnTo>
                        <a:pt x="253" y="1"/>
                      </a:lnTo>
                      <a:lnTo>
                        <a:pt x="259" y="0"/>
                      </a:lnTo>
                      <a:lnTo>
                        <a:pt x="268" y="1"/>
                      </a:lnTo>
                      <a:lnTo>
                        <a:pt x="275" y="2"/>
                      </a:lnTo>
                      <a:lnTo>
                        <a:pt x="283" y="4"/>
                      </a:lnTo>
                      <a:lnTo>
                        <a:pt x="289" y="7"/>
                      </a:lnTo>
                      <a:lnTo>
                        <a:pt x="296" y="11"/>
                      </a:lnTo>
                      <a:lnTo>
                        <a:pt x="302" y="15"/>
                      </a:lnTo>
                      <a:lnTo>
                        <a:pt x="306" y="20"/>
                      </a:lnTo>
                      <a:lnTo>
                        <a:pt x="310" y="26"/>
                      </a:lnTo>
                      <a:lnTo>
                        <a:pt x="318" y="38"/>
                      </a:lnTo>
                      <a:lnTo>
                        <a:pt x="325" y="53"/>
                      </a:lnTo>
                      <a:lnTo>
                        <a:pt x="331" y="67"/>
                      </a:lnTo>
                      <a:lnTo>
                        <a:pt x="337" y="82"/>
                      </a:lnTo>
                      <a:lnTo>
                        <a:pt x="342" y="98"/>
                      </a:lnTo>
                      <a:lnTo>
                        <a:pt x="349" y="113"/>
                      </a:lnTo>
                      <a:lnTo>
                        <a:pt x="352" y="119"/>
                      </a:lnTo>
                      <a:lnTo>
                        <a:pt x="356" y="126"/>
                      </a:lnTo>
                      <a:lnTo>
                        <a:pt x="360" y="132"/>
                      </a:lnTo>
                      <a:lnTo>
                        <a:pt x="365" y="138"/>
                      </a:lnTo>
                      <a:lnTo>
                        <a:pt x="370" y="143"/>
                      </a:lnTo>
                      <a:lnTo>
                        <a:pt x="376" y="147"/>
                      </a:lnTo>
                      <a:lnTo>
                        <a:pt x="382" y="151"/>
                      </a:lnTo>
                      <a:lnTo>
                        <a:pt x="389" y="156"/>
                      </a:lnTo>
                      <a:lnTo>
                        <a:pt x="397" y="158"/>
                      </a:lnTo>
                      <a:lnTo>
                        <a:pt x="405" y="160"/>
                      </a:lnTo>
                      <a:lnTo>
                        <a:pt x="415" y="161"/>
                      </a:lnTo>
                      <a:lnTo>
                        <a:pt x="425" y="16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02" name="Freeform 346">
                  <a:extLst>
                    <a:ext uri="{FF2B5EF4-FFF2-40B4-BE49-F238E27FC236}">
                      <a16:creationId xmlns:a16="http://schemas.microsoft.com/office/drawing/2014/main" xmlns="" id="{99C56F78-7C92-462D-8AE7-5980900A6932}"/>
                    </a:ext>
                  </a:extLst>
                </p:cNvPr>
                <p:cNvSpPr>
                  <a:spLocks/>
                </p:cNvSpPr>
                <p:nvPr>
                  <p:custDataLst>
                    <p:tags r:id="rId249"/>
                  </p:custDataLst>
                </p:nvPr>
              </p:nvSpPr>
              <p:spPr bwMode="auto">
                <a:xfrm>
                  <a:off x="2484438" y="3178175"/>
                  <a:ext cx="14287" cy="55563"/>
                </a:xfrm>
                <a:custGeom>
                  <a:avLst/>
                  <a:gdLst>
                    <a:gd name="T0" fmla="*/ 2147483646 w 33"/>
                    <a:gd name="T1" fmla="*/ 2147483646 h 31"/>
                    <a:gd name="T2" fmla="*/ 0 w 33"/>
                    <a:gd name="T3" fmla="*/ 2147483646 h 31"/>
                    <a:gd name="T4" fmla="*/ 2147483646 w 33"/>
                    <a:gd name="T5" fmla="*/ 2147483646 h 31"/>
                    <a:gd name="T6" fmla="*/ 2147483646 w 33"/>
                    <a:gd name="T7" fmla="*/ 2147483646 h 31"/>
                    <a:gd name="T8" fmla="*/ 2147483646 w 33"/>
                    <a:gd name="T9" fmla="*/ 2147483646 h 31"/>
                    <a:gd name="T10" fmla="*/ 2147483646 w 33"/>
                    <a:gd name="T11" fmla="*/ 2147483646 h 31"/>
                    <a:gd name="T12" fmla="*/ 2147483646 w 33"/>
                    <a:gd name="T13" fmla="*/ 2147483646 h 31"/>
                    <a:gd name="T14" fmla="*/ 2147483646 w 33"/>
                    <a:gd name="T15" fmla="*/ 2147483646 h 31"/>
                    <a:gd name="T16" fmla="*/ 2147483646 w 33"/>
                    <a:gd name="T17" fmla="*/ 0 h 31"/>
                    <a:gd name="T18" fmla="*/ 2147483646 w 33"/>
                    <a:gd name="T19" fmla="*/ 0 h 31"/>
                    <a:gd name="T20" fmla="*/ 2147483646 w 33"/>
                    <a:gd name="T21" fmla="*/ 2147483646 h 31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3"/>
                    <a:gd name="T34" fmla="*/ 0 h 31"/>
                    <a:gd name="T35" fmla="*/ 33 w 33"/>
                    <a:gd name="T36" fmla="*/ 31 h 31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3" h="31">
                      <a:moveTo>
                        <a:pt x="13" y="6"/>
                      </a:moveTo>
                      <a:lnTo>
                        <a:pt x="0" y="19"/>
                      </a:lnTo>
                      <a:lnTo>
                        <a:pt x="5" y="21"/>
                      </a:lnTo>
                      <a:lnTo>
                        <a:pt x="14" y="25"/>
                      </a:lnTo>
                      <a:lnTo>
                        <a:pt x="19" y="27"/>
                      </a:lnTo>
                      <a:lnTo>
                        <a:pt x="23" y="29"/>
                      </a:lnTo>
                      <a:lnTo>
                        <a:pt x="27" y="30"/>
                      </a:lnTo>
                      <a:lnTo>
                        <a:pt x="33" y="31"/>
                      </a:lnTo>
                      <a:lnTo>
                        <a:pt x="33" y="0"/>
                      </a:lnTo>
                      <a:lnTo>
                        <a:pt x="20" y="0"/>
                      </a:lnTo>
                      <a:lnTo>
                        <a:pt x="13" y="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03" name="Freeform 347">
                  <a:extLst>
                    <a:ext uri="{FF2B5EF4-FFF2-40B4-BE49-F238E27FC236}">
                      <a16:creationId xmlns:a16="http://schemas.microsoft.com/office/drawing/2014/main" xmlns="" id="{B28DDD4A-D0CC-4E65-B659-4B99881E2073}"/>
                    </a:ext>
                  </a:extLst>
                </p:cNvPr>
                <p:cNvSpPr>
                  <a:spLocks/>
                </p:cNvSpPr>
                <p:nvPr>
                  <p:custDataLst>
                    <p:tags r:id="rId250"/>
                  </p:custDataLst>
                </p:nvPr>
              </p:nvSpPr>
              <p:spPr bwMode="auto">
                <a:xfrm>
                  <a:off x="4589463" y="2132013"/>
                  <a:ext cx="85725" cy="79375"/>
                </a:xfrm>
                <a:custGeom>
                  <a:avLst/>
                  <a:gdLst>
                    <a:gd name="T0" fmla="*/ 2147483646 w 192"/>
                    <a:gd name="T1" fmla="*/ 2147483646 h 154"/>
                    <a:gd name="T2" fmla="*/ 2147483646 w 192"/>
                    <a:gd name="T3" fmla="*/ 0 h 154"/>
                    <a:gd name="T4" fmla="*/ 2147483646 w 192"/>
                    <a:gd name="T5" fmla="*/ 2147483646 h 154"/>
                    <a:gd name="T6" fmla="*/ 2147483646 w 192"/>
                    <a:gd name="T7" fmla="*/ 2147483646 h 154"/>
                    <a:gd name="T8" fmla="*/ 2147483646 w 192"/>
                    <a:gd name="T9" fmla="*/ 2147483646 h 154"/>
                    <a:gd name="T10" fmla="*/ 2147483646 w 192"/>
                    <a:gd name="T11" fmla="*/ 2147483646 h 154"/>
                    <a:gd name="T12" fmla="*/ 2147483646 w 192"/>
                    <a:gd name="T13" fmla="*/ 2147483646 h 154"/>
                    <a:gd name="T14" fmla="*/ 2147483646 w 192"/>
                    <a:gd name="T15" fmla="*/ 2147483646 h 154"/>
                    <a:gd name="T16" fmla="*/ 2147483646 w 192"/>
                    <a:gd name="T17" fmla="*/ 2147483646 h 154"/>
                    <a:gd name="T18" fmla="*/ 2147483646 w 192"/>
                    <a:gd name="T19" fmla="*/ 2147483646 h 154"/>
                    <a:gd name="T20" fmla="*/ 2147483646 w 192"/>
                    <a:gd name="T21" fmla="*/ 2147483646 h 154"/>
                    <a:gd name="T22" fmla="*/ 2147483646 w 192"/>
                    <a:gd name="T23" fmla="*/ 2147483646 h 154"/>
                    <a:gd name="T24" fmla="*/ 2147483646 w 192"/>
                    <a:gd name="T25" fmla="*/ 2147483646 h 154"/>
                    <a:gd name="T26" fmla="*/ 2147483646 w 192"/>
                    <a:gd name="T27" fmla="*/ 2147483646 h 154"/>
                    <a:gd name="T28" fmla="*/ 2147483646 w 192"/>
                    <a:gd name="T29" fmla="*/ 2147483646 h 154"/>
                    <a:gd name="T30" fmla="*/ 2147483646 w 192"/>
                    <a:gd name="T31" fmla="*/ 2147483646 h 154"/>
                    <a:gd name="T32" fmla="*/ 2147483646 w 192"/>
                    <a:gd name="T33" fmla="*/ 2147483646 h 154"/>
                    <a:gd name="T34" fmla="*/ 2147483646 w 192"/>
                    <a:gd name="T35" fmla="*/ 2147483646 h 154"/>
                    <a:gd name="T36" fmla="*/ 2147483646 w 192"/>
                    <a:gd name="T37" fmla="*/ 2147483646 h 154"/>
                    <a:gd name="T38" fmla="*/ 2147483646 w 192"/>
                    <a:gd name="T39" fmla="*/ 2147483646 h 154"/>
                    <a:gd name="T40" fmla="*/ 2147483646 w 192"/>
                    <a:gd name="T41" fmla="*/ 2147483646 h 154"/>
                    <a:gd name="T42" fmla="*/ 2147483646 w 192"/>
                    <a:gd name="T43" fmla="*/ 2147483646 h 154"/>
                    <a:gd name="T44" fmla="*/ 2147483646 w 192"/>
                    <a:gd name="T45" fmla="*/ 2147483646 h 154"/>
                    <a:gd name="T46" fmla="*/ 2147483646 w 192"/>
                    <a:gd name="T47" fmla="*/ 2147483646 h 154"/>
                    <a:gd name="T48" fmla="*/ 2147483646 w 192"/>
                    <a:gd name="T49" fmla="*/ 2147483646 h 154"/>
                    <a:gd name="T50" fmla="*/ 2147483646 w 192"/>
                    <a:gd name="T51" fmla="*/ 2147483646 h 154"/>
                    <a:gd name="T52" fmla="*/ 0 w 192"/>
                    <a:gd name="T53" fmla="*/ 2147483646 h 154"/>
                    <a:gd name="T54" fmla="*/ 2147483646 w 192"/>
                    <a:gd name="T55" fmla="*/ 2147483646 h 154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92"/>
                    <a:gd name="T85" fmla="*/ 0 h 154"/>
                    <a:gd name="T86" fmla="*/ 192 w 192"/>
                    <a:gd name="T87" fmla="*/ 154 h 154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92" h="154">
                      <a:moveTo>
                        <a:pt x="6" y="19"/>
                      </a:moveTo>
                      <a:lnTo>
                        <a:pt x="52" y="0"/>
                      </a:lnTo>
                      <a:lnTo>
                        <a:pt x="92" y="19"/>
                      </a:lnTo>
                      <a:lnTo>
                        <a:pt x="119" y="31"/>
                      </a:lnTo>
                      <a:lnTo>
                        <a:pt x="146" y="63"/>
                      </a:lnTo>
                      <a:lnTo>
                        <a:pt x="166" y="93"/>
                      </a:lnTo>
                      <a:lnTo>
                        <a:pt x="192" y="118"/>
                      </a:lnTo>
                      <a:lnTo>
                        <a:pt x="152" y="124"/>
                      </a:lnTo>
                      <a:lnTo>
                        <a:pt x="126" y="130"/>
                      </a:lnTo>
                      <a:lnTo>
                        <a:pt x="126" y="154"/>
                      </a:lnTo>
                      <a:lnTo>
                        <a:pt x="106" y="154"/>
                      </a:lnTo>
                      <a:lnTo>
                        <a:pt x="99" y="146"/>
                      </a:lnTo>
                      <a:lnTo>
                        <a:pt x="93" y="137"/>
                      </a:lnTo>
                      <a:lnTo>
                        <a:pt x="88" y="126"/>
                      </a:lnTo>
                      <a:lnTo>
                        <a:pt x="82" y="115"/>
                      </a:lnTo>
                      <a:lnTo>
                        <a:pt x="74" y="93"/>
                      </a:lnTo>
                      <a:lnTo>
                        <a:pt x="65" y="71"/>
                      </a:lnTo>
                      <a:lnTo>
                        <a:pt x="60" y="61"/>
                      </a:lnTo>
                      <a:lnTo>
                        <a:pt x="55" y="50"/>
                      </a:lnTo>
                      <a:lnTo>
                        <a:pt x="48" y="42"/>
                      </a:lnTo>
                      <a:lnTo>
                        <a:pt x="41" y="34"/>
                      </a:lnTo>
                      <a:lnTo>
                        <a:pt x="33" y="28"/>
                      </a:lnTo>
                      <a:lnTo>
                        <a:pt x="24" y="23"/>
                      </a:lnTo>
                      <a:lnTo>
                        <a:pt x="18" y="22"/>
                      </a:lnTo>
                      <a:lnTo>
                        <a:pt x="12" y="20"/>
                      </a:lnTo>
                      <a:lnTo>
                        <a:pt x="6" y="20"/>
                      </a:lnTo>
                      <a:lnTo>
                        <a:pt x="0" y="19"/>
                      </a:lnTo>
                      <a:lnTo>
                        <a:pt x="6" y="1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04" name="Freeform 348">
                  <a:extLst>
                    <a:ext uri="{FF2B5EF4-FFF2-40B4-BE49-F238E27FC236}">
                      <a16:creationId xmlns:a16="http://schemas.microsoft.com/office/drawing/2014/main" xmlns="" id="{3B2EF968-94A3-4569-B7D4-3668A81906D2}"/>
                    </a:ext>
                  </a:extLst>
                </p:cNvPr>
                <p:cNvSpPr>
                  <a:spLocks/>
                </p:cNvSpPr>
                <p:nvPr>
                  <p:custDataLst>
                    <p:tags r:id="rId251"/>
                  </p:custDataLst>
                </p:nvPr>
              </p:nvSpPr>
              <p:spPr bwMode="auto">
                <a:xfrm>
                  <a:off x="4506913" y="2014538"/>
                  <a:ext cx="381000" cy="247650"/>
                </a:xfrm>
                <a:custGeom>
                  <a:avLst/>
                  <a:gdLst>
                    <a:gd name="T0" fmla="*/ 2147483646 w 877"/>
                    <a:gd name="T1" fmla="*/ 2147483646 h 469"/>
                    <a:gd name="T2" fmla="*/ 2147483646 w 877"/>
                    <a:gd name="T3" fmla="*/ 2147483646 h 469"/>
                    <a:gd name="T4" fmla="*/ 2147483646 w 877"/>
                    <a:gd name="T5" fmla="*/ 2147483646 h 469"/>
                    <a:gd name="T6" fmla="*/ 2147483646 w 877"/>
                    <a:gd name="T7" fmla="*/ 2147483646 h 469"/>
                    <a:gd name="T8" fmla="*/ 2147483646 w 877"/>
                    <a:gd name="T9" fmla="*/ 2147483646 h 469"/>
                    <a:gd name="T10" fmla="*/ 2147483646 w 877"/>
                    <a:gd name="T11" fmla="*/ 2147483646 h 469"/>
                    <a:gd name="T12" fmla="*/ 2147483646 w 877"/>
                    <a:gd name="T13" fmla="*/ 2147483646 h 469"/>
                    <a:gd name="T14" fmla="*/ 2147483646 w 877"/>
                    <a:gd name="T15" fmla="*/ 2147483646 h 469"/>
                    <a:gd name="T16" fmla="*/ 2147483646 w 877"/>
                    <a:gd name="T17" fmla="*/ 2147483646 h 469"/>
                    <a:gd name="T18" fmla="*/ 2147483646 w 877"/>
                    <a:gd name="T19" fmla="*/ 2147483646 h 469"/>
                    <a:gd name="T20" fmla="*/ 2147483646 w 877"/>
                    <a:gd name="T21" fmla="*/ 2147483646 h 469"/>
                    <a:gd name="T22" fmla="*/ 2147483646 w 877"/>
                    <a:gd name="T23" fmla="*/ 2147483646 h 469"/>
                    <a:gd name="T24" fmla="*/ 2147483646 w 877"/>
                    <a:gd name="T25" fmla="*/ 2147483646 h 469"/>
                    <a:gd name="T26" fmla="*/ 2147483646 w 877"/>
                    <a:gd name="T27" fmla="*/ 2147483646 h 469"/>
                    <a:gd name="T28" fmla="*/ 2147483646 w 877"/>
                    <a:gd name="T29" fmla="*/ 2147483646 h 469"/>
                    <a:gd name="T30" fmla="*/ 2147483646 w 877"/>
                    <a:gd name="T31" fmla="*/ 2147483646 h 469"/>
                    <a:gd name="T32" fmla="*/ 2147483646 w 877"/>
                    <a:gd name="T33" fmla="*/ 2147483646 h 469"/>
                    <a:gd name="T34" fmla="*/ 2147483646 w 877"/>
                    <a:gd name="T35" fmla="*/ 2147483646 h 469"/>
                    <a:gd name="T36" fmla="*/ 2147483646 w 877"/>
                    <a:gd name="T37" fmla="*/ 2147483646 h 469"/>
                    <a:gd name="T38" fmla="*/ 2147483646 w 877"/>
                    <a:gd name="T39" fmla="*/ 2147483646 h 469"/>
                    <a:gd name="T40" fmla="*/ 2147483646 w 877"/>
                    <a:gd name="T41" fmla="*/ 0 h 469"/>
                    <a:gd name="T42" fmla="*/ 2147483646 w 877"/>
                    <a:gd name="T43" fmla="*/ 2147483646 h 469"/>
                    <a:gd name="T44" fmla="*/ 2147483646 w 877"/>
                    <a:gd name="T45" fmla="*/ 2147483646 h 469"/>
                    <a:gd name="T46" fmla="*/ 2147483646 w 877"/>
                    <a:gd name="T47" fmla="*/ 2147483646 h 469"/>
                    <a:gd name="T48" fmla="*/ 2147483646 w 877"/>
                    <a:gd name="T49" fmla="*/ 2147483646 h 469"/>
                    <a:gd name="T50" fmla="*/ 2147483646 w 877"/>
                    <a:gd name="T51" fmla="*/ 2147483646 h 469"/>
                    <a:gd name="T52" fmla="*/ 2147483646 w 877"/>
                    <a:gd name="T53" fmla="*/ 2147483646 h 469"/>
                    <a:gd name="T54" fmla="*/ 2147483646 w 877"/>
                    <a:gd name="T55" fmla="*/ 2147483646 h 469"/>
                    <a:gd name="T56" fmla="*/ 2147483646 w 877"/>
                    <a:gd name="T57" fmla="*/ 2147483646 h 469"/>
                    <a:gd name="T58" fmla="*/ 2147483646 w 877"/>
                    <a:gd name="T59" fmla="*/ 2147483646 h 469"/>
                    <a:gd name="T60" fmla="*/ 2147483646 w 877"/>
                    <a:gd name="T61" fmla="*/ 2147483646 h 469"/>
                    <a:gd name="T62" fmla="*/ 2147483646 w 877"/>
                    <a:gd name="T63" fmla="*/ 2147483646 h 469"/>
                    <a:gd name="T64" fmla="*/ 2147483646 w 877"/>
                    <a:gd name="T65" fmla="*/ 2147483646 h 469"/>
                    <a:gd name="T66" fmla="*/ 2147483646 w 877"/>
                    <a:gd name="T67" fmla="*/ 2147483646 h 469"/>
                    <a:gd name="T68" fmla="*/ 2147483646 w 877"/>
                    <a:gd name="T69" fmla="*/ 2147483646 h 469"/>
                    <a:gd name="T70" fmla="*/ 2147483646 w 877"/>
                    <a:gd name="T71" fmla="*/ 2147483646 h 469"/>
                    <a:gd name="T72" fmla="*/ 2147483646 w 877"/>
                    <a:gd name="T73" fmla="*/ 2147483646 h 469"/>
                    <a:gd name="T74" fmla="*/ 2147483646 w 877"/>
                    <a:gd name="T75" fmla="*/ 2147483646 h 469"/>
                    <a:gd name="T76" fmla="*/ 2147483646 w 877"/>
                    <a:gd name="T77" fmla="*/ 2147483646 h 469"/>
                    <a:gd name="T78" fmla="*/ 2147483646 w 877"/>
                    <a:gd name="T79" fmla="*/ 2147483646 h 469"/>
                    <a:gd name="T80" fmla="*/ 2147483646 w 877"/>
                    <a:gd name="T81" fmla="*/ 2147483646 h 469"/>
                    <a:gd name="T82" fmla="*/ 2147483646 w 877"/>
                    <a:gd name="T83" fmla="*/ 2147483646 h 469"/>
                    <a:gd name="T84" fmla="*/ 2147483646 w 877"/>
                    <a:gd name="T85" fmla="*/ 2147483646 h 469"/>
                    <a:gd name="T86" fmla="*/ 2147483646 w 877"/>
                    <a:gd name="T87" fmla="*/ 2147483646 h 469"/>
                    <a:gd name="T88" fmla="*/ 2147483646 w 877"/>
                    <a:gd name="T89" fmla="*/ 2147483646 h 469"/>
                    <a:gd name="T90" fmla="*/ 2147483646 w 877"/>
                    <a:gd name="T91" fmla="*/ 2147483646 h 469"/>
                    <a:gd name="T92" fmla="*/ 2147483646 w 877"/>
                    <a:gd name="T93" fmla="*/ 2147483646 h 469"/>
                    <a:gd name="T94" fmla="*/ 2147483646 w 877"/>
                    <a:gd name="T95" fmla="*/ 2147483646 h 469"/>
                    <a:gd name="T96" fmla="*/ 2147483646 w 877"/>
                    <a:gd name="T97" fmla="*/ 2147483646 h 469"/>
                    <a:gd name="T98" fmla="*/ 2147483646 w 877"/>
                    <a:gd name="T99" fmla="*/ 2147483646 h 469"/>
                    <a:gd name="T100" fmla="*/ 2147483646 w 877"/>
                    <a:gd name="T101" fmla="*/ 2147483646 h 469"/>
                    <a:gd name="T102" fmla="*/ 2147483646 w 877"/>
                    <a:gd name="T103" fmla="*/ 2147483646 h 469"/>
                    <a:gd name="T104" fmla="*/ 2147483646 w 877"/>
                    <a:gd name="T105" fmla="*/ 2147483646 h 469"/>
                    <a:gd name="T106" fmla="*/ 2147483646 w 877"/>
                    <a:gd name="T107" fmla="*/ 2147483646 h 469"/>
                    <a:gd name="T108" fmla="*/ 2147483646 w 877"/>
                    <a:gd name="T109" fmla="*/ 2147483646 h 469"/>
                    <a:gd name="T110" fmla="*/ 2147483646 w 877"/>
                    <a:gd name="T111" fmla="*/ 2147483646 h 469"/>
                    <a:gd name="T112" fmla="*/ 2147483646 w 877"/>
                    <a:gd name="T113" fmla="*/ 2147483646 h 469"/>
                    <a:gd name="T114" fmla="*/ 2147483646 w 877"/>
                    <a:gd name="T115" fmla="*/ 2147483646 h 469"/>
                    <a:gd name="T116" fmla="*/ 2147483646 w 877"/>
                    <a:gd name="T117" fmla="*/ 2147483646 h 469"/>
                    <a:gd name="T118" fmla="*/ 2147483646 w 877"/>
                    <a:gd name="T119" fmla="*/ 2147483646 h 46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77"/>
                    <a:gd name="T181" fmla="*/ 0 h 469"/>
                    <a:gd name="T182" fmla="*/ 877 w 877"/>
                    <a:gd name="T183" fmla="*/ 469 h 46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77" h="469">
                      <a:moveTo>
                        <a:pt x="326" y="352"/>
                      </a:moveTo>
                      <a:lnTo>
                        <a:pt x="352" y="346"/>
                      </a:lnTo>
                      <a:lnTo>
                        <a:pt x="392" y="340"/>
                      </a:lnTo>
                      <a:lnTo>
                        <a:pt x="366" y="315"/>
                      </a:lnTo>
                      <a:lnTo>
                        <a:pt x="346" y="285"/>
                      </a:lnTo>
                      <a:lnTo>
                        <a:pt x="319" y="253"/>
                      </a:lnTo>
                      <a:lnTo>
                        <a:pt x="292" y="241"/>
                      </a:lnTo>
                      <a:lnTo>
                        <a:pt x="252" y="222"/>
                      </a:lnTo>
                      <a:lnTo>
                        <a:pt x="206" y="241"/>
                      </a:lnTo>
                      <a:lnTo>
                        <a:pt x="200" y="241"/>
                      </a:lnTo>
                      <a:lnTo>
                        <a:pt x="194" y="242"/>
                      </a:lnTo>
                      <a:lnTo>
                        <a:pt x="191" y="243"/>
                      </a:lnTo>
                      <a:lnTo>
                        <a:pt x="187" y="244"/>
                      </a:lnTo>
                      <a:lnTo>
                        <a:pt x="183" y="246"/>
                      </a:lnTo>
                      <a:lnTo>
                        <a:pt x="178" y="251"/>
                      </a:lnTo>
                      <a:lnTo>
                        <a:pt x="173" y="256"/>
                      </a:lnTo>
                      <a:lnTo>
                        <a:pt x="168" y="262"/>
                      </a:lnTo>
                      <a:lnTo>
                        <a:pt x="162" y="267"/>
                      </a:lnTo>
                      <a:lnTo>
                        <a:pt x="159" y="269"/>
                      </a:lnTo>
                      <a:lnTo>
                        <a:pt x="155" y="270"/>
                      </a:lnTo>
                      <a:lnTo>
                        <a:pt x="151" y="271"/>
                      </a:lnTo>
                      <a:lnTo>
                        <a:pt x="146" y="272"/>
                      </a:lnTo>
                      <a:lnTo>
                        <a:pt x="134" y="271"/>
                      </a:lnTo>
                      <a:lnTo>
                        <a:pt x="121" y="268"/>
                      </a:lnTo>
                      <a:lnTo>
                        <a:pt x="107" y="264"/>
                      </a:lnTo>
                      <a:lnTo>
                        <a:pt x="94" y="259"/>
                      </a:lnTo>
                      <a:lnTo>
                        <a:pt x="79" y="255"/>
                      </a:lnTo>
                      <a:lnTo>
                        <a:pt x="64" y="251"/>
                      </a:lnTo>
                      <a:lnTo>
                        <a:pt x="46" y="248"/>
                      </a:lnTo>
                      <a:lnTo>
                        <a:pt x="26" y="247"/>
                      </a:lnTo>
                      <a:lnTo>
                        <a:pt x="0" y="222"/>
                      </a:lnTo>
                      <a:lnTo>
                        <a:pt x="4" y="217"/>
                      </a:lnTo>
                      <a:lnTo>
                        <a:pt x="8" y="212"/>
                      </a:lnTo>
                      <a:lnTo>
                        <a:pt x="10" y="206"/>
                      </a:lnTo>
                      <a:lnTo>
                        <a:pt x="12" y="200"/>
                      </a:lnTo>
                      <a:lnTo>
                        <a:pt x="13" y="187"/>
                      </a:lnTo>
                      <a:lnTo>
                        <a:pt x="13" y="174"/>
                      </a:lnTo>
                      <a:lnTo>
                        <a:pt x="6" y="174"/>
                      </a:lnTo>
                      <a:lnTo>
                        <a:pt x="13" y="180"/>
                      </a:lnTo>
                      <a:lnTo>
                        <a:pt x="14" y="167"/>
                      </a:lnTo>
                      <a:lnTo>
                        <a:pt x="17" y="155"/>
                      </a:lnTo>
                      <a:lnTo>
                        <a:pt x="23" y="144"/>
                      </a:lnTo>
                      <a:lnTo>
                        <a:pt x="30" y="133"/>
                      </a:lnTo>
                      <a:lnTo>
                        <a:pt x="36" y="122"/>
                      </a:lnTo>
                      <a:lnTo>
                        <a:pt x="44" y="112"/>
                      </a:lnTo>
                      <a:lnTo>
                        <a:pt x="53" y="105"/>
                      </a:lnTo>
                      <a:lnTo>
                        <a:pt x="60" y="99"/>
                      </a:lnTo>
                      <a:lnTo>
                        <a:pt x="54" y="92"/>
                      </a:lnTo>
                      <a:lnTo>
                        <a:pt x="46" y="82"/>
                      </a:lnTo>
                      <a:lnTo>
                        <a:pt x="36" y="68"/>
                      </a:lnTo>
                      <a:lnTo>
                        <a:pt x="26" y="50"/>
                      </a:lnTo>
                      <a:lnTo>
                        <a:pt x="60" y="38"/>
                      </a:lnTo>
                      <a:lnTo>
                        <a:pt x="113" y="26"/>
                      </a:lnTo>
                      <a:lnTo>
                        <a:pt x="173" y="26"/>
                      </a:lnTo>
                      <a:lnTo>
                        <a:pt x="239" y="44"/>
                      </a:lnTo>
                      <a:lnTo>
                        <a:pt x="285" y="38"/>
                      </a:lnTo>
                      <a:lnTo>
                        <a:pt x="339" y="50"/>
                      </a:lnTo>
                      <a:lnTo>
                        <a:pt x="385" y="63"/>
                      </a:lnTo>
                      <a:lnTo>
                        <a:pt x="385" y="38"/>
                      </a:lnTo>
                      <a:lnTo>
                        <a:pt x="392" y="13"/>
                      </a:lnTo>
                      <a:lnTo>
                        <a:pt x="433" y="13"/>
                      </a:lnTo>
                      <a:lnTo>
                        <a:pt x="465" y="13"/>
                      </a:lnTo>
                      <a:lnTo>
                        <a:pt x="485" y="0"/>
                      </a:lnTo>
                      <a:lnTo>
                        <a:pt x="531" y="0"/>
                      </a:lnTo>
                      <a:lnTo>
                        <a:pt x="551" y="13"/>
                      </a:lnTo>
                      <a:lnTo>
                        <a:pt x="579" y="38"/>
                      </a:lnTo>
                      <a:lnTo>
                        <a:pt x="565" y="63"/>
                      </a:lnTo>
                      <a:lnTo>
                        <a:pt x="618" y="63"/>
                      </a:lnTo>
                      <a:lnTo>
                        <a:pt x="638" y="111"/>
                      </a:lnTo>
                      <a:lnTo>
                        <a:pt x="664" y="105"/>
                      </a:lnTo>
                      <a:lnTo>
                        <a:pt x="692" y="124"/>
                      </a:lnTo>
                      <a:lnTo>
                        <a:pt x="725" y="111"/>
                      </a:lnTo>
                      <a:lnTo>
                        <a:pt x="758" y="136"/>
                      </a:lnTo>
                      <a:lnTo>
                        <a:pt x="797" y="136"/>
                      </a:lnTo>
                      <a:lnTo>
                        <a:pt x="838" y="155"/>
                      </a:lnTo>
                      <a:lnTo>
                        <a:pt x="877" y="167"/>
                      </a:lnTo>
                      <a:lnTo>
                        <a:pt x="871" y="198"/>
                      </a:lnTo>
                      <a:lnTo>
                        <a:pt x="864" y="235"/>
                      </a:lnTo>
                      <a:lnTo>
                        <a:pt x="877" y="259"/>
                      </a:lnTo>
                      <a:lnTo>
                        <a:pt x="844" y="259"/>
                      </a:lnTo>
                      <a:lnTo>
                        <a:pt x="804" y="272"/>
                      </a:lnTo>
                      <a:lnTo>
                        <a:pt x="797" y="303"/>
                      </a:lnTo>
                      <a:lnTo>
                        <a:pt x="777" y="309"/>
                      </a:lnTo>
                      <a:lnTo>
                        <a:pt x="754" y="313"/>
                      </a:lnTo>
                      <a:lnTo>
                        <a:pt x="731" y="318"/>
                      </a:lnTo>
                      <a:lnTo>
                        <a:pt x="709" y="324"/>
                      </a:lnTo>
                      <a:lnTo>
                        <a:pt x="688" y="330"/>
                      </a:lnTo>
                      <a:lnTo>
                        <a:pt x="680" y="334"/>
                      </a:lnTo>
                      <a:lnTo>
                        <a:pt x="671" y="337"/>
                      </a:lnTo>
                      <a:lnTo>
                        <a:pt x="663" y="343"/>
                      </a:lnTo>
                      <a:lnTo>
                        <a:pt x="656" y="347"/>
                      </a:lnTo>
                      <a:lnTo>
                        <a:pt x="652" y="352"/>
                      </a:lnTo>
                      <a:lnTo>
                        <a:pt x="648" y="358"/>
                      </a:lnTo>
                      <a:lnTo>
                        <a:pt x="646" y="364"/>
                      </a:lnTo>
                      <a:lnTo>
                        <a:pt x="644" y="370"/>
                      </a:lnTo>
                      <a:lnTo>
                        <a:pt x="646" y="375"/>
                      </a:lnTo>
                      <a:lnTo>
                        <a:pt x="647" y="380"/>
                      </a:lnTo>
                      <a:lnTo>
                        <a:pt x="650" y="385"/>
                      </a:lnTo>
                      <a:lnTo>
                        <a:pt x="653" y="390"/>
                      </a:lnTo>
                      <a:lnTo>
                        <a:pt x="656" y="395"/>
                      </a:lnTo>
                      <a:lnTo>
                        <a:pt x="661" y="399"/>
                      </a:lnTo>
                      <a:lnTo>
                        <a:pt x="666" y="401"/>
                      </a:lnTo>
                      <a:lnTo>
                        <a:pt x="671" y="402"/>
                      </a:lnTo>
                      <a:lnTo>
                        <a:pt x="692" y="400"/>
                      </a:lnTo>
                      <a:lnTo>
                        <a:pt x="711" y="396"/>
                      </a:lnTo>
                      <a:lnTo>
                        <a:pt x="721" y="395"/>
                      </a:lnTo>
                      <a:lnTo>
                        <a:pt x="731" y="394"/>
                      </a:lnTo>
                      <a:lnTo>
                        <a:pt x="741" y="394"/>
                      </a:lnTo>
                      <a:lnTo>
                        <a:pt x="751" y="396"/>
                      </a:lnTo>
                      <a:lnTo>
                        <a:pt x="742" y="399"/>
                      </a:lnTo>
                      <a:lnTo>
                        <a:pt x="734" y="403"/>
                      </a:lnTo>
                      <a:lnTo>
                        <a:pt x="728" y="408"/>
                      </a:lnTo>
                      <a:lnTo>
                        <a:pt x="721" y="414"/>
                      </a:lnTo>
                      <a:lnTo>
                        <a:pt x="716" y="421"/>
                      </a:lnTo>
                      <a:lnTo>
                        <a:pt x="710" y="427"/>
                      </a:lnTo>
                      <a:lnTo>
                        <a:pt x="705" y="433"/>
                      </a:lnTo>
                      <a:lnTo>
                        <a:pt x="698" y="438"/>
                      </a:lnTo>
                      <a:lnTo>
                        <a:pt x="695" y="430"/>
                      </a:lnTo>
                      <a:lnTo>
                        <a:pt x="693" y="424"/>
                      </a:lnTo>
                      <a:lnTo>
                        <a:pt x="689" y="419"/>
                      </a:lnTo>
                      <a:lnTo>
                        <a:pt x="687" y="416"/>
                      </a:lnTo>
                      <a:lnTo>
                        <a:pt x="680" y="412"/>
                      </a:lnTo>
                      <a:lnTo>
                        <a:pt x="671" y="408"/>
                      </a:lnTo>
                      <a:lnTo>
                        <a:pt x="671" y="413"/>
                      </a:lnTo>
                      <a:lnTo>
                        <a:pt x="669" y="418"/>
                      </a:lnTo>
                      <a:lnTo>
                        <a:pt x="666" y="423"/>
                      </a:lnTo>
                      <a:lnTo>
                        <a:pt x="663" y="427"/>
                      </a:lnTo>
                      <a:lnTo>
                        <a:pt x="654" y="435"/>
                      </a:lnTo>
                      <a:lnTo>
                        <a:pt x="643" y="442"/>
                      </a:lnTo>
                      <a:lnTo>
                        <a:pt x="633" y="450"/>
                      </a:lnTo>
                      <a:lnTo>
                        <a:pt x="624" y="456"/>
                      </a:lnTo>
                      <a:lnTo>
                        <a:pt x="619" y="460"/>
                      </a:lnTo>
                      <a:lnTo>
                        <a:pt x="616" y="463"/>
                      </a:lnTo>
                      <a:lnTo>
                        <a:pt x="613" y="466"/>
                      </a:lnTo>
                      <a:lnTo>
                        <a:pt x="611" y="469"/>
                      </a:lnTo>
                      <a:lnTo>
                        <a:pt x="605" y="468"/>
                      </a:lnTo>
                      <a:lnTo>
                        <a:pt x="600" y="466"/>
                      </a:lnTo>
                      <a:lnTo>
                        <a:pt x="595" y="464"/>
                      </a:lnTo>
                      <a:lnTo>
                        <a:pt x="591" y="461"/>
                      </a:lnTo>
                      <a:lnTo>
                        <a:pt x="587" y="459"/>
                      </a:lnTo>
                      <a:lnTo>
                        <a:pt x="584" y="455"/>
                      </a:lnTo>
                      <a:lnTo>
                        <a:pt x="582" y="452"/>
                      </a:lnTo>
                      <a:lnTo>
                        <a:pt x="579" y="447"/>
                      </a:lnTo>
                      <a:lnTo>
                        <a:pt x="575" y="439"/>
                      </a:lnTo>
                      <a:lnTo>
                        <a:pt x="573" y="429"/>
                      </a:lnTo>
                      <a:lnTo>
                        <a:pt x="572" y="419"/>
                      </a:lnTo>
                      <a:lnTo>
                        <a:pt x="572" y="408"/>
                      </a:lnTo>
                      <a:lnTo>
                        <a:pt x="563" y="407"/>
                      </a:lnTo>
                      <a:lnTo>
                        <a:pt x="555" y="406"/>
                      </a:lnTo>
                      <a:lnTo>
                        <a:pt x="548" y="404"/>
                      </a:lnTo>
                      <a:lnTo>
                        <a:pt x="540" y="401"/>
                      </a:lnTo>
                      <a:lnTo>
                        <a:pt x="527" y="395"/>
                      </a:lnTo>
                      <a:lnTo>
                        <a:pt x="518" y="389"/>
                      </a:lnTo>
                      <a:lnTo>
                        <a:pt x="532" y="385"/>
                      </a:lnTo>
                      <a:lnTo>
                        <a:pt x="547" y="381"/>
                      </a:lnTo>
                      <a:lnTo>
                        <a:pt x="559" y="379"/>
                      </a:lnTo>
                      <a:lnTo>
                        <a:pt x="572" y="377"/>
                      </a:lnTo>
                      <a:lnTo>
                        <a:pt x="597" y="374"/>
                      </a:lnTo>
                      <a:lnTo>
                        <a:pt x="625" y="370"/>
                      </a:lnTo>
                      <a:lnTo>
                        <a:pt x="512" y="370"/>
                      </a:lnTo>
                      <a:lnTo>
                        <a:pt x="503" y="362"/>
                      </a:lnTo>
                      <a:lnTo>
                        <a:pt x="493" y="354"/>
                      </a:lnTo>
                      <a:lnTo>
                        <a:pt x="481" y="348"/>
                      </a:lnTo>
                      <a:lnTo>
                        <a:pt x="469" y="342"/>
                      </a:lnTo>
                      <a:lnTo>
                        <a:pt x="445" y="333"/>
                      </a:lnTo>
                      <a:lnTo>
                        <a:pt x="425" y="327"/>
                      </a:lnTo>
                      <a:lnTo>
                        <a:pt x="412" y="350"/>
                      </a:lnTo>
                      <a:lnTo>
                        <a:pt x="398" y="369"/>
                      </a:lnTo>
                      <a:lnTo>
                        <a:pt x="393" y="378"/>
                      </a:lnTo>
                      <a:lnTo>
                        <a:pt x="386" y="386"/>
                      </a:lnTo>
                      <a:lnTo>
                        <a:pt x="380" y="395"/>
                      </a:lnTo>
                      <a:lnTo>
                        <a:pt x="372" y="402"/>
                      </a:lnTo>
                      <a:lnTo>
                        <a:pt x="362" y="401"/>
                      </a:lnTo>
                      <a:lnTo>
                        <a:pt x="353" y="400"/>
                      </a:lnTo>
                      <a:lnTo>
                        <a:pt x="345" y="399"/>
                      </a:lnTo>
                      <a:lnTo>
                        <a:pt x="337" y="396"/>
                      </a:lnTo>
                      <a:lnTo>
                        <a:pt x="328" y="392"/>
                      </a:lnTo>
                      <a:lnTo>
                        <a:pt x="321" y="388"/>
                      </a:lnTo>
                      <a:lnTo>
                        <a:pt x="313" y="383"/>
                      </a:lnTo>
                      <a:lnTo>
                        <a:pt x="306" y="376"/>
                      </a:lnTo>
                      <a:lnTo>
                        <a:pt x="326" y="35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05" name="Freeform 349">
                  <a:extLst>
                    <a:ext uri="{FF2B5EF4-FFF2-40B4-BE49-F238E27FC236}">
                      <a16:creationId xmlns:a16="http://schemas.microsoft.com/office/drawing/2014/main" xmlns="" id="{24509C0A-02FB-4E14-9BDE-67404F186561}"/>
                    </a:ext>
                  </a:extLst>
                </p:cNvPr>
                <p:cNvSpPr>
                  <a:spLocks/>
                </p:cNvSpPr>
                <p:nvPr>
                  <p:custDataLst>
                    <p:tags r:id="rId252"/>
                  </p:custDataLst>
                </p:nvPr>
              </p:nvSpPr>
              <p:spPr bwMode="auto">
                <a:xfrm>
                  <a:off x="5018088" y="2357438"/>
                  <a:ext cx="47625" cy="63500"/>
                </a:xfrm>
                <a:custGeom>
                  <a:avLst/>
                  <a:gdLst>
                    <a:gd name="T0" fmla="*/ 2147483646 w 107"/>
                    <a:gd name="T1" fmla="*/ 0 h 123"/>
                    <a:gd name="T2" fmla="*/ 2147483646 w 107"/>
                    <a:gd name="T3" fmla="*/ 2147483646 h 123"/>
                    <a:gd name="T4" fmla="*/ 2147483646 w 107"/>
                    <a:gd name="T5" fmla="*/ 2147483646 h 123"/>
                    <a:gd name="T6" fmla="*/ 2147483646 w 107"/>
                    <a:gd name="T7" fmla="*/ 2147483646 h 123"/>
                    <a:gd name="T8" fmla="*/ 2147483646 w 107"/>
                    <a:gd name="T9" fmla="*/ 2147483646 h 123"/>
                    <a:gd name="T10" fmla="*/ 2147483646 w 107"/>
                    <a:gd name="T11" fmla="*/ 2147483646 h 123"/>
                    <a:gd name="T12" fmla="*/ 2147483646 w 107"/>
                    <a:gd name="T13" fmla="*/ 2147483646 h 123"/>
                    <a:gd name="T14" fmla="*/ 2147483646 w 107"/>
                    <a:gd name="T15" fmla="*/ 2147483646 h 123"/>
                    <a:gd name="T16" fmla="*/ 2147483646 w 107"/>
                    <a:gd name="T17" fmla="*/ 2147483646 h 123"/>
                    <a:gd name="T18" fmla="*/ 2147483646 w 107"/>
                    <a:gd name="T19" fmla="*/ 2147483646 h 123"/>
                    <a:gd name="T20" fmla="*/ 2147483646 w 107"/>
                    <a:gd name="T21" fmla="*/ 2147483646 h 123"/>
                    <a:gd name="T22" fmla="*/ 2147483646 w 107"/>
                    <a:gd name="T23" fmla="*/ 2147483646 h 123"/>
                    <a:gd name="T24" fmla="*/ 2147483646 w 107"/>
                    <a:gd name="T25" fmla="*/ 2147483646 h 123"/>
                    <a:gd name="T26" fmla="*/ 2147483646 w 107"/>
                    <a:gd name="T27" fmla="*/ 2147483646 h 123"/>
                    <a:gd name="T28" fmla="*/ 2147483646 w 107"/>
                    <a:gd name="T29" fmla="*/ 2147483646 h 123"/>
                    <a:gd name="T30" fmla="*/ 2147483646 w 107"/>
                    <a:gd name="T31" fmla="*/ 2147483646 h 123"/>
                    <a:gd name="T32" fmla="*/ 2147483646 w 107"/>
                    <a:gd name="T33" fmla="*/ 2147483646 h 123"/>
                    <a:gd name="T34" fmla="*/ 2147483646 w 107"/>
                    <a:gd name="T35" fmla="*/ 2147483646 h 123"/>
                    <a:gd name="T36" fmla="*/ 2147483646 w 107"/>
                    <a:gd name="T37" fmla="*/ 2147483646 h 123"/>
                    <a:gd name="T38" fmla="*/ 2147483646 w 107"/>
                    <a:gd name="T39" fmla="*/ 2147483646 h 123"/>
                    <a:gd name="T40" fmla="*/ 2147483646 w 107"/>
                    <a:gd name="T41" fmla="*/ 2147483646 h 123"/>
                    <a:gd name="T42" fmla="*/ 0 w 107"/>
                    <a:gd name="T43" fmla="*/ 2147483646 h 123"/>
                    <a:gd name="T44" fmla="*/ 2147483646 w 107"/>
                    <a:gd name="T45" fmla="*/ 0 h 123"/>
                    <a:gd name="T46" fmla="*/ 2147483646 w 107"/>
                    <a:gd name="T47" fmla="*/ 0 h 123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07"/>
                    <a:gd name="T73" fmla="*/ 0 h 123"/>
                    <a:gd name="T74" fmla="*/ 107 w 107"/>
                    <a:gd name="T75" fmla="*/ 123 h 123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07" h="123">
                      <a:moveTo>
                        <a:pt x="48" y="0"/>
                      </a:moveTo>
                      <a:lnTo>
                        <a:pt x="81" y="31"/>
                      </a:lnTo>
                      <a:lnTo>
                        <a:pt x="94" y="67"/>
                      </a:lnTo>
                      <a:lnTo>
                        <a:pt x="107" y="86"/>
                      </a:lnTo>
                      <a:lnTo>
                        <a:pt x="107" y="117"/>
                      </a:lnTo>
                      <a:lnTo>
                        <a:pt x="107" y="123"/>
                      </a:lnTo>
                      <a:lnTo>
                        <a:pt x="88" y="114"/>
                      </a:lnTo>
                      <a:lnTo>
                        <a:pt x="73" y="105"/>
                      </a:lnTo>
                      <a:lnTo>
                        <a:pt x="61" y="98"/>
                      </a:lnTo>
                      <a:lnTo>
                        <a:pt x="54" y="92"/>
                      </a:lnTo>
                      <a:lnTo>
                        <a:pt x="51" y="83"/>
                      </a:lnTo>
                      <a:lnTo>
                        <a:pt x="48" y="73"/>
                      </a:lnTo>
                      <a:lnTo>
                        <a:pt x="39" y="74"/>
                      </a:lnTo>
                      <a:lnTo>
                        <a:pt x="32" y="73"/>
                      </a:lnTo>
                      <a:lnTo>
                        <a:pt x="26" y="72"/>
                      </a:lnTo>
                      <a:lnTo>
                        <a:pt x="21" y="70"/>
                      </a:lnTo>
                      <a:lnTo>
                        <a:pt x="17" y="67"/>
                      </a:lnTo>
                      <a:lnTo>
                        <a:pt x="14" y="63"/>
                      </a:lnTo>
                      <a:lnTo>
                        <a:pt x="11" y="59"/>
                      </a:lnTo>
                      <a:lnTo>
                        <a:pt x="9" y="54"/>
                      </a:lnTo>
                      <a:lnTo>
                        <a:pt x="4" y="31"/>
                      </a:lnTo>
                      <a:lnTo>
                        <a:pt x="0" y="6"/>
                      </a:lnTo>
                      <a:lnTo>
                        <a:pt x="34" y="0"/>
                      </a:lnTo>
                      <a:lnTo>
                        <a:pt x="48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06" name="Freeform 350">
                  <a:extLst>
                    <a:ext uri="{FF2B5EF4-FFF2-40B4-BE49-F238E27FC236}">
                      <a16:creationId xmlns:a16="http://schemas.microsoft.com/office/drawing/2014/main" xmlns="" id="{AD34857F-769B-46DE-8EF3-CFFF3532AEFD}"/>
                    </a:ext>
                  </a:extLst>
                </p:cNvPr>
                <p:cNvSpPr>
                  <a:spLocks/>
                </p:cNvSpPr>
                <p:nvPr>
                  <p:custDataLst>
                    <p:tags r:id="rId253"/>
                  </p:custDataLst>
                </p:nvPr>
              </p:nvSpPr>
              <p:spPr bwMode="auto">
                <a:xfrm>
                  <a:off x="5561013" y="2371725"/>
                  <a:ext cx="207962" cy="122238"/>
                </a:xfrm>
                <a:custGeom>
                  <a:avLst/>
                  <a:gdLst>
                    <a:gd name="T0" fmla="*/ 2147483646 w 471"/>
                    <a:gd name="T1" fmla="*/ 2147483646 h 234"/>
                    <a:gd name="T2" fmla="*/ 2147483646 w 471"/>
                    <a:gd name="T3" fmla="*/ 2147483646 h 234"/>
                    <a:gd name="T4" fmla="*/ 2147483646 w 471"/>
                    <a:gd name="T5" fmla="*/ 2147483646 h 234"/>
                    <a:gd name="T6" fmla="*/ 2147483646 w 471"/>
                    <a:gd name="T7" fmla="*/ 2147483646 h 234"/>
                    <a:gd name="T8" fmla="*/ 2147483646 w 471"/>
                    <a:gd name="T9" fmla="*/ 2147483646 h 234"/>
                    <a:gd name="T10" fmla="*/ 2147483646 w 471"/>
                    <a:gd name="T11" fmla="*/ 2147483646 h 234"/>
                    <a:gd name="T12" fmla="*/ 2147483646 w 471"/>
                    <a:gd name="T13" fmla="*/ 2147483646 h 234"/>
                    <a:gd name="T14" fmla="*/ 2147483646 w 471"/>
                    <a:gd name="T15" fmla="*/ 2147483646 h 234"/>
                    <a:gd name="T16" fmla="*/ 2147483646 w 471"/>
                    <a:gd name="T17" fmla="*/ 2147483646 h 234"/>
                    <a:gd name="T18" fmla="*/ 2147483646 w 471"/>
                    <a:gd name="T19" fmla="*/ 2147483646 h 234"/>
                    <a:gd name="T20" fmla="*/ 2147483646 w 471"/>
                    <a:gd name="T21" fmla="*/ 2147483646 h 234"/>
                    <a:gd name="T22" fmla="*/ 2147483646 w 471"/>
                    <a:gd name="T23" fmla="*/ 2147483646 h 234"/>
                    <a:gd name="T24" fmla="*/ 2147483646 w 471"/>
                    <a:gd name="T25" fmla="*/ 2147483646 h 234"/>
                    <a:gd name="T26" fmla="*/ 2147483646 w 471"/>
                    <a:gd name="T27" fmla="*/ 2147483646 h 234"/>
                    <a:gd name="T28" fmla="*/ 2147483646 w 471"/>
                    <a:gd name="T29" fmla="*/ 2147483646 h 234"/>
                    <a:gd name="T30" fmla="*/ 2147483646 w 471"/>
                    <a:gd name="T31" fmla="*/ 2147483646 h 234"/>
                    <a:gd name="T32" fmla="*/ 2147483646 w 471"/>
                    <a:gd name="T33" fmla="*/ 2147483646 h 234"/>
                    <a:gd name="T34" fmla="*/ 2147483646 w 471"/>
                    <a:gd name="T35" fmla="*/ 2147483646 h 234"/>
                    <a:gd name="T36" fmla="*/ 2147483646 w 471"/>
                    <a:gd name="T37" fmla="*/ 2147483646 h 234"/>
                    <a:gd name="T38" fmla="*/ 2147483646 w 471"/>
                    <a:gd name="T39" fmla="*/ 2147483646 h 234"/>
                    <a:gd name="T40" fmla="*/ 2147483646 w 471"/>
                    <a:gd name="T41" fmla="*/ 2147483646 h 234"/>
                    <a:gd name="T42" fmla="*/ 2147483646 w 471"/>
                    <a:gd name="T43" fmla="*/ 2147483646 h 234"/>
                    <a:gd name="T44" fmla="*/ 2147483646 w 471"/>
                    <a:gd name="T45" fmla="*/ 2147483646 h 234"/>
                    <a:gd name="T46" fmla="*/ 2147483646 w 471"/>
                    <a:gd name="T47" fmla="*/ 2147483646 h 234"/>
                    <a:gd name="T48" fmla="*/ 2147483646 w 471"/>
                    <a:gd name="T49" fmla="*/ 2147483646 h 234"/>
                    <a:gd name="T50" fmla="*/ 2147483646 w 471"/>
                    <a:gd name="T51" fmla="*/ 2147483646 h 234"/>
                    <a:gd name="T52" fmla="*/ 2147483646 w 471"/>
                    <a:gd name="T53" fmla="*/ 2147483646 h 234"/>
                    <a:gd name="T54" fmla="*/ 2147483646 w 471"/>
                    <a:gd name="T55" fmla="*/ 2147483646 h 234"/>
                    <a:gd name="T56" fmla="*/ 2147483646 w 471"/>
                    <a:gd name="T57" fmla="*/ 2147483646 h 234"/>
                    <a:gd name="T58" fmla="*/ 2147483646 w 471"/>
                    <a:gd name="T59" fmla="*/ 2147483646 h 234"/>
                    <a:gd name="T60" fmla="*/ 2147483646 w 471"/>
                    <a:gd name="T61" fmla="*/ 2147483646 h 234"/>
                    <a:gd name="T62" fmla="*/ 2147483646 w 471"/>
                    <a:gd name="T63" fmla="*/ 2147483646 h 234"/>
                    <a:gd name="T64" fmla="*/ 2147483646 w 471"/>
                    <a:gd name="T65" fmla="*/ 2147483646 h 234"/>
                    <a:gd name="T66" fmla="*/ 2147483646 w 471"/>
                    <a:gd name="T67" fmla="*/ 2147483646 h 234"/>
                    <a:gd name="T68" fmla="*/ 2147483646 w 471"/>
                    <a:gd name="T69" fmla="*/ 2147483646 h 234"/>
                    <a:gd name="T70" fmla="*/ 2147483646 w 471"/>
                    <a:gd name="T71" fmla="*/ 2147483646 h 234"/>
                    <a:gd name="T72" fmla="*/ 2147483646 w 471"/>
                    <a:gd name="T73" fmla="*/ 2147483646 h 234"/>
                    <a:gd name="T74" fmla="*/ 2147483646 w 471"/>
                    <a:gd name="T75" fmla="*/ 2147483646 h 234"/>
                    <a:gd name="T76" fmla="*/ 2147483646 w 471"/>
                    <a:gd name="T77" fmla="*/ 2147483646 h 234"/>
                    <a:gd name="T78" fmla="*/ 0 w 471"/>
                    <a:gd name="T79" fmla="*/ 2147483646 h 234"/>
                    <a:gd name="T80" fmla="*/ 2147483646 w 471"/>
                    <a:gd name="T81" fmla="*/ 2147483646 h 234"/>
                    <a:gd name="T82" fmla="*/ 2147483646 w 471"/>
                    <a:gd name="T83" fmla="*/ 2147483646 h 234"/>
                    <a:gd name="T84" fmla="*/ 2147483646 w 471"/>
                    <a:gd name="T85" fmla="*/ 0 h 234"/>
                    <a:gd name="T86" fmla="*/ 2147483646 w 471"/>
                    <a:gd name="T87" fmla="*/ 2147483646 h 23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471"/>
                    <a:gd name="T133" fmla="*/ 0 h 234"/>
                    <a:gd name="T134" fmla="*/ 471 w 471"/>
                    <a:gd name="T135" fmla="*/ 234 h 23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471" h="234">
                      <a:moveTo>
                        <a:pt x="159" y="30"/>
                      </a:moveTo>
                      <a:lnTo>
                        <a:pt x="106" y="67"/>
                      </a:lnTo>
                      <a:lnTo>
                        <a:pt x="126" y="86"/>
                      </a:lnTo>
                      <a:lnTo>
                        <a:pt x="166" y="86"/>
                      </a:lnTo>
                      <a:lnTo>
                        <a:pt x="218" y="98"/>
                      </a:lnTo>
                      <a:lnTo>
                        <a:pt x="272" y="105"/>
                      </a:lnTo>
                      <a:lnTo>
                        <a:pt x="325" y="92"/>
                      </a:lnTo>
                      <a:lnTo>
                        <a:pt x="372" y="86"/>
                      </a:lnTo>
                      <a:lnTo>
                        <a:pt x="379" y="86"/>
                      </a:lnTo>
                      <a:lnTo>
                        <a:pt x="383" y="95"/>
                      </a:lnTo>
                      <a:lnTo>
                        <a:pt x="388" y="105"/>
                      </a:lnTo>
                      <a:lnTo>
                        <a:pt x="391" y="114"/>
                      </a:lnTo>
                      <a:lnTo>
                        <a:pt x="392" y="123"/>
                      </a:lnTo>
                      <a:lnTo>
                        <a:pt x="406" y="124"/>
                      </a:lnTo>
                      <a:lnTo>
                        <a:pt x="418" y="126"/>
                      </a:lnTo>
                      <a:lnTo>
                        <a:pt x="424" y="129"/>
                      </a:lnTo>
                      <a:lnTo>
                        <a:pt x="428" y="131"/>
                      </a:lnTo>
                      <a:lnTo>
                        <a:pt x="433" y="134"/>
                      </a:lnTo>
                      <a:lnTo>
                        <a:pt x="437" y="137"/>
                      </a:lnTo>
                      <a:lnTo>
                        <a:pt x="441" y="141"/>
                      </a:lnTo>
                      <a:lnTo>
                        <a:pt x="445" y="146"/>
                      </a:lnTo>
                      <a:lnTo>
                        <a:pt x="448" y="151"/>
                      </a:lnTo>
                      <a:lnTo>
                        <a:pt x="450" y="156"/>
                      </a:lnTo>
                      <a:lnTo>
                        <a:pt x="455" y="170"/>
                      </a:lnTo>
                      <a:lnTo>
                        <a:pt x="458" y="184"/>
                      </a:lnTo>
                      <a:lnTo>
                        <a:pt x="471" y="190"/>
                      </a:lnTo>
                      <a:lnTo>
                        <a:pt x="359" y="190"/>
                      </a:lnTo>
                      <a:lnTo>
                        <a:pt x="350" y="202"/>
                      </a:lnTo>
                      <a:lnTo>
                        <a:pt x="338" y="217"/>
                      </a:lnTo>
                      <a:lnTo>
                        <a:pt x="330" y="224"/>
                      </a:lnTo>
                      <a:lnTo>
                        <a:pt x="324" y="229"/>
                      </a:lnTo>
                      <a:lnTo>
                        <a:pt x="317" y="233"/>
                      </a:lnTo>
                      <a:lnTo>
                        <a:pt x="312" y="234"/>
                      </a:lnTo>
                      <a:lnTo>
                        <a:pt x="306" y="233"/>
                      </a:lnTo>
                      <a:lnTo>
                        <a:pt x="302" y="232"/>
                      </a:lnTo>
                      <a:lnTo>
                        <a:pt x="298" y="230"/>
                      </a:lnTo>
                      <a:lnTo>
                        <a:pt x="294" y="228"/>
                      </a:lnTo>
                      <a:lnTo>
                        <a:pt x="292" y="224"/>
                      </a:lnTo>
                      <a:lnTo>
                        <a:pt x="290" y="220"/>
                      </a:lnTo>
                      <a:lnTo>
                        <a:pt x="289" y="216"/>
                      </a:lnTo>
                      <a:lnTo>
                        <a:pt x="287" y="210"/>
                      </a:lnTo>
                      <a:lnTo>
                        <a:pt x="284" y="199"/>
                      </a:lnTo>
                      <a:lnTo>
                        <a:pt x="282" y="187"/>
                      </a:lnTo>
                      <a:lnTo>
                        <a:pt x="278" y="174"/>
                      </a:lnTo>
                      <a:lnTo>
                        <a:pt x="272" y="160"/>
                      </a:lnTo>
                      <a:lnTo>
                        <a:pt x="269" y="155"/>
                      </a:lnTo>
                      <a:lnTo>
                        <a:pt x="265" y="151"/>
                      </a:lnTo>
                      <a:lnTo>
                        <a:pt x="258" y="148"/>
                      </a:lnTo>
                      <a:lnTo>
                        <a:pt x="253" y="144"/>
                      </a:lnTo>
                      <a:lnTo>
                        <a:pt x="246" y="141"/>
                      </a:lnTo>
                      <a:lnTo>
                        <a:pt x="240" y="137"/>
                      </a:lnTo>
                      <a:lnTo>
                        <a:pt x="236" y="133"/>
                      </a:lnTo>
                      <a:lnTo>
                        <a:pt x="233" y="129"/>
                      </a:lnTo>
                      <a:lnTo>
                        <a:pt x="224" y="140"/>
                      </a:lnTo>
                      <a:lnTo>
                        <a:pt x="213" y="154"/>
                      </a:lnTo>
                      <a:lnTo>
                        <a:pt x="207" y="162"/>
                      </a:lnTo>
                      <a:lnTo>
                        <a:pt x="203" y="170"/>
                      </a:lnTo>
                      <a:lnTo>
                        <a:pt x="200" y="177"/>
                      </a:lnTo>
                      <a:lnTo>
                        <a:pt x="199" y="184"/>
                      </a:lnTo>
                      <a:lnTo>
                        <a:pt x="188" y="190"/>
                      </a:lnTo>
                      <a:lnTo>
                        <a:pt x="177" y="195"/>
                      </a:lnTo>
                      <a:lnTo>
                        <a:pt x="167" y="201"/>
                      </a:lnTo>
                      <a:lnTo>
                        <a:pt x="157" y="207"/>
                      </a:lnTo>
                      <a:lnTo>
                        <a:pt x="147" y="213"/>
                      </a:lnTo>
                      <a:lnTo>
                        <a:pt x="135" y="218"/>
                      </a:lnTo>
                      <a:lnTo>
                        <a:pt x="130" y="219"/>
                      </a:lnTo>
                      <a:lnTo>
                        <a:pt x="122" y="221"/>
                      </a:lnTo>
                      <a:lnTo>
                        <a:pt x="114" y="222"/>
                      </a:lnTo>
                      <a:lnTo>
                        <a:pt x="106" y="222"/>
                      </a:lnTo>
                      <a:lnTo>
                        <a:pt x="97" y="221"/>
                      </a:lnTo>
                      <a:lnTo>
                        <a:pt x="89" y="220"/>
                      </a:lnTo>
                      <a:lnTo>
                        <a:pt x="82" y="217"/>
                      </a:lnTo>
                      <a:lnTo>
                        <a:pt x="76" y="213"/>
                      </a:lnTo>
                      <a:lnTo>
                        <a:pt x="63" y="205"/>
                      </a:lnTo>
                      <a:lnTo>
                        <a:pt x="46" y="197"/>
                      </a:lnTo>
                      <a:lnTo>
                        <a:pt x="59" y="197"/>
                      </a:lnTo>
                      <a:lnTo>
                        <a:pt x="72" y="166"/>
                      </a:lnTo>
                      <a:lnTo>
                        <a:pt x="59" y="135"/>
                      </a:lnTo>
                      <a:lnTo>
                        <a:pt x="39" y="117"/>
                      </a:lnTo>
                      <a:lnTo>
                        <a:pt x="0" y="98"/>
                      </a:lnTo>
                      <a:lnTo>
                        <a:pt x="13" y="86"/>
                      </a:lnTo>
                      <a:lnTo>
                        <a:pt x="53" y="80"/>
                      </a:lnTo>
                      <a:lnTo>
                        <a:pt x="66" y="49"/>
                      </a:lnTo>
                      <a:lnTo>
                        <a:pt x="86" y="30"/>
                      </a:lnTo>
                      <a:lnTo>
                        <a:pt x="93" y="6"/>
                      </a:lnTo>
                      <a:lnTo>
                        <a:pt x="133" y="0"/>
                      </a:lnTo>
                      <a:lnTo>
                        <a:pt x="153" y="12"/>
                      </a:lnTo>
                      <a:lnTo>
                        <a:pt x="166" y="42"/>
                      </a:lnTo>
                      <a:lnTo>
                        <a:pt x="159" y="3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07" name="Freeform 351">
                  <a:extLst>
                    <a:ext uri="{FF2B5EF4-FFF2-40B4-BE49-F238E27FC236}">
                      <a16:creationId xmlns:a16="http://schemas.microsoft.com/office/drawing/2014/main" xmlns="" id="{4C492246-9137-442D-BDF5-CA3D35795AD8}"/>
                    </a:ext>
                  </a:extLst>
                </p:cNvPr>
                <p:cNvSpPr>
                  <a:spLocks/>
                </p:cNvSpPr>
                <p:nvPr>
                  <p:custDataLst>
                    <p:tags r:id="rId254"/>
                  </p:custDataLst>
                </p:nvPr>
              </p:nvSpPr>
              <p:spPr bwMode="auto">
                <a:xfrm>
                  <a:off x="5610225" y="2300288"/>
                  <a:ext cx="225425" cy="125412"/>
                </a:xfrm>
                <a:custGeom>
                  <a:avLst/>
                  <a:gdLst>
                    <a:gd name="T0" fmla="*/ 2147483646 w 525"/>
                    <a:gd name="T1" fmla="*/ 2147483646 h 241"/>
                    <a:gd name="T2" fmla="*/ 2147483646 w 525"/>
                    <a:gd name="T3" fmla="*/ 2147483646 h 241"/>
                    <a:gd name="T4" fmla="*/ 2147483646 w 525"/>
                    <a:gd name="T5" fmla="*/ 2147483646 h 241"/>
                    <a:gd name="T6" fmla="*/ 2147483646 w 525"/>
                    <a:gd name="T7" fmla="*/ 2147483646 h 241"/>
                    <a:gd name="T8" fmla="*/ 2147483646 w 525"/>
                    <a:gd name="T9" fmla="*/ 2147483646 h 241"/>
                    <a:gd name="T10" fmla="*/ 2147483646 w 525"/>
                    <a:gd name="T11" fmla="*/ 2147483646 h 241"/>
                    <a:gd name="T12" fmla="*/ 2147483646 w 525"/>
                    <a:gd name="T13" fmla="*/ 2147483646 h 241"/>
                    <a:gd name="T14" fmla="*/ 2147483646 w 525"/>
                    <a:gd name="T15" fmla="*/ 0 h 241"/>
                    <a:gd name="T16" fmla="*/ 2147483646 w 525"/>
                    <a:gd name="T17" fmla="*/ 2147483646 h 241"/>
                    <a:gd name="T18" fmla="*/ 2147483646 w 525"/>
                    <a:gd name="T19" fmla="*/ 2147483646 h 241"/>
                    <a:gd name="T20" fmla="*/ 2147483646 w 525"/>
                    <a:gd name="T21" fmla="*/ 2147483646 h 241"/>
                    <a:gd name="T22" fmla="*/ 2147483646 w 525"/>
                    <a:gd name="T23" fmla="*/ 2147483646 h 241"/>
                    <a:gd name="T24" fmla="*/ 2147483646 w 525"/>
                    <a:gd name="T25" fmla="*/ 2147483646 h 241"/>
                    <a:gd name="T26" fmla="*/ 2147483646 w 525"/>
                    <a:gd name="T27" fmla="*/ 2147483646 h 241"/>
                    <a:gd name="T28" fmla="*/ 2147483646 w 525"/>
                    <a:gd name="T29" fmla="*/ 2147483646 h 241"/>
                    <a:gd name="T30" fmla="*/ 2147483646 w 525"/>
                    <a:gd name="T31" fmla="*/ 2147483646 h 241"/>
                    <a:gd name="T32" fmla="*/ 2147483646 w 525"/>
                    <a:gd name="T33" fmla="*/ 2147483646 h 241"/>
                    <a:gd name="T34" fmla="*/ 2147483646 w 525"/>
                    <a:gd name="T35" fmla="*/ 2147483646 h 241"/>
                    <a:gd name="T36" fmla="*/ 2147483646 w 525"/>
                    <a:gd name="T37" fmla="*/ 2147483646 h 241"/>
                    <a:gd name="T38" fmla="*/ 2147483646 w 525"/>
                    <a:gd name="T39" fmla="*/ 2147483646 h 241"/>
                    <a:gd name="T40" fmla="*/ 2147483646 w 525"/>
                    <a:gd name="T41" fmla="*/ 2147483646 h 241"/>
                    <a:gd name="T42" fmla="*/ 2147483646 w 525"/>
                    <a:gd name="T43" fmla="*/ 2147483646 h 241"/>
                    <a:gd name="T44" fmla="*/ 2147483646 w 525"/>
                    <a:gd name="T45" fmla="*/ 2147483646 h 241"/>
                    <a:gd name="T46" fmla="*/ 2147483646 w 525"/>
                    <a:gd name="T47" fmla="*/ 2147483646 h 241"/>
                    <a:gd name="T48" fmla="*/ 2147483646 w 525"/>
                    <a:gd name="T49" fmla="*/ 2147483646 h 241"/>
                    <a:gd name="T50" fmla="*/ 2147483646 w 525"/>
                    <a:gd name="T51" fmla="*/ 2147483646 h 241"/>
                    <a:gd name="T52" fmla="*/ 2147483646 w 525"/>
                    <a:gd name="T53" fmla="*/ 2147483646 h 241"/>
                    <a:gd name="T54" fmla="*/ 2147483646 w 525"/>
                    <a:gd name="T55" fmla="*/ 2147483646 h 241"/>
                    <a:gd name="T56" fmla="*/ 2147483646 w 525"/>
                    <a:gd name="T57" fmla="*/ 2147483646 h 241"/>
                    <a:gd name="T58" fmla="*/ 2147483646 w 525"/>
                    <a:gd name="T59" fmla="*/ 2147483646 h 241"/>
                    <a:gd name="T60" fmla="*/ 2147483646 w 525"/>
                    <a:gd name="T61" fmla="*/ 2147483646 h 241"/>
                    <a:gd name="T62" fmla="*/ 2147483646 w 525"/>
                    <a:gd name="T63" fmla="*/ 2147483646 h 24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525"/>
                    <a:gd name="T97" fmla="*/ 0 h 241"/>
                    <a:gd name="T98" fmla="*/ 525 w 525"/>
                    <a:gd name="T99" fmla="*/ 241 h 24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525" h="241">
                      <a:moveTo>
                        <a:pt x="60" y="178"/>
                      </a:moveTo>
                      <a:lnTo>
                        <a:pt x="106" y="185"/>
                      </a:lnTo>
                      <a:lnTo>
                        <a:pt x="140" y="178"/>
                      </a:lnTo>
                      <a:lnTo>
                        <a:pt x="173" y="148"/>
                      </a:lnTo>
                      <a:lnTo>
                        <a:pt x="133" y="123"/>
                      </a:lnTo>
                      <a:lnTo>
                        <a:pt x="93" y="105"/>
                      </a:lnTo>
                      <a:lnTo>
                        <a:pt x="73" y="123"/>
                      </a:lnTo>
                      <a:lnTo>
                        <a:pt x="47" y="117"/>
                      </a:lnTo>
                      <a:lnTo>
                        <a:pt x="33" y="93"/>
                      </a:lnTo>
                      <a:lnTo>
                        <a:pt x="66" y="61"/>
                      </a:lnTo>
                      <a:lnTo>
                        <a:pt x="40" y="55"/>
                      </a:lnTo>
                      <a:lnTo>
                        <a:pt x="40" y="43"/>
                      </a:lnTo>
                      <a:lnTo>
                        <a:pt x="66" y="19"/>
                      </a:lnTo>
                      <a:lnTo>
                        <a:pt x="112" y="25"/>
                      </a:lnTo>
                      <a:lnTo>
                        <a:pt x="173" y="49"/>
                      </a:lnTo>
                      <a:lnTo>
                        <a:pt x="186" y="0"/>
                      </a:lnTo>
                      <a:lnTo>
                        <a:pt x="232" y="12"/>
                      </a:lnTo>
                      <a:lnTo>
                        <a:pt x="312" y="19"/>
                      </a:lnTo>
                      <a:lnTo>
                        <a:pt x="372" y="25"/>
                      </a:lnTo>
                      <a:lnTo>
                        <a:pt x="439" y="25"/>
                      </a:lnTo>
                      <a:lnTo>
                        <a:pt x="519" y="49"/>
                      </a:lnTo>
                      <a:lnTo>
                        <a:pt x="525" y="55"/>
                      </a:lnTo>
                      <a:lnTo>
                        <a:pt x="522" y="62"/>
                      </a:lnTo>
                      <a:lnTo>
                        <a:pt x="519" y="69"/>
                      </a:lnTo>
                      <a:lnTo>
                        <a:pt x="514" y="76"/>
                      </a:lnTo>
                      <a:lnTo>
                        <a:pt x="510" y="82"/>
                      </a:lnTo>
                      <a:lnTo>
                        <a:pt x="504" y="87"/>
                      </a:lnTo>
                      <a:lnTo>
                        <a:pt x="499" y="92"/>
                      </a:lnTo>
                      <a:lnTo>
                        <a:pt x="492" y="96"/>
                      </a:lnTo>
                      <a:lnTo>
                        <a:pt x="485" y="99"/>
                      </a:lnTo>
                      <a:lnTo>
                        <a:pt x="466" y="101"/>
                      </a:lnTo>
                      <a:lnTo>
                        <a:pt x="442" y="103"/>
                      </a:lnTo>
                      <a:lnTo>
                        <a:pt x="430" y="105"/>
                      </a:lnTo>
                      <a:lnTo>
                        <a:pt x="418" y="107"/>
                      </a:lnTo>
                      <a:lnTo>
                        <a:pt x="412" y="109"/>
                      </a:lnTo>
                      <a:lnTo>
                        <a:pt x="407" y="111"/>
                      </a:lnTo>
                      <a:lnTo>
                        <a:pt x="402" y="114"/>
                      </a:lnTo>
                      <a:lnTo>
                        <a:pt x="399" y="117"/>
                      </a:lnTo>
                      <a:lnTo>
                        <a:pt x="394" y="124"/>
                      </a:lnTo>
                      <a:lnTo>
                        <a:pt x="387" y="136"/>
                      </a:lnTo>
                      <a:lnTo>
                        <a:pt x="383" y="142"/>
                      </a:lnTo>
                      <a:lnTo>
                        <a:pt x="378" y="147"/>
                      </a:lnTo>
                      <a:lnTo>
                        <a:pt x="373" y="151"/>
                      </a:lnTo>
                      <a:lnTo>
                        <a:pt x="365" y="154"/>
                      </a:lnTo>
                      <a:lnTo>
                        <a:pt x="341" y="160"/>
                      </a:lnTo>
                      <a:lnTo>
                        <a:pt x="305" y="166"/>
                      </a:lnTo>
                      <a:lnTo>
                        <a:pt x="287" y="170"/>
                      </a:lnTo>
                      <a:lnTo>
                        <a:pt x="273" y="173"/>
                      </a:lnTo>
                      <a:lnTo>
                        <a:pt x="263" y="176"/>
                      </a:lnTo>
                      <a:lnTo>
                        <a:pt x="260" y="178"/>
                      </a:lnTo>
                      <a:lnTo>
                        <a:pt x="260" y="186"/>
                      </a:lnTo>
                      <a:lnTo>
                        <a:pt x="261" y="192"/>
                      </a:lnTo>
                      <a:lnTo>
                        <a:pt x="262" y="197"/>
                      </a:lnTo>
                      <a:lnTo>
                        <a:pt x="263" y="203"/>
                      </a:lnTo>
                      <a:lnTo>
                        <a:pt x="267" y="212"/>
                      </a:lnTo>
                      <a:lnTo>
                        <a:pt x="273" y="222"/>
                      </a:lnTo>
                      <a:lnTo>
                        <a:pt x="266" y="222"/>
                      </a:lnTo>
                      <a:lnTo>
                        <a:pt x="219" y="228"/>
                      </a:lnTo>
                      <a:lnTo>
                        <a:pt x="166" y="241"/>
                      </a:lnTo>
                      <a:lnTo>
                        <a:pt x="112" y="234"/>
                      </a:lnTo>
                      <a:lnTo>
                        <a:pt x="60" y="222"/>
                      </a:lnTo>
                      <a:lnTo>
                        <a:pt x="20" y="222"/>
                      </a:lnTo>
                      <a:lnTo>
                        <a:pt x="0" y="203"/>
                      </a:lnTo>
                      <a:lnTo>
                        <a:pt x="53" y="166"/>
                      </a:lnTo>
                      <a:lnTo>
                        <a:pt x="60" y="17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08" name="Freeform 352">
                  <a:extLst>
                    <a:ext uri="{FF2B5EF4-FFF2-40B4-BE49-F238E27FC236}">
                      <a16:creationId xmlns:a16="http://schemas.microsoft.com/office/drawing/2014/main" xmlns="" id="{83942D50-4847-458A-A643-0097539F0F1D}"/>
                    </a:ext>
                  </a:extLst>
                </p:cNvPr>
                <p:cNvSpPr>
                  <a:spLocks/>
                </p:cNvSpPr>
                <p:nvPr>
                  <p:custDataLst>
                    <p:tags r:id="rId255"/>
                  </p:custDataLst>
                </p:nvPr>
              </p:nvSpPr>
              <p:spPr bwMode="auto">
                <a:xfrm>
                  <a:off x="5216525" y="2316163"/>
                  <a:ext cx="342900" cy="227012"/>
                </a:xfrm>
                <a:custGeom>
                  <a:avLst/>
                  <a:gdLst>
                    <a:gd name="T0" fmla="*/ 2147483646 w 784"/>
                    <a:gd name="T1" fmla="*/ 2147483646 h 430"/>
                    <a:gd name="T2" fmla="*/ 2147483646 w 784"/>
                    <a:gd name="T3" fmla="*/ 2147483646 h 430"/>
                    <a:gd name="T4" fmla="*/ 2147483646 w 784"/>
                    <a:gd name="T5" fmla="*/ 2147483646 h 430"/>
                    <a:gd name="T6" fmla="*/ 2147483646 w 784"/>
                    <a:gd name="T7" fmla="*/ 2147483646 h 430"/>
                    <a:gd name="T8" fmla="*/ 2147483646 w 784"/>
                    <a:gd name="T9" fmla="*/ 2147483646 h 430"/>
                    <a:gd name="T10" fmla="*/ 2147483646 w 784"/>
                    <a:gd name="T11" fmla="*/ 2147483646 h 430"/>
                    <a:gd name="T12" fmla="*/ 2147483646 w 784"/>
                    <a:gd name="T13" fmla="*/ 2147483646 h 430"/>
                    <a:gd name="T14" fmla="*/ 2147483646 w 784"/>
                    <a:gd name="T15" fmla="*/ 2147483646 h 430"/>
                    <a:gd name="T16" fmla="*/ 2147483646 w 784"/>
                    <a:gd name="T17" fmla="*/ 2147483646 h 430"/>
                    <a:gd name="T18" fmla="*/ 2147483646 w 784"/>
                    <a:gd name="T19" fmla="*/ 2147483646 h 430"/>
                    <a:gd name="T20" fmla="*/ 2147483646 w 784"/>
                    <a:gd name="T21" fmla="*/ 2147483646 h 430"/>
                    <a:gd name="T22" fmla="*/ 2147483646 w 784"/>
                    <a:gd name="T23" fmla="*/ 2147483646 h 430"/>
                    <a:gd name="T24" fmla="*/ 2147483646 w 784"/>
                    <a:gd name="T25" fmla="*/ 2147483646 h 430"/>
                    <a:gd name="T26" fmla="*/ 2147483646 w 784"/>
                    <a:gd name="T27" fmla="*/ 2147483646 h 430"/>
                    <a:gd name="T28" fmla="*/ 2147483646 w 784"/>
                    <a:gd name="T29" fmla="*/ 2147483646 h 430"/>
                    <a:gd name="T30" fmla="*/ 2147483646 w 784"/>
                    <a:gd name="T31" fmla="*/ 2147483646 h 430"/>
                    <a:gd name="T32" fmla="*/ 2147483646 w 784"/>
                    <a:gd name="T33" fmla="*/ 2147483646 h 430"/>
                    <a:gd name="T34" fmla="*/ 2147483646 w 784"/>
                    <a:gd name="T35" fmla="*/ 2147483646 h 430"/>
                    <a:gd name="T36" fmla="*/ 2147483646 w 784"/>
                    <a:gd name="T37" fmla="*/ 2147483646 h 430"/>
                    <a:gd name="T38" fmla="*/ 2147483646 w 784"/>
                    <a:gd name="T39" fmla="*/ 2147483646 h 430"/>
                    <a:gd name="T40" fmla="*/ 2147483646 w 784"/>
                    <a:gd name="T41" fmla="*/ 2147483646 h 430"/>
                    <a:gd name="T42" fmla="*/ 2147483646 w 784"/>
                    <a:gd name="T43" fmla="*/ 2147483646 h 430"/>
                    <a:gd name="T44" fmla="*/ 2147483646 w 784"/>
                    <a:gd name="T45" fmla="*/ 2147483646 h 430"/>
                    <a:gd name="T46" fmla="*/ 2147483646 w 784"/>
                    <a:gd name="T47" fmla="*/ 2147483646 h 430"/>
                    <a:gd name="T48" fmla="*/ 2147483646 w 784"/>
                    <a:gd name="T49" fmla="*/ 2147483646 h 430"/>
                    <a:gd name="T50" fmla="*/ 2147483646 w 784"/>
                    <a:gd name="T51" fmla="*/ 2147483646 h 430"/>
                    <a:gd name="T52" fmla="*/ 2147483646 w 784"/>
                    <a:gd name="T53" fmla="*/ 2147483646 h 430"/>
                    <a:gd name="T54" fmla="*/ 2147483646 w 784"/>
                    <a:gd name="T55" fmla="*/ 2147483646 h 430"/>
                    <a:gd name="T56" fmla="*/ 2147483646 w 784"/>
                    <a:gd name="T57" fmla="*/ 2147483646 h 430"/>
                    <a:gd name="T58" fmla="*/ 2147483646 w 784"/>
                    <a:gd name="T59" fmla="*/ 2147483646 h 430"/>
                    <a:gd name="T60" fmla="*/ 2147483646 w 784"/>
                    <a:gd name="T61" fmla="*/ 2147483646 h 430"/>
                    <a:gd name="T62" fmla="*/ 2147483646 w 784"/>
                    <a:gd name="T63" fmla="*/ 2147483646 h 430"/>
                    <a:gd name="T64" fmla="*/ 2147483646 w 784"/>
                    <a:gd name="T65" fmla="*/ 2147483646 h 430"/>
                    <a:gd name="T66" fmla="*/ 2147483646 w 784"/>
                    <a:gd name="T67" fmla="*/ 2147483646 h 430"/>
                    <a:gd name="T68" fmla="*/ 0 w 784"/>
                    <a:gd name="T69" fmla="*/ 2147483646 h 430"/>
                    <a:gd name="T70" fmla="*/ 2147483646 w 784"/>
                    <a:gd name="T71" fmla="*/ 2147483646 h 430"/>
                    <a:gd name="T72" fmla="*/ 2147483646 w 784"/>
                    <a:gd name="T73" fmla="*/ 2147483646 h 430"/>
                    <a:gd name="T74" fmla="*/ 2147483646 w 784"/>
                    <a:gd name="T75" fmla="*/ 2147483646 h 430"/>
                    <a:gd name="T76" fmla="*/ 2147483646 w 784"/>
                    <a:gd name="T77" fmla="*/ 2147483646 h 430"/>
                    <a:gd name="T78" fmla="*/ 2147483646 w 784"/>
                    <a:gd name="T79" fmla="*/ 2147483646 h 430"/>
                    <a:gd name="T80" fmla="*/ 2147483646 w 784"/>
                    <a:gd name="T81" fmla="*/ 2147483646 h 430"/>
                    <a:gd name="T82" fmla="*/ 2147483646 w 784"/>
                    <a:gd name="T83" fmla="*/ 2147483646 h 430"/>
                    <a:gd name="T84" fmla="*/ 2147483646 w 784"/>
                    <a:gd name="T85" fmla="*/ 2147483646 h 430"/>
                    <a:gd name="T86" fmla="*/ 2147483646 w 784"/>
                    <a:gd name="T87" fmla="*/ 2147483646 h 430"/>
                    <a:gd name="T88" fmla="*/ 2147483646 w 784"/>
                    <a:gd name="T89" fmla="*/ 2147483646 h 430"/>
                    <a:gd name="T90" fmla="*/ 2147483646 w 784"/>
                    <a:gd name="T91" fmla="*/ 2147483646 h 430"/>
                    <a:gd name="T92" fmla="*/ 2147483646 w 784"/>
                    <a:gd name="T93" fmla="*/ 2147483646 h 430"/>
                    <a:gd name="T94" fmla="*/ 2147483646 w 784"/>
                    <a:gd name="T95" fmla="*/ 2147483646 h 430"/>
                    <a:gd name="T96" fmla="*/ 2147483646 w 784"/>
                    <a:gd name="T97" fmla="*/ 2147483646 h 430"/>
                    <a:gd name="T98" fmla="*/ 2147483646 w 784"/>
                    <a:gd name="T99" fmla="*/ 0 h 430"/>
                    <a:gd name="T100" fmla="*/ 2147483646 w 784"/>
                    <a:gd name="T101" fmla="*/ 2147483646 h 430"/>
                    <a:gd name="T102" fmla="*/ 2147483646 w 784"/>
                    <a:gd name="T103" fmla="*/ 2147483646 h 430"/>
                    <a:gd name="T104" fmla="*/ 2147483646 w 784"/>
                    <a:gd name="T105" fmla="*/ 2147483646 h 430"/>
                    <a:gd name="T106" fmla="*/ 2147483646 w 784"/>
                    <a:gd name="T107" fmla="*/ 2147483646 h 430"/>
                    <a:gd name="T108" fmla="*/ 2147483646 w 784"/>
                    <a:gd name="T109" fmla="*/ 2147483646 h 43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784"/>
                    <a:gd name="T166" fmla="*/ 0 h 430"/>
                    <a:gd name="T167" fmla="*/ 784 w 784"/>
                    <a:gd name="T168" fmla="*/ 430 h 43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784" h="430">
                      <a:moveTo>
                        <a:pt x="778" y="295"/>
                      </a:moveTo>
                      <a:lnTo>
                        <a:pt x="772" y="294"/>
                      </a:lnTo>
                      <a:lnTo>
                        <a:pt x="768" y="292"/>
                      </a:lnTo>
                      <a:lnTo>
                        <a:pt x="762" y="292"/>
                      </a:lnTo>
                      <a:lnTo>
                        <a:pt x="757" y="292"/>
                      </a:lnTo>
                      <a:lnTo>
                        <a:pt x="751" y="293"/>
                      </a:lnTo>
                      <a:lnTo>
                        <a:pt x="745" y="295"/>
                      </a:lnTo>
                      <a:lnTo>
                        <a:pt x="738" y="298"/>
                      </a:lnTo>
                      <a:lnTo>
                        <a:pt x="731" y="302"/>
                      </a:lnTo>
                      <a:lnTo>
                        <a:pt x="727" y="303"/>
                      </a:lnTo>
                      <a:lnTo>
                        <a:pt x="725" y="305"/>
                      </a:lnTo>
                      <a:lnTo>
                        <a:pt x="723" y="308"/>
                      </a:lnTo>
                      <a:lnTo>
                        <a:pt x="721" y="312"/>
                      </a:lnTo>
                      <a:lnTo>
                        <a:pt x="718" y="322"/>
                      </a:lnTo>
                      <a:lnTo>
                        <a:pt x="717" y="332"/>
                      </a:lnTo>
                      <a:lnTo>
                        <a:pt x="716" y="343"/>
                      </a:lnTo>
                      <a:lnTo>
                        <a:pt x="714" y="354"/>
                      </a:lnTo>
                      <a:lnTo>
                        <a:pt x="713" y="360"/>
                      </a:lnTo>
                      <a:lnTo>
                        <a:pt x="711" y="365"/>
                      </a:lnTo>
                      <a:lnTo>
                        <a:pt x="708" y="370"/>
                      </a:lnTo>
                      <a:lnTo>
                        <a:pt x="704" y="376"/>
                      </a:lnTo>
                      <a:lnTo>
                        <a:pt x="694" y="385"/>
                      </a:lnTo>
                      <a:lnTo>
                        <a:pt x="683" y="394"/>
                      </a:lnTo>
                      <a:lnTo>
                        <a:pt x="671" y="402"/>
                      </a:lnTo>
                      <a:lnTo>
                        <a:pt x="659" y="409"/>
                      </a:lnTo>
                      <a:lnTo>
                        <a:pt x="647" y="416"/>
                      </a:lnTo>
                      <a:lnTo>
                        <a:pt x="633" y="420"/>
                      </a:lnTo>
                      <a:lnTo>
                        <a:pt x="626" y="422"/>
                      </a:lnTo>
                      <a:lnTo>
                        <a:pt x="620" y="424"/>
                      </a:lnTo>
                      <a:lnTo>
                        <a:pt x="612" y="424"/>
                      </a:lnTo>
                      <a:lnTo>
                        <a:pt x="604" y="425"/>
                      </a:lnTo>
                      <a:lnTo>
                        <a:pt x="596" y="426"/>
                      </a:lnTo>
                      <a:lnTo>
                        <a:pt x="587" y="429"/>
                      </a:lnTo>
                      <a:lnTo>
                        <a:pt x="581" y="430"/>
                      </a:lnTo>
                      <a:lnTo>
                        <a:pt x="575" y="430"/>
                      </a:lnTo>
                      <a:lnTo>
                        <a:pt x="567" y="428"/>
                      </a:lnTo>
                      <a:lnTo>
                        <a:pt x="558" y="425"/>
                      </a:lnTo>
                      <a:lnTo>
                        <a:pt x="553" y="406"/>
                      </a:lnTo>
                      <a:lnTo>
                        <a:pt x="545" y="388"/>
                      </a:lnTo>
                      <a:lnTo>
                        <a:pt x="537" y="367"/>
                      </a:lnTo>
                      <a:lnTo>
                        <a:pt x="532" y="345"/>
                      </a:lnTo>
                      <a:lnTo>
                        <a:pt x="515" y="344"/>
                      </a:lnTo>
                      <a:lnTo>
                        <a:pt x="501" y="342"/>
                      </a:lnTo>
                      <a:lnTo>
                        <a:pt x="489" y="339"/>
                      </a:lnTo>
                      <a:lnTo>
                        <a:pt x="478" y="334"/>
                      </a:lnTo>
                      <a:lnTo>
                        <a:pt x="467" y="329"/>
                      </a:lnTo>
                      <a:lnTo>
                        <a:pt x="458" y="323"/>
                      </a:lnTo>
                      <a:lnTo>
                        <a:pt x="448" y="315"/>
                      </a:lnTo>
                      <a:lnTo>
                        <a:pt x="439" y="308"/>
                      </a:lnTo>
                      <a:lnTo>
                        <a:pt x="429" y="301"/>
                      </a:lnTo>
                      <a:lnTo>
                        <a:pt x="417" y="294"/>
                      </a:lnTo>
                      <a:lnTo>
                        <a:pt x="404" y="287"/>
                      </a:lnTo>
                      <a:lnTo>
                        <a:pt x="389" y="280"/>
                      </a:lnTo>
                      <a:lnTo>
                        <a:pt x="373" y="274"/>
                      </a:lnTo>
                      <a:lnTo>
                        <a:pt x="354" y="268"/>
                      </a:lnTo>
                      <a:lnTo>
                        <a:pt x="331" y="262"/>
                      </a:lnTo>
                      <a:lnTo>
                        <a:pt x="306" y="258"/>
                      </a:lnTo>
                      <a:lnTo>
                        <a:pt x="212" y="258"/>
                      </a:lnTo>
                      <a:lnTo>
                        <a:pt x="204" y="267"/>
                      </a:lnTo>
                      <a:lnTo>
                        <a:pt x="182" y="283"/>
                      </a:lnTo>
                      <a:lnTo>
                        <a:pt x="171" y="292"/>
                      </a:lnTo>
                      <a:lnTo>
                        <a:pt x="160" y="300"/>
                      </a:lnTo>
                      <a:lnTo>
                        <a:pt x="151" y="306"/>
                      </a:lnTo>
                      <a:lnTo>
                        <a:pt x="146" y="308"/>
                      </a:lnTo>
                      <a:lnTo>
                        <a:pt x="137" y="308"/>
                      </a:lnTo>
                      <a:lnTo>
                        <a:pt x="127" y="308"/>
                      </a:lnTo>
                      <a:lnTo>
                        <a:pt x="119" y="308"/>
                      </a:lnTo>
                      <a:lnTo>
                        <a:pt x="113" y="308"/>
                      </a:lnTo>
                      <a:lnTo>
                        <a:pt x="66" y="252"/>
                      </a:lnTo>
                      <a:lnTo>
                        <a:pt x="66" y="237"/>
                      </a:lnTo>
                      <a:lnTo>
                        <a:pt x="66" y="223"/>
                      </a:lnTo>
                      <a:lnTo>
                        <a:pt x="66" y="204"/>
                      </a:lnTo>
                      <a:lnTo>
                        <a:pt x="66" y="179"/>
                      </a:lnTo>
                      <a:lnTo>
                        <a:pt x="53" y="179"/>
                      </a:lnTo>
                      <a:lnTo>
                        <a:pt x="40" y="179"/>
                      </a:lnTo>
                      <a:lnTo>
                        <a:pt x="42" y="185"/>
                      </a:lnTo>
                      <a:lnTo>
                        <a:pt x="42" y="192"/>
                      </a:lnTo>
                      <a:lnTo>
                        <a:pt x="42" y="199"/>
                      </a:lnTo>
                      <a:lnTo>
                        <a:pt x="41" y="205"/>
                      </a:lnTo>
                      <a:lnTo>
                        <a:pt x="39" y="212"/>
                      </a:lnTo>
                      <a:lnTo>
                        <a:pt x="36" y="218"/>
                      </a:lnTo>
                      <a:lnTo>
                        <a:pt x="31" y="223"/>
                      </a:lnTo>
                      <a:lnTo>
                        <a:pt x="27" y="228"/>
                      </a:lnTo>
                      <a:lnTo>
                        <a:pt x="30" y="221"/>
                      </a:lnTo>
                      <a:lnTo>
                        <a:pt x="32" y="215"/>
                      </a:lnTo>
                      <a:lnTo>
                        <a:pt x="32" y="208"/>
                      </a:lnTo>
                      <a:lnTo>
                        <a:pt x="31" y="203"/>
                      </a:lnTo>
                      <a:lnTo>
                        <a:pt x="29" y="191"/>
                      </a:lnTo>
                      <a:lnTo>
                        <a:pt x="27" y="179"/>
                      </a:lnTo>
                      <a:lnTo>
                        <a:pt x="27" y="174"/>
                      </a:lnTo>
                      <a:lnTo>
                        <a:pt x="29" y="170"/>
                      </a:lnTo>
                      <a:lnTo>
                        <a:pt x="31" y="167"/>
                      </a:lnTo>
                      <a:lnTo>
                        <a:pt x="33" y="163"/>
                      </a:lnTo>
                      <a:lnTo>
                        <a:pt x="36" y="160"/>
                      </a:lnTo>
                      <a:lnTo>
                        <a:pt x="38" y="156"/>
                      </a:lnTo>
                      <a:lnTo>
                        <a:pt x="40" y="152"/>
                      </a:lnTo>
                      <a:lnTo>
                        <a:pt x="40" y="147"/>
                      </a:lnTo>
                      <a:lnTo>
                        <a:pt x="31" y="136"/>
                      </a:lnTo>
                      <a:lnTo>
                        <a:pt x="27" y="129"/>
                      </a:lnTo>
                      <a:lnTo>
                        <a:pt x="20" y="129"/>
                      </a:lnTo>
                      <a:lnTo>
                        <a:pt x="11" y="128"/>
                      </a:lnTo>
                      <a:lnTo>
                        <a:pt x="7" y="126"/>
                      </a:lnTo>
                      <a:lnTo>
                        <a:pt x="4" y="124"/>
                      </a:lnTo>
                      <a:lnTo>
                        <a:pt x="1" y="121"/>
                      </a:lnTo>
                      <a:lnTo>
                        <a:pt x="0" y="117"/>
                      </a:lnTo>
                      <a:lnTo>
                        <a:pt x="0" y="113"/>
                      </a:lnTo>
                      <a:lnTo>
                        <a:pt x="1" y="108"/>
                      </a:lnTo>
                      <a:lnTo>
                        <a:pt x="3" y="104"/>
                      </a:lnTo>
                      <a:lnTo>
                        <a:pt x="5" y="100"/>
                      </a:lnTo>
                      <a:lnTo>
                        <a:pt x="8" y="96"/>
                      </a:lnTo>
                      <a:lnTo>
                        <a:pt x="11" y="94"/>
                      </a:lnTo>
                      <a:lnTo>
                        <a:pt x="16" y="92"/>
                      </a:lnTo>
                      <a:lnTo>
                        <a:pt x="20" y="92"/>
                      </a:lnTo>
                      <a:lnTo>
                        <a:pt x="27" y="92"/>
                      </a:lnTo>
                      <a:lnTo>
                        <a:pt x="32" y="94"/>
                      </a:lnTo>
                      <a:lnTo>
                        <a:pt x="37" y="96"/>
                      </a:lnTo>
                      <a:lnTo>
                        <a:pt x="41" y="99"/>
                      </a:lnTo>
                      <a:lnTo>
                        <a:pt x="45" y="101"/>
                      </a:lnTo>
                      <a:lnTo>
                        <a:pt x="51" y="103"/>
                      </a:lnTo>
                      <a:lnTo>
                        <a:pt x="57" y="104"/>
                      </a:lnTo>
                      <a:lnTo>
                        <a:pt x="66" y="105"/>
                      </a:lnTo>
                      <a:lnTo>
                        <a:pt x="67" y="99"/>
                      </a:lnTo>
                      <a:lnTo>
                        <a:pt x="71" y="92"/>
                      </a:lnTo>
                      <a:lnTo>
                        <a:pt x="75" y="87"/>
                      </a:lnTo>
                      <a:lnTo>
                        <a:pt x="79" y="82"/>
                      </a:lnTo>
                      <a:lnTo>
                        <a:pt x="83" y="77"/>
                      </a:lnTo>
                      <a:lnTo>
                        <a:pt x="86" y="71"/>
                      </a:lnTo>
                      <a:lnTo>
                        <a:pt x="87" y="67"/>
                      </a:lnTo>
                      <a:lnTo>
                        <a:pt x="87" y="64"/>
                      </a:lnTo>
                      <a:lnTo>
                        <a:pt x="87" y="60"/>
                      </a:lnTo>
                      <a:lnTo>
                        <a:pt x="86" y="56"/>
                      </a:lnTo>
                      <a:lnTo>
                        <a:pt x="78" y="55"/>
                      </a:lnTo>
                      <a:lnTo>
                        <a:pt x="71" y="54"/>
                      </a:lnTo>
                      <a:lnTo>
                        <a:pt x="63" y="52"/>
                      </a:lnTo>
                      <a:lnTo>
                        <a:pt x="55" y="49"/>
                      </a:lnTo>
                      <a:lnTo>
                        <a:pt x="52" y="47"/>
                      </a:lnTo>
                      <a:lnTo>
                        <a:pt x="50" y="44"/>
                      </a:lnTo>
                      <a:lnTo>
                        <a:pt x="47" y="40"/>
                      </a:lnTo>
                      <a:lnTo>
                        <a:pt x="44" y="37"/>
                      </a:lnTo>
                      <a:lnTo>
                        <a:pt x="42" y="33"/>
                      </a:lnTo>
                      <a:lnTo>
                        <a:pt x="41" y="28"/>
                      </a:lnTo>
                      <a:lnTo>
                        <a:pt x="40" y="24"/>
                      </a:lnTo>
                      <a:lnTo>
                        <a:pt x="40" y="18"/>
                      </a:lnTo>
                      <a:lnTo>
                        <a:pt x="107" y="43"/>
                      </a:lnTo>
                      <a:lnTo>
                        <a:pt x="133" y="80"/>
                      </a:lnTo>
                      <a:lnTo>
                        <a:pt x="179" y="86"/>
                      </a:lnTo>
                      <a:lnTo>
                        <a:pt x="219" y="74"/>
                      </a:lnTo>
                      <a:lnTo>
                        <a:pt x="212" y="43"/>
                      </a:lnTo>
                      <a:lnTo>
                        <a:pt x="253" y="24"/>
                      </a:lnTo>
                      <a:lnTo>
                        <a:pt x="273" y="0"/>
                      </a:lnTo>
                      <a:lnTo>
                        <a:pt x="306" y="6"/>
                      </a:lnTo>
                      <a:lnTo>
                        <a:pt x="339" y="24"/>
                      </a:lnTo>
                      <a:lnTo>
                        <a:pt x="373" y="43"/>
                      </a:lnTo>
                      <a:lnTo>
                        <a:pt x="386" y="80"/>
                      </a:lnTo>
                      <a:lnTo>
                        <a:pt x="425" y="92"/>
                      </a:lnTo>
                      <a:lnTo>
                        <a:pt x="465" y="92"/>
                      </a:lnTo>
                      <a:lnTo>
                        <a:pt x="512" y="141"/>
                      </a:lnTo>
                      <a:lnTo>
                        <a:pt x="545" y="179"/>
                      </a:lnTo>
                      <a:lnTo>
                        <a:pt x="591" y="210"/>
                      </a:lnTo>
                      <a:lnTo>
                        <a:pt x="632" y="222"/>
                      </a:lnTo>
                      <a:lnTo>
                        <a:pt x="678" y="252"/>
                      </a:lnTo>
                      <a:lnTo>
                        <a:pt x="724" y="265"/>
                      </a:lnTo>
                      <a:lnTo>
                        <a:pt x="758" y="277"/>
                      </a:lnTo>
                      <a:lnTo>
                        <a:pt x="784" y="289"/>
                      </a:lnTo>
                      <a:lnTo>
                        <a:pt x="778" y="29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09" name="Freeform 353">
                  <a:extLst>
                    <a:ext uri="{FF2B5EF4-FFF2-40B4-BE49-F238E27FC236}">
                      <a16:creationId xmlns:a16="http://schemas.microsoft.com/office/drawing/2014/main" xmlns="" id="{475AB58C-8F0F-4FC0-A9D6-7B98374CD95C}"/>
                    </a:ext>
                  </a:extLst>
                </p:cNvPr>
                <p:cNvSpPr>
                  <a:spLocks/>
                </p:cNvSpPr>
                <p:nvPr>
                  <p:custDataLst>
                    <p:tags r:id="rId256"/>
                  </p:custDataLst>
                </p:nvPr>
              </p:nvSpPr>
              <p:spPr bwMode="auto">
                <a:xfrm>
                  <a:off x="4425950" y="2203450"/>
                  <a:ext cx="107950" cy="149225"/>
                </a:xfrm>
                <a:custGeom>
                  <a:avLst/>
                  <a:gdLst>
                    <a:gd name="T0" fmla="*/ 2147483646 w 246"/>
                    <a:gd name="T1" fmla="*/ 2147483646 h 284"/>
                    <a:gd name="T2" fmla="*/ 2147483646 w 246"/>
                    <a:gd name="T3" fmla="*/ 2147483646 h 284"/>
                    <a:gd name="T4" fmla="*/ 2147483646 w 246"/>
                    <a:gd name="T5" fmla="*/ 2147483646 h 284"/>
                    <a:gd name="T6" fmla="*/ 2147483646 w 246"/>
                    <a:gd name="T7" fmla="*/ 2147483646 h 284"/>
                    <a:gd name="T8" fmla="*/ 2147483646 w 246"/>
                    <a:gd name="T9" fmla="*/ 2147483646 h 284"/>
                    <a:gd name="T10" fmla="*/ 2147483646 w 246"/>
                    <a:gd name="T11" fmla="*/ 2147483646 h 284"/>
                    <a:gd name="T12" fmla="*/ 2147483646 w 246"/>
                    <a:gd name="T13" fmla="*/ 2147483646 h 284"/>
                    <a:gd name="T14" fmla="*/ 2147483646 w 246"/>
                    <a:gd name="T15" fmla="*/ 2147483646 h 284"/>
                    <a:gd name="T16" fmla="*/ 2147483646 w 246"/>
                    <a:gd name="T17" fmla="*/ 2147483646 h 284"/>
                    <a:gd name="T18" fmla="*/ 2147483646 w 246"/>
                    <a:gd name="T19" fmla="*/ 2147483646 h 284"/>
                    <a:gd name="T20" fmla="*/ 2147483646 w 246"/>
                    <a:gd name="T21" fmla="*/ 2147483646 h 284"/>
                    <a:gd name="T22" fmla="*/ 2147483646 w 246"/>
                    <a:gd name="T23" fmla="*/ 2147483646 h 284"/>
                    <a:gd name="T24" fmla="*/ 2147483646 w 246"/>
                    <a:gd name="T25" fmla="*/ 2147483646 h 284"/>
                    <a:gd name="T26" fmla="*/ 2147483646 w 246"/>
                    <a:gd name="T27" fmla="*/ 2147483646 h 284"/>
                    <a:gd name="T28" fmla="*/ 2147483646 w 246"/>
                    <a:gd name="T29" fmla="*/ 2147483646 h 284"/>
                    <a:gd name="T30" fmla="*/ 2147483646 w 246"/>
                    <a:gd name="T31" fmla="*/ 2147483646 h 284"/>
                    <a:gd name="T32" fmla="*/ 2147483646 w 246"/>
                    <a:gd name="T33" fmla="*/ 2147483646 h 284"/>
                    <a:gd name="T34" fmla="*/ 2147483646 w 246"/>
                    <a:gd name="T35" fmla="*/ 2147483646 h 284"/>
                    <a:gd name="T36" fmla="*/ 2147483646 w 246"/>
                    <a:gd name="T37" fmla="*/ 2147483646 h 284"/>
                    <a:gd name="T38" fmla="*/ 2147483646 w 246"/>
                    <a:gd name="T39" fmla="*/ 2147483646 h 284"/>
                    <a:gd name="T40" fmla="*/ 2147483646 w 246"/>
                    <a:gd name="T41" fmla="*/ 2147483646 h 284"/>
                    <a:gd name="T42" fmla="*/ 2147483646 w 246"/>
                    <a:gd name="T43" fmla="*/ 2147483646 h 284"/>
                    <a:gd name="T44" fmla="*/ 2147483646 w 246"/>
                    <a:gd name="T45" fmla="*/ 2147483646 h 284"/>
                    <a:gd name="T46" fmla="*/ 2147483646 w 246"/>
                    <a:gd name="T47" fmla="*/ 2147483646 h 284"/>
                    <a:gd name="T48" fmla="*/ 2147483646 w 246"/>
                    <a:gd name="T49" fmla="*/ 2147483646 h 284"/>
                    <a:gd name="T50" fmla="*/ 2147483646 w 246"/>
                    <a:gd name="T51" fmla="*/ 2147483646 h 284"/>
                    <a:gd name="T52" fmla="*/ 2147483646 w 246"/>
                    <a:gd name="T53" fmla="*/ 2147483646 h 284"/>
                    <a:gd name="T54" fmla="*/ 2147483646 w 246"/>
                    <a:gd name="T55" fmla="*/ 2147483646 h 284"/>
                    <a:gd name="T56" fmla="*/ 2147483646 w 246"/>
                    <a:gd name="T57" fmla="*/ 2147483646 h 284"/>
                    <a:gd name="T58" fmla="*/ 2147483646 w 246"/>
                    <a:gd name="T59" fmla="*/ 2147483646 h 284"/>
                    <a:gd name="T60" fmla="*/ 2147483646 w 246"/>
                    <a:gd name="T61" fmla="*/ 2147483646 h 284"/>
                    <a:gd name="T62" fmla="*/ 2147483646 w 246"/>
                    <a:gd name="T63" fmla="*/ 2147483646 h 284"/>
                    <a:gd name="T64" fmla="*/ 2147483646 w 246"/>
                    <a:gd name="T65" fmla="*/ 2147483646 h 284"/>
                    <a:gd name="T66" fmla="*/ 2147483646 w 246"/>
                    <a:gd name="T67" fmla="*/ 2147483646 h 284"/>
                    <a:gd name="T68" fmla="*/ 2147483646 w 246"/>
                    <a:gd name="T69" fmla="*/ 2147483646 h 284"/>
                    <a:gd name="T70" fmla="*/ 2147483646 w 246"/>
                    <a:gd name="T71" fmla="*/ 2147483646 h 284"/>
                    <a:gd name="T72" fmla="*/ 2147483646 w 246"/>
                    <a:gd name="T73" fmla="*/ 2147483646 h 284"/>
                    <a:gd name="T74" fmla="*/ 2147483646 w 246"/>
                    <a:gd name="T75" fmla="*/ 2147483646 h 284"/>
                    <a:gd name="T76" fmla="*/ 2147483646 w 246"/>
                    <a:gd name="T77" fmla="*/ 2147483646 h 284"/>
                    <a:gd name="T78" fmla="*/ 2147483646 w 246"/>
                    <a:gd name="T79" fmla="*/ 2147483646 h 284"/>
                    <a:gd name="T80" fmla="*/ 0 w 246"/>
                    <a:gd name="T81" fmla="*/ 2147483646 h 284"/>
                    <a:gd name="T82" fmla="*/ 2147483646 w 246"/>
                    <a:gd name="T83" fmla="*/ 2147483646 h 284"/>
                    <a:gd name="T84" fmla="*/ 2147483646 w 246"/>
                    <a:gd name="T85" fmla="*/ 2147483646 h 284"/>
                    <a:gd name="T86" fmla="*/ 2147483646 w 246"/>
                    <a:gd name="T87" fmla="*/ 2147483646 h 284"/>
                    <a:gd name="T88" fmla="*/ 2147483646 w 246"/>
                    <a:gd name="T89" fmla="*/ 2147483646 h 284"/>
                    <a:gd name="T90" fmla="*/ 2147483646 w 246"/>
                    <a:gd name="T91" fmla="*/ 2147483646 h 284"/>
                    <a:gd name="T92" fmla="*/ 2147483646 w 246"/>
                    <a:gd name="T93" fmla="*/ 2147483646 h 284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46"/>
                    <a:gd name="T142" fmla="*/ 0 h 284"/>
                    <a:gd name="T143" fmla="*/ 246 w 246"/>
                    <a:gd name="T144" fmla="*/ 284 h 284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46" h="284">
                      <a:moveTo>
                        <a:pt x="33" y="44"/>
                      </a:moveTo>
                      <a:lnTo>
                        <a:pt x="30" y="27"/>
                      </a:lnTo>
                      <a:lnTo>
                        <a:pt x="28" y="24"/>
                      </a:lnTo>
                      <a:lnTo>
                        <a:pt x="26" y="22"/>
                      </a:lnTo>
                      <a:lnTo>
                        <a:pt x="24" y="17"/>
                      </a:lnTo>
                      <a:lnTo>
                        <a:pt x="20" y="6"/>
                      </a:lnTo>
                      <a:lnTo>
                        <a:pt x="35" y="5"/>
                      </a:lnTo>
                      <a:lnTo>
                        <a:pt x="50" y="3"/>
                      </a:lnTo>
                      <a:lnTo>
                        <a:pt x="67" y="1"/>
                      </a:lnTo>
                      <a:lnTo>
                        <a:pt x="87" y="0"/>
                      </a:lnTo>
                      <a:lnTo>
                        <a:pt x="126" y="12"/>
                      </a:lnTo>
                      <a:lnTo>
                        <a:pt x="127" y="22"/>
                      </a:lnTo>
                      <a:lnTo>
                        <a:pt x="131" y="30"/>
                      </a:lnTo>
                      <a:lnTo>
                        <a:pt x="135" y="39"/>
                      </a:lnTo>
                      <a:lnTo>
                        <a:pt x="139" y="46"/>
                      </a:lnTo>
                      <a:lnTo>
                        <a:pt x="145" y="52"/>
                      </a:lnTo>
                      <a:lnTo>
                        <a:pt x="151" y="57"/>
                      </a:lnTo>
                      <a:lnTo>
                        <a:pt x="157" y="62"/>
                      </a:lnTo>
                      <a:lnTo>
                        <a:pt x="165" y="67"/>
                      </a:lnTo>
                      <a:lnTo>
                        <a:pt x="178" y="77"/>
                      </a:lnTo>
                      <a:lnTo>
                        <a:pt x="191" y="87"/>
                      </a:lnTo>
                      <a:lnTo>
                        <a:pt x="198" y="94"/>
                      </a:lnTo>
                      <a:lnTo>
                        <a:pt x="203" y="101"/>
                      </a:lnTo>
                      <a:lnTo>
                        <a:pt x="209" y="109"/>
                      </a:lnTo>
                      <a:lnTo>
                        <a:pt x="212" y="117"/>
                      </a:lnTo>
                      <a:lnTo>
                        <a:pt x="220" y="117"/>
                      </a:lnTo>
                      <a:lnTo>
                        <a:pt x="226" y="117"/>
                      </a:lnTo>
                      <a:lnTo>
                        <a:pt x="223" y="121"/>
                      </a:lnTo>
                      <a:lnTo>
                        <a:pt x="221" y="124"/>
                      </a:lnTo>
                      <a:lnTo>
                        <a:pt x="220" y="126"/>
                      </a:lnTo>
                      <a:lnTo>
                        <a:pt x="221" y="129"/>
                      </a:lnTo>
                      <a:lnTo>
                        <a:pt x="223" y="135"/>
                      </a:lnTo>
                      <a:lnTo>
                        <a:pt x="228" y="140"/>
                      </a:lnTo>
                      <a:lnTo>
                        <a:pt x="234" y="146"/>
                      </a:lnTo>
                      <a:lnTo>
                        <a:pt x="239" y="154"/>
                      </a:lnTo>
                      <a:lnTo>
                        <a:pt x="241" y="158"/>
                      </a:lnTo>
                      <a:lnTo>
                        <a:pt x="244" y="162"/>
                      </a:lnTo>
                      <a:lnTo>
                        <a:pt x="245" y="167"/>
                      </a:lnTo>
                      <a:lnTo>
                        <a:pt x="246" y="173"/>
                      </a:lnTo>
                      <a:lnTo>
                        <a:pt x="245" y="179"/>
                      </a:lnTo>
                      <a:lnTo>
                        <a:pt x="241" y="184"/>
                      </a:lnTo>
                      <a:lnTo>
                        <a:pt x="237" y="189"/>
                      </a:lnTo>
                      <a:lnTo>
                        <a:pt x="233" y="192"/>
                      </a:lnTo>
                      <a:lnTo>
                        <a:pt x="227" y="196"/>
                      </a:lnTo>
                      <a:lnTo>
                        <a:pt x="223" y="198"/>
                      </a:lnTo>
                      <a:lnTo>
                        <a:pt x="221" y="201"/>
                      </a:lnTo>
                      <a:lnTo>
                        <a:pt x="220" y="204"/>
                      </a:lnTo>
                      <a:lnTo>
                        <a:pt x="203" y="209"/>
                      </a:lnTo>
                      <a:lnTo>
                        <a:pt x="189" y="215"/>
                      </a:lnTo>
                      <a:lnTo>
                        <a:pt x="176" y="222"/>
                      </a:lnTo>
                      <a:lnTo>
                        <a:pt x="164" y="230"/>
                      </a:lnTo>
                      <a:lnTo>
                        <a:pt x="139" y="246"/>
                      </a:lnTo>
                      <a:lnTo>
                        <a:pt x="113" y="265"/>
                      </a:lnTo>
                      <a:lnTo>
                        <a:pt x="99" y="247"/>
                      </a:lnTo>
                      <a:lnTo>
                        <a:pt x="88" y="231"/>
                      </a:lnTo>
                      <a:lnTo>
                        <a:pt x="83" y="225"/>
                      </a:lnTo>
                      <a:lnTo>
                        <a:pt x="79" y="220"/>
                      </a:lnTo>
                      <a:lnTo>
                        <a:pt x="76" y="217"/>
                      </a:lnTo>
                      <a:lnTo>
                        <a:pt x="72" y="216"/>
                      </a:lnTo>
                      <a:lnTo>
                        <a:pt x="66" y="216"/>
                      </a:lnTo>
                      <a:lnTo>
                        <a:pt x="60" y="217"/>
                      </a:lnTo>
                      <a:lnTo>
                        <a:pt x="57" y="219"/>
                      </a:lnTo>
                      <a:lnTo>
                        <a:pt x="54" y="221"/>
                      </a:lnTo>
                      <a:lnTo>
                        <a:pt x="52" y="224"/>
                      </a:lnTo>
                      <a:lnTo>
                        <a:pt x="49" y="228"/>
                      </a:lnTo>
                      <a:lnTo>
                        <a:pt x="48" y="231"/>
                      </a:lnTo>
                      <a:lnTo>
                        <a:pt x="48" y="236"/>
                      </a:lnTo>
                      <a:lnTo>
                        <a:pt x="47" y="246"/>
                      </a:lnTo>
                      <a:lnTo>
                        <a:pt x="45" y="257"/>
                      </a:lnTo>
                      <a:lnTo>
                        <a:pt x="43" y="264"/>
                      </a:lnTo>
                      <a:lnTo>
                        <a:pt x="41" y="270"/>
                      </a:lnTo>
                      <a:lnTo>
                        <a:pt x="37" y="277"/>
                      </a:lnTo>
                      <a:lnTo>
                        <a:pt x="33" y="284"/>
                      </a:lnTo>
                      <a:lnTo>
                        <a:pt x="30" y="262"/>
                      </a:lnTo>
                      <a:lnTo>
                        <a:pt x="26" y="243"/>
                      </a:lnTo>
                      <a:lnTo>
                        <a:pt x="23" y="234"/>
                      </a:lnTo>
                      <a:lnTo>
                        <a:pt x="17" y="227"/>
                      </a:lnTo>
                      <a:lnTo>
                        <a:pt x="14" y="224"/>
                      </a:lnTo>
                      <a:lnTo>
                        <a:pt x="11" y="221"/>
                      </a:lnTo>
                      <a:lnTo>
                        <a:pt x="5" y="218"/>
                      </a:lnTo>
                      <a:lnTo>
                        <a:pt x="0" y="216"/>
                      </a:lnTo>
                      <a:lnTo>
                        <a:pt x="0" y="210"/>
                      </a:lnTo>
                      <a:lnTo>
                        <a:pt x="1" y="204"/>
                      </a:lnTo>
                      <a:lnTo>
                        <a:pt x="2" y="197"/>
                      </a:lnTo>
                      <a:lnTo>
                        <a:pt x="4" y="193"/>
                      </a:lnTo>
                      <a:lnTo>
                        <a:pt x="9" y="184"/>
                      </a:lnTo>
                      <a:lnTo>
                        <a:pt x="15" y="176"/>
                      </a:lnTo>
                      <a:lnTo>
                        <a:pt x="23" y="169"/>
                      </a:lnTo>
                      <a:lnTo>
                        <a:pt x="31" y="161"/>
                      </a:lnTo>
                      <a:lnTo>
                        <a:pt x="38" y="153"/>
                      </a:lnTo>
                      <a:lnTo>
                        <a:pt x="46" y="141"/>
                      </a:lnTo>
                      <a:lnTo>
                        <a:pt x="0" y="62"/>
                      </a:lnTo>
                      <a:lnTo>
                        <a:pt x="33" y="4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10" name="Freeform 354">
                  <a:extLst>
                    <a:ext uri="{FF2B5EF4-FFF2-40B4-BE49-F238E27FC236}">
                      <a16:creationId xmlns:a16="http://schemas.microsoft.com/office/drawing/2014/main" xmlns="" id="{73ABEEA3-093E-4608-B330-9C136F9FCB5B}"/>
                    </a:ext>
                  </a:extLst>
                </p:cNvPr>
                <p:cNvSpPr>
                  <a:spLocks/>
                </p:cNvSpPr>
                <p:nvPr>
                  <p:custDataLst>
                    <p:tags r:id="rId257"/>
                  </p:custDataLst>
                </p:nvPr>
              </p:nvSpPr>
              <p:spPr bwMode="auto">
                <a:xfrm>
                  <a:off x="4473575" y="2311400"/>
                  <a:ext cx="68263" cy="60325"/>
                </a:xfrm>
                <a:custGeom>
                  <a:avLst/>
                  <a:gdLst>
                    <a:gd name="T0" fmla="*/ 2147483646 w 160"/>
                    <a:gd name="T1" fmla="*/ 0 h 117"/>
                    <a:gd name="T2" fmla="*/ 2147483646 w 160"/>
                    <a:gd name="T3" fmla="*/ 2147483646 h 117"/>
                    <a:gd name="T4" fmla="*/ 2147483646 w 160"/>
                    <a:gd name="T5" fmla="*/ 2147483646 h 117"/>
                    <a:gd name="T6" fmla="*/ 2147483646 w 160"/>
                    <a:gd name="T7" fmla="*/ 2147483646 h 117"/>
                    <a:gd name="T8" fmla="*/ 2147483646 w 160"/>
                    <a:gd name="T9" fmla="*/ 2147483646 h 117"/>
                    <a:gd name="T10" fmla="*/ 2147483646 w 160"/>
                    <a:gd name="T11" fmla="*/ 2147483646 h 117"/>
                    <a:gd name="T12" fmla="*/ 2147483646 w 160"/>
                    <a:gd name="T13" fmla="*/ 2147483646 h 117"/>
                    <a:gd name="T14" fmla="*/ 2147483646 w 160"/>
                    <a:gd name="T15" fmla="*/ 2147483646 h 117"/>
                    <a:gd name="T16" fmla="*/ 2147483646 w 160"/>
                    <a:gd name="T17" fmla="*/ 2147483646 h 117"/>
                    <a:gd name="T18" fmla="*/ 2147483646 w 160"/>
                    <a:gd name="T19" fmla="*/ 2147483646 h 117"/>
                    <a:gd name="T20" fmla="*/ 2147483646 w 160"/>
                    <a:gd name="T21" fmla="*/ 2147483646 h 117"/>
                    <a:gd name="T22" fmla="*/ 2147483646 w 160"/>
                    <a:gd name="T23" fmla="*/ 2147483646 h 117"/>
                    <a:gd name="T24" fmla="*/ 2147483646 w 160"/>
                    <a:gd name="T25" fmla="*/ 2147483646 h 117"/>
                    <a:gd name="T26" fmla="*/ 2147483646 w 160"/>
                    <a:gd name="T27" fmla="*/ 2147483646 h 117"/>
                    <a:gd name="T28" fmla="*/ 2147483646 w 160"/>
                    <a:gd name="T29" fmla="*/ 2147483646 h 117"/>
                    <a:gd name="T30" fmla="*/ 2147483646 w 160"/>
                    <a:gd name="T31" fmla="*/ 2147483646 h 117"/>
                    <a:gd name="T32" fmla="*/ 2147483646 w 160"/>
                    <a:gd name="T33" fmla="*/ 2147483646 h 117"/>
                    <a:gd name="T34" fmla="*/ 2147483646 w 160"/>
                    <a:gd name="T35" fmla="*/ 2147483646 h 117"/>
                    <a:gd name="T36" fmla="*/ 2147483646 w 160"/>
                    <a:gd name="T37" fmla="*/ 2147483646 h 117"/>
                    <a:gd name="T38" fmla="*/ 2147483646 w 160"/>
                    <a:gd name="T39" fmla="*/ 2147483646 h 117"/>
                    <a:gd name="T40" fmla="*/ 2147483646 w 160"/>
                    <a:gd name="T41" fmla="*/ 2147483646 h 117"/>
                    <a:gd name="T42" fmla="*/ 2147483646 w 160"/>
                    <a:gd name="T43" fmla="*/ 2147483646 h 117"/>
                    <a:gd name="T44" fmla="*/ 2147483646 w 160"/>
                    <a:gd name="T45" fmla="*/ 2147483646 h 117"/>
                    <a:gd name="T46" fmla="*/ 2147483646 w 160"/>
                    <a:gd name="T47" fmla="*/ 2147483646 h 117"/>
                    <a:gd name="T48" fmla="*/ 2147483646 w 160"/>
                    <a:gd name="T49" fmla="*/ 2147483646 h 117"/>
                    <a:gd name="T50" fmla="*/ 2147483646 w 160"/>
                    <a:gd name="T51" fmla="*/ 2147483646 h 117"/>
                    <a:gd name="T52" fmla="*/ 0 w 160"/>
                    <a:gd name="T53" fmla="*/ 2147483646 h 117"/>
                    <a:gd name="T54" fmla="*/ 2147483646 w 160"/>
                    <a:gd name="T55" fmla="*/ 2147483646 h 117"/>
                    <a:gd name="T56" fmla="*/ 2147483646 w 160"/>
                    <a:gd name="T57" fmla="*/ 2147483646 h 117"/>
                    <a:gd name="T58" fmla="*/ 2147483646 w 160"/>
                    <a:gd name="T59" fmla="*/ 2147483646 h 117"/>
                    <a:gd name="T60" fmla="*/ 2147483646 w 160"/>
                    <a:gd name="T61" fmla="*/ 2147483646 h 117"/>
                    <a:gd name="T62" fmla="*/ 2147483646 w 160"/>
                    <a:gd name="T63" fmla="*/ 2147483646 h 117"/>
                    <a:gd name="T64" fmla="*/ 2147483646 w 160"/>
                    <a:gd name="T65" fmla="*/ 0 h 11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60"/>
                    <a:gd name="T100" fmla="*/ 0 h 117"/>
                    <a:gd name="T101" fmla="*/ 160 w 160"/>
                    <a:gd name="T102" fmla="*/ 117 h 11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60" h="117">
                      <a:moveTo>
                        <a:pt x="114" y="0"/>
                      </a:moveTo>
                      <a:lnTo>
                        <a:pt x="114" y="9"/>
                      </a:lnTo>
                      <a:lnTo>
                        <a:pt x="114" y="18"/>
                      </a:lnTo>
                      <a:lnTo>
                        <a:pt x="115" y="25"/>
                      </a:lnTo>
                      <a:lnTo>
                        <a:pt x="117" y="32"/>
                      </a:lnTo>
                      <a:lnTo>
                        <a:pt x="119" y="34"/>
                      </a:lnTo>
                      <a:lnTo>
                        <a:pt x="121" y="37"/>
                      </a:lnTo>
                      <a:lnTo>
                        <a:pt x="123" y="38"/>
                      </a:lnTo>
                      <a:lnTo>
                        <a:pt x="127" y="39"/>
                      </a:lnTo>
                      <a:lnTo>
                        <a:pt x="131" y="40"/>
                      </a:lnTo>
                      <a:lnTo>
                        <a:pt x="135" y="39"/>
                      </a:lnTo>
                      <a:lnTo>
                        <a:pt x="140" y="38"/>
                      </a:lnTo>
                      <a:lnTo>
                        <a:pt x="146" y="36"/>
                      </a:lnTo>
                      <a:lnTo>
                        <a:pt x="149" y="43"/>
                      </a:lnTo>
                      <a:lnTo>
                        <a:pt x="153" y="52"/>
                      </a:lnTo>
                      <a:lnTo>
                        <a:pt x="157" y="64"/>
                      </a:lnTo>
                      <a:lnTo>
                        <a:pt x="160" y="74"/>
                      </a:lnTo>
                      <a:lnTo>
                        <a:pt x="133" y="88"/>
                      </a:lnTo>
                      <a:lnTo>
                        <a:pt x="106" y="102"/>
                      </a:lnTo>
                      <a:lnTo>
                        <a:pt x="92" y="107"/>
                      </a:lnTo>
                      <a:lnTo>
                        <a:pt x="76" y="113"/>
                      </a:lnTo>
                      <a:lnTo>
                        <a:pt x="62" y="116"/>
                      </a:lnTo>
                      <a:lnTo>
                        <a:pt x="47" y="117"/>
                      </a:lnTo>
                      <a:lnTo>
                        <a:pt x="32" y="99"/>
                      </a:lnTo>
                      <a:lnTo>
                        <a:pt x="21" y="83"/>
                      </a:lnTo>
                      <a:lnTo>
                        <a:pt x="10" y="69"/>
                      </a:lnTo>
                      <a:lnTo>
                        <a:pt x="0" y="55"/>
                      </a:lnTo>
                      <a:lnTo>
                        <a:pt x="13" y="48"/>
                      </a:lnTo>
                      <a:lnTo>
                        <a:pt x="41" y="32"/>
                      </a:lnTo>
                      <a:lnTo>
                        <a:pt x="60" y="23"/>
                      </a:lnTo>
                      <a:lnTo>
                        <a:pt x="78" y="14"/>
                      </a:lnTo>
                      <a:lnTo>
                        <a:pt x="97" y="6"/>
                      </a:lnTo>
                      <a:lnTo>
                        <a:pt x="114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11" name="Freeform 355">
                  <a:extLst>
                    <a:ext uri="{FF2B5EF4-FFF2-40B4-BE49-F238E27FC236}">
                      <a16:creationId xmlns:a16="http://schemas.microsoft.com/office/drawing/2014/main" xmlns="" id="{06952699-2AD2-4767-9F2E-54340E6A0E90}"/>
                    </a:ext>
                  </a:extLst>
                </p:cNvPr>
                <p:cNvSpPr>
                  <a:spLocks/>
                </p:cNvSpPr>
                <p:nvPr>
                  <p:custDataLst>
                    <p:tags r:id="rId258"/>
                  </p:custDataLst>
                </p:nvPr>
              </p:nvSpPr>
              <p:spPr bwMode="auto">
                <a:xfrm>
                  <a:off x="4557713" y="2935288"/>
                  <a:ext cx="411162" cy="611187"/>
                </a:xfrm>
                <a:custGeom>
                  <a:avLst/>
                  <a:gdLst>
                    <a:gd name="T0" fmla="*/ 2147483646 w 943"/>
                    <a:gd name="T1" fmla="*/ 2147483646 h 1172"/>
                    <a:gd name="T2" fmla="*/ 2147483646 w 943"/>
                    <a:gd name="T3" fmla="*/ 2147483646 h 1172"/>
                    <a:gd name="T4" fmla="*/ 2147483646 w 943"/>
                    <a:gd name="T5" fmla="*/ 2147483646 h 1172"/>
                    <a:gd name="T6" fmla="*/ 2147483646 w 943"/>
                    <a:gd name="T7" fmla="*/ 2147483646 h 1172"/>
                    <a:gd name="T8" fmla="*/ 2147483646 w 943"/>
                    <a:gd name="T9" fmla="*/ 2147483646 h 1172"/>
                    <a:gd name="T10" fmla="*/ 2147483646 w 943"/>
                    <a:gd name="T11" fmla="*/ 2147483646 h 1172"/>
                    <a:gd name="T12" fmla="*/ 2147483646 w 943"/>
                    <a:gd name="T13" fmla="*/ 2147483646 h 1172"/>
                    <a:gd name="T14" fmla="*/ 2147483646 w 943"/>
                    <a:gd name="T15" fmla="*/ 2147483646 h 1172"/>
                    <a:gd name="T16" fmla="*/ 2147483646 w 943"/>
                    <a:gd name="T17" fmla="*/ 2147483646 h 1172"/>
                    <a:gd name="T18" fmla="*/ 2147483646 w 943"/>
                    <a:gd name="T19" fmla="*/ 2147483646 h 1172"/>
                    <a:gd name="T20" fmla="*/ 2147483646 w 943"/>
                    <a:gd name="T21" fmla="*/ 2147483646 h 1172"/>
                    <a:gd name="T22" fmla="*/ 2147483646 w 943"/>
                    <a:gd name="T23" fmla="*/ 2147483646 h 1172"/>
                    <a:gd name="T24" fmla="*/ 2147483646 w 943"/>
                    <a:gd name="T25" fmla="*/ 2147483646 h 1172"/>
                    <a:gd name="T26" fmla="*/ 2147483646 w 943"/>
                    <a:gd name="T27" fmla="*/ 2147483646 h 1172"/>
                    <a:gd name="T28" fmla="*/ 2147483646 w 943"/>
                    <a:gd name="T29" fmla="*/ 2147483646 h 1172"/>
                    <a:gd name="T30" fmla="*/ 2147483646 w 943"/>
                    <a:gd name="T31" fmla="*/ 2147483646 h 1172"/>
                    <a:gd name="T32" fmla="*/ 2147483646 w 943"/>
                    <a:gd name="T33" fmla="*/ 2147483646 h 1172"/>
                    <a:gd name="T34" fmla="*/ 2147483646 w 943"/>
                    <a:gd name="T35" fmla="*/ 2147483646 h 1172"/>
                    <a:gd name="T36" fmla="*/ 2147483646 w 943"/>
                    <a:gd name="T37" fmla="*/ 2147483646 h 1172"/>
                    <a:gd name="T38" fmla="*/ 2147483646 w 943"/>
                    <a:gd name="T39" fmla="*/ 2147483646 h 1172"/>
                    <a:gd name="T40" fmla="*/ 2147483646 w 943"/>
                    <a:gd name="T41" fmla="*/ 2147483646 h 1172"/>
                    <a:gd name="T42" fmla="*/ 2147483646 w 943"/>
                    <a:gd name="T43" fmla="*/ 2147483646 h 1172"/>
                    <a:gd name="T44" fmla="*/ 2147483646 w 943"/>
                    <a:gd name="T45" fmla="*/ 2147483646 h 1172"/>
                    <a:gd name="T46" fmla="*/ 2147483646 w 943"/>
                    <a:gd name="T47" fmla="*/ 2147483646 h 1172"/>
                    <a:gd name="T48" fmla="*/ 2147483646 w 943"/>
                    <a:gd name="T49" fmla="*/ 2147483646 h 1172"/>
                    <a:gd name="T50" fmla="*/ 2147483646 w 943"/>
                    <a:gd name="T51" fmla="*/ 2147483646 h 1172"/>
                    <a:gd name="T52" fmla="*/ 2147483646 w 943"/>
                    <a:gd name="T53" fmla="*/ 2147483646 h 1172"/>
                    <a:gd name="T54" fmla="*/ 2147483646 w 943"/>
                    <a:gd name="T55" fmla="*/ 2147483646 h 1172"/>
                    <a:gd name="T56" fmla="*/ 2147483646 w 943"/>
                    <a:gd name="T57" fmla="*/ 2147483646 h 1172"/>
                    <a:gd name="T58" fmla="*/ 2147483646 w 943"/>
                    <a:gd name="T59" fmla="*/ 2147483646 h 1172"/>
                    <a:gd name="T60" fmla="*/ 2147483646 w 943"/>
                    <a:gd name="T61" fmla="*/ 2147483646 h 1172"/>
                    <a:gd name="T62" fmla="*/ 2147483646 w 943"/>
                    <a:gd name="T63" fmla="*/ 2147483646 h 1172"/>
                    <a:gd name="T64" fmla="*/ 2147483646 w 943"/>
                    <a:gd name="T65" fmla="*/ 2147483646 h 1172"/>
                    <a:gd name="T66" fmla="*/ 2147483646 w 943"/>
                    <a:gd name="T67" fmla="*/ 2147483646 h 1172"/>
                    <a:gd name="T68" fmla="*/ 2147483646 w 943"/>
                    <a:gd name="T69" fmla="*/ 2147483646 h 1172"/>
                    <a:gd name="T70" fmla="*/ 2147483646 w 943"/>
                    <a:gd name="T71" fmla="*/ 2147483646 h 1172"/>
                    <a:gd name="T72" fmla="*/ 2147483646 w 943"/>
                    <a:gd name="T73" fmla="*/ 2147483646 h 1172"/>
                    <a:gd name="T74" fmla="*/ 2147483646 w 943"/>
                    <a:gd name="T75" fmla="*/ 2147483646 h 1172"/>
                    <a:gd name="T76" fmla="*/ 2147483646 w 943"/>
                    <a:gd name="T77" fmla="*/ 2147483646 h 1172"/>
                    <a:gd name="T78" fmla="*/ 2147483646 w 943"/>
                    <a:gd name="T79" fmla="*/ 2147483646 h 1172"/>
                    <a:gd name="T80" fmla="*/ 2147483646 w 943"/>
                    <a:gd name="T81" fmla="*/ 2147483646 h 1172"/>
                    <a:gd name="T82" fmla="*/ 2147483646 w 943"/>
                    <a:gd name="T83" fmla="*/ 2147483646 h 1172"/>
                    <a:gd name="T84" fmla="*/ 2147483646 w 943"/>
                    <a:gd name="T85" fmla="*/ 2147483646 h 1172"/>
                    <a:gd name="T86" fmla="*/ 2147483646 w 943"/>
                    <a:gd name="T87" fmla="*/ 2147483646 h 1172"/>
                    <a:gd name="T88" fmla="*/ 2147483646 w 943"/>
                    <a:gd name="T89" fmla="*/ 2147483646 h 1172"/>
                    <a:gd name="T90" fmla="*/ 2147483646 w 943"/>
                    <a:gd name="T91" fmla="*/ 2147483646 h 1172"/>
                    <a:gd name="T92" fmla="*/ 2147483646 w 943"/>
                    <a:gd name="T93" fmla="*/ 2147483646 h 1172"/>
                    <a:gd name="T94" fmla="*/ 2147483646 w 943"/>
                    <a:gd name="T95" fmla="*/ 2147483646 h 1172"/>
                    <a:gd name="T96" fmla="*/ 2147483646 w 943"/>
                    <a:gd name="T97" fmla="*/ 2147483646 h 1172"/>
                    <a:gd name="T98" fmla="*/ 2147483646 w 943"/>
                    <a:gd name="T99" fmla="*/ 2147483646 h 1172"/>
                    <a:gd name="T100" fmla="*/ 2147483646 w 943"/>
                    <a:gd name="T101" fmla="*/ 2147483646 h 1172"/>
                    <a:gd name="T102" fmla="*/ 2147483646 w 943"/>
                    <a:gd name="T103" fmla="*/ 2147483646 h 1172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43"/>
                    <a:gd name="T157" fmla="*/ 0 h 1172"/>
                    <a:gd name="T158" fmla="*/ 943 w 943"/>
                    <a:gd name="T159" fmla="*/ 1172 h 1172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43" h="1172">
                      <a:moveTo>
                        <a:pt x="711" y="30"/>
                      </a:moveTo>
                      <a:lnTo>
                        <a:pt x="715" y="25"/>
                      </a:lnTo>
                      <a:lnTo>
                        <a:pt x="728" y="15"/>
                      </a:lnTo>
                      <a:lnTo>
                        <a:pt x="735" y="9"/>
                      </a:lnTo>
                      <a:lnTo>
                        <a:pt x="742" y="5"/>
                      </a:lnTo>
                      <a:lnTo>
                        <a:pt x="747" y="1"/>
                      </a:lnTo>
                      <a:lnTo>
                        <a:pt x="751" y="0"/>
                      </a:lnTo>
                      <a:lnTo>
                        <a:pt x="755" y="10"/>
                      </a:lnTo>
                      <a:lnTo>
                        <a:pt x="759" y="17"/>
                      </a:lnTo>
                      <a:lnTo>
                        <a:pt x="765" y="23"/>
                      </a:lnTo>
                      <a:lnTo>
                        <a:pt x="769" y="26"/>
                      </a:lnTo>
                      <a:lnTo>
                        <a:pt x="776" y="28"/>
                      </a:lnTo>
                      <a:lnTo>
                        <a:pt x="784" y="30"/>
                      </a:lnTo>
                      <a:lnTo>
                        <a:pt x="792" y="30"/>
                      </a:lnTo>
                      <a:lnTo>
                        <a:pt x="803" y="30"/>
                      </a:lnTo>
                      <a:lnTo>
                        <a:pt x="804" y="40"/>
                      </a:lnTo>
                      <a:lnTo>
                        <a:pt x="808" y="48"/>
                      </a:lnTo>
                      <a:lnTo>
                        <a:pt x="810" y="51"/>
                      </a:lnTo>
                      <a:lnTo>
                        <a:pt x="812" y="53"/>
                      </a:lnTo>
                      <a:lnTo>
                        <a:pt x="814" y="55"/>
                      </a:lnTo>
                      <a:lnTo>
                        <a:pt x="816" y="55"/>
                      </a:lnTo>
                      <a:lnTo>
                        <a:pt x="823" y="76"/>
                      </a:lnTo>
                      <a:lnTo>
                        <a:pt x="830" y="94"/>
                      </a:lnTo>
                      <a:lnTo>
                        <a:pt x="832" y="102"/>
                      </a:lnTo>
                      <a:lnTo>
                        <a:pt x="835" y="109"/>
                      </a:lnTo>
                      <a:lnTo>
                        <a:pt x="836" y="116"/>
                      </a:lnTo>
                      <a:lnTo>
                        <a:pt x="837" y="123"/>
                      </a:lnTo>
                      <a:lnTo>
                        <a:pt x="836" y="150"/>
                      </a:lnTo>
                      <a:lnTo>
                        <a:pt x="836" y="175"/>
                      </a:lnTo>
                      <a:lnTo>
                        <a:pt x="837" y="187"/>
                      </a:lnTo>
                      <a:lnTo>
                        <a:pt x="838" y="200"/>
                      </a:lnTo>
                      <a:lnTo>
                        <a:pt x="842" y="211"/>
                      </a:lnTo>
                      <a:lnTo>
                        <a:pt x="845" y="222"/>
                      </a:lnTo>
                      <a:lnTo>
                        <a:pt x="851" y="232"/>
                      </a:lnTo>
                      <a:lnTo>
                        <a:pt x="857" y="243"/>
                      </a:lnTo>
                      <a:lnTo>
                        <a:pt x="866" y="253"/>
                      </a:lnTo>
                      <a:lnTo>
                        <a:pt x="876" y="264"/>
                      </a:lnTo>
                      <a:lnTo>
                        <a:pt x="889" y="273"/>
                      </a:lnTo>
                      <a:lnTo>
                        <a:pt x="904" y="283"/>
                      </a:lnTo>
                      <a:lnTo>
                        <a:pt x="922" y="292"/>
                      </a:lnTo>
                      <a:lnTo>
                        <a:pt x="943" y="301"/>
                      </a:lnTo>
                      <a:lnTo>
                        <a:pt x="928" y="314"/>
                      </a:lnTo>
                      <a:lnTo>
                        <a:pt x="913" y="328"/>
                      </a:lnTo>
                      <a:lnTo>
                        <a:pt x="896" y="344"/>
                      </a:lnTo>
                      <a:lnTo>
                        <a:pt x="879" y="361"/>
                      </a:lnTo>
                      <a:lnTo>
                        <a:pt x="871" y="370"/>
                      </a:lnTo>
                      <a:lnTo>
                        <a:pt x="865" y="380"/>
                      </a:lnTo>
                      <a:lnTo>
                        <a:pt x="859" y="389"/>
                      </a:lnTo>
                      <a:lnTo>
                        <a:pt x="854" y="399"/>
                      </a:lnTo>
                      <a:lnTo>
                        <a:pt x="851" y="410"/>
                      </a:lnTo>
                      <a:lnTo>
                        <a:pt x="849" y="420"/>
                      </a:lnTo>
                      <a:lnTo>
                        <a:pt x="848" y="432"/>
                      </a:lnTo>
                      <a:lnTo>
                        <a:pt x="851" y="443"/>
                      </a:lnTo>
                      <a:lnTo>
                        <a:pt x="830" y="616"/>
                      </a:lnTo>
                      <a:lnTo>
                        <a:pt x="809" y="635"/>
                      </a:lnTo>
                      <a:lnTo>
                        <a:pt x="787" y="652"/>
                      </a:lnTo>
                      <a:lnTo>
                        <a:pt x="782" y="658"/>
                      </a:lnTo>
                      <a:lnTo>
                        <a:pt x="778" y="663"/>
                      </a:lnTo>
                      <a:lnTo>
                        <a:pt x="774" y="670"/>
                      </a:lnTo>
                      <a:lnTo>
                        <a:pt x="770" y="677"/>
                      </a:lnTo>
                      <a:lnTo>
                        <a:pt x="767" y="686"/>
                      </a:lnTo>
                      <a:lnTo>
                        <a:pt x="766" y="696"/>
                      </a:lnTo>
                      <a:lnTo>
                        <a:pt x="764" y="708"/>
                      </a:lnTo>
                      <a:lnTo>
                        <a:pt x="764" y="721"/>
                      </a:lnTo>
                      <a:lnTo>
                        <a:pt x="763" y="721"/>
                      </a:lnTo>
                      <a:lnTo>
                        <a:pt x="758" y="721"/>
                      </a:lnTo>
                      <a:lnTo>
                        <a:pt x="755" y="723"/>
                      </a:lnTo>
                      <a:lnTo>
                        <a:pt x="752" y="726"/>
                      </a:lnTo>
                      <a:lnTo>
                        <a:pt x="748" y="730"/>
                      </a:lnTo>
                      <a:lnTo>
                        <a:pt x="745" y="735"/>
                      </a:lnTo>
                      <a:lnTo>
                        <a:pt x="741" y="743"/>
                      </a:lnTo>
                      <a:lnTo>
                        <a:pt x="736" y="752"/>
                      </a:lnTo>
                      <a:lnTo>
                        <a:pt x="732" y="766"/>
                      </a:lnTo>
                      <a:lnTo>
                        <a:pt x="728" y="780"/>
                      </a:lnTo>
                      <a:lnTo>
                        <a:pt x="723" y="798"/>
                      </a:lnTo>
                      <a:lnTo>
                        <a:pt x="719" y="821"/>
                      </a:lnTo>
                      <a:lnTo>
                        <a:pt x="714" y="845"/>
                      </a:lnTo>
                      <a:lnTo>
                        <a:pt x="711" y="875"/>
                      </a:lnTo>
                      <a:lnTo>
                        <a:pt x="701" y="875"/>
                      </a:lnTo>
                      <a:lnTo>
                        <a:pt x="692" y="877"/>
                      </a:lnTo>
                      <a:lnTo>
                        <a:pt x="684" y="880"/>
                      </a:lnTo>
                      <a:lnTo>
                        <a:pt x="677" y="884"/>
                      </a:lnTo>
                      <a:lnTo>
                        <a:pt x="670" y="890"/>
                      </a:lnTo>
                      <a:lnTo>
                        <a:pt x="665" y="896"/>
                      </a:lnTo>
                      <a:lnTo>
                        <a:pt x="662" y="903"/>
                      </a:lnTo>
                      <a:lnTo>
                        <a:pt x="659" y="910"/>
                      </a:lnTo>
                      <a:lnTo>
                        <a:pt x="658" y="917"/>
                      </a:lnTo>
                      <a:lnTo>
                        <a:pt x="658" y="924"/>
                      </a:lnTo>
                      <a:lnTo>
                        <a:pt x="661" y="929"/>
                      </a:lnTo>
                      <a:lnTo>
                        <a:pt x="664" y="934"/>
                      </a:lnTo>
                      <a:lnTo>
                        <a:pt x="666" y="936"/>
                      </a:lnTo>
                      <a:lnTo>
                        <a:pt x="669" y="937"/>
                      </a:lnTo>
                      <a:lnTo>
                        <a:pt x="673" y="938"/>
                      </a:lnTo>
                      <a:lnTo>
                        <a:pt x="677" y="939"/>
                      </a:lnTo>
                      <a:lnTo>
                        <a:pt x="686" y="939"/>
                      </a:lnTo>
                      <a:lnTo>
                        <a:pt x="697" y="936"/>
                      </a:lnTo>
                      <a:lnTo>
                        <a:pt x="700" y="941"/>
                      </a:lnTo>
                      <a:lnTo>
                        <a:pt x="702" y="944"/>
                      </a:lnTo>
                      <a:lnTo>
                        <a:pt x="706" y="947"/>
                      </a:lnTo>
                      <a:lnTo>
                        <a:pt x="709" y="950"/>
                      </a:lnTo>
                      <a:lnTo>
                        <a:pt x="717" y="955"/>
                      </a:lnTo>
                      <a:lnTo>
                        <a:pt x="724" y="958"/>
                      </a:lnTo>
                      <a:lnTo>
                        <a:pt x="731" y="963"/>
                      </a:lnTo>
                      <a:lnTo>
                        <a:pt x="739" y="968"/>
                      </a:lnTo>
                      <a:lnTo>
                        <a:pt x="742" y="971"/>
                      </a:lnTo>
                      <a:lnTo>
                        <a:pt x="745" y="975"/>
                      </a:lnTo>
                      <a:lnTo>
                        <a:pt x="747" y="981"/>
                      </a:lnTo>
                      <a:lnTo>
                        <a:pt x="751" y="986"/>
                      </a:lnTo>
                      <a:lnTo>
                        <a:pt x="753" y="996"/>
                      </a:lnTo>
                      <a:lnTo>
                        <a:pt x="756" y="1007"/>
                      </a:lnTo>
                      <a:lnTo>
                        <a:pt x="759" y="1018"/>
                      </a:lnTo>
                      <a:lnTo>
                        <a:pt x="765" y="1028"/>
                      </a:lnTo>
                      <a:lnTo>
                        <a:pt x="767" y="1033"/>
                      </a:lnTo>
                      <a:lnTo>
                        <a:pt x="771" y="1039"/>
                      </a:lnTo>
                      <a:lnTo>
                        <a:pt x="775" y="1043"/>
                      </a:lnTo>
                      <a:lnTo>
                        <a:pt x="779" y="1046"/>
                      </a:lnTo>
                      <a:lnTo>
                        <a:pt x="785" y="1049"/>
                      </a:lnTo>
                      <a:lnTo>
                        <a:pt x="790" y="1052"/>
                      </a:lnTo>
                      <a:lnTo>
                        <a:pt x="797" y="1053"/>
                      </a:lnTo>
                      <a:lnTo>
                        <a:pt x="803" y="1053"/>
                      </a:lnTo>
                      <a:lnTo>
                        <a:pt x="810" y="1063"/>
                      </a:lnTo>
                      <a:lnTo>
                        <a:pt x="814" y="1071"/>
                      </a:lnTo>
                      <a:lnTo>
                        <a:pt x="815" y="1076"/>
                      </a:lnTo>
                      <a:lnTo>
                        <a:pt x="815" y="1081"/>
                      </a:lnTo>
                      <a:lnTo>
                        <a:pt x="809" y="1094"/>
                      </a:lnTo>
                      <a:lnTo>
                        <a:pt x="797" y="1115"/>
                      </a:lnTo>
                      <a:lnTo>
                        <a:pt x="776" y="1115"/>
                      </a:lnTo>
                      <a:lnTo>
                        <a:pt x="755" y="1115"/>
                      </a:lnTo>
                      <a:lnTo>
                        <a:pt x="734" y="1115"/>
                      </a:lnTo>
                      <a:lnTo>
                        <a:pt x="718" y="1115"/>
                      </a:lnTo>
                      <a:lnTo>
                        <a:pt x="718" y="1127"/>
                      </a:lnTo>
                      <a:lnTo>
                        <a:pt x="718" y="1139"/>
                      </a:lnTo>
                      <a:lnTo>
                        <a:pt x="711" y="1143"/>
                      </a:lnTo>
                      <a:lnTo>
                        <a:pt x="697" y="1152"/>
                      </a:lnTo>
                      <a:lnTo>
                        <a:pt x="687" y="1157"/>
                      </a:lnTo>
                      <a:lnTo>
                        <a:pt x="675" y="1161"/>
                      </a:lnTo>
                      <a:lnTo>
                        <a:pt x="663" y="1163"/>
                      </a:lnTo>
                      <a:lnTo>
                        <a:pt x="651" y="1164"/>
                      </a:lnTo>
                      <a:lnTo>
                        <a:pt x="628" y="1166"/>
                      </a:lnTo>
                      <a:lnTo>
                        <a:pt x="598" y="1170"/>
                      </a:lnTo>
                      <a:lnTo>
                        <a:pt x="583" y="1171"/>
                      </a:lnTo>
                      <a:lnTo>
                        <a:pt x="566" y="1172"/>
                      </a:lnTo>
                      <a:lnTo>
                        <a:pt x="549" y="1172"/>
                      </a:lnTo>
                      <a:lnTo>
                        <a:pt x="531" y="1170"/>
                      </a:lnTo>
                      <a:lnTo>
                        <a:pt x="515" y="1158"/>
                      </a:lnTo>
                      <a:lnTo>
                        <a:pt x="496" y="1141"/>
                      </a:lnTo>
                      <a:lnTo>
                        <a:pt x="486" y="1133"/>
                      </a:lnTo>
                      <a:lnTo>
                        <a:pt x="475" y="1127"/>
                      </a:lnTo>
                      <a:lnTo>
                        <a:pt x="470" y="1124"/>
                      </a:lnTo>
                      <a:lnTo>
                        <a:pt x="464" y="1123"/>
                      </a:lnTo>
                      <a:lnTo>
                        <a:pt x="457" y="1121"/>
                      </a:lnTo>
                      <a:lnTo>
                        <a:pt x="452" y="1121"/>
                      </a:lnTo>
                      <a:lnTo>
                        <a:pt x="432" y="1122"/>
                      </a:lnTo>
                      <a:lnTo>
                        <a:pt x="405" y="1124"/>
                      </a:lnTo>
                      <a:lnTo>
                        <a:pt x="390" y="1125"/>
                      </a:lnTo>
                      <a:lnTo>
                        <a:pt x="375" y="1126"/>
                      </a:lnTo>
                      <a:lnTo>
                        <a:pt x="360" y="1126"/>
                      </a:lnTo>
                      <a:lnTo>
                        <a:pt x="345" y="1125"/>
                      </a:lnTo>
                      <a:lnTo>
                        <a:pt x="331" y="1123"/>
                      </a:lnTo>
                      <a:lnTo>
                        <a:pt x="319" y="1120"/>
                      </a:lnTo>
                      <a:lnTo>
                        <a:pt x="314" y="1117"/>
                      </a:lnTo>
                      <a:lnTo>
                        <a:pt x="308" y="1115"/>
                      </a:lnTo>
                      <a:lnTo>
                        <a:pt x="304" y="1112"/>
                      </a:lnTo>
                      <a:lnTo>
                        <a:pt x="300" y="1108"/>
                      </a:lnTo>
                      <a:lnTo>
                        <a:pt x="297" y="1104"/>
                      </a:lnTo>
                      <a:lnTo>
                        <a:pt x="295" y="1100"/>
                      </a:lnTo>
                      <a:lnTo>
                        <a:pt x="293" y="1095"/>
                      </a:lnTo>
                      <a:lnTo>
                        <a:pt x="292" y="1088"/>
                      </a:lnTo>
                      <a:lnTo>
                        <a:pt x="293" y="1082"/>
                      </a:lnTo>
                      <a:lnTo>
                        <a:pt x="294" y="1075"/>
                      </a:lnTo>
                      <a:lnTo>
                        <a:pt x="295" y="1068"/>
                      </a:lnTo>
                      <a:lnTo>
                        <a:pt x="298" y="1060"/>
                      </a:lnTo>
                      <a:lnTo>
                        <a:pt x="291" y="1049"/>
                      </a:lnTo>
                      <a:lnTo>
                        <a:pt x="283" y="1039"/>
                      </a:lnTo>
                      <a:lnTo>
                        <a:pt x="274" y="1029"/>
                      </a:lnTo>
                      <a:lnTo>
                        <a:pt x="265" y="1021"/>
                      </a:lnTo>
                      <a:lnTo>
                        <a:pt x="248" y="1005"/>
                      </a:lnTo>
                      <a:lnTo>
                        <a:pt x="230" y="990"/>
                      </a:lnTo>
                      <a:lnTo>
                        <a:pt x="222" y="983"/>
                      </a:lnTo>
                      <a:lnTo>
                        <a:pt x="216" y="974"/>
                      </a:lnTo>
                      <a:lnTo>
                        <a:pt x="209" y="966"/>
                      </a:lnTo>
                      <a:lnTo>
                        <a:pt x="204" y="957"/>
                      </a:lnTo>
                      <a:lnTo>
                        <a:pt x="198" y="947"/>
                      </a:lnTo>
                      <a:lnTo>
                        <a:pt x="195" y="937"/>
                      </a:lnTo>
                      <a:lnTo>
                        <a:pt x="193" y="925"/>
                      </a:lnTo>
                      <a:lnTo>
                        <a:pt x="193" y="911"/>
                      </a:lnTo>
                      <a:lnTo>
                        <a:pt x="180" y="911"/>
                      </a:lnTo>
                      <a:lnTo>
                        <a:pt x="169" y="909"/>
                      </a:lnTo>
                      <a:lnTo>
                        <a:pt x="160" y="907"/>
                      </a:lnTo>
                      <a:lnTo>
                        <a:pt x="152" y="903"/>
                      </a:lnTo>
                      <a:lnTo>
                        <a:pt x="146" y="898"/>
                      </a:lnTo>
                      <a:lnTo>
                        <a:pt x="140" y="893"/>
                      </a:lnTo>
                      <a:lnTo>
                        <a:pt x="136" y="887"/>
                      </a:lnTo>
                      <a:lnTo>
                        <a:pt x="131" y="880"/>
                      </a:lnTo>
                      <a:lnTo>
                        <a:pt x="120" y="846"/>
                      </a:lnTo>
                      <a:lnTo>
                        <a:pt x="106" y="806"/>
                      </a:lnTo>
                      <a:lnTo>
                        <a:pt x="105" y="801"/>
                      </a:lnTo>
                      <a:lnTo>
                        <a:pt x="103" y="796"/>
                      </a:lnTo>
                      <a:lnTo>
                        <a:pt x="99" y="792"/>
                      </a:lnTo>
                      <a:lnTo>
                        <a:pt x="97" y="788"/>
                      </a:lnTo>
                      <a:lnTo>
                        <a:pt x="90" y="780"/>
                      </a:lnTo>
                      <a:lnTo>
                        <a:pt x="83" y="774"/>
                      </a:lnTo>
                      <a:lnTo>
                        <a:pt x="75" y="768"/>
                      </a:lnTo>
                      <a:lnTo>
                        <a:pt x="69" y="761"/>
                      </a:lnTo>
                      <a:lnTo>
                        <a:pt x="65" y="758"/>
                      </a:lnTo>
                      <a:lnTo>
                        <a:pt x="63" y="753"/>
                      </a:lnTo>
                      <a:lnTo>
                        <a:pt x="61" y="749"/>
                      </a:lnTo>
                      <a:lnTo>
                        <a:pt x="60" y="745"/>
                      </a:lnTo>
                      <a:lnTo>
                        <a:pt x="46" y="711"/>
                      </a:lnTo>
                      <a:lnTo>
                        <a:pt x="33" y="676"/>
                      </a:lnTo>
                      <a:lnTo>
                        <a:pt x="25" y="659"/>
                      </a:lnTo>
                      <a:lnTo>
                        <a:pt x="17" y="643"/>
                      </a:lnTo>
                      <a:lnTo>
                        <a:pt x="9" y="628"/>
                      </a:lnTo>
                      <a:lnTo>
                        <a:pt x="0" y="616"/>
                      </a:lnTo>
                      <a:lnTo>
                        <a:pt x="4" y="611"/>
                      </a:lnTo>
                      <a:lnTo>
                        <a:pt x="8" y="607"/>
                      </a:lnTo>
                      <a:lnTo>
                        <a:pt x="11" y="602"/>
                      </a:lnTo>
                      <a:lnTo>
                        <a:pt x="13" y="598"/>
                      </a:lnTo>
                      <a:lnTo>
                        <a:pt x="16" y="587"/>
                      </a:lnTo>
                      <a:lnTo>
                        <a:pt x="18" y="577"/>
                      </a:lnTo>
                      <a:lnTo>
                        <a:pt x="19" y="567"/>
                      </a:lnTo>
                      <a:lnTo>
                        <a:pt x="20" y="555"/>
                      </a:lnTo>
                      <a:lnTo>
                        <a:pt x="23" y="543"/>
                      </a:lnTo>
                      <a:lnTo>
                        <a:pt x="26" y="529"/>
                      </a:lnTo>
                      <a:lnTo>
                        <a:pt x="29" y="521"/>
                      </a:lnTo>
                      <a:lnTo>
                        <a:pt x="33" y="514"/>
                      </a:lnTo>
                      <a:lnTo>
                        <a:pt x="37" y="507"/>
                      </a:lnTo>
                      <a:lnTo>
                        <a:pt x="41" y="500"/>
                      </a:lnTo>
                      <a:lnTo>
                        <a:pt x="52" y="487"/>
                      </a:lnTo>
                      <a:lnTo>
                        <a:pt x="64" y="474"/>
                      </a:lnTo>
                      <a:lnTo>
                        <a:pt x="78" y="464"/>
                      </a:lnTo>
                      <a:lnTo>
                        <a:pt x="90" y="456"/>
                      </a:lnTo>
                      <a:lnTo>
                        <a:pt x="102" y="449"/>
                      </a:lnTo>
                      <a:lnTo>
                        <a:pt x="113" y="443"/>
                      </a:lnTo>
                      <a:lnTo>
                        <a:pt x="113" y="222"/>
                      </a:lnTo>
                      <a:lnTo>
                        <a:pt x="113" y="212"/>
                      </a:lnTo>
                      <a:lnTo>
                        <a:pt x="113" y="200"/>
                      </a:lnTo>
                      <a:lnTo>
                        <a:pt x="113" y="188"/>
                      </a:lnTo>
                      <a:lnTo>
                        <a:pt x="113" y="178"/>
                      </a:lnTo>
                      <a:lnTo>
                        <a:pt x="123" y="179"/>
                      </a:lnTo>
                      <a:lnTo>
                        <a:pt x="131" y="179"/>
                      </a:lnTo>
                      <a:lnTo>
                        <a:pt x="139" y="178"/>
                      </a:lnTo>
                      <a:lnTo>
                        <a:pt x="146" y="176"/>
                      </a:lnTo>
                      <a:lnTo>
                        <a:pt x="150" y="174"/>
                      </a:lnTo>
                      <a:lnTo>
                        <a:pt x="153" y="171"/>
                      </a:lnTo>
                      <a:lnTo>
                        <a:pt x="157" y="167"/>
                      </a:lnTo>
                      <a:lnTo>
                        <a:pt x="159" y="162"/>
                      </a:lnTo>
                      <a:lnTo>
                        <a:pt x="160" y="152"/>
                      </a:lnTo>
                      <a:lnTo>
                        <a:pt x="160" y="137"/>
                      </a:lnTo>
                      <a:lnTo>
                        <a:pt x="160" y="122"/>
                      </a:lnTo>
                      <a:lnTo>
                        <a:pt x="159" y="105"/>
                      </a:lnTo>
                      <a:lnTo>
                        <a:pt x="159" y="93"/>
                      </a:lnTo>
                      <a:lnTo>
                        <a:pt x="159" y="83"/>
                      </a:lnTo>
                      <a:lnTo>
                        <a:pt x="159" y="76"/>
                      </a:lnTo>
                      <a:lnTo>
                        <a:pt x="159" y="67"/>
                      </a:lnTo>
                      <a:lnTo>
                        <a:pt x="664" y="73"/>
                      </a:lnTo>
                      <a:lnTo>
                        <a:pt x="668" y="74"/>
                      </a:lnTo>
                      <a:lnTo>
                        <a:pt x="672" y="73"/>
                      </a:lnTo>
                      <a:lnTo>
                        <a:pt x="676" y="72"/>
                      </a:lnTo>
                      <a:lnTo>
                        <a:pt x="679" y="69"/>
                      </a:lnTo>
                      <a:lnTo>
                        <a:pt x="688" y="63"/>
                      </a:lnTo>
                      <a:lnTo>
                        <a:pt x="695" y="54"/>
                      </a:lnTo>
                      <a:lnTo>
                        <a:pt x="707" y="38"/>
                      </a:lnTo>
                      <a:lnTo>
                        <a:pt x="711" y="3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12" name="Freeform 356">
                  <a:extLst>
                    <a:ext uri="{FF2B5EF4-FFF2-40B4-BE49-F238E27FC236}">
                      <a16:creationId xmlns:a16="http://schemas.microsoft.com/office/drawing/2014/main" xmlns="" id="{8F54BF02-10CC-4568-A3FF-F00D32455894}"/>
                    </a:ext>
                  </a:extLst>
                </p:cNvPr>
                <p:cNvSpPr>
                  <a:spLocks/>
                </p:cNvSpPr>
                <p:nvPr>
                  <p:custDataLst>
                    <p:tags r:id="rId259"/>
                  </p:custDataLst>
                </p:nvPr>
              </p:nvSpPr>
              <p:spPr bwMode="auto">
                <a:xfrm>
                  <a:off x="5041900" y="3275013"/>
                  <a:ext cx="244475" cy="431800"/>
                </a:xfrm>
                <a:custGeom>
                  <a:avLst/>
                  <a:gdLst>
                    <a:gd name="T0" fmla="*/ 2147483646 w 556"/>
                    <a:gd name="T1" fmla="*/ 2147483646 h 819"/>
                    <a:gd name="T2" fmla="*/ 2147483646 w 556"/>
                    <a:gd name="T3" fmla="*/ 2147483646 h 819"/>
                    <a:gd name="T4" fmla="*/ 2147483646 w 556"/>
                    <a:gd name="T5" fmla="*/ 2147483646 h 819"/>
                    <a:gd name="T6" fmla="*/ 2147483646 w 556"/>
                    <a:gd name="T7" fmla="*/ 2147483646 h 819"/>
                    <a:gd name="T8" fmla="*/ 2147483646 w 556"/>
                    <a:gd name="T9" fmla="*/ 2147483646 h 819"/>
                    <a:gd name="T10" fmla="*/ 2147483646 w 556"/>
                    <a:gd name="T11" fmla="*/ 2147483646 h 819"/>
                    <a:gd name="T12" fmla="*/ 2147483646 w 556"/>
                    <a:gd name="T13" fmla="*/ 2147483646 h 819"/>
                    <a:gd name="T14" fmla="*/ 2147483646 w 556"/>
                    <a:gd name="T15" fmla="*/ 2147483646 h 819"/>
                    <a:gd name="T16" fmla="*/ 2147483646 w 556"/>
                    <a:gd name="T17" fmla="*/ 2147483646 h 819"/>
                    <a:gd name="T18" fmla="*/ 2147483646 w 556"/>
                    <a:gd name="T19" fmla="*/ 2147483646 h 819"/>
                    <a:gd name="T20" fmla="*/ 2147483646 w 556"/>
                    <a:gd name="T21" fmla="*/ 2147483646 h 819"/>
                    <a:gd name="T22" fmla="*/ 2147483646 w 556"/>
                    <a:gd name="T23" fmla="*/ 2147483646 h 819"/>
                    <a:gd name="T24" fmla="*/ 2147483646 w 556"/>
                    <a:gd name="T25" fmla="*/ 2147483646 h 819"/>
                    <a:gd name="T26" fmla="*/ 2147483646 w 556"/>
                    <a:gd name="T27" fmla="*/ 2147483646 h 819"/>
                    <a:gd name="T28" fmla="*/ 2147483646 w 556"/>
                    <a:gd name="T29" fmla="*/ 2147483646 h 819"/>
                    <a:gd name="T30" fmla="*/ 2147483646 w 556"/>
                    <a:gd name="T31" fmla="*/ 2147483646 h 819"/>
                    <a:gd name="T32" fmla="*/ 2147483646 w 556"/>
                    <a:gd name="T33" fmla="*/ 2147483646 h 819"/>
                    <a:gd name="T34" fmla="*/ 2147483646 w 556"/>
                    <a:gd name="T35" fmla="*/ 2147483646 h 819"/>
                    <a:gd name="T36" fmla="*/ 2147483646 w 556"/>
                    <a:gd name="T37" fmla="*/ 2147483646 h 819"/>
                    <a:gd name="T38" fmla="*/ 2147483646 w 556"/>
                    <a:gd name="T39" fmla="*/ 2147483646 h 819"/>
                    <a:gd name="T40" fmla="*/ 2147483646 w 556"/>
                    <a:gd name="T41" fmla="*/ 2147483646 h 819"/>
                    <a:gd name="T42" fmla="*/ 2147483646 w 556"/>
                    <a:gd name="T43" fmla="*/ 2147483646 h 819"/>
                    <a:gd name="T44" fmla="*/ 2147483646 w 556"/>
                    <a:gd name="T45" fmla="*/ 2147483646 h 819"/>
                    <a:gd name="T46" fmla="*/ 2147483646 w 556"/>
                    <a:gd name="T47" fmla="*/ 2147483646 h 819"/>
                    <a:gd name="T48" fmla="*/ 2147483646 w 556"/>
                    <a:gd name="T49" fmla="*/ 2147483646 h 819"/>
                    <a:gd name="T50" fmla="*/ 2147483646 w 556"/>
                    <a:gd name="T51" fmla="*/ 2147483646 h 819"/>
                    <a:gd name="T52" fmla="*/ 2147483646 w 556"/>
                    <a:gd name="T53" fmla="*/ 2147483646 h 819"/>
                    <a:gd name="T54" fmla="*/ 2147483646 w 556"/>
                    <a:gd name="T55" fmla="*/ 2147483646 h 819"/>
                    <a:gd name="T56" fmla="*/ 2147483646 w 556"/>
                    <a:gd name="T57" fmla="*/ 2147483646 h 819"/>
                    <a:gd name="T58" fmla="*/ 2147483646 w 556"/>
                    <a:gd name="T59" fmla="*/ 2147483646 h 819"/>
                    <a:gd name="T60" fmla="*/ 2147483646 w 556"/>
                    <a:gd name="T61" fmla="*/ 2147483646 h 819"/>
                    <a:gd name="T62" fmla="*/ 2147483646 w 556"/>
                    <a:gd name="T63" fmla="*/ 2147483646 h 819"/>
                    <a:gd name="T64" fmla="*/ 2147483646 w 556"/>
                    <a:gd name="T65" fmla="*/ 2147483646 h 819"/>
                    <a:gd name="T66" fmla="*/ 2147483646 w 556"/>
                    <a:gd name="T67" fmla="*/ 2147483646 h 819"/>
                    <a:gd name="T68" fmla="*/ 2147483646 w 556"/>
                    <a:gd name="T69" fmla="*/ 2147483646 h 819"/>
                    <a:gd name="T70" fmla="*/ 2147483646 w 556"/>
                    <a:gd name="T71" fmla="*/ 2147483646 h 819"/>
                    <a:gd name="T72" fmla="*/ 2147483646 w 556"/>
                    <a:gd name="T73" fmla="*/ 2147483646 h 819"/>
                    <a:gd name="T74" fmla="*/ 2147483646 w 556"/>
                    <a:gd name="T75" fmla="*/ 2147483646 h 819"/>
                    <a:gd name="T76" fmla="*/ 2147483646 w 556"/>
                    <a:gd name="T77" fmla="*/ 2147483646 h 819"/>
                    <a:gd name="T78" fmla="*/ 2147483646 w 556"/>
                    <a:gd name="T79" fmla="*/ 2147483646 h 819"/>
                    <a:gd name="T80" fmla="*/ 2147483646 w 556"/>
                    <a:gd name="T81" fmla="*/ 2147483646 h 819"/>
                    <a:gd name="T82" fmla="*/ 2147483646 w 556"/>
                    <a:gd name="T83" fmla="*/ 2147483646 h 819"/>
                    <a:gd name="T84" fmla="*/ 2147483646 w 556"/>
                    <a:gd name="T85" fmla="*/ 2147483646 h 819"/>
                    <a:gd name="T86" fmla="*/ 2147483646 w 556"/>
                    <a:gd name="T87" fmla="*/ 2147483646 h 819"/>
                    <a:gd name="T88" fmla="*/ 2147483646 w 556"/>
                    <a:gd name="T89" fmla="*/ 2147483646 h 819"/>
                    <a:gd name="T90" fmla="*/ 2147483646 w 556"/>
                    <a:gd name="T91" fmla="*/ 2147483646 h 819"/>
                    <a:gd name="T92" fmla="*/ 2147483646 w 556"/>
                    <a:gd name="T93" fmla="*/ 2147483646 h 819"/>
                    <a:gd name="T94" fmla="*/ 2147483646 w 556"/>
                    <a:gd name="T95" fmla="*/ 2147483646 h 819"/>
                    <a:gd name="T96" fmla="*/ 2147483646 w 556"/>
                    <a:gd name="T97" fmla="*/ 2147483646 h 819"/>
                    <a:gd name="T98" fmla="*/ 2147483646 w 556"/>
                    <a:gd name="T99" fmla="*/ 2147483646 h 819"/>
                    <a:gd name="T100" fmla="*/ 2147483646 w 556"/>
                    <a:gd name="T101" fmla="*/ 2147483646 h 819"/>
                    <a:gd name="T102" fmla="*/ 2147483646 w 556"/>
                    <a:gd name="T103" fmla="*/ 2147483646 h 819"/>
                    <a:gd name="T104" fmla="*/ 2147483646 w 556"/>
                    <a:gd name="T105" fmla="*/ 2147483646 h 819"/>
                    <a:gd name="T106" fmla="*/ 2147483646 w 556"/>
                    <a:gd name="T107" fmla="*/ 2147483646 h 819"/>
                    <a:gd name="T108" fmla="*/ 2147483646 w 556"/>
                    <a:gd name="T109" fmla="*/ 2147483646 h 819"/>
                    <a:gd name="T110" fmla="*/ 2147483646 w 556"/>
                    <a:gd name="T111" fmla="*/ 2147483646 h 819"/>
                    <a:gd name="T112" fmla="*/ 2147483646 w 556"/>
                    <a:gd name="T113" fmla="*/ 2147483646 h 819"/>
                    <a:gd name="T114" fmla="*/ 2147483646 w 556"/>
                    <a:gd name="T115" fmla="*/ 2147483646 h 819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556"/>
                    <a:gd name="T175" fmla="*/ 0 h 819"/>
                    <a:gd name="T176" fmla="*/ 556 w 556"/>
                    <a:gd name="T177" fmla="*/ 819 h 819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556" h="819">
                      <a:moveTo>
                        <a:pt x="84" y="68"/>
                      </a:moveTo>
                      <a:lnTo>
                        <a:pt x="90" y="66"/>
                      </a:lnTo>
                      <a:lnTo>
                        <a:pt x="98" y="62"/>
                      </a:lnTo>
                      <a:lnTo>
                        <a:pt x="103" y="59"/>
                      </a:lnTo>
                      <a:lnTo>
                        <a:pt x="108" y="58"/>
                      </a:lnTo>
                      <a:lnTo>
                        <a:pt x="112" y="56"/>
                      </a:lnTo>
                      <a:lnTo>
                        <a:pt x="118" y="56"/>
                      </a:lnTo>
                      <a:lnTo>
                        <a:pt x="122" y="62"/>
                      </a:lnTo>
                      <a:lnTo>
                        <a:pt x="129" y="69"/>
                      </a:lnTo>
                      <a:lnTo>
                        <a:pt x="134" y="75"/>
                      </a:lnTo>
                      <a:lnTo>
                        <a:pt x="141" y="81"/>
                      </a:lnTo>
                      <a:lnTo>
                        <a:pt x="149" y="85"/>
                      </a:lnTo>
                      <a:lnTo>
                        <a:pt x="155" y="89"/>
                      </a:lnTo>
                      <a:lnTo>
                        <a:pt x="163" y="91"/>
                      </a:lnTo>
                      <a:lnTo>
                        <a:pt x="171" y="92"/>
                      </a:lnTo>
                      <a:lnTo>
                        <a:pt x="186" y="91"/>
                      </a:lnTo>
                      <a:lnTo>
                        <a:pt x="200" y="90"/>
                      </a:lnTo>
                      <a:lnTo>
                        <a:pt x="215" y="88"/>
                      </a:lnTo>
                      <a:lnTo>
                        <a:pt x="230" y="86"/>
                      </a:lnTo>
                      <a:lnTo>
                        <a:pt x="244" y="84"/>
                      </a:lnTo>
                      <a:lnTo>
                        <a:pt x="257" y="82"/>
                      </a:lnTo>
                      <a:lnTo>
                        <a:pt x="271" y="80"/>
                      </a:lnTo>
                      <a:lnTo>
                        <a:pt x="284" y="80"/>
                      </a:lnTo>
                      <a:lnTo>
                        <a:pt x="291" y="79"/>
                      </a:lnTo>
                      <a:lnTo>
                        <a:pt x="297" y="78"/>
                      </a:lnTo>
                      <a:lnTo>
                        <a:pt x="300" y="76"/>
                      </a:lnTo>
                      <a:lnTo>
                        <a:pt x="301" y="74"/>
                      </a:lnTo>
                      <a:lnTo>
                        <a:pt x="301" y="72"/>
                      </a:lnTo>
                      <a:lnTo>
                        <a:pt x="301" y="70"/>
                      </a:lnTo>
                      <a:lnTo>
                        <a:pt x="301" y="68"/>
                      </a:lnTo>
                      <a:lnTo>
                        <a:pt x="303" y="68"/>
                      </a:lnTo>
                      <a:lnTo>
                        <a:pt x="327" y="67"/>
                      </a:lnTo>
                      <a:lnTo>
                        <a:pt x="355" y="63"/>
                      </a:lnTo>
                      <a:lnTo>
                        <a:pt x="386" y="58"/>
                      </a:lnTo>
                      <a:lnTo>
                        <a:pt x="418" y="50"/>
                      </a:lnTo>
                      <a:lnTo>
                        <a:pt x="434" y="45"/>
                      </a:lnTo>
                      <a:lnTo>
                        <a:pt x="450" y="40"/>
                      </a:lnTo>
                      <a:lnTo>
                        <a:pt x="465" y="34"/>
                      </a:lnTo>
                      <a:lnTo>
                        <a:pt x="479" y="28"/>
                      </a:lnTo>
                      <a:lnTo>
                        <a:pt x="492" y="22"/>
                      </a:lnTo>
                      <a:lnTo>
                        <a:pt x="504" y="15"/>
                      </a:lnTo>
                      <a:lnTo>
                        <a:pt x="514" y="8"/>
                      </a:lnTo>
                      <a:lnTo>
                        <a:pt x="523" y="0"/>
                      </a:lnTo>
                      <a:lnTo>
                        <a:pt x="536" y="17"/>
                      </a:lnTo>
                      <a:lnTo>
                        <a:pt x="547" y="31"/>
                      </a:lnTo>
                      <a:lnTo>
                        <a:pt x="551" y="39"/>
                      </a:lnTo>
                      <a:lnTo>
                        <a:pt x="554" y="48"/>
                      </a:lnTo>
                      <a:lnTo>
                        <a:pt x="555" y="57"/>
                      </a:lnTo>
                      <a:lnTo>
                        <a:pt x="556" y="68"/>
                      </a:lnTo>
                      <a:lnTo>
                        <a:pt x="555" y="90"/>
                      </a:lnTo>
                      <a:lnTo>
                        <a:pt x="552" y="113"/>
                      </a:lnTo>
                      <a:lnTo>
                        <a:pt x="546" y="133"/>
                      </a:lnTo>
                      <a:lnTo>
                        <a:pt x="540" y="153"/>
                      </a:lnTo>
                      <a:lnTo>
                        <a:pt x="532" y="174"/>
                      </a:lnTo>
                      <a:lnTo>
                        <a:pt x="523" y="193"/>
                      </a:lnTo>
                      <a:lnTo>
                        <a:pt x="512" y="212"/>
                      </a:lnTo>
                      <a:lnTo>
                        <a:pt x="502" y="231"/>
                      </a:lnTo>
                      <a:lnTo>
                        <a:pt x="479" y="267"/>
                      </a:lnTo>
                      <a:lnTo>
                        <a:pt x="458" y="303"/>
                      </a:lnTo>
                      <a:lnTo>
                        <a:pt x="447" y="321"/>
                      </a:lnTo>
                      <a:lnTo>
                        <a:pt x="439" y="339"/>
                      </a:lnTo>
                      <a:lnTo>
                        <a:pt x="430" y="357"/>
                      </a:lnTo>
                      <a:lnTo>
                        <a:pt x="423" y="375"/>
                      </a:lnTo>
                      <a:lnTo>
                        <a:pt x="419" y="390"/>
                      </a:lnTo>
                      <a:lnTo>
                        <a:pt x="414" y="403"/>
                      </a:lnTo>
                      <a:lnTo>
                        <a:pt x="410" y="415"/>
                      </a:lnTo>
                      <a:lnTo>
                        <a:pt x="404" y="427"/>
                      </a:lnTo>
                      <a:lnTo>
                        <a:pt x="392" y="452"/>
                      </a:lnTo>
                      <a:lnTo>
                        <a:pt x="379" y="473"/>
                      </a:lnTo>
                      <a:lnTo>
                        <a:pt x="364" y="495"/>
                      </a:lnTo>
                      <a:lnTo>
                        <a:pt x="347" y="514"/>
                      </a:lnTo>
                      <a:lnTo>
                        <a:pt x="330" y="531"/>
                      </a:lnTo>
                      <a:lnTo>
                        <a:pt x="310" y="549"/>
                      </a:lnTo>
                      <a:lnTo>
                        <a:pt x="300" y="558"/>
                      </a:lnTo>
                      <a:lnTo>
                        <a:pt x="288" y="566"/>
                      </a:lnTo>
                      <a:lnTo>
                        <a:pt x="277" y="575"/>
                      </a:lnTo>
                      <a:lnTo>
                        <a:pt x="264" y="583"/>
                      </a:lnTo>
                      <a:lnTo>
                        <a:pt x="239" y="600"/>
                      </a:lnTo>
                      <a:lnTo>
                        <a:pt x="213" y="617"/>
                      </a:lnTo>
                      <a:lnTo>
                        <a:pt x="189" y="634"/>
                      </a:lnTo>
                      <a:lnTo>
                        <a:pt x="168" y="651"/>
                      </a:lnTo>
                      <a:lnTo>
                        <a:pt x="159" y="661"/>
                      </a:lnTo>
                      <a:lnTo>
                        <a:pt x="150" y="670"/>
                      </a:lnTo>
                      <a:lnTo>
                        <a:pt x="143" y="680"/>
                      </a:lnTo>
                      <a:lnTo>
                        <a:pt x="138" y="690"/>
                      </a:lnTo>
                      <a:lnTo>
                        <a:pt x="134" y="695"/>
                      </a:lnTo>
                      <a:lnTo>
                        <a:pt x="131" y="700"/>
                      </a:lnTo>
                      <a:lnTo>
                        <a:pt x="128" y="705"/>
                      </a:lnTo>
                      <a:lnTo>
                        <a:pt x="125" y="709"/>
                      </a:lnTo>
                      <a:lnTo>
                        <a:pt x="116" y="717"/>
                      </a:lnTo>
                      <a:lnTo>
                        <a:pt x="107" y="723"/>
                      </a:lnTo>
                      <a:lnTo>
                        <a:pt x="88" y="733"/>
                      </a:lnTo>
                      <a:lnTo>
                        <a:pt x="71" y="745"/>
                      </a:lnTo>
                      <a:lnTo>
                        <a:pt x="52" y="763"/>
                      </a:lnTo>
                      <a:lnTo>
                        <a:pt x="36" y="783"/>
                      </a:lnTo>
                      <a:lnTo>
                        <a:pt x="19" y="801"/>
                      </a:lnTo>
                      <a:lnTo>
                        <a:pt x="5" y="819"/>
                      </a:lnTo>
                      <a:lnTo>
                        <a:pt x="5" y="567"/>
                      </a:lnTo>
                      <a:lnTo>
                        <a:pt x="2" y="564"/>
                      </a:lnTo>
                      <a:lnTo>
                        <a:pt x="0" y="560"/>
                      </a:lnTo>
                      <a:lnTo>
                        <a:pt x="0" y="557"/>
                      </a:lnTo>
                      <a:lnTo>
                        <a:pt x="3" y="554"/>
                      </a:lnTo>
                      <a:lnTo>
                        <a:pt x="8" y="547"/>
                      </a:lnTo>
                      <a:lnTo>
                        <a:pt x="17" y="540"/>
                      </a:lnTo>
                      <a:lnTo>
                        <a:pt x="27" y="533"/>
                      </a:lnTo>
                      <a:lnTo>
                        <a:pt x="36" y="525"/>
                      </a:lnTo>
                      <a:lnTo>
                        <a:pt x="39" y="521"/>
                      </a:lnTo>
                      <a:lnTo>
                        <a:pt x="42" y="516"/>
                      </a:lnTo>
                      <a:lnTo>
                        <a:pt x="43" y="511"/>
                      </a:lnTo>
                      <a:lnTo>
                        <a:pt x="44" y="505"/>
                      </a:lnTo>
                      <a:lnTo>
                        <a:pt x="60" y="497"/>
                      </a:lnTo>
                      <a:lnTo>
                        <a:pt x="75" y="490"/>
                      </a:lnTo>
                      <a:lnTo>
                        <a:pt x="92" y="485"/>
                      </a:lnTo>
                      <a:lnTo>
                        <a:pt x="111" y="480"/>
                      </a:lnTo>
                      <a:lnTo>
                        <a:pt x="114" y="479"/>
                      </a:lnTo>
                      <a:lnTo>
                        <a:pt x="116" y="475"/>
                      </a:lnTo>
                      <a:lnTo>
                        <a:pt x="119" y="470"/>
                      </a:lnTo>
                      <a:lnTo>
                        <a:pt x="121" y="464"/>
                      </a:lnTo>
                      <a:lnTo>
                        <a:pt x="125" y="458"/>
                      </a:lnTo>
                      <a:lnTo>
                        <a:pt x="129" y="452"/>
                      </a:lnTo>
                      <a:lnTo>
                        <a:pt x="132" y="447"/>
                      </a:lnTo>
                      <a:lnTo>
                        <a:pt x="138" y="444"/>
                      </a:lnTo>
                      <a:lnTo>
                        <a:pt x="152" y="440"/>
                      </a:lnTo>
                      <a:lnTo>
                        <a:pt x="162" y="439"/>
                      </a:lnTo>
                      <a:lnTo>
                        <a:pt x="168" y="438"/>
                      </a:lnTo>
                      <a:lnTo>
                        <a:pt x="174" y="439"/>
                      </a:lnTo>
                      <a:lnTo>
                        <a:pt x="179" y="439"/>
                      </a:lnTo>
                      <a:lnTo>
                        <a:pt x="186" y="440"/>
                      </a:lnTo>
                      <a:lnTo>
                        <a:pt x="196" y="439"/>
                      </a:lnTo>
                      <a:lnTo>
                        <a:pt x="210" y="438"/>
                      </a:lnTo>
                      <a:lnTo>
                        <a:pt x="220" y="434"/>
                      </a:lnTo>
                      <a:lnTo>
                        <a:pt x="228" y="429"/>
                      </a:lnTo>
                      <a:lnTo>
                        <a:pt x="235" y="424"/>
                      </a:lnTo>
                      <a:lnTo>
                        <a:pt x="241" y="418"/>
                      </a:lnTo>
                      <a:lnTo>
                        <a:pt x="251" y="405"/>
                      </a:lnTo>
                      <a:lnTo>
                        <a:pt x="257" y="394"/>
                      </a:lnTo>
                      <a:lnTo>
                        <a:pt x="261" y="387"/>
                      </a:lnTo>
                      <a:lnTo>
                        <a:pt x="265" y="379"/>
                      </a:lnTo>
                      <a:lnTo>
                        <a:pt x="272" y="371"/>
                      </a:lnTo>
                      <a:lnTo>
                        <a:pt x="278" y="363"/>
                      </a:lnTo>
                      <a:lnTo>
                        <a:pt x="296" y="347"/>
                      </a:lnTo>
                      <a:lnTo>
                        <a:pt x="316" y="329"/>
                      </a:lnTo>
                      <a:lnTo>
                        <a:pt x="335" y="310"/>
                      </a:lnTo>
                      <a:lnTo>
                        <a:pt x="354" y="293"/>
                      </a:lnTo>
                      <a:lnTo>
                        <a:pt x="363" y="284"/>
                      </a:lnTo>
                      <a:lnTo>
                        <a:pt x="370" y="276"/>
                      </a:lnTo>
                      <a:lnTo>
                        <a:pt x="377" y="266"/>
                      </a:lnTo>
                      <a:lnTo>
                        <a:pt x="384" y="258"/>
                      </a:lnTo>
                      <a:lnTo>
                        <a:pt x="351" y="252"/>
                      </a:lnTo>
                      <a:lnTo>
                        <a:pt x="324" y="246"/>
                      </a:lnTo>
                      <a:lnTo>
                        <a:pt x="300" y="240"/>
                      </a:lnTo>
                      <a:lnTo>
                        <a:pt x="278" y="234"/>
                      </a:lnTo>
                      <a:lnTo>
                        <a:pt x="257" y="228"/>
                      </a:lnTo>
                      <a:lnTo>
                        <a:pt x="235" y="223"/>
                      </a:lnTo>
                      <a:lnTo>
                        <a:pt x="211" y="216"/>
                      </a:lnTo>
                      <a:lnTo>
                        <a:pt x="184" y="209"/>
                      </a:lnTo>
                      <a:lnTo>
                        <a:pt x="177" y="205"/>
                      </a:lnTo>
                      <a:lnTo>
                        <a:pt x="165" y="198"/>
                      </a:lnTo>
                      <a:lnTo>
                        <a:pt x="149" y="187"/>
                      </a:lnTo>
                      <a:lnTo>
                        <a:pt x="131" y="173"/>
                      </a:lnTo>
                      <a:lnTo>
                        <a:pt x="121" y="164"/>
                      </a:lnTo>
                      <a:lnTo>
                        <a:pt x="112" y="154"/>
                      </a:lnTo>
                      <a:lnTo>
                        <a:pt x="104" y="144"/>
                      </a:lnTo>
                      <a:lnTo>
                        <a:pt x="96" y="133"/>
                      </a:lnTo>
                      <a:lnTo>
                        <a:pt x="89" y="121"/>
                      </a:lnTo>
                      <a:lnTo>
                        <a:pt x="84" y="109"/>
                      </a:lnTo>
                      <a:lnTo>
                        <a:pt x="79" y="94"/>
                      </a:lnTo>
                      <a:lnTo>
                        <a:pt x="77" y="80"/>
                      </a:lnTo>
                      <a:lnTo>
                        <a:pt x="69" y="86"/>
                      </a:lnTo>
                      <a:lnTo>
                        <a:pt x="64" y="88"/>
                      </a:lnTo>
                      <a:lnTo>
                        <a:pt x="65" y="87"/>
                      </a:lnTo>
                      <a:lnTo>
                        <a:pt x="69" y="83"/>
                      </a:lnTo>
                      <a:lnTo>
                        <a:pt x="78" y="73"/>
                      </a:lnTo>
                      <a:lnTo>
                        <a:pt x="84" y="6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13" name="Freeform 357">
                  <a:extLst>
                    <a:ext uri="{FF2B5EF4-FFF2-40B4-BE49-F238E27FC236}">
                      <a16:creationId xmlns:a16="http://schemas.microsoft.com/office/drawing/2014/main" xmlns="" id="{342C6601-2272-4602-A1DB-278A58FAD431}"/>
                    </a:ext>
                  </a:extLst>
                </p:cNvPr>
                <p:cNvSpPr>
                  <a:spLocks/>
                </p:cNvSpPr>
                <p:nvPr>
                  <p:custDataLst>
                    <p:tags r:id="rId260"/>
                  </p:custDataLst>
                </p:nvPr>
              </p:nvSpPr>
              <p:spPr bwMode="auto">
                <a:xfrm>
                  <a:off x="5049838" y="3262313"/>
                  <a:ext cx="38100" cy="58737"/>
                </a:xfrm>
                <a:custGeom>
                  <a:avLst/>
                  <a:gdLst>
                    <a:gd name="T0" fmla="*/ 2147483646 w 86"/>
                    <a:gd name="T1" fmla="*/ 0 h 97"/>
                    <a:gd name="T2" fmla="*/ 2147483646 w 86"/>
                    <a:gd name="T3" fmla="*/ 2147483646 h 97"/>
                    <a:gd name="T4" fmla="*/ 2147483646 w 86"/>
                    <a:gd name="T5" fmla="*/ 2147483646 h 97"/>
                    <a:gd name="T6" fmla="*/ 2147483646 w 86"/>
                    <a:gd name="T7" fmla="*/ 2147483646 h 97"/>
                    <a:gd name="T8" fmla="*/ 2147483646 w 86"/>
                    <a:gd name="T9" fmla="*/ 2147483646 h 97"/>
                    <a:gd name="T10" fmla="*/ 2147483646 w 86"/>
                    <a:gd name="T11" fmla="*/ 2147483646 h 97"/>
                    <a:gd name="T12" fmla="*/ 2147483646 w 86"/>
                    <a:gd name="T13" fmla="*/ 2147483646 h 97"/>
                    <a:gd name="T14" fmla="*/ 2147483646 w 86"/>
                    <a:gd name="T15" fmla="*/ 2147483646 h 97"/>
                    <a:gd name="T16" fmla="*/ 2147483646 w 86"/>
                    <a:gd name="T17" fmla="*/ 2147483646 h 97"/>
                    <a:gd name="T18" fmla="*/ 2147483646 w 86"/>
                    <a:gd name="T19" fmla="*/ 2147483646 h 97"/>
                    <a:gd name="T20" fmla="*/ 2147483646 w 86"/>
                    <a:gd name="T21" fmla="*/ 2147483646 h 97"/>
                    <a:gd name="T22" fmla="*/ 2147483646 w 86"/>
                    <a:gd name="T23" fmla="*/ 2147483646 h 97"/>
                    <a:gd name="T24" fmla="*/ 2147483646 w 86"/>
                    <a:gd name="T25" fmla="*/ 2147483646 h 97"/>
                    <a:gd name="T26" fmla="*/ 2147483646 w 86"/>
                    <a:gd name="T27" fmla="*/ 2147483646 h 97"/>
                    <a:gd name="T28" fmla="*/ 2147483646 w 86"/>
                    <a:gd name="T29" fmla="*/ 2147483646 h 97"/>
                    <a:gd name="T30" fmla="*/ 0 w 86"/>
                    <a:gd name="T31" fmla="*/ 2147483646 h 97"/>
                    <a:gd name="T32" fmla="*/ 0 w 86"/>
                    <a:gd name="T33" fmla="*/ 2147483646 h 97"/>
                    <a:gd name="T34" fmla="*/ 0 w 86"/>
                    <a:gd name="T35" fmla="*/ 2147483646 h 97"/>
                    <a:gd name="T36" fmla="*/ 2147483646 w 86"/>
                    <a:gd name="T37" fmla="*/ 2147483646 h 97"/>
                    <a:gd name="T38" fmla="*/ 2147483646 w 86"/>
                    <a:gd name="T39" fmla="*/ 2147483646 h 97"/>
                    <a:gd name="T40" fmla="*/ 2147483646 w 86"/>
                    <a:gd name="T41" fmla="*/ 2147483646 h 97"/>
                    <a:gd name="T42" fmla="*/ 2147483646 w 86"/>
                    <a:gd name="T43" fmla="*/ 2147483646 h 97"/>
                    <a:gd name="T44" fmla="*/ 2147483646 w 86"/>
                    <a:gd name="T45" fmla="*/ 2147483646 h 97"/>
                    <a:gd name="T46" fmla="*/ 2147483646 w 86"/>
                    <a:gd name="T47" fmla="*/ 2147483646 h 97"/>
                    <a:gd name="T48" fmla="*/ 2147483646 w 86"/>
                    <a:gd name="T49" fmla="*/ 2147483646 h 97"/>
                    <a:gd name="T50" fmla="*/ 2147483646 w 86"/>
                    <a:gd name="T51" fmla="*/ 2147483646 h 97"/>
                    <a:gd name="T52" fmla="*/ 2147483646 w 86"/>
                    <a:gd name="T53" fmla="*/ 2147483646 h 97"/>
                    <a:gd name="T54" fmla="*/ 2147483646 w 86"/>
                    <a:gd name="T55" fmla="*/ 2147483646 h 97"/>
                    <a:gd name="T56" fmla="*/ 2147483646 w 86"/>
                    <a:gd name="T57" fmla="*/ 0 h 97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86"/>
                    <a:gd name="T88" fmla="*/ 0 h 97"/>
                    <a:gd name="T89" fmla="*/ 86 w 86"/>
                    <a:gd name="T90" fmla="*/ 97 h 97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86" h="97">
                      <a:moveTo>
                        <a:pt x="59" y="0"/>
                      </a:moveTo>
                      <a:lnTo>
                        <a:pt x="56" y="2"/>
                      </a:lnTo>
                      <a:lnTo>
                        <a:pt x="52" y="3"/>
                      </a:lnTo>
                      <a:lnTo>
                        <a:pt x="46" y="3"/>
                      </a:lnTo>
                      <a:lnTo>
                        <a:pt x="40" y="3"/>
                      </a:lnTo>
                      <a:lnTo>
                        <a:pt x="33" y="3"/>
                      </a:lnTo>
                      <a:lnTo>
                        <a:pt x="27" y="3"/>
                      </a:lnTo>
                      <a:lnTo>
                        <a:pt x="23" y="4"/>
                      </a:lnTo>
                      <a:lnTo>
                        <a:pt x="20" y="6"/>
                      </a:lnTo>
                      <a:lnTo>
                        <a:pt x="16" y="9"/>
                      </a:lnTo>
                      <a:lnTo>
                        <a:pt x="13" y="12"/>
                      </a:lnTo>
                      <a:lnTo>
                        <a:pt x="11" y="15"/>
                      </a:lnTo>
                      <a:lnTo>
                        <a:pt x="8" y="20"/>
                      </a:lnTo>
                      <a:lnTo>
                        <a:pt x="4" y="29"/>
                      </a:lnTo>
                      <a:lnTo>
                        <a:pt x="2" y="38"/>
                      </a:lnTo>
                      <a:lnTo>
                        <a:pt x="0" y="57"/>
                      </a:lnTo>
                      <a:lnTo>
                        <a:pt x="0" y="75"/>
                      </a:lnTo>
                      <a:lnTo>
                        <a:pt x="0" y="81"/>
                      </a:lnTo>
                      <a:lnTo>
                        <a:pt x="1" y="86"/>
                      </a:lnTo>
                      <a:lnTo>
                        <a:pt x="3" y="90"/>
                      </a:lnTo>
                      <a:lnTo>
                        <a:pt x="7" y="93"/>
                      </a:lnTo>
                      <a:lnTo>
                        <a:pt x="10" y="95"/>
                      </a:lnTo>
                      <a:lnTo>
                        <a:pt x="13" y="96"/>
                      </a:lnTo>
                      <a:lnTo>
                        <a:pt x="18" y="97"/>
                      </a:lnTo>
                      <a:lnTo>
                        <a:pt x="21" y="97"/>
                      </a:lnTo>
                      <a:lnTo>
                        <a:pt x="40" y="95"/>
                      </a:lnTo>
                      <a:lnTo>
                        <a:pt x="53" y="93"/>
                      </a:lnTo>
                      <a:lnTo>
                        <a:pt x="86" y="68"/>
                      </a:lnTo>
                      <a:lnTo>
                        <a:pt x="59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14" name="Freeform 358">
                  <a:extLst>
                    <a:ext uri="{FF2B5EF4-FFF2-40B4-BE49-F238E27FC236}">
                      <a16:creationId xmlns:a16="http://schemas.microsoft.com/office/drawing/2014/main" xmlns="" id="{32900BEF-51E1-4B13-9C28-45C43A8B25FD}"/>
                    </a:ext>
                  </a:extLst>
                </p:cNvPr>
                <p:cNvSpPr>
                  <a:spLocks/>
                </p:cNvSpPr>
                <p:nvPr>
                  <p:custDataLst>
                    <p:tags r:id="rId261"/>
                  </p:custDataLst>
                </p:nvPr>
              </p:nvSpPr>
              <p:spPr bwMode="auto">
                <a:xfrm>
                  <a:off x="4848225" y="3173413"/>
                  <a:ext cx="363538" cy="376237"/>
                </a:xfrm>
                <a:custGeom>
                  <a:avLst/>
                  <a:gdLst>
                    <a:gd name="T0" fmla="*/ 2147483646 w 845"/>
                    <a:gd name="T1" fmla="*/ 2147483646 h 720"/>
                    <a:gd name="T2" fmla="*/ 2147483646 w 845"/>
                    <a:gd name="T3" fmla="*/ 2147483646 h 720"/>
                    <a:gd name="T4" fmla="*/ 2147483646 w 845"/>
                    <a:gd name="T5" fmla="*/ 0 h 720"/>
                    <a:gd name="T6" fmla="*/ 2147483646 w 845"/>
                    <a:gd name="T7" fmla="*/ 2147483646 h 720"/>
                    <a:gd name="T8" fmla="*/ 2147483646 w 845"/>
                    <a:gd name="T9" fmla="*/ 2147483646 h 720"/>
                    <a:gd name="T10" fmla="*/ 2147483646 w 845"/>
                    <a:gd name="T11" fmla="*/ 2147483646 h 720"/>
                    <a:gd name="T12" fmla="*/ 2147483646 w 845"/>
                    <a:gd name="T13" fmla="*/ 2147483646 h 720"/>
                    <a:gd name="T14" fmla="*/ 2147483646 w 845"/>
                    <a:gd name="T15" fmla="*/ 2147483646 h 720"/>
                    <a:gd name="T16" fmla="*/ 2147483646 w 845"/>
                    <a:gd name="T17" fmla="*/ 2147483646 h 720"/>
                    <a:gd name="T18" fmla="*/ 2147483646 w 845"/>
                    <a:gd name="T19" fmla="*/ 2147483646 h 720"/>
                    <a:gd name="T20" fmla="*/ 2147483646 w 845"/>
                    <a:gd name="T21" fmla="*/ 2147483646 h 720"/>
                    <a:gd name="T22" fmla="*/ 2147483646 w 845"/>
                    <a:gd name="T23" fmla="*/ 2147483646 h 720"/>
                    <a:gd name="T24" fmla="*/ 2147483646 w 845"/>
                    <a:gd name="T25" fmla="*/ 2147483646 h 720"/>
                    <a:gd name="T26" fmla="*/ 2147483646 w 845"/>
                    <a:gd name="T27" fmla="*/ 2147483646 h 720"/>
                    <a:gd name="T28" fmla="*/ 2147483646 w 845"/>
                    <a:gd name="T29" fmla="*/ 2147483646 h 720"/>
                    <a:gd name="T30" fmla="*/ 2147483646 w 845"/>
                    <a:gd name="T31" fmla="*/ 2147483646 h 720"/>
                    <a:gd name="T32" fmla="*/ 2147483646 w 845"/>
                    <a:gd name="T33" fmla="*/ 2147483646 h 720"/>
                    <a:gd name="T34" fmla="*/ 2147483646 w 845"/>
                    <a:gd name="T35" fmla="*/ 2147483646 h 720"/>
                    <a:gd name="T36" fmla="*/ 2147483646 w 845"/>
                    <a:gd name="T37" fmla="*/ 2147483646 h 720"/>
                    <a:gd name="T38" fmla="*/ 2147483646 w 845"/>
                    <a:gd name="T39" fmla="*/ 2147483646 h 720"/>
                    <a:gd name="T40" fmla="*/ 2147483646 w 845"/>
                    <a:gd name="T41" fmla="*/ 2147483646 h 720"/>
                    <a:gd name="T42" fmla="*/ 2147483646 w 845"/>
                    <a:gd name="T43" fmla="*/ 2147483646 h 720"/>
                    <a:gd name="T44" fmla="*/ 2147483646 w 845"/>
                    <a:gd name="T45" fmla="*/ 2147483646 h 720"/>
                    <a:gd name="T46" fmla="*/ 2147483646 w 845"/>
                    <a:gd name="T47" fmla="*/ 2147483646 h 720"/>
                    <a:gd name="T48" fmla="*/ 2147483646 w 845"/>
                    <a:gd name="T49" fmla="*/ 2147483646 h 720"/>
                    <a:gd name="T50" fmla="*/ 2147483646 w 845"/>
                    <a:gd name="T51" fmla="*/ 2147483646 h 720"/>
                    <a:gd name="T52" fmla="*/ 2147483646 w 845"/>
                    <a:gd name="T53" fmla="*/ 2147483646 h 720"/>
                    <a:gd name="T54" fmla="*/ 2147483646 w 845"/>
                    <a:gd name="T55" fmla="*/ 2147483646 h 720"/>
                    <a:gd name="T56" fmla="*/ 2147483646 w 845"/>
                    <a:gd name="T57" fmla="*/ 2147483646 h 720"/>
                    <a:gd name="T58" fmla="*/ 2147483646 w 845"/>
                    <a:gd name="T59" fmla="*/ 2147483646 h 720"/>
                    <a:gd name="T60" fmla="*/ 2147483646 w 845"/>
                    <a:gd name="T61" fmla="*/ 2147483646 h 720"/>
                    <a:gd name="T62" fmla="*/ 2147483646 w 845"/>
                    <a:gd name="T63" fmla="*/ 2147483646 h 720"/>
                    <a:gd name="T64" fmla="*/ 2147483646 w 845"/>
                    <a:gd name="T65" fmla="*/ 2147483646 h 720"/>
                    <a:gd name="T66" fmla="*/ 2147483646 w 845"/>
                    <a:gd name="T67" fmla="*/ 2147483646 h 720"/>
                    <a:gd name="T68" fmla="*/ 2147483646 w 845"/>
                    <a:gd name="T69" fmla="*/ 2147483646 h 720"/>
                    <a:gd name="T70" fmla="*/ 2147483646 w 845"/>
                    <a:gd name="T71" fmla="*/ 2147483646 h 720"/>
                    <a:gd name="T72" fmla="*/ 2147483646 w 845"/>
                    <a:gd name="T73" fmla="*/ 2147483646 h 720"/>
                    <a:gd name="T74" fmla="*/ 2147483646 w 845"/>
                    <a:gd name="T75" fmla="*/ 2147483646 h 720"/>
                    <a:gd name="T76" fmla="*/ 2147483646 w 845"/>
                    <a:gd name="T77" fmla="*/ 2147483646 h 720"/>
                    <a:gd name="T78" fmla="*/ 2147483646 w 845"/>
                    <a:gd name="T79" fmla="*/ 2147483646 h 720"/>
                    <a:gd name="T80" fmla="*/ 2147483646 w 845"/>
                    <a:gd name="T81" fmla="*/ 2147483646 h 720"/>
                    <a:gd name="T82" fmla="*/ 2147483646 w 845"/>
                    <a:gd name="T83" fmla="*/ 2147483646 h 720"/>
                    <a:gd name="T84" fmla="*/ 2147483646 w 845"/>
                    <a:gd name="T85" fmla="*/ 2147483646 h 720"/>
                    <a:gd name="T86" fmla="*/ 2147483646 w 845"/>
                    <a:gd name="T87" fmla="*/ 2147483646 h 720"/>
                    <a:gd name="T88" fmla="*/ 2147483646 w 845"/>
                    <a:gd name="T89" fmla="*/ 2147483646 h 720"/>
                    <a:gd name="T90" fmla="*/ 2147483646 w 845"/>
                    <a:gd name="T91" fmla="*/ 2147483646 h 720"/>
                    <a:gd name="T92" fmla="*/ 2147483646 w 845"/>
                    <a:gd name="T93" fmla="*/ 2147483646 h 720"/>
                    <a:gd name="T94" fmla="*/ 2147483646 w 845"/>
                    <a:gd name="T95" fmla="*/ 2147483646 h 720"/>
                    <a:gd name="T96" fmla="*/ 2147483646 w 845"/>
                    <a:gd name="T97" fmla="*/ 2147483646 h 720"/>
                    <a:gd name="T98" fmla="*/ 2147483646 w 845"/>
                    <a:gd name="T99" fmla="*/ 2147483646 h 720"/>
                    <a:gd name="T100" fmla="*/ 2147483646 w 845"/>
                    <a:gd name="T101" fmla="*/ 2147483646 h 720"/>
                    <a:gd name="T102" fmla="*/ 2147483646 w 845"/>
                    <a:gd name="T103" fmla="*/ 2147483646 h 720"/>
                    <a:gd name="T104" fmla="*/ 2147483646 w 845"/>
                    <a:gd name="T105" fmla="*/ 2147483646 h 720"/>
                    <a:gd name="T106" fmla="*/ 2147483646 w 845"/>
                    <a:gd name="T107" fmla="*/ 2147483646 h 720"/>
                    <a:gd name="T108" fmla="*/ 2147483646 w 845"/>
                    <a:gd name="T109" fmla="*/ 2147483646 h 720"/>
                    <a:gd name="T110" fmla="*/ 2147483646 w 845"/>
                    <a:gd name="T111" fmla="*/ 2147483646 h 720"/>
                    <a:gd name="T112" fmla="*/ 2147483646 w 845"/>
                    <a:gd name="T113" fmla="*/ 2147483646 h 720"/>
                    <a:gd name="T114" fmla="*/ 2147483646 w 845"/>
                    <a:gd name="T115" fmla="*/ 2147483646 h 720"/>
                    <a:gd name="T116" fmla="*/ 2147483646 w 845"/>
                    <a:gd name="T117" fmla="*/ 2147483646 h 72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845"/>
                    <a:gd name="T178" fmla="*/ 0 h 720"/>
                    <a:gd name="T179" fmla="*/ 845 w 845"/>
                    <a:gd name="T180" fmla="*/ 720 h 72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845" h="720">
                      <a:moveTo>
                        <a:pt x="174" y="25"/>
                      </a:moveTo>
                      <a:lnTo>
                        <a:pt x="175" y="27"/>
                      </a:lnTo>
                      <a:lnTo>
                        <a:pt x="179" y="33"/>
                      </a:lnTo>
                      <a:lnTo>
                        <a:pt x="182" y="36"/>
                      </a:lnTo>
                      <a:lnTo>
                        <a:pt x="185" y="38"/>
                      </a:lnTo>
                      <a:lnTo>
                        <a:pt x="189" y="38"/>
                      </a:lnTo>
                      <a:lnTo>
                        <a:pt x="194" y="37"/>
                      </a:lnTo>
                      <a:lnTo>
                        <a:pt x="205" y="28"/>
                      </a:lnTo>
                      <a:lnTo>
                        <a:pt x="218" y="19"/>
                      </a:lnTo>
                      <a:lnTo>
                        <a:pt x="229" y="14"/>
                      </a:lnTo>
                      <a:lnTo>
                        <a:pt x="234" y="12"/>
                      </a:lnTo>
                      <a:lnTo>
                        <a:pt x="247" y="0"/>
                      </a:lnTo>
                      <a:lnTo>
                        <a:pt x="250" y="1"/>
                      </a:lnTo>
                      <a:lnTo>
                        <a:pt x="258" y="6"/>
                      </a:lnTo>
                      <a:lnTo>
                        <a:pt x="267" y="10"/>
                      </a:lnTo>
                      <a:lnTo>
                        <a:pt x="273" y="12"/>
                      </a:lnTo>
                      <a:lnTo>
                        <a:pt x="284" y="15"/>
                      </a:lnTo>
                      <a:lnTo>
                        <a:pt x="300" y="21"/>
                      </a:lnTo>
                      <a:lnTo>
                        <a:pt x="316" y="31"/>
                      </a:lnTo>
                      <a:lnTo>
                        <a:pt x="327" y="37"/>
                      </a:lnTo>
                      <a:lnTo>
                        <a:pt x="337" y="41"/>
                      </a:lnTo>
                      <a:lnTo>
                        <a:pt x="353" y="50"/>
                      </a:lnTo>
                      <a:lnTo>
                        <a:pt x="370" y="60"/>
                      </a:lnTo>
                      <a:lnTo>
                        <a:pt x="380" y="67"/>
                      </a:lnTo>
                      <a:lnTo>
                        <a:pt x="393" y="76"/>
                      </a:lnTo>
                      <a:lnTo>
                        <a:pt x="406" y="86"/>
                      </a:lnTo>
                      <a:lnTo>
                        <a:pt x="419" y="95"/>
                      </a:lnTo>
                      <a:lnTo>
                        <a:pt x="426" y="98"/>
                      </a:lnTo>
                      <a:lnTo>
                        <a:pt x="430" y="105"/>
                      </a:lnTo>
                      <a:lnTo>
                        <a:pt x="440" y="116"/>
                      </a:lnTo>
                      <a:lnTo>
                        <a:pt x="441" y="121"/>
                      </a:lnTo>
                      <a:lnTo>
                        <a:pt x="442" y="125"/>
                      </a:lnTo>
                      <a:lnTo>
                        <a:pt x="443" y="130"/>
                      </a:lnTo>
                      <a:lnTo>
                        <a:pt x="443" y="134"/>
                      </a:lnTo>
                      <a:lnTo>
                        <a:pt x="443" y="137"/>
                      </a:lnTo>
                      <a:lnTo>
                        <a:pt x="443" y="140"/>
                      </a:lnTo>
                      <a:lnTo>
                        <a:pt x="444" y="141"/>
                      </a:lnTo>
                      <a:lnTo>
                        <a:pt x="447" y="142"/>
                      </a:lnTo>
                      <a:lnTo>
                        <a:pt x="450" y="143"/>
                      </a:lnTo>
                      <a:lnTo>
                        <a:pt x="458" y="147"/>
                      </a:lnTo>
                      <a:lnTo>
                        <a:pt x="466" y="153"/>
                      </a:lnTo>
                      <a:lnTo>
                        <a:pt x="475" y="160"/>
                      </a:lnTo>
                      <a:lnTo>
                        <a:pt x="492" y="172"/>
                      </a:lnTo>
                      <a:lnTo>
                        <a:pt x="499" y="178"/>
                      </a:lnTo>
                      <a:lnTo>
                        <a:pt x="500" y="175"/>
                      </a:lnTo>
                      <a:lnTo>
                        <a:pt x="503" y="173"/>
                      </a:lnTo>
                      <a:lnTo>
                        <a:pt x="505" y="172"/>
                      </a:lnTo>
                      <a:lnTo>
                        <a:pt x="506" y="172"/>
                      </a:lnTo>
                      <a:lnTo>
                        <a:pt x="500" y="174"/>
                      </a:lnTo>
                      <a:lnTo>
                        <a:pt x="495" y="177"/>
                      </a:lnTo>
                      <a:lnTo>
                        <a:pt x="492" y="181"/>
                      </a:lnTo>
                      <a:lnTo>
                        <a:pt x="488" y="184"/>
                      </a:lnTo>
                      <a:lnTo>
                        <a:pt x="485" y="189"/>
                      </a:lnTo>
                      <a:lnTo>
                        <a:pt x="483" y="193"/>
                      </a:lnTo>
                      <a:lnTo>
                        <a:pt x="482" y="197"/>
                      </a:lnTo>
                      <a:lnTo>
                        <a:pt x="481" y="202"/>
                      </a:lnTo>
                      <a:lnTo>
                        <a:pt x="478" y="221"/>
                      </a:lnTo>
                      <a:lnTo>
                        <a:pt x="480" y="240"/>
                      </a:lnTo>
                      <a:lnTo>
                        <a:pt x="480" y="247"/>
                      </a:lnTo>
                      <a:lnTo>
                        <a:pt x="481" y="252"/>
                      </a:lnTo>
                      <a:lnTo>
                        <a:pt x="483" y="256"/>
                      </a:lnTo>
                      <a:lnTo>
                        <a:pt x="486" y="260"/>
                      </a:lnTo>
                      <a:lnTo>
                        <a:pt x="488" y="262"/>
                      </a:lnTo>
                      <a:lnTo>
                        <a:pt x="493" y="264"/>
                      </a:lnTo>
                      <a:lnTo>
                        <a:pt x="496" y="265"/>
                      </a:lnTo>
                      <a:lnTo>
                        <a:pt x="500" y="266"/>
                      </a:lnTo>
                      <a:lnTo>
                        <a:pt x="516" y="266"/>
                      </a:lnTo>
                      <a:lnTo>
                        <a:pt x="526" y="265"/>
                      </a:lnTo>
                      <a:lnTo>
                        <a:pt x="528" y="279"/>
                      </a:lnTo>
                      <a:lnTo>
                        <a:pt x="532" y="293"/>
                      </a:lnTo>
                      <a:lnTo>
                        <a:pt x="538" y="307"/>
                      </a:lnTo>
                      <a:lnTo>
                        <a:pt x="545" y="319"/>
                      </a:lnTo>
                      <a:lnTo>
                        <a:pt x="554" y="330"/>
                      </a:lnTo>
                      <a:lnTo>
                        <a:pt x="563" y="341"/>
                      </a:lnTo>
                      <a:lnTo>
                        <a:pt x="573" y="351"/>
                      </a:lnTo>
                      <a:lnTo>
                        <a:pt x="583" y="361"/>
                      </a:lnTo>
                      <a:lnTo>
                        <a:pt x="604" y="376"/>
                      </a:lnTo>
                      <a:lnTo>
                        <a:pt x="622" y="388"/>
                      </a:lnTo>
                      <a:lnTo>
                        <a:pt x="637" y="396"/>
                      </a:lnTo>
                      <a:lnTo>
                        <a:pt x="645" y="400"/>
                      </a:lnTo>
                      <a:lnTo>
                        <a:pt x="673" y="408"/>
                      </a:lnTo>
                      <a:lnTo>
                        <a:pt x="696" y="417"/>
                      </a:lnTo>
                      <a:lnTo>
                        <a:pt x="718" y="424"/>
                      </a:lnTo>
                      <a:lnTo>
                        <a:pt x="738" y="430"/>
                      </a:lnTo>
                      <a:lnTo>
                        <a:pt x="758" y="435"/>
                      </a:lnTo>
                      <a:lnTo>
                        <a:pt x="783" y="440"/>
                      </a:lnTo>
                      <a:lnTo>
                        <a:pt x="811" y="445"/>
                      </a:lnTo>
                      <a:lnTo>
                        <a:pt x="845" y="449"/>
                      </a:lnTo>
                      <a:lnTo>
                        <a:pt x="838" y="457"/>
                      </a:lnTo>
                      <a:lnTo>
                        <a:pt x="830" y="465"/>
                      </a:lnTo>
                      <a:lnTo>
                        <a:pt x="821" y="474"/>
                      </a:lnTo>
                      <a:lnTo>
                        <a:pt x="811" y="482"/>
                      </a:lnTo>
                      <a:lnTo>
                        <a:pt x="790" y="498"/>
                      </a:lnTo>
                      <a:lnTo>
                        <a:pt x="768" y="514"/>
                      </a:lnTo>
                      <a:lnTo>
                        <a:pt x="749" y="531"/>
                      </a:lnTo>
                      <a:lnTo>
                        <a:pt x="731" y="547"/>
                      </a:lnTo>
                      <a:lnTo>
                        <a:pt x="723" y="555"/>
                      </a:lnTo>
                      <a:lnTo>
                        <a:pt x="718" y="562"/>
                      </a:lnTo>
                      <a:lnTo>
                        <a:pt x="715" y="570"/>
                      </a:lnTo>
                      <a:lnTo>
                        <a:pt x="712" y="579"/>
                      </a:lnTo>
                      <a:lnTo>
                        <a:pt x="709" y="592"/>
                      </a:lnTo>
                      <a:lnTo>
                        <a:pt x="706" y="602"/>
                      </a:lnTo>
                      <a:lnTo>
                        <a:pt x="701" y="610"/>
                      </a:lnTo>
                      <a:lnTo>
                        <a:pt x="697" y="617"/>
                      </a:lnTo>
                      <a:lnTo>
                        <a:pt x="693" y="622"/>
                      </a:lnTo>
                      <a:lnTo>
                        <a:pt x="686" y="625"/>
                      </a:lnTo>
                      <a:lnTo>
                        <a:pt x="681" y="628"/>
                      </a:lnTo>
                      <a:lnTo>
                        <a:pt x="674" y="629"/>
                      </a:lnTo>
                      <a:lnTo>
                        <a:pt x="643" y="630"/>
                      </a:lnTo>
                      <a:lnTo>
                        <a:pt x="606" y="635"/>
                      </a:lnTo>
                      <a:lnTo>
                        <a:pt x="594" y="643"/>
                      </a:lnTo>
                      <a:lnTo>
                        <a:pt x="580" y="655"/>
                      </a:lnTo>
                      <a:lnTo>
                        <a:pt x="573" y="661"/>
                      </a:lnTo>
                      <a:lnTo>
                        <a:pt x="567" y="666"/>
                      </a:lnTo>
                      <a:lnTo>
                        <a:pt x="563" y="670"/>
                      </a:lnTo>
                      <a:lnTo>
                        <a:pt x="559" y="671"/>
                      </a:lnTo>
                      <a:lnTo>
                        <a:pt x="548" y="673"/>
                      </a:lnTo>
                      <a:lnTo>
                        <a:pt x="539" y="676"/>
                      </a:lnTo>
                      <a:lnTo>
                        <a:pt x="531" y="678"/>
                      </a:lnTo>
                      <a:lnTo>
                        <a:pt x="525" y="681"/>
                      </a:lnTo>
                      <a:lnTo>
                        <a:pt x="513" y="687"/>
                      </a:lnTo>
                      <a:lnTo>
                        <a:pt x="499" y="696"/>
                      </a:lnTo>
                      <a:lnTo>
                        <a:pt x="488" y="696"/>
                      </a:lnTo>
                      <a:lnTo>
                        <a:pt x="482" y="693"/>
                      </a:lnTo>
                      <a:lnTo>
                        <a:pt x="476" y="691"/>
                      </a:lnTo>
                      <a:lnTo>
                        <a:pt x="472" y="686"/>
                      </a:lnTo>
                      <a:lnTo>
                        <a:pt x="468" y="683"/>
                      </a:lnTo>
                      <a:lnTo>
                        <a:pt x="461" y="680"/>
                      </a:lnTo>
                      <a:lnTo>
                        <a:pt x="452" y="678"/>
                      </a:lnTo>
                      <a:lnTo>
                        <a:pt x="440" y="677"/>
                      </a:lnTo>
                      <a:lnTo>
                        <a:pt x="432" y="678"/>
                      </a:lnTo>
                      <a:lnTo>
                        <a:pt x="427" y="679"/>
                      </a:lnTo>
                      <a:lnTo>
                        <a:pt x="421" y="681"/>
                      </a:lnTo>
                      <a:lnTo>
                        <a:pt x="418" y="684"/>
                      </a:lnTo>
                      <a:lnTo>
                        <a:pt x="410" y="692"/>
                      </a:lnTo>
                      <a:lnTo>
                        <a:pt x="405" y="699"/>
                      </a:lnTo>
                      <a:lnTo>
                        <a:pt x="402" y="703"/>
                      </a:lnTo>
                      <a:lnTo>
                        <a:pt x="398" y="707"/>
                      </a:lnTo>
                      <a:lnTo>
                        <a:pt x="394" y="711"/>
                      </a:lnTo>
                      <a:lnTo>
                        <a:pt x="390" y="714"/>
                      </a:lnTo>
                      <a:lnTo>
                        <a:pt x="383" y="717"/>
                      </a:lnTo>
                      <a:lnTo>
                        <a:pt x="376" y="719"/>
                      </a:lnTo>
                      <a:lnTo>
                        <a:pt x="369" y="720"/>
                      </a:lnTo>
                      <a:lnTo>
                        <a:pt x="360" y="720"/>
                      </a:lnTo>
                      <a:lnTo>
                        <a:pt x="348" y="720"/>
                      </a:lnTo>
                      <a:lnTo>
                        <a:pt x="337" y="719"/>
                      </a:lnTo>
                      <a:lnTo>
                        <a:pt x="327" y="717"/>
                      </a:lnTo>
                      <a:lnTo>
                        <a:pt x="318" y="714"/>
                      </a:lnTo>
                      <a:lnTo>
                        <a:pt x="310" y="710"/>
                      </a:lnTo>
                      <a:lnTo>
                        <a:pt x="303" y="706"/>
                      </a:lnTo>
                      <a:lnTo>
                        <a:pt x="295" y="702"/>
                      </a:lnTo>
                      <a:lnTo>
                        <a:pt x="289" y="698"/>
                      </a:lnTo>
                      <a:lnTo>
                        <a:pt x="275" y="688"/>
                      </a:lnTo>
                      <a:lnTo>
                        <a:pt x="261" y="679"/>
                      </a:lnTo>
                      <a:lnTo>
                        <a:pt x="253" y="675"/>
                      </a:lnTo>
                      <a:lnTo>
                        <a:pt x="246" y="671"/>
                      </a:lnTo>
                      <a:lnTo>
                        <a:pt x="237" y="668"/>
                      </a:lnTo>
                      <a:lnTo>
                        <a:pt x="227" y="665"/>
                      </a:lnTo>
                      <a:lnTo>
                        <a:pt x="205" y="662"/>
                      </a:lnTo>
                      <a:lnTo>
                        <a:pt x="181" y="661"/>
                      </a:lnTo>
                      <a:lnTo>
                        <a:pt x="170" y="660"/>
                      </a:lnTo>
                      <a:lnTo>
                        <a:pt x="159" y="659"/>
                      </a:lnTo>
                      <a:lnTo>
                        <a:pt x="149" y="657"/>
                      </a:lnTo>
                      <a:lnTo>
                        <a:pt x="140" y="653"/>
                      </a:lnTo>
                      <a:lnTo>
                        <a:pt x="149" y="632"/>
                      </a:lnTo>
                      <a:lnTo>
                        <a:pt x="153" y="622"/>
                      </a:lnTo>
                      <a:lnTo>
                        <a:pt x="152" y="618"/>
                      </a:lnTo>
                      <a:lnTo>
                        <a:pt x="151" y="614"/>
                      </a:lnTo>
                      <a:lnTo>
                        <a:pt x="147" y="607"/>
                      </a:lnTo>
                      <a:lnTo>
                        <a:pt x="140" y="597"/>
                      </a:lnTo>
                      <a:lnTo>
                        <a:pt x="134" y="597"/>
                      </a:lnTo>
                      <a:lnTo>
                        <a:pt x="127" y="596"/>
                      </a:lnTo>
                      <a:lnTo>
                        <a:pt x="122" y="593"/>
                      </a:lnTo>
                      <a:lnTo>
                        <a:pt x="116" y="590"/>
                      </a:lnTo>
                      <a:lnTo>
                        <a:pt x="112" y="587"/>
                      </a:lnTo>
                      <a:lnTo>
                        <a:pt x="108" y="583"/>
                      </a:lnTo>
                      <a:lnTo>
                        <a:pt x="104" y="577"/>
                      </a:lnTo>
                      <a:lnTo>
                        <a:pt x="102" y="572"/>
                      </a:lnTo>
                      <a:lnTo>
                        <a:pt x="96" y="562"/>
                      </a:lnTo>
                      <a:lnTo>
                        <a:pt x="93" y="551"/>
                      </a:lnTo>
                      <a:lnTo>
                        <a:pt x="90" y="540"/>
                      </a:lnTo>
                      <a:lnTo>
                        <a:pt x="88" y="530"/>
                      </a:lnTo>
                      <a:lnTo>
                        <a:pt x="82" y="519"/>
                      </a:lnTo>
                      <a:lnTo>
                        <a:pt x="77" y="511"/>
                      </a:lnTo>
                      <a:lnTo>
                        <a:pt x="70" y="505"/>
                      </a:lnTo>
                      <a:lnTo>
                        <a:pt x="63" y="499"/>
                      </a:lnTo>
                      <a:lnTo>
                        <a:pt x="57" y="494"/>
                      </a:lnTo>
                      <a:lnTo>
                        <a:pt x="49" y="489"/>
                      </a:lnTo>
                      <a:lnTo>
                        <a:pt x="41" y="483"/>
                      </a:lnTo>
                      <a:lnTo>
                        <a:pt x="34" y="474"/>
                      </a:lnTo>
                      <a:lnTo>
                        <a:pt x="24" y="477"/>
                      </a:lnTo>
                      <a:lnTo>
                        <a:pt x="16" y="477"/>
                      </a:lnTo>
                      <a:lnTo>
                        <a:pt x="12" y="476"/>
                      </a:lnTo>
                      <a:lnTo>
                        <a:pt x="10" y="475"/>
                      </a:lnTo>
                      <a:lnTo>
                        <a:pt x="6" y="474"/>
                      </a:lnTo>
                      <a:lnTo>
                        <a:pt x="5" y="472"/>
                      </a:lnTo>
                      <a:lnTo>
                        <a:pt x="2" y="467"/>
                      </a:lnTo>
                      <a:lnTo>
                        <a:pt x="0" y="461"/>
                      </a:lnTo>
                      <a:lnTo>
                        <a:pt x="1" y="454"/>
                      </a:lnTo>
                      <a:lnTo>
                        <a:pt x="2" y="448"/>
                      </a:lnTo>
                      <a:lnTo>
                        <a:pt x="5" y="441"/>
                      </a:lnTo>
                      <a:lnTo>
                        <a:pt x="9" y="434"/>
                      </a:lnTo>
                      <a:lnTo>
                        <a:pt x="14" y="428"/>
                      </a:lnTo>
                      <a:lnTo>
                        <a:pt x="21" y="422"/>
                      </a:lnTo>
                      <a:lnTo>
                        <a:pt x="27" y="418"/>
                      </a:lnTo>
                      <a:lnTo>
                        <a:pt x="36" y="415"/>
                      </a:lnTo>
                      <a:lnTo>
                        <a:pt x="45" y="413"/>
                      </a:lnTo>
                      <a:lnTo>
                        <a:pt x="55" y="413"/>
                      </a:lnTo>
                      <a:lnTo>
                        <a:pt x="57" y="384"/>
                      </a:lnTo>
                      <a:lnTo>
                        <a:pt x="60" y="360"/>
                      </a:lnTo>
                      <a:lnTo>
                        <a:pt x="63" y="339"/>
                      </a:lnTo>
                      <a:lnTo>
                        <a:pt x="67" y="321"/>
                      </a:lnTo>
                      <a:lnTo>
                        <a:pt x="71" y="306"/>
                      </a:lnTo>
                      <a:lnTo>
                        <a:pt x="74" y="293"/>
                      </a:lnTo>
                      <a:lnTo>
                        <a:pt x="79" y="283"/>
                      </a:lnTo>
                      <a:lnTo>
                        <a:pt x="82" y="275"/>
                      </a:lnTo>
                      <a:lnTo>
                        <a:pt x="87" y="269"/>
                      </a:lnTo>
                      <a:lnTo>
                        <a:pt x="90" y="265"/>
                      </a:lnTo>
                      <a:lnTo>
                        <a:pt x="93" y="262"/>
                      </a:lnTo>
                      <a:lnTo>
                        <a:pt x="95" y="260"/>
                      </a:lnTo>
                      <a:lnTo>
                        <a:pt x="100" y="259"/>
                      </a:lnTo>
                      <a:lnTo>
                        <a:pt x="101" y="259"/>
                      </a:lnTo>
                      <a:lnTo>
                        <a:pt x="101" y="247"/>
                      </a:lnTo>
                      <a:lnTo>
                        <a:pt x="103" y="236"/>
                      </a:lnTo>
                      <a:lnTo>
                        <a:pt x="105" y="227"/>
                      </a:lnTo>
                      <a:lnTo>
                        <a:pt x="108" y="219"/>
                      </a:lnTo>
                      <a:lnTo>
                        <a:pt x="112" y="212"/>
                      </a:lnTo>
                      <a:lnTo>
                        <a:pt x="116" y="206"/>
                      </a:lnTo>
                      <a:lnTo>
                        <a:pt x="122" y="200"/>
                      </a:lnTo>
                      <a:lnTo>
                        <a:pt x="126" y="196"/>
                      </a:lnTo>
                      <a:lnTo>
                        <a:pt x="137" y="186"/>
                      </a:lnTo>
                      <a:lnTo>
                        <a:pt x="148" y="178"/>
                      </a:lnTo>
                      <a:lnTo>
                        <a:pt x="153" y="174"/>
                      </a:lnTo>
                      <a:lnTo>
                        <a:pt x="159" y="170"/>
                      </a:lnTo>
                      <a:lnTo>
                        <a:pt x="163" y="165"/>
                      </a:lnTo>
                      <a:lnTo>
                        <a:pt x="167" y="160"/>
                      </a:lnTo>
                      <a:lnTo>
                        <a:pt x="174" y="2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15" name="Line 359">
                  <a:extLst>
                    <a:ext uri="{FF2B5EF4-FFF2-40B4-BE49-F238E27FC236}">
                      <a16:creationId xmlns:a16="http://schemas.microsoft.com/office/drawing/2014/main" xmlns="" id="{80BF0C1F-136F-4C4B-8F54-D5D85C2C5099}"/>
                    </a:ext>
                  </a:extLst>
                </p:cNvPr>
                <p:cNvSpPr>
                  <a:spLocks noChangeShapeType="1"/>
                </p:cNvSpPr>
                <p:nvPr>
                  <p:custDataLst>
                    <p:tags r:id="rId262"/>
                  </p:custDataLst>
                </p:nvPr>
              </p:nvSpPr>
              <p:spPr bwMode="auto">
                <a:xfrm flipH="1">
                  <a:off x="1708150" y="3692525"/>
                  <a:ext cx="4763" cy="7938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16" name="Freeform 360">
                  <a:extLst>
                    <a:ext uri="{FF2B5EF4-FFF2-40B4-BE49-F238E27FC236}">
                      <a16:creationId xmlns:a16="http://schemas.microsoft.com/office/drawing/2014/main" xmlns="" id="{3236984F-1BC6-4D72-B399-2CA12F3747BB}"/>
                    </a:ext>
                  </a:extLst>
                </p:cNvPr>
                <p:cNvSpPr>
                  <a:spLocks/>
                </p:cNvSpPr>
                <p:nvPr>
                  <p:custDataLst>
                    <p:tags r:id="rId263"/>
                  </p:custDataLst>
                </p:nvPr>
              </p:nvSpPr>
              <p:spPr bwMode="auto">
                <a:xfrm>
                  <a:off x="1708150" y="3700463"/>
                  <a:ext cx="12700" cy="58737"/>
                </a:xfrm>
                <a:custGeom>
                  <a:avLst/>
                  <a:gdLst>
                    <a:gd name="T0" fmla="*/ 0 w 33"/>
                    <a:gd name="T1" fmla="*/ 0 h 6"/>
                    <a:gd name="T2" fmla="*/ 2147483646 w 33"/>
                    <a:gd name="T3" fmla="*/ 2147483646 h 6"/>
                    <a:gd name="T4" fmla="*/ 2147483646 w 33"/>
                    <a:gd name="T5" fmla="*/ 2147483646 h 6"/>
                    <a:gd name="T6" fmla="*/ 2147483646 w 33"/>
                    <a:gd name="T7" fmla="*/ 2147483646 h 6"/>
                    <a:gd name="T8" fmla="*/ 2147483646 w 33"/>
                    <a:gd name="T9" fmla="*/ 2147483646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3"/>
                    <a:gd name="T16" fmla="*/ 0 h 6"/>
                    <a:gd name="T17" fmla="*/ 33 w 33"/>
                    <a:gd name="T18" fmla="*/ 6 h 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3" h="6">
                      <a:moveTo>
                        <a:pt x="0" y="0"/>
                      </a:moveTo>
                      <a:lnTo>
                        <a:pt x="7" y="1"/>
                      </a:lnTo>
                      <a:lnTo>
                        <a:pt x="15" y="3"/>
                      </a:lnTo>
                      <a:lnTo>
                        <a:pt x="23" y="5"/>
                      </a:lnTo>
                      <a:lnTo>
                        <a:pt x="33" y="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17" name="Freeform 361">
                  <a:extLst>
                    <a:ext uri="{FF2B5EF4-FFF2-40B4-BE49-F238E27FC236}">
                      <a16:creationId xmlns:a16="http://schemas.microsoft.com/office/drawing/2014/main" xmlns="" id="{9FF5CC11-5583-4325-975F-39BFA7BFF566}"/>
                    </a:ext>
                  </a:extLst>
                </p:cNvPr>
                <p:cNvSpPr>
                  <a:spLocks/>
                </p:cNvSpPr>
                <p:nvPr>
                  <p:custDataLst>
                    <p:tags r:id="rId264"/>
                  </p:custDataLst>
                </p:nvPr>
              </p:nvSpPr>
              <p:spPr bwMode="auto">
                <a:xfrm>
                  <a:off x="1716088" y="3687763"/>
                  <a:ext cx="4762" cy="57150"/>
                </a:xfrm>
                <a:custGeom>
                  <a:avLst/>
                  <a:gdLst>
                    <a:gd name="T0" fmla="*/ 2147483646 w 13"/>
                    <a:gd name="T1" fmla="*/ 2147483646 h 30"/>
                    <a:gd name="T2" fmla="*/ 2147483646 w 13"/>
                    <a:gd name="T3" fmla="*/ 0 h 30"/>
                    <a:gd name="T4" fmla="*/ 0 w 13"/>
                    <a:gd name="T5" fmla="*/ 0 h 30"/>
                    <a:gd name="T6" fmla="*/ 0 60000 65536"/>
                    <a:gd name="T7" fmla="*/ 0 60000 65536"/>
                    <a:gd name="T8" fmla="*/ 0 60000 65536"/>
                    <a:gd name="T9" fmla="*/ 0 w 13"/>
                    <a:gd name="T10" fmla="*/ 0 h 30"/>
                    <a:gd name="T11" fmla="*/ 13 w 13"/>
                    <a:gd name="T12" fmla="*/ 30 h 3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3" h="30">
                      <a:moveTo>
                        <a:pt x="13" y="30"/>
                      </a:moveTo>
                      <a:lnTo>
                        <a:pt x="1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318" name="Group 362">
                  <a:extLst>
                    <a:ext uri="{FF2B5EF4-FFF2-40B4-BE49-F238E27FC236}">
                      <a16:creationId xmlns:a16="http://schemas.microsoft.com/office/drawing/2014/main" xmlns="" id="{A43A6C10-310F-4306-B681-76E78CCAD369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265"/>
                  </p:custDataLst>
                </p:nvPr>
              </p:nvGrpSpPr>
              <p:grpSpPr bwMode="auto">
                <a:xfrm>
                  <a:off x="1708150" y="3622675"/>
                  <a:ext cx="417513" cy="201613"/>
                  <a:chOff x="912" y="2626"/>
                  <a:chExt cx="311" cy="127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504" name="Freeform 363">
                    <a:extLst>
                      <a:ext uri="{FF2B5EF4-FFF2-40B4-BE49-F238E27FC236}">
                        <a16:creationId xmlns:a16="http://schemas.microsoft.com/office/drawing/2014/main" xmlns="" id="{10FDD07A-43D0-4B2F-A8BA-6C5D3020B40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10" y="2626"/>
                    <a:ext cx="113" cy="127"/>
                  </a:xfrm>
                  <a:custGeom>
                    <a:avLst/>
                    <a:gdLst>
                      <a:gd name="T0" fmla="*/ 1 w 352"/>
                      <a:gd name="T1" fmla="*/ 0 h 387"/>
                      <a:gd name="T2" fmla="*/ 1 w 352"/>
                      <a:gd name="T3" fmla="*/ 0 h 387"/>
                      <a:gd name="T4" fmla="*/ 1 w 352"/>
                      <a:gd name="T5" fmla="*/ 0 h 387"/>
                      <a:gd name="T6" fmla="*/ 1 w 352"/>
                      <a:gd name="T7" fmla="*/ 0 h 387"/>
                      <a:gd name="T8" fmla="*/ 1 w 352"/>
                      <a:gd name="T9" fmla="*/ 0 h 387"/>
                      <a:gd name="T10" fmla="*/ 1 w 352"/>
                      <a:gd name="T11" fmla="*/ 0 h 387"/>
                      <a:gd name="T12" fmla="*/ 0 w 352"/>
                      <a:gd name="T13" fmla="*/ 0 h 387"/>
                      <a:gd name="T14" fmla="*/ 0 w 352"/>
                      <a:gd name="T15" fmla="*/ 0 h 387"/>
                      <a:gd name="T16" fmla="*/ 0 w 352"/>
                      <a:gd name="T17" fmla="*/ 0 h 387"/>
                      <a:gd name="T18" fmla="*/ 0 w 352"/>
                      <a:gd name="T19" fmla="*/ 0 h 387"/>
                      <a:gd name="T20" fmla="*/ 0 w 352"/>
                      <a:gd name="T21" fmla="*/ 0 h 387"/>
                      <a:gd name="T22" fmla="*/ 0 w 352"/>
                      <a:gd name="T23" fmla="*/ 0 h 387"/>
                      <a:gd name="T24" fmla="*/ 0 w 352"/>
                      <a:gd name="T25" fmla="*/ 1 h 387"/>
                      <a:gd name="T26" fmla="*/ 0 w 352"/>
                      <a:gd name="T27" fmla="*/ 1 h 387"/>
                      <a:gd name="T28" fmla="*/ 0 w 352"/>
                      <a:gd name="T29" fmla="*/ 1 h 387"/>
                      <a:gd name="T30" fmla="*/ 0 w 352"/>
                      <a:gd name="T31" fmla="*/ 1 h 387"/>
                      <a:gd name="T32" fmla="*/ 0 w 352"/>
                      <a:gd name="T33" fmla="*/ 1 h 387"/>
                      <a:gd name="T34" fmla="*/ 0 w 352"/>
                      <a:gd name="T35" fmla="*/ 1 h 387"/>
                      <a:gd name="T36" fmla="*/ 0 w 352"/>
                      <a:gd name="T37" fmla="*/ 1 h 387"/>
                      <a:gd name="T38" fmla="*/ 0 w 352"/>
                      <a:gd name="T39" fmla="*/ 1 h 387"/>
                      <a:gd name="T40" fmla="*/ 0 w 352"/>
                      <a:gd name="T41" fmla="*/ 1 h 387"/>
                      <a:gd name="T42" fmla="*/ 0 w 352"/>
                      <a:gd name="T43" fmla="*/ 1 h 387"/>
                      <a:gd name="T44" fmla="*/ 0 w 352"/>
                      <a:gd name="T45" fmla="*/ 1 h 387"/>
                      <a:gd name="T46" fmla="*/ 0 w 352"/>
                      <a:gd name="T47" fmla="*/ 1 h 387"/>
                      <a:gd name="T48" fmla="*/ 0 w 352"/>
                      <a:gd name="T49" fmla="*/ 1 h 387"/>
                      <a:gd name="T50" fmla="*/ 0 w 352"/>
                      <a:gd name="T51" fmla="*/ 1 h 387"/>
                      <a:gd name="T52" fmla="*/ 0 w 352"/>
                      <a:gd name="T53" fmla="*/ 1 h 387"/>
                      <a:gd name="T54" fmla="*/ 0 w 352"/>
                      <a:gd name="T55" fmla="*/ 1 h 387"/>
                      <a:gd name="T56" fmla="*/ 0 w 352"/>
                      <a:gd name="T57" fmla="*/ 1 h 387"/>
                      <a:gd name="T58" fmla="*/ 0 w 352"/>
                      <a:gd name="T59" fmla="*/ 1 h 387"/>
                      <a:gd name="T60" fmla="*/ 0 w 352"/>
                      <a:gd name="T61" fmla="*/ 1 h 387"/>
                      <a:gd name="T62" fmla="*/ 0 w 352"/>
                      <a:gd name="T63" fmla="*/ 1 h 387"/>
                      <a:gd name="T64" fmla="*/ 0 w 352"/>
                      <a:gd name="T65" fmla="*/ 1 h 387"/>
                      <a:gd name="T66" fmla="*/ 1 w 352"/>
                      <a:gd name="T67" fmla="*/ 1 h 387"/>
                      <a:gd name="T68" fmla="*/ 1 w 352"/>
                      <a:gd name="T69" fmla="*/ 2 h 387"/>
                      <a:gd name="T70" fmla="*/ 1 w 352"/>
                      <a:gd name="T71" fmla="*/ 1 h 387"/>
                      <a:gd name="T72" fmla="*/ 1 w 352"/>
                      <a:gd name="T73" fmla="*/ 1 h 387"/>
                      <a:gd name="T74" fmla="*/ 1 w 352"/>
                      <a:gd name="T75" fmla="*/ 1 h 387"/>
                      <a:gd name="T76" fmla="*/ 1 w 352"/>
                      <a:gd name="T77" fmla="*/ 1 h 387"/>
                      <a:gd name="T78" fmla="*/ 1 w 352"/>
                      <a:gd name="T79" fmla="*/ 1 h 387"/>
                      <a:gd name="T80" fmla="*/ 1 w 352"/>
                      <a:gd name="T81" fmla="*/ 1 h 387"/>
                      <a:gd name="T82" fmla="*/ 1 w 352"/>
                      <a:gd name="T83" fmla="*/ 1 h 387"/>
                      <a:gd name="T84" fmla="*/ 1 w 352"/>
                      <a:gd name="T85" fmla="*/ 1 h 387"/>
                      <a:gd name="T86" fmla="*/ 1 w 352"/>
                      <a:gd name="T87" fmla="*/ 1 h 387"/>
                      <a:gd name="T88" fmla="*/ 1 w 352"/>
                      <a:gd name="T89" fmla="*/ 1 h 387"/>
                      <a:gd name="T90" fmla="*/ 1 w 352"/>
                      <a:gd name="T91" fmla="*/ 1 h 387"/>
                      <a:gd name="T92" fmla="*/ 1 w 352"/>
                      <a:gd name="T93" fmla="*/ 1 h 387"/>
                      <a:gd name="T94" fmla="*/ 1 w 352"/>
                      <a:gd name="T95" fmla="*/ 1 h 387"/>
                      <a:gd name="T96" fmla="*/ 1 w 352"/>
                      <a:gd name="T97" fmla="*/ 1 h 387"/>
                      <a:gd name="T98" fmla="*/ 1 w 352"/>
                      <a:gd name="T99" fmla="*/ 1 h 387"/>
                      <a:gd name="T100" fmla="*/ 1 w 352"/>
                      <a:gd name="T101" fmla="*/ 0 h 387"/>
                      <a:gd name="T102" fmla="*/ 1 w 352"/>
                      <a:gd name="T103" fmla="*/ 0 h 387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w 352"/>
                      <a:gd name="T157" fmla="*/ 0 h 387"/>
                      <a:gd name="T158" fmla="*/ 352 w 352"/>
                      <a:gd name="T159" fmla="*/ 387 h 387"/>
                    </a:gdLst>
                    <a:ahLst/>
                    <a:cxnLst>
                      <a:cxn ang="T104">
                        <a:pos x="T0" y="T1"/>
                      </a:cxn>
                      <a:cxn ang="T105">
                        <a:pos x="T2" y="T3"/>
                      </a:cxn>
                      <a:cxn ang="T106">
                        <a:pos x="T4" y="T5"/>
                      </a:cxn>
                      <a:cxn ang="T107">
                        <a:pos x="T6" y="T7"/>
                      </a:cxn>
                      <a:cxn ang="T108">
                        <a:pos x="T8" y="T9"/>
                      </a:cxn>
                      <a:cxn ang="T109">
                        <a:pos x="T10" y="T11"/>
                      </a:cxn>
                      <a:cxn ang="T110">
                        <a:pos x="T12" y="T13"/>
                      </a:cxn>
                      <a:cxn ang="T111">
                        <a:pos x="T14" y="T15"/>
                      </a:cxn>
                      <a:cxn ang="T112">
                        <a:pos x="T16" y="T17"/>
                      </a:cxn>
                      <a:cxn ang="T113">
                        <a:pos x="T18" y="T19"/>
                      </a:cxn>
                      <a:cxn ang="T114">
                        <a:pos x="T20" y="T21"/>
                      </a:cxn>
                      <a:cxn ang="T115">
                        <a:pos x="T22" y="T23"/>
                      </a:cxn>
                      <a:cxn ang="T116">
                        <a:pos x="T24" y="T25"/>
                      </a:cxn>
                      <a:cxn ang="T117">
                        <a:pos x="T26" y="T27"/>
                      </a:cxn>
                      <a:cxn ang="T118">
                        <a:pos x="T28" y="T29"/>
                      </a:cxn>
                      <a:cxn ang="T119">
                        <a:pos x="T30" y="T31"/>
                      </a:cxn>
                      <a:cxn ang="T120">
                        <a:pos x="T32" y="T33"/>
                      </a:cxn>
                      <a:cxn ang="T121">
                        <a:pos x="T34" y="T35"/>
                      </a:cxn>
                      <a:cxn ang="T122">
                        <a:pos x="T36" y="T37"/>
                      </a:cxn>
                      <a:cxn ang="T123">
                        <a:pos x="T38" y="T39"/>
                      </a:cxn>
                      <a:cxn ang="T124">
                        <a:pos x="T40" y="T41"/>
                      </a:cxn>
                      <a:cxn ang="T125">
                        <a:pos x="T42" y="T43"/>
                      </a:cxn>
                      <a:cxn ang="T126">
                        <a:pos x="T44" y="T45"/>
                      </a:cxn>
                      <a:cxn ang="T127">
                        <a:pos x="T46" y="T47"/>
                      </a:cxn>
                      <a:cxn ang="T128">
                        <a:pos x="T48" y="T49"/>
                      </a:cxn>
                      <a:cxn ang="T129">
                        <a:pos x="T50" y="T51"/>
                      </a:cxn>
                      <a:cxn ang="T130">
                        <a:pos x="T52" y="T53"/>
                      </a:cxn>
                      <a:cxn ang="T131">
                        <a:pos x="T54" y="T55"/>
                      </a:cxn>
                      <a:cxn ang="T132">
                        <a:pos x="T56" y="T57"/>
                      </a:cxn>
                      <a:cxn ang="T133">
                        <a:pos x="T58" y="T59"/>
                      </a:cxn>
                      <a:cxn ang="T134">
                        <a:pos x="T60" y="T61"/>
                      </a:cxn>
                      <a:cxn ang="T135">
                        <a:pos x="T62" y="T63"/>
                      </a:cxn>
                      <a:cxn ang="T136">
                        <a:pos x="T64" y="T65"/>
                      </a:cxn>
                      <a:cxn ang="T137">
                        <a:pos x="T66" y="T67"/>
                      </a:cxn>
                      <a:cxn ang="T138">
                        <a:pos x="T68" y="T69"/>
                      </a:cxn>
                      <a:cxn ang="T139">
                        <a:pos x="T70" y="T71"/>
                      </a:cxn>
                      <a:cxn ang="T140">
                        <a:pos x="T72" y="T73"/>
                      </a:cxn>
                      <a:cxn ang="T141">
                        <a:pos x="T74" y="T75"/>
                      </a:cxn>
                      <a:cxn ang="T142">
                        <a:pos x="T76" y="T77"/>
                      </a:cxn>
                      <a:cxn ang="T143">
                        <a:pos x="T78" y="T79"/>
                      </a:cxn>
                      <a:cxn ang="T144">
                        <a:pos x="T80" y="T81"/>
                      </a:cxn>
                      <a:cxn ang="T145">
                        <a:pos x="T82" y="T83"/>
                      </a:cxn>
                      <a:cxn ang="T146">
                        <a:pos x="T84" y="T85"/>
                      </a:cxn>
                      <a:cxn ang="T147">
                        <a:pos x="T86" y="T87"/>
                      </a:cxn>
                      <a:cxn ang="T148">
                        <a:pos x="T88" y="T89"/>
                      </a:cxn>
                      <a:cxn ang="T149">
                        <a:pos x="T90" y="T91"/>
                      </a:cxn>
                      <a:cxn ang="T150">
                        <a:pos x="T92" y="T93"/>
                      </a:cxn>
                      <a:cxn ang="T151">
                        <a:pos x="T94" y="T95"/>
                      </a:cxn>
                      <a:cxn ang="T152">
                        <a:pos x="T96" y="T97"/>
                      </a:cxn>
                      <a:cxn ang="T153">
                        <a:pos x="T98" y="T99"/>
                      </a:cxn>
                      <a:cxn ang="T154">
                        <a:pos x="T100" y="T101"/>
                      </a:cxn>
                      <a:cxn ang="T155">
                        <a:pos x="T102" y="T103"/>
                      </a:cxn>
                    </a:cxnLst>
                    <a:rect l="T156" t="T157" r="T158" b="T159"/>
                    <a:pathLst>
                      <a:path w="352" h="387">
                        <a:moveTo>
                          <a:pt x="325" y="79"/>
                        </a:moveTo>
                        <a:lnTo>
                          <a:pt x="312" y="79"/>
                        </a:lnTo>
                        <a:lnTo>
                          <a:pt x="299" y="79"/>
                        </a:lnTo>
                        <a:lnTo>
                          <a:pt x="286" y="79"/>
                        </a:lnTo>
                        <a:lnTo>
                          <a:pt x="273" y="79"/>
                        </a:lnTo>
                        <a:lnTo>
                          <a:pt x="265" y="79"/>
                        </a:lnTo>
                        <a:lnTo>
                          <a:pt x="256" y="77"/>
                        </a:lnTo>
                        <a:lnTo>
                          <a:pt x="249" y="74"/>
                        </a:lnTo>
                        <a:lnTo>
                          <a:pt x="240" y="70"/>
                        </a:lnTo>
                        <a:lnTo>
                          <a:pt x="222" y="59"/>
                        </a:lnTo>
                        <a:lnTo>
                          <a:pt x="204" y="46"/>
                        </a:lnTo>
                        <a:lnTo>
                          <a:pt x="168" y="20"/>
                        </a:lnTo>
                        <a:lnTo>
                          <a:pt x="140" y="0"/>
                        </a:lnTo>
                        <a:lnTo>
                          <a:pt x="137" y="6"/>
                        </a:lnTo>
                        <a:lnTo>
                          <a:pt x="133" y="13"/>
                        </a:lnTo>
                        <a:lnTo>
                          <a:pt x="129" y="19"/>
                        </a:lnTo>
                        <a:lnTo>
                          <a:pt x="125" y="25"/>
                        </a:lnTo>
                        <a:lnTo>
                          <a:pt x="119" y="29"/>
                        </a:lnTo>
                        <a:lnTo>
                          <a:pt x="114" y="33"/>
                        </a:lnTo>
                        <a:lnTo>
                          <a:pt x="107" y="35"/>
                        </a:lnTo>
                        <a:lnTo>
                          <a:pt x="100" y="36"/>
                        </a:lnTo>
                        <a:lnTo>
                          <a:pt x="86" y="56"/>
                        </a:lnTo>
                        <a:lnTo>
                          <a:pt x="71" y="76"/>
                        </a:lnTo>
                        <a:lnTo>
                          <a:pt x="53" y="97"/>
                        </a:lnTo>
                        <a:lnTo>
                          <a:pt x="38" y="120"/>
                        </a:lnTo>
                        <a:lnTo>
                          <a:pt x="30" y="131"/>
                        </a:lnTo>
                        <a:lnTo>
                          <a:pt x="22" y="143"/>
                        </a:lnTo>
                        <a:lnTo>
                          <a:pt x="17" y="154"/>
                        </a:lnTo>
                        <a:lnTo>
                          <a:pt x="11" y="165"/>
                        </a:lnTo>
                        <a:lnTo>
                          <a:pt x="7" y="177"/>
                        </a:lnTo>
                        <a:lnTo>
                          <a:pt x="3" y="187"/>
                        </a:lnTo>
                        <a:lnTo>
                          <a:pt x="0" y="198"/>
                        </a:lnTo>
                        <a:lnTo>
                          <a:pt x="0" y="208"/>
                        </a:lnTo>
                        <a:lnTo>
                          <a:pt x="0" y="213"/>
                        </a:lnTo>
                        <a:lnTo>
                          <a:pt x="2" y="217"/>
                        </a:lnTo>
                        <a:lnTo>
                          <a:pt x="3" y="222"/>
                        </a:lnTo>
                        <a:lnTo>
                          <a:pt x="5" y="225"/>
                        </a:lnTo>
                        <a:lnTo>
                          <a:pt x="9" y="231"/>
                        </a:lnTo>
                        <a:lnTo>
                          <a:pt x="16" y="237"/>
                        </a:lnTo>
                        <a:lnTo>
                          <a:pt x="24" y="241"/>
                        </a:lnTo>
                        <a:lnTo>
                          <a:pt x="31" y="243"/>
                        </a:lnTo>
                        <a:lnTo>
                          <a:pt x="39" y="245"/>
                        </a:lnTo>
                        <a:lnTo>
                          <a:pt x="47" y="246"/>
                        </a:lnTo>
                        <a:lnTo>
                          <a:pt x="52" y="245"/>
                        </a:lnTo>
                        <a:lnTo>
                          <a:pt x="58" y="243"/>
                        </a:lnTo>
                        <a:lnTo>
                          <a:pt x="63" y="241"/>
                        </a:lnTo>
                        <a:lnTo>
                          <a:pt x="69" y="238"/>
                        </a:lnTo>
                        <a:lnTo>
                          <a:pt x="73" y="236"/>
                        </a:lnTo>
                        <a:lnTo>
                          <a:pt x="76" y="235"/>
                        </a:lnTo>
                        <a:lnTo>
                          <a:pt x="78" y="236"/>
                        </a:lnTo>
                        <a:lnTo>
                          <a:pt x="80" y="236"/>
                        </a:lnTo>
                        <a:lnTo>
                          <a:pt x="80" y="238"/>
                        </a:lnTo>
                        <a:lnTo>
                          <a:pt x="80" y="240"/>
                        </a:lnTo>
                        <a:lnTo>
                          <a:pt x="80" y="257"/>
                        </a:lnTo>
                        <a:lnTo>
                          <a:pt x="78" y="271"/>
                        </a:lnTo>
                        <a:lnTo>
                          <a:pt x="76" y="279"/>
                        </a:lnTo>
                        <a:lnTo>
                          <a:pt x="74" y="285"/>
                        </a:lnTo>
                        <a:lnTo>
                          <a:pt x="71" y="290"/>
                        </a:lnTo>
                        <a:lnTo>
                          <a:pt x="66" y="295"/>
                        </a:lnTo>
                        <a:lnTo>
                          <a:pt x="73" y="307"/>
                        </a:lnTo>
                        <a:lnTo>
                          <a:pt x="80" y="319"/>
                        </a:lnTo>
                        <a:lnTo>
                          <a:pt x="80" y="331"/>
                        </a:lnTo>
                        <a:lnTo>
                          <a:pt x="80" y="344"/>
                        </a:lnTo>
                        <a:lnTo>
                          <a:pt x="89" y="351"/>
                        </a:lnTo>
                        <a:lnTo>
                          <a:pt x="110" y="366"/>
                        </a:lnTo>
                        <a:lnTo>
                          <a:pt x="122" y="373"/>
                        </a:lnTo>
                        <a:lnTo>
                          <a:pt x="133" y="380"/>
                        </a:lnTo>
                        <a:lnTo>
                          <a:pt x="142" y="385"/>
                        </a:lnTo>
                        <a:lnTo>
                          <a:pt x="147" y="387"/>
                        </a:lnTo>
                        <a:lnTo>
                          <a:pt x="152" y="386"/>
                        </a:lnTo>
                        <a:lnTo>
                          <a:pt x="158" y="382"/>
                        </a:lnTo>
                        <a:lnTo>
                          <a:pt x="163" y="377"/>
                        </a:lnTo>
                        <a:lnTo>
                          <a:pt x="168" y="370"/>
                        </a:lnTo>
                        <a:lnTo>
                          <a:pt x="173" y="363"/>
                        </a:lnTo>
                        <a:lnTo>
                          <a:pt x="176" y="356"/>
                        </a:lnTo>
                        <a:lnTo>
                          <a:pt x="178" y="350"/>
                        </a:lnTo>
                        <a:lnTo>
                          <a:pt x="179" y="344"/>
                        </a:lnTo>
                        <a:lnTo>
                          <a:pt x="181" y="338"/>
                        </a:lnTo>
                        <a:lnTo>
                          <a:pt x="182" y="330"/>
                        </a:lnTo>
                        <a:lnTo>
                          <a:pt x="184" y="323"/>
                        </a:lnTo>
                        <a:lnTo>
                          <a:pt x="187" y="317"/>
                        </a:lnTo>
                        <a:lnTo>
                          <a:pt x="195" y="304"/>
                        </a:lnTo>
                        <a:lnTo>
                          <a:pt x="206" y="292"/>
                        </a:lnTo>
                        <a:lnTo>
                          <a:pt x="216" y="281"/>
                        </a:lnTo>
                        <a:lnTo>
                          <a:pt x="228" y="271"/>
                        </a:lnTo>
                        <a:lnTo>
                          <a:pt x="238" y="263"/>
                        </a:lnTo>
                        <a:lnTo>
                          <a:pt x="246" y="258"/>
                        </a:lnTo>
                        <a:lnTo>
                          <a:pt x="264" y="249"/>
                        </a:lnTo>
                        <a:lnTo>
                          <a:pt x="283" y="239"/>
                        </a:lnTo>
                        <a:lnTo>
                          <a:pt x="300" y="229"/>
                        </a:lnTo>
                        <a:lnTo>
                          <a:pt x="317" y="217"/>
                        </a:lnTo>
                        <a:lnTo>
                          <a:pt x="324" y="212"/>
                        </a:lnTo>
                        <a:lnTo>
                          <a:pt x="331" y="205"/>
                        </a:lnTo>
                        <a:lnTo>
                          <a:pt x="338" y="199"/>
                        </a:lnTo>
                        <a:lnTo>
                          <a:pt x="342" y="192"/>
                        </a:lnTo>
                        <a:lnTo>
                          <a:pt x="346" y="185"/>
                        </a:lnTo>
                        <a:lnTo>
                          <a:pt x="350" y="177"/>
                        </a:lnTo>
                        <a:lnTo>
                          <a:pt x="352" y="169"/>
                        </a:lnTo>
                        <a:lnTo>
                          <a:pt x="352" y="159"/>
                        </a:lnTo>
                        <a:lnTo>
                          <a:pt x="351" y="149"/>
                        </a:lnTo>
                        <a:lnTo>
                          <a:pt x="349" y="137"/>
                        </a:lnTo>
                        <a:lnTo>
                          <a:pt x="344" y="125"/>
                        </a:lnTo>
                        <a:lnTo>
                          <a:pt x="339" y="113"/>
                        </a:lnTo>
                        <a:lnTo>
                          <a:pt x="330" y="91"/>
                        </a:lnTo>
                        <a:lnTo>
                          <a:pt x="325" y="79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05" name="Freeform 364">
                    <a:extLst>
                      <a:ext uri="{FF2B5EF4-FFF2-40B4-BE49-F238E27FC236}">
                        <a16:creationId xmlns:a16="http://schemas.microsoft.com/office/drawing/2014/main" xmlns="" id="{98D52910-BFC9-4AC7-8AC7-10CF6097434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23" y="2662"/>
                    <a:ext cx="17" cy="26"/>
                  </a:xfrm>
                  <a:custGeom>
                    <a:avLst/>
                    <a:gdLst>
                      <a:gd name="T0" fmla="*/ 0 w 52"/>
                      <a:gd name="T1" fmla="*/ 0 h 78"/>
                      <a:gd name="T2" fmla="*/ 0 w 52"/>
                      <a:gd name="T3" fmla="*/ 0 h 78"/>
                      <a:gd name="T4" fmla="*/ 0 w 52"/>
                      <a:gd name="T5" fmla="*/ 0 h 78"/>
                      <a:gd name="T6" fmla="*/ 0 w 52"/>
                      <a:gd name="T7" fmla="*/ 0 h 78"/>
                      <a:gd name="T8" fmla="*/ 0 w 52"/>
                      <a:gd name="T9" fmla="*/ 0 h 78"/>
                      <a:gd name="T10" fmla="*/ 0 w 52"/>
                      <a:gd name="T11" fmla="*/ 0 h 78"/>
                      <a:gd name="T12" fmla="*/ 0 w 52"/>
                      <a:gd name="T13" fmla="*/ 0 h 78"/>
                      <a:gd name="T14" fmla="*/ 0 w 52"/>
                      <a:gd name="T15" fmla="*/ 0 h 78"/>
                      <a:gd name="T16" fmla="*/ 0 w 52"/>
                      <a:gd name="T17" fmla="*/ 0 h 78"/>
                      <a:gd name="T18" fmla="*/ 0 w 52"/>
                      <a:gd name="T19" fmla="*/ 0 h 78"/>
                      <a:gd name="T20" fmla="*/ 0 w 52"/>
                      <a:gd name="T21" fmla="*/ 0 h 78"/>
                      <a:gd name="T22" fmla="*/ 0 w 52"/>
                      <a:gd name="T23" fmla="*/ 0 h 78"/>
                      <a:gd name="T24" fmla="*/ 0 w 52"/>
                      <a:gd name="T25" fmla="*/ 0 h 78"/>
                      <a:gd name="T26" fmla="*/ 0 w 52"/>
                      <a:gd name="T27" fmla="*/ 0 h 78"/>
                      <a:gd name="T28" fmla="*/ 0 w 52"/>
                      <a:gd name="T29" fmla="*/ 0 h 78"/>
                      <a:gd name="T30" fmla="*/ 0 w 52"/>
                      <a:gd name="T31" fmla="*/ 0 h 78"/>
                      <a:gd name="T32" fmla="*/ 0 w 52"/>
                      <a:gd name="T33" fmla="*/ 0 h 78"/>
                      <a:gd name="T34" fmla="*/ 0 w 52"/>
                      <a:gd name="T35" fmla="*/ 0 h 78"/>
                      <a:gd name="T36" fmla="*/ 0 w 52"/>
                      <a:gd name="T37" fmla="*/ 0 h 78"/>
                      <a:gd name="T38" fmla="*/ 0 w 52"/>
                      <a:gd name="T39" fmla="*/ 0 h 78"/>
                      <a:gd name="T40" fmla="*/ 0 w 52"/>
                      <a:gd name="T41" fmla="*/ 0 h 78"/>
                      <a:gd name="T42" fmla="*/ 0 w 52"/>
                      <a:gd name="T43" fmla="*/ 0 h 78"/>
                      <a:gd name="T44" fmla="*/ 0 w 52"/>
                      <a:gd name="T45" fmla="*/ 0 h 78"/>
                      <a:gd name="T46" fmla="*/ 0 w 52"/>
                      <a:gd name="T47" fmla="*/ 0 h 78"/>
                      <a:gd name="T48" fmla="*/ 0 w 52"/>
                      <a:gd name="T49" fmla="*/ 0 h 78"/>
                      <a:gd name="T50" fmla="*/ 0 w 52"/>
                      <a:gd name="T51" fmla="*/ 0 h 78"/>
                      <a:gd name="T52" fmla="*/ 0 w 52"/>
                      <a:gd name="T53" fmla="*/ 0 h 78"/>
                      <a:gd name="T54" fmla="*/ 0 w 52"/>
                      <a:gd name="T55" fmla="*/ 0 h 78"/>
                      <a:gd name="T56" fmla="*/ 0 w 52"/>
                      <a:gd name="T57" fmla="*/ 0 h 78"/>
                      <a:gd name="T58" fmla="*/ 0 w 52"/>
                      <a:gd name="T59" fmla="*/ 0 h 78"/>
                      <a:gd name="T60" fmla="*/ 0 w 52"/>
                      <a:gd name="T61" fmla="*/ 0 h 78"/>
                      <a:gd name="T62" fmla="*/ 0 w 52"/>
                      <a:gd name="T63" fmla="*/ 0 h 78"/>
                      <a:gd name="T64" fmla="*/ 0 w 52"/>
                      <a:gd name="T65" fmla="*/ 0 h 78"/>
                      <a:gd name="T66" fmla="*/ 0 w 52"/>
                      <a:gd name="T67" fmla="*/ 0 h 78"/>
                      <a:gd name="T68" fmla="*/ 0 w 52"/>
                      <a:gd name="T69" fmla="*/ 0 h 78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52"/>
                      <a:gd name="T106" fmla="*/ 0 h 78"/>
                      <a:gd name="T107" fmla="*/ 52 w 52"/>
                      <a:gd name="T108" fmla="*/ 78 h 78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52" h="78">
                        <a:moveTo>
                          <a:pt x="14" y="0"/>
                        </a:moveTo>
                        <a:lnTo>
                          <a:pt x="20" y="0"/>
                        </a:lnTo>
                        <a:lnTo>
                          <a:pt x="25" y="2"/>
                        </a:lnTo>
                        <a:lnTo>
                          <a:pt x="30" y="6"/>
                        </a:lnTo>
                        <a:lnTo>
                          <a:pt x="36" y="9"/>
                        </a:lnTo>
                        <a:lnTo>
                          <a:pt x="40" y="13"/>
                        </a:lnTo>
                        <a:lnTo>
                          <a:pt x="45" y="17"/>
                        </a:lnTo>
                        <a:lnTo>
                          <a:pt x="47" y="21"/>
                        </a:lnTo>
                        <a:lnTo>
                          <a:pt x="48" y="24"/>
                        </a:lnTo>
                        <a:lnTo>
                          <a:pt x="51" y="34"/>
                        </a:lnTo>
                        <a:lnTo>
                          <a:pt x="52" y="41"/>
                        </a:lnTo>
                        <a:lnTo>
                          <a:pt x="51" y="46"/>
                        </a:lnTo>
                        <a:lnTo>
                          <a:pt x="49" y="50"/>
                        </a:lnTo>
                        <a:lnTo>
                          <a:pt x="47" y="54"/>
                        </a:lnTo>
                        <a:lnTo>
                          <a:pt x="44" y="60"/>
                        </a:lnTo>
                        <a:lnTo>
                          <a:pt x="41" y="65"/>
                        </a:lnTo>
                        <a:lnTo>
                          <a:pt x="41" y="73"/>
                        </a:lnTo>
                        <a:lnTo>
                          <a:pt x="29" y="75"/>
                        </a:lnTo>
                        <a:lnTo>
                          <a:pt x="16" y="78"/>
                        </a:lnTo>
                        <a:lnTo>
                          <a:pt x="11" y="78"/>
                        </a:lnTo>
                        <a:lnTo>
                          <a:pt x="5" y="78"/>
                        </a:lnTo>
                        <a:lnTo>
                          <a:pt x="4" y="78"/>
                        </a:lnTo>
                        <a:lnTo>
                          <a:pt x="2" y="77"/>
                        </a:lnTo>
                        <a:lnTo>
                          <a:pt x="2" y="75"/>
                        </a:lnTo>
                        <a:lnTo>
                          <a:pt x="1" y="73"/>
                        </a:lnTo>
                        <a:lnTo>
                          <a:pt x="0" y="69"/>
                        </a:lnTo>
                        <a:lnTo>
                          <a:pt x="1" y="64"/>
                        </a:lnTo>
                        <a:lnTo>
                          <a:pt x="3" y="60"/>
                        </a:lnTo>
                        <a:lnTo>
                          <a:pt x="7" y="56"/>
                        </a:lnTo>
                        <a:lnTo>
                          <a:pt x="17" y="47"/>
                        </a:lnTo>
                        <a:lnTo>
                          <a:pt x="28" y="42"/>
                        </a:lnTo>
                        <a:lnTo>
                          <a:pt x="24" y="32"/>
                        </a:lnTo>
                        <a:lnTo>
                          <a:pt x="21" y="21"/>
                        </a:lnTo>
                        <a:lnTo>
                          <a:pt x="18" y="10"/>
                        </a:lnTo>
                        <a:lnTo>
                          <a:pt x="14" y="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06" name="Freeform 365">
                    <a:extLst>
                      <a:ext uri="{FF2B5EF4-FFF2-40B4-BE49-F238E27FC236}">
                        <a16:creationId xmlns:a16="http://schemas.microsoft.com/office/drawing/2014/main" xmlns="" id="{1685CE7D-AFF4-480B-9341-FC37F645839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12" y="2666"/>
                    <a:ext cx="9" cy="10"/>
                  </a:xfrm>
                  <a:custGeom>
                    <a:avLst/>
                    <a:gdLst>
                      <a:gd name="T0" fmla="*/ 0 w 33"/>
                      <a:gd name="T1" fmla="*/ 0 h 30"/>
                      <a:gd name="T2" fmla="*/ 0 w 33"/>
                      <a:gd name="T3" fmla="*/ 0 h 30"/>
                      <a:gd name="T4" fmla="*/ 0 w 33"/>
                      <a:gd name="T5" fmla="*/ 0 h 30"/>
                      <a:gd name="T6" fmla="*/ 0 w 33"/>
                      <a:gd name="T7" fmla="*/ 0 h 30"/>
                      <a:gd name="T8" fmla="*/ 0 w 33"/>
                      <a:gd name="T9" fmla="*/ 0 h 30"/>
                      <a:gd name="T10" fmla="*/ 0 w 33"/>
                      <a:gd name="T11" fmla="*/ 0 h 30"/>
                      <a:gd name="T12" fmla="*/ 0 w 33"/>
                      <a:gd name="T13" fmla="*/ 0 h 30"/>
                      <a:gd name="T14" fmla="*/ 0 w 33"/>
                      <a:gd name="T15" fmla="*/ 0 h 30"/>
                      <a:gd name="T16" fmla="*/ 0 w 33"/>
                      <a:gd name="T17" fmla="*/ 0 h 30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33"/>
                      <a:gd name="T28" fmla="*/ 0 h 30"/>
                      <a:gd name="T29" fmla="*/ 33 w 33"/>
                      <a:gd name="T30" fmla="*/ 30 h 30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33" h="30">
                        <a:moveTo>
                          <a:pt x="13" y="6"/>
                        </a:moveTo>
                        <a:lnTo>
                          <a:pt x="0" y="24"/>
                        </a:lnTo>
                        <a:lnTo>
                          <a:pt x="7" y="25"/>
                        </a:lnTo>
                        <a:lnTo>
                          <a:pt x="15" y="27"/>
                        </a:lnTo>
                        <a:lnTo>
                          <a:pt x="23" y="29"/>
                        </a:lnTo>
                        <a:lnTo>
                          <a:pt x="33" y="30"/>
                        </a:lnTo>
                        <a:lnTo>
                          <a:pt x="33" y="0"/>
                        </a:lnTo>
                        <a:lnTo>
                          <a:pt x="20" y="0"/>
                        </a:lnTo>
                        <a:lnTo>
                          <a:pt x="13" y="6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319" name="Freeform 366">
                  <a:extLst>
                    <a:ext uri="{FF2B5EF4-FFF2-40B4-BE49-F238E27FC236}">
                      <a16:creationId xmlns:a16="http://schemas.microsoft.com/office/drawing/2014/main" xmlns="" id="{32F4161C-8D4F-49E0-9D15-F8067F8DF67A}"/>
                    </a:ext>
                  </a:extLst>
                </p:cNvPr>
                <p:cNvSpPr>
                  <a:spLocks/>
                </p:cNvSpPr>
                <p:nvPr>
                  <p:custDataLst>
                    <p:tags r:id="rId266"/>
                  </p:custDataLst>
                </p:nvPr>
              </p:nvSpPr>
              <p:spPr bwMode="auto">
                <a:xfrm>
                  <a:off x="5356225" y="4340225"/>
                  <a:ext cx="19050" cy="58738"/>
                </a:xfrm>
                <a:custGeom>
                  <a:avLst/>
                  <a:gdLst>
                    <a:gd name="T0" fmla="*/ 2147483646 w 47"/>
                    <a:gd name="T1" fmla="*/ 0 h 28"/>
                    <a:gd name="T2" fmla="*/ 2147483646 w 47"/>
                    <a:gd name="T3" fmla="*/ 0 h 28"/>
                    <a:gd name="T4" fmla="*/ 2147483646 w 47"/>
                    <a:gd name="T5" fmla="*/ 2147483646 h 28"/>
                    <a:gd name="T6" fmla="*/ 2147483646 w 47"/>
                    <a:gd name="T7" fmla="*/ 2147483646 h 28"/>
                    <a:gd name="T8" fmla="*/ 2147483646 w 47"/>
                    <a:gd name="T9" fmla="*/ 2147483646 h 28"/>
                    <a:gd name="T10" fmla="*/ 2147483646 w 47"/>
                    <a:gd name="T11" fmla="*/ 2147483646 h 28"/>
                    <a:gd name="T12" fmla="*/ 2147483646 w 47"/>
                    <a:gd name="T13" fmla="*/ 2147483646 h 28"/>
                    <a:gd name="T14" fmla="*/ 2147483646 w 47"/>
                    <a:gd name="T15" fmla="*/ 2147483646 h 28"/>
                    <a:gd name="T16" fmla="*/ 2147483646 w 47"/>
                    <a:gd name="T17" fmla="*/ 2147483646 h 28"/>
                    <a:gd name="T18" fmla="*/ 2147483646 w 47"/>
                    <a:gd name="T19" fmla="*/ 2147483646 h 28"/>
                    <a:gd name="T20" fmla="*/ 2147483646 w 47"/>
                    <a:gd name="T21" fmla="*/ 2147483646 h 28"/>
                    <a:gd name="T22" fmla="*/ 2147483646 w 47"/>
                    <a:gd name="T23" fmla="*/ 2147483646 h 28"/>
                    <a:gd name="T24" fmla="*/ 2147483646 w 47"/>
                    <a:gd name="T25" fmla="*/ 2147483646 h 28"/>
                    <a:gd name="T26" fmla="*/ 2147483646 w 47"/>
                    <a:gd name="T27" fmla="*/ 2147483646 h 28"/>
                    <a:gd name="T28" fmla="*/ 0 w 47"/>
                    <a:gd name="T29" fmla="*/ 2147483646 h 28"/>
                    <a:gd name="T30" fmla="*/ 2147483646 w 47"/>
                    <a:gd name="T31" fmla="*/ 2147483646 h 28"/>
                    <a:gd name="T32" fmla="*/ 2147483646 w 47"/>
                    <a:gd name="T33" fmla="*/ 2147483646 h 28"/>
                    <a:gd name="T34" fmla="*/ 2147483646 w 47"/>
                    <a:gd name="T35" fmla="*/ 2147483646 h 28"/>
                    <a:gd name="T36" fmla="*/ 2147483646 w 47"/>
                    <a:gd name="T37" fmla="*/ 2147483646 h 28"/>
                    <a:gd name="T38" fmla="*/ 2147483646 w 47"/>
                    <a:gd name="T39" fmla="*/ 2147483646 h 28"/>
                    <a:gd name="T40" fmla="*/ 2147483646 w 47"/>
                    <a:gd name="T41" fmla="*/ 2147483646 h 28"/>
                    <a:gd name="T42" fmla="*/ 2147483646 w 47"/>
                    <a:gd name="T43" fmla="*/ 2147483646 h 28"/>
                    <a:gd name="T44" fmla="*/ 2147483646 w 47"/>
                    <a:gd name="T45" fmla="*/ 0 h 28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47"/>
                    <a:gd name="T70" fmla="*/ 0 h 28"/>
                    <a:gd name="T71" fmla="*/ 47 w 47"/>
                    <a:gd name="T72" fmla="*/ 28 h 28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47" h="28">
                      <a:moveTo>
                        <a:pt x="13" y="0"/>
                      </a:moveTo>
                      <a:lnTo>
                        <a:pt x="25" y="0"/>
                      </a:lnTo>
                      <a:lnTo>
                        <a:pt x="31" y="2"/>
                      </a:lnTo>
                      <a:lnTo>
                        <a:pt x="33" y="4"/>
                      </a:lnTo>
                      <a:lnTo>
                        <a:pt x="33" y="6"/>
                      </a:lnTo>
                      <a:lnTo>
                        <a:pt x="32" y="8"/>
                      </a:lnTo>
                      <a:lnTo>
                        <a:pt x="33" y="10"/>
                      </a:lnTo>
                      <a:lnTo>
                        <a:pt x="37" y="12"/>
                      </a:lnTo>
                      <a:lnTo>
                        <a:pt x="47" y="12"/>
                      </a:lnTo>
                      <a:lnTo>
                        <a:pt x="42" y="19"/>
                      </a:lnTo>
                      <a:lnTo>
                        <a:pt x="37" y="25"/>
                      </a:lnTo>
                      <a:lnTo>
                        <a:pt x="33" y="27"/>
                      </a:lnTo>
                      <a:lnTo>
                        <a:pt x="28" y="28"/>
                      </a:lnTo>
                      <a:lnTo>
                        <a:pt x="16" y="27"/>
                      </a:lnTo>
                      <a:lnTo>
                        <a:pt x="0" y="25"/>
                      </a:lnTo>
                      <a:lnTo>
                        <a:pt x="1" y="19"/>
                      </a:lnTo>
                      <a:lnTo>
                        <a:pt x="2" y="15"/>
                      </a:lnTo>
                      <a:lnTo>
                        <a:pt x="4" y="13"/>
                      </a:lnTo>
                      <a:lnTo>
                        <a:pt x="6" y="12"/>
                      </a:lnTo>
                      <a:lnTo>
                        <a:pt x="9" y="11"/>
                      </a:lnTo>
                      <a:lnTo>
                        <a:pt x="11" y="9"/>
                      </a:lnTo>
                      <a:lnTo>
                        <a:pt x="13" y="5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20" name="Freeform 367">
                  <a:extLst>
                    <a:ext uri="{FF2B5EF4-FFF2-40B4-BE49-F238E27FC236}">
                      <a16:creationId xmlns:a16="http://schemas.microsoft.com/office/drawing/2014/main" xmlns="" id="{E8DAB9D5-A31B-403B-AB5A-A48783981563}"/>
                    </a:ext>
                  </a:extLst>
                </p:cNvPr>
                <p:cNvSpPr>
                  <a:spLocks/>
                </p:cNvSpPr>
                <p:nvPr>
                  <p:custDataLst>
                    <p:tags r:id="rId267"/>
                  </p:custDataLst>
                </p:nvPr>
              </p:nvSpPr>
              <p:spPr bwMode="auto">
                <a:xfrm>
                  <a:off x="5327650" y="4367213"/>
                  <a:ext cx="23813" cy="57150"/>
                </a:xfrm>
                <a:custGeom>
                  <a:avLst/>
                  <a:gdLst>
                    <a:gd name="T0" fmla="*/ 2147483646 w 53"/>
                    <a:gd name="T1" fmla="*/ 0 h 33"/>
                    <a:gd name="T2" fmla="*/ 2147483646 w 53"/>
                    <a:gd name="T3" fmla="*/ 2147483646 h 33"/>
                    <a:gd name="T4" fmla="*/ 2147483646 w 53"/>
                    <a:gd name="T5" fmla="*/ 2147483646 h 33"/>
                    <a:gd name="T6" fmla="*/ 2147483646 w 53"/>
                    <a:gd name="T7" fmla="*/ 2147483646 h 33"/>
                    <a:gd name="T8" fmla="*/ 2147483646 w 53"/>
                    <a:gd name="T9" fmla="*/ 2147483646 h 33"/>
                    <a:gd name="T10" fmla="*/ 2147483646 w 53"/>
                    <a:gd name="T11" fmla="*/ 2147483646 h 33"/>
                    <a:gd name="T12" fmla="*/ 2147483646 w 53"/>
                    <a:gd name="T13" fmla="*/ 2147483646 h 33"/>
                    <a:gd name="T14" fmla="*/ 2147483646 w 53"/>
                    <a:gd name="T15" fmla="*/ 2147483646 h 33"/>
                    <a:gd name="T16" fmla="*/ 2147483646 w 53"/>
                    <a:gd name="T17" fmla="*/ 2147483646 h 33"/>
                    <a:gd name="T18" fmla="*/ 2147483646 w 53"/>
                    <a:gd name="T19" fmla="*/ 2147483646 h 33"/>
                    <a:gd name="T20" fmla="*/ 2147483646 w 53"/>
                    <a:gd name="T21" fmla="*/ 2147483646 h 33"/>
                    <a:gd name="T22" fmla="*/ 2147483646 w 53"/>
                    <a:gd name="T23" fmla="*/ 2147483646 h 33"/>
                    <a:gd name="T24" fmla="*/ 2147483646 w 53"/>
                    <a:gd name="T25" fmla="*/ 2147483646 h 33"/>
                    <a:gd name="T26" fmla="*/ 2147483646 w 53"/>
                    <a:gd name="T27" fmla="*/ 2147483646 h 33"/>
                    <a:gd name="T28" fmla="*/ 2147483646 w 53"/>
                    <a:gd name="T29" fmla="*/ 2147483646 h 33"/>
                    <a:gd name="T30" fmla="*/ 2147483646 w 53"/>
                    <a:gd name="T31" fmla="*/ 2147483646 h 33"/>
                    <a:gd name="T32" fmla="*/ 0 w 53"/>
                    <a:gd name="T33" fmla="*/ 2147483646 h 33"/>
                    <a:gd name="T34" fmla="*/ 0 w 53"/>
                    <a:gd name="T35" fmla="*/ 2147483646 h 33"/>
                    <a:gd name="T36" fmla="*/ 2147483646 w 53"/>
                    <a:gd name="T37" fmla="*/ 2147483646 h 33"/>
                    <a:gd name="T38" fmla="*/ 2147483646 w 53"/>
                    <a:gd name="T39" fmla="*/ 2147483646 h 33"/>
                    <a:gd name="T40" fmla="*/ 2147483646 w 53"/>
                    <a:gd name="T41" fmla="*/ 2147483646 h 33"/>
                    <a:gd name="T42" fmla="*/ 2147483646 w 53"/>
                    <a:gd name="T43" fmla="*/ 2147483646 h 33"/>
                    <a:gd name="T44" fmla="*/ 2147483646 w 53"/>
                    <a:gd name="T45" fmla="*/ 2147483646 h 33"/>
                    <a:gd name="T46" fmla="*/ 2147483646 w 53"/>
                    <a:gd name="T47" fmla="*/ 2147483646 h 33"/>
                    <a:gd name="T48" fmla="*/ 2147483646 w 53"/>
                    <a:gd name="T49" fmla="*/ 0 h 33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53"/>
                    <a:gd name="T76" fmla="*/ 0 h 33"/>
                    <a:gd name="T77" fmla="*/ 53 w 53"/>
                    <a:gd name="T78" fmla="*/ 33 h 33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53" h="33">
                      <a:moveTo>
                        <a:pt x="13" y="0"/>
                      </a:moveTo>
                      <a:lnTo>
                        <a:pt x="26" y="1"/>
                      </a:lnTo>
                      <a:lnTo>
                        <a:pt x="34" y="1"/>
                      </a:lnTo>
                      <a:lnTo>
                        <a:pt x="37" y="3"/>
                      </a:lnTo>
                      <a:lnTo>
                        <a:pt x="37" y="4"/>
                      </a:lnTo>
                      <a:lnTo>
                        <a:pt x="37" y="6"/>
                      </a:lnTo>
                      <a:lnTo>
                        <a:pt x="39" y="8"/>
                      </a:lnTo>
                      <a:lnTo>
                        <a:pt x="44" y="10"/>
                      </a:lnTo>
                      <a:lnTo>
                        <a:pt x="53" y="12"/>
                      </a:lnTo>
                      <a:lnTo>
                        <a:pt x="48" y="22"/>
                      </a:lnTo>
                      <a:lnTo>
                        <a:pt x="44" y="28"/>
                      </a:lnTo>
                      <a:lnTo>
                        <a:pt x="42" y="31"/>
                      </a:lnTo>
                      <a:lnTo>
                        <a:pt x="38" y="32"/>
                      </a:lnTo>
                      <a:lnTo>
                        <a:pt x="36" y="33"/>
                      </a:lnTo>
                      <a:lnTo>
                        <a:pt x="34" y="33"/>
                      </a:lnTo>
                      <a:lnTo>
                        <a:pt x="20" y="30"/>
                      </a:lnTo>
                      <a:lnTo>
                        <a:pt x="0" y="24"/>
                      </a:lnTo>
                      <a:lnTo>
                        <a:pt x="0" y="19"/>
                      </a:lnTo>
                      <a:lnTo>
                        <a:pt x="2" y="16"/>
                      </a:lnTo>
                      <a:lnTo>
                        <a:pt x="4" y="14"/>
                      </a:lnTo>
                      <a:lnTo>
                        <a:pt x="7" y="12"/>
                      </a:lnTo>
                      <a:lnTo>
                        <a:pt x="9" y="11"/>
                      </a:lnTo>
                      <a:lnTo>
                        <a:pt x="11" y="9"/>
                      </a:lnTo>
                      <a:lnTo>
                        <a:pt x="12" y="6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321" name="Group 368">
                  <a:extLst>
                    <a:ext uri="{FF2B5EF4-FFF2-40B4-BE49-F238E27FC236}">
                      <a16:creationId xmlns:a16="http://schemas.microsoft.com/office/drawing/2014/main" xmlns="" id="{8E8E4723-C8A3-4BDF-A781-2AE0CD192CD8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268"/>
                  </p:custDataLst>
                </p:nvPr>
              </p:nvGrpSpPr>
              <p:grpSpPr bwMode="auto">
                <a:xfrm>
                  <a:off x="5168900" y="3859213"/>
                  <a:ext cx="168275" cy="103187"/>
                  <a:chOff x="3481" y="2773"/>
                  <a:chExt cx="125" cy="65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493" name="Freeform 369">
                    <a:extLst>
                      <a:ext uri="{FF2B5EF4-FFF2-40B4-BE49-F238E27FC236}">
                        <a16:creationId xmlns:a16="http://schemas.microsoft.com/office/drawing/2014/main" xmlns="" id="{6FB245CF-5398-4592-A16A-B789363E9B0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83" y="2798"/>
                    <a:ext cx="5" cy="6"/>
                  </a:xfrm>
                  <a:custGeom>
                    <a:avLst/>
                    <a:gdLst>
                      <a:gd name="T0" fmla="*/ 0 w 13"/>
                      <a:gd name="T1" fmla="*/ 0 h 18"/>
                      <a:gd name="T2" fmla="*/ 0 w 13"/>
                      <a:gd name="T3" fmla="*/ 0 h 18"/>
                      <a:gd name="T4" fmla="*/ 0 w 13"/>
                      <a:gd name="T5" fmla="*/ 0 h 18"/>
                      <a:gd name="T6" fmla="*/ 0 w 13"/>
                      <a:gd name="T7" fmla="*/ 0 h 18"/>
                      <a:gd name="T8" fmla="*/ 0 w 13"/>
                      <a:gd name="T9" fmla="*/ 0 h 18"/>
                      <a:gd name="T10" fmla="*/ 0 w 13"/>
                      <a:gd name="T11" fmla="*/ 0 h 18"/>
                      <a:gd name="T12" fmla="*/ 0 w 13"/>
                      <a:gd name="T13" fmla="*/ 0 h 18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3"/>
                      <a:gd name="T22" fmla="*/ 0 h 18"/>
                      <a:gd name="T23" fmla="*/ 13 w 13"/>
                      <a:gd name="T24" fmla="*/ 18 h 18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3" h="18">
                        <a:moveTo>
                          <a:pt x="13" y="0"/>
                        </a:moveTo>
                        <a:lnTo>
                          <a:pt x="10" y="9"/>
                        </a:lnTo>
                        <a:lnTo>
                          <a:pt x="6" y="18"/>
                        </a:lnTo>
                        <a:lnTo>
                          <a:pt x="5" y="17"/>
                        </a:lnTo>
                        <a:lnTo>
                          <a:pt x="3" y="14"/>
                        </a:lnTo>
                        <a:lnTo>
                          <a:pt x="1" y="10"/>
                        </a:lnTo>
                        <a:lnTo>
                          <a:pt x="0" y="6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94" name="Line 370">
                    <a:extLst>
                      <a:ext uri="{FF2B5EF4-FFF2-40B4-BE49-F238E27FC236}">
                        <a16:creationId xmlns:a16="http://schemas.microsoft.com/office/drawing/2014/main" xmlns="" id="{BDEFF8E7-BDBA-4842-83B7-B19F1B8FB3E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583" y="2800"/>
                    <a:ext cx="2" cy="1"/>
                  </a:xfrm>
                  <a:prstGeom prst="line">
                    <a:avLst/>
                  </a:prstGeom>
                  <a:grpFill/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95" name="Freeform 371">
                    <a:extLst>
                      <a:ext uri="{FF2B5EF4-FFF2-40B4-BE49-F238E27FC236}">
                        <a16:creationId xmlns:a16="http://schemas.microsoft.com/office/drawing/2014/main" xmlns="" id="{C2FACDB2-9701-40DD-962E-F81CAB7F813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54" y="2819"/>
                    <a:ext cx="5" cy="6"/>
                  </a:xfrm>
                  <a:custGeom>
                    <a:avLst/>
                    <a:gdLst>
                      <a:gd name="T0" fmla="*/ 0 w 14"/>
                      <a:gd name="T1" fmla="*/ 0 h 19"/>
                      <a:gd name="T2" fmla="*/ 0 w 14"/>
                      <a:gd name="T3" fmla="*/ 0 h 19"/>
                      <a:gd name="T4" fmla="*/ 0 w 14"/>
                      <a:gd name="T5" fmla="*/ 0 h 19"/>
                      <a:gd name="T6" fmla="*/ 0 60000 65536"/>
                      <a:gd name="T7" fmla="*/ 0 60000 65536"/>
                      <a:gd name="T8" fmla="*/ 0 60000 65536"/>
                      <a:gd name="T9" fmla="*/ 0 w 14"/>
                      <a:gd name="T10" fmla="*/ 0 h 19"/>
                      <a:gd name="T11" fmla="*/ 14 w 14"/>
                      <a:gd name="T12" fmla="*/ 19 h 1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4" h="19">
                        <a:moveTo>
                          <a:pt x="14" y="19"/>
                        </a:moveTo>
                        <a:lnTo>
                          <a:pt x="0" y="0"/>
                        </a:lnTo>
                        <a:lnTo>
                          <a:pt x="14" y="19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96" name="Freeform 372">
                    <a:extLst>
                      <a:ext uri="{FF2B5EF4-FFF2-40B4-BE49-F238E27FC236}">
                        <a16:creationId xmlns:a16="http://schemas.microsoft.com/office/drawing/2014/main" xmlns="" id="{385E1F93-7D17-467F-B669-51F78301335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28" y="2832"/>
                    <a:ext cx="2" cy="6"/>
                  </a:xfrm>
                  <a:custGeom>
                    <a:avLst/>
                    <a:gdLst>
                      <a:gd name="T0" fmla="*/ 0 w 7"/>
                      <a:gd name="T1" fmla="*/ 0 h 18"/>
                      <a:gd name="T2" fmla="*/ 0 w 7"/>
                      <a:gd name="T3" fmla="*/ 0 h 18"/>
                      <a:gd name="T4" fmla="*/ 0 w 7"/>
                      <a:gd name="T5" fmla="*/ 0 h 18"/>
                      <a:gd name="T6" fmla="*/ 0 w 7"/>
                      <a:gd name="T7" fmla="*/ 0 h 18"/>
                      <a:gd name="T8" fmla="*/ 0 w 7"/>
                      <a:gd name="T9" fmla="*/ 0 h 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8"/>
                      <a:gd name="T17" fmla="*/ 7 w 7"/>
                      <a:gd name="T18" fmla="*/ 18 h 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8">
                        <a:moveTo>
                          <a:pt x="0" y="6"/>
                        </a:moveTo>
                        <a:lnTo>
                          <a:pt x="7" y="18"/>
                        </a:lnTo>
                        <a:lnTo>
                          <a:pt x="0" y="18"/>
                        </a:lnTo>
                        <a:lnTo>
                          <a:pt x="0" y="0"/>
                        </a:lnTo>
                        <a:lnTo>
                          <a:pt x="7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97" name="Freeform 373">
                    <a:extLst>
                      <a:ext uri="{FF2B5EF4-FFF2-40B4-BE49-F238E27FC236}">
                        <a16:creationId xmlns:a16="http://schemas.microsoft.com/office/drawing/2014/main" xmlns="" id="{08E9CD78-2753-41AF-9989-B6A0D66F654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99" y="2773"/>
                    <a:ext cx="7" cy="4"/>
                  </a:xfrm>
                  <a:custGeom>
                    <a:avLst/>
                    <a:gdLst>
                      <a:gd name="T0" fmla="*/ 0 w 20"/>
                      <a:gd name="T1" fmla="*/ 0 h 12"/>
                      <a:gd name="T2" fmla="*/ 0 w 20"/>
                      <a:gd name="T3" fmla="*/ 0 h 12"/>
                      <a:gd name="T4" fmla="*/ 0 w 20"/>
                      <a:gd name="T5" fmla="*/ 0 h 12"/>
                      <a:gd name="T6" fmla="*/ 0 w 20"/>
                      <a:gd name="T7" fmla="*/ 0 h 12"/>
                      <a:gd name="T8" fmla="*/ 0 w 20"/>
                      <a:gd name="T9" fmla="*/ 0 h 12"/>
                      <a:gd name="T10" fmla="*/ 0 w 20"/>
                      <a:gd name="T11" fmla="*/ 0 h 12"/>
                      <a:gd name="T12" fmla="*/ 0 w 20"/>
                      <a:gd name="T13" fmla="*/ 0 h 1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20"/>
                      <a:gd name="T22" fmla="*/ 0 h 12"/>
                      <a:gd name="T23" fmla="*/ 20 w 20"/>
                      <a:gd name="T24" fmla="*/ 12 h 1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20" h="12">
                        <a:moveTo>
                          <a:pt x="20" y="12"/>
                        </a:moveTo>
                        <a:lnTo>
                          <a:pt x="10" y="9"/>
                        </a:lnTo>
                        <a:lnTo>
                          <a:pt x="0" y="6"/>
                        </a:lnTo>
                        <a:lnTo>
                          <a:pt x="1" y="5"/>
                        </a:lnTo>
                        <a:lnTo>
                          <a:pt x="3" y="3"/>
                        </a:lnTo>
                        <a:lnTo>
                          <a:pt x="8" y="1"/>
                        </a:lnTo>
                        <a:lnTo>
                          <a:pt x="13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98" name="Line 374">
                    <a:extLst>
                      <a:ext uri="{FF2B5EF4-FFF2-40B4-BE49-F238E27FC236}">
                        <a16:creationId xmlns:a16="http://schemas.microsoft.com/office/drawing/2014/main" xmlns="" id="{6868518A-F7D8-47A7-9907-2A29FE5AF8A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03" y="2773"/>
                    <a:ext cx="1" cy="2"/>
                  </a:xfrm>
                  <a:prstGeom prst="line">
                    <a:avLst/>
                  </a:prstGeom>
                  <a:grpFill/>
                  <a:ln w="9525">
                    <a:solidFill>
                      <a:srgbClr val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99" name="Freeform 375">
                    <a:extLst>
                      <a:ext uri="{FF2B5EF4-FFF2-40B4-BE49-F238E27FC236}">
                        <a16:creationId xmlns:a16="http://schemas.microsoft.com/office/drawing/2014/main" xmlns="" id="{71E1A4F7-A446-4751-A257-4B45A9B11A3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81" y="2828"/>
                    <a:ext cx="7" cy="6"/>
                  </a:xfrm>
                  <a:custGeom>
                    <a:avLst/>
                    <a:gdLst>
                      <a:gd name="T0" fmla="*/ 0 w 20"/>
                      <a:gd name="T1" fmla="*/ 0 h 18"/>
                      <a:gd name="T2" fmla="*/ 0 w 20"/>
                      <a:gd name="T3" fmla="*/ 0 h 18"/>
                      <a:gd name="T4" fmla="*/ 0 w 20"/>
                      <a:gd name="T5" fmla="*/ 0 h 18"/>
                      <a:gd name="T6" fmla="*/ 0 60000 65536"/>
                      <a:gd name="T7" fmla="*/ 0 60000 65536"/>
                      <a:gd name="T8" fmla="*/ 0 60000 65536"/>
                      <a:gd name="T9" fmla="*/ 0 w 20"/>
                      <a:gd name="T10" fmla="*/ 0 h 18"/>
                      <a:gd name="T11" fmla="*/ 20 w 20"/>
                      <a:gd name="T12" fmla="*/ 18 h 18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0" h="18">
                        <a:moveTo>
                          <a:pt x="0" y="0"/>
                        </a:moveTo>
                        <a:lnTo>
                          <a:pt x="0" y="18"/>
                        </a:lnTo>
                        <a:lnTo>
                          <a:pt x="20" y="18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00" name="Freeform 376">
                    <a:extLst>
                      <a:ext uri="{FF2B5EF4-FFF2-40B4-BE49-F238E27FC236}">
                        <a16:creationId xmlns:a16="http://schemas.microsoft.com/office/drawing/2014/main" xmlns="" id="{CABADBA4-3BA2-41AF-83DE-943BD65DC6F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85" y="2830"/>
                    <a:ext cx="3" cy="4"/>
                  </a:xfrm>
                  <a:custGeom>
                    <a:avLst/>
                    <a:gdLst>
                      <a:gd name="T0" fmla="*/ 0 w 7"/>
                      <a:gd name="T1" fmla="*/ 0 h 12"/>
                      <a:gd name="T2" fmla="*/ 0 w 7"/>
                      <a:gd name="T3" fmla="*/ 0 h 12"/>
                      <a:gd name="T4" fmla="*/ 0 w 7"/>
                      <a:gd name="T5" fmla="*/ 0 h 12"/>
                      <a:gd name="T6" fmla="*/ 0 60000 65536"/>
                      <a:gd name="T7" fmla="*/ 0 60000 65536"/>
                      <a:gd name="T8" fmla="*/ 0 60000 65536"/>
                      <a:gd name="T9" fmla="*/ 0 w 7"/>
                      <a:gd name="T10" fmla="*/ 0 h 12"/>
                      <a:gd name="T11" fmla="*/ 7 w 7"/>
                      <a:gd name="T12" fmla="*/ 12 h 1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7" h="12">
                        <a:moveTo>
                          <a:pt x="7" y="12"/>
                        </a:moveTo>
                        <a:lnTo>
                          <a:pt x="4" y="6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01" name="Freeform 377">
                    <a:extLst>
                      <a:ext uri="{FF2B5EF4-FFF2-40B4-BE49-F238E27FC236}">
                        <a16:creationId xmlns:a16="http://schemas.microsoft.com/office/drawing/2014/main" xmlns="" id="{6E7455BC-0B38-448A-98F9-A96BC9DCA28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81" y="2828"/>
                    <a:ext cx="7" cy="6"/>
                  </a:xfrm>
                  <a:custGeom>
                    <a:avLst/>
                    <a:gdLst>
                      <a:gd name="T0" fmla="*/ 0 w 20"/>
                      <a:gd name="T1" fmla="*/ 0 h 18"/>
                      <a:gd name="T2" fmla="*/ 0 w 20"/>
                      <a:gd name="T3" fmla="*/ 0 h 18"/>
                      <a:gd name="T4" fmla="*/ 0 w 20"/>
                      <a:gd name="T5" fmla="*/ 0 h 18"/>
                      <a:gd name="T6" fmla="*/ 0 w 20"/>
                      <a:gd name="T7" fmla="*/ 0 h 18"/>
                      <a:gd name="T8" fmla="*/ 0 w 20"/>
                      <a:gd name="T9" fmla="*/ 0 h 18"/>
                      <a:gd name="T10" fmla="*/ 0 w 20"/>
                      <a:gd name="T11" fmla="*/ 0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20"/>
                      <a:gd name="T19" fmla="*/ 0 h 18"/>
                      <a:gd name="T20" fmla="*/ 20 w 20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20" h="18">
                        <a:moveTo>
                          <a:pt x="0" y="0"/>
                        </a:moveTo>
                        <a:lnTo>
                          <a:pt x="0" y="18"/>
                        </a:lnTo>
                        <a:lnTo>
                          <a:pt x="20" y="18"/>
                        </a:lnTo>
                        <a:lnTo>
                          <a:pt x="17" y="12"/>
                        </a:lnTo>
                        <a:lnTo>
                          <a:pt x="13" y="6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02" name="Freeform 378">
                    <a:extLst>
                      <a:ext uri="{FF2B5EF4-FFF2-40B4-BE49-F238E27FC236}">
                        <a16:creationId xmlns:a16="http://schemas.microsoft.com/office/drawing/2014/main" xmlns="" id="{865EC9E3-6F57-42E6-87C5-627FB1A2C43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28" y="2832"/>
                    <a:ext cx="2" cy="6"/>
                  </a:xfrm>
                  <a:custGeom>
                    <a:avLst/>
                    <a:gdLst>
                      <a:gd name="T0" fmla="*/ 0 w 7"/>
                      <a:gd name="T1" fmla="*/ 0 h 18"/>
                      <a:gd name="T2" fmla="*/ 0 w 7"/>
                      <a:gd name="T3" fmla="*/ 0 h 18"/>
                      <a:gd name="T4" fmla="*/ 0 w 7"/>
                      <a:gd name="T5" fmla="*/ 0 h 18"/>
                      <a:gd name="T6" fmla="*/ 0 w 7"/>
                      <a:gd name="T7" fmla="*/ 0 h 18"/>
                      <a:gd name="T8" fmla="*/ 0 w 7"/>
                      <a:gd name="T9" fmla="*/ 0 h 18"/>
                      <a:gd name="T10" fmla="*/ 0 w 7"/>
                      <a:gd name="T11" fmla="*/ 0 h 1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18"/>
                      <a:gd name="T20" fmla="*/ 7 w 7"/>
                      <a:gd name="T21" fmla="*/ 18 h 1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18">
                        <a:moveTo>
                          <a:pt x="0" y="6"/>
                        </a:moveTo>
                        <a:lnTo>
                          <a:pt x="7" y="18"/>
                        </a:lnTo>
                        <a:lnTo>
                          <a:pt x="0" y="18"/>
                        </a:lnTo>
                        <a:lnTo>
                          <a:pt x="0" y="0"/>
                        </a:lnTo>
                        <a:lnTo>
                          <a:pt x="7" y="0"/>
                        </a:lnTo>
                        <a:lnTo>
                          <a:pt x="0" y="6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03" name="Freeform 379">
                    <a:extLst>
                      <a:ext uri="{FF2B5EF4-FFF2-40B4-BE49-F238E27FC236}">
                        <a16:creationId xmlns:a16="http://schemas.microsoft.com/office/drawing/2014/main" xmlns="" id="{ED65B6A9-DC2A-4BBC-932D-38B3866502F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83" y="2798"/>
                    <a:ext cx="5" cy="6"/>
                  </a:xfrm>
                  <a:custGeom>
                    <a:avLst/>
                    <a:gdLst>
                      <a:gd name="T0" fmla="*/ 0 w 13"/>
                      <a:gd name="T1" fmla="*/ 0 h 18"/>
                      <a:gd name="T2" fmla="*/ 0 w 13"/>
                      <a:gd name="T3" fmla="*/ 0 h 18"/>
                      <a:gd name="T4" fmla="*/ 0 w 13"/>
                      <a:gd name="T5" fmla="*/ 0 h 18"/>
                      <a:gd name="T6" fmla="*/ 0 w 13"/>
                      <a:gd name="T7" fmla="*/ 0 h 18"/>
                      <a:gd name="T8" fmla="*/ 0 w 13"/>
                      <a:gd name="T9" fmla="*/ 0 h 18"/>
                      <a:gd name="T10" fmla="*/ 0 w 13"/>
                      <a:gd name="T11" fmla="*/ 0 h 18"/>
                      <a:gd name="T12" fmla="*/ 0 w 13"/>
                      <a:gd name="T13" fmla="*/ 0 h 18"/>
                      <a:gd name="T14" fmla="*/ 0 w 13"/>
                      <a:gd name="T15" fmla="*/ 0 h 18"/>
                      <a:gd name="T16" fmla="*/ 0 w 13"/>
                      <a:gd name="T17" fmla="*/ 0 h 18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13"/>
                      <a:gd name="T28" fmla="*/ 0 h 18"/>
                      <a:gd name="T29" fmla="*/ 13 w 13"/>
                      <a:gd name="T30" fmla="*/ 18 h 18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13" h="18">
                        <a:moveTo>
                          <a:pt x="13" y="0"/>
                        </a:moveTo>
                        <a:lnTo>
                          <a:pt x="10" y="9"/>
                        </a:lnTo>
                        <a:lnTo>
                          <a:pt x="6" y="18"/>
                        </a:lnTo>
                        <a:lnTo>
                          <a:pt x="5" y="17"/>
                        </a:lnTo>
                        <a:lnTo>
                          <a:pt x="3" y="14"/>
                        </a:lnTo>
                        <a:lnTo>
                          <a:pt x="1" y="10"/>
                        </a:lnTo>
                        <a:lnTo>
                          <a:pt x="0" y="6"/>
                        </a:lnTo>
                        <a:lnTo>
                          <a:pt x="6" y="6"/>
                        </a:lnTo>
                        <a:lnTo>
                          <a:pt x="13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322" name="Freeform 380">
                  <a:extLst>
                    <a:ext uri="{FF2B5EF4-FFF2-40B4-BE49-F238E27FC236}">
                      <a16:creationId xmlns:a16="http://schemas.microsoft.com/office/drawing/2014/main" xmlns="" id="{46188404-0A81-45CF-B5A3-46B674CFDD2F}"/>
                    </a:ext>
                  </a:extLst>
                </p:cNvPr>
                <p:cNvSpPr>
                  <a:spLocks/>
                </p:cNvSpPr>
                <p:nvPr>
                  <p:custDataLst>
                    <p:tags r:id="rId269"/>
                  </p:custDataLst>
                </p:nvPr>
              </p:nvSpPr>
              <p:spPr bwMode="auto">
                <a:xfrm>
                  <a:off x="4297363" y="3851275"/>
                  <a:ext cx="319087" cy="379413"/>
                </a:xfrm>
                <a:custGeom>
                  <a:avLst/>
                  <a:gdLst>
                    <a:gd name="T0" fmla="*/ 2147483646 w 736"/>
                    <a:gd name="T1" fmla="*/ 2147483646 h 721"/>
                    <a:gd name="T2" fmla="*/ 2147483646 w 736"/>
                    <a:gd name="T3" fmla="*/ 2147483646 h 721"/>
                    <a:gd name="T4" fmla="*/ 2147483646 w 736"/>
                    <a:gd name="T5" fmla="*/ 2147483646 h 721"/>
                    <a:gd name="T6" fmla="*/ 2147483646 w 736"/>
                    <a:gd name="T7" fmla="*/ 2147483646 h 721"/>
                    <a:gd name="T8" fmla="*/ 2147483646 w 736"/>
                    <a:gd name="T9" fmla="*/ 2147483646 h 721"/>
                    <a:gd name="T10" fmla="*/ 2147483646 w 736"/>
                    <a:gd name="T11" fmla="*/ 2147483646 h 721"/>
                    <a:gd name="T12" fmla="*/ 2147483646 w 736"/>
                    <a:gd name="T13" fmla="*/ 2147483646 h 721"/>
                    <a:gd name="T14" fmla="*/ 2147483646 w 736"/>
                    <a:gd name="T15" fmla="*/ 2147483646 h 721"/>
                    <a:gd name="T16" fmla="*/ 2147483646 w 736"/>
                    <a:gd name="T17" fmla="*/ 2147483646 h 721"/>
                    <a:gd name="T18" fmla="*/ 2147483646 w 736"/>
                    <a:gd name="T19" fmla="*/ 2147483646 h 721"/>
                    <a:gd name="T20" fmla="*/ 2147483646 w 736"/>
                    <a:gd name="T21" fmla="*/ 2147483646 h 721"/>
                    <a:gd name="T22" fmla="*/ 2147483646 w 736"/>
                    <a:gd name="T23" fmla="*/ 2147483646 h 721"/>
                    <a:gd name="T24" fmla="*/ 2147483646 w 736"/>
                    <a:gd name="T25" fmla="*/ 2147483646 h 721"/>
                    <a:gd name="T26" fmla="*/ 2147483646 w 736"/>
                    <a:gd name="T27" fmla="*/ 2147483646 h 721"/>
                    <a:gd name="T28" fmla="*/ 2147483646 w 736"/>
                    <a:gd name="T29" fmla="*/ 2147483646 h 721"/>
                    <a:gd name="T30" fmla="*/ 2147483646 w 736"/>
                    <a:gd name="T31" fmla="*/ 2147483646 h 721"/>
                    <a:gd name="T32" fmla="*/ 2147483646 w 736"/>
                    <a:gd name="T33" fmla="*/ 2147483646 h 721"/>
                    <a:gd name="T34" fmla="*/ 2147483646 w 736"/>
                    <a:gd name="T35" fmla="*/ 2147483646 h 721"/>
                    <a:gd name="T36" fmla="*/ 2147483646 w 736"/>
                    <a:gd name="T37" fmla="*/ 2147483646 h 721"/>
                    <a:gd name="T38" fmla="*/ 2147483646 w 736"/>
                    <a:gd name="T39" fmla="*/ 2147483646 h 721"/>
                    <a:gd name="T40" fmla="*/ 2147483646 w 736"/>
                    <a:gd name="T41" fmla="*/ 2147483646 h 721"/>
                    <a:gd name="T42" fmla="*/ 2147483646 w 736"/>
                    <a:gd name="T43" fmla="*/ 2147483646 h 721"/>
                    <a:gd name="T44" fmla="*/ 2147483646 w 736"/>
                    <a:gd name="T45" fmla="*/ 2147483646 h 721"/>
                    <a:gd name="T46" fmla="*/ 2147483646 w 736"/>
                    <a:gd name="T47" fmla="*/ 2147483646 h 721"/>
                    <a:gd name="T48" fmla="*/ 2147483646 w 736"/>
                    <a:gd name="T49" fmla="*/ 2147483646 h 721"/>
                    <a:gd name="T50" fmla="*/ 2147483646 w 736"/>
                    <a:gd name="T51" fmla="*/ 2147483646 h 721"/>
                    <a:gd name="T52" fmla="*/ 2147483646 w 736"/>
                    <a:gd name="T53" fmla="*/ 2147483646 h 721"/>
                    <a:gd name="T54" fmla="*/ 2147483646 w 736"/>
                    <a:gd name="T55" fmla="*/ 2147483646 h 721"/>
                    <a:gd name="T56" fmla="*/ 2147483646 w 736"/>
                    <a:gd name="T57" fmla="*/ 2147483646 h 721"/>
                    <a:gd name="T58" fmla="*/ 2147483646 w 736"/>
                    <a:gd name="T59" fmla="*/ 2147483646 h 721"/>
                    <a:gd name="T60" fmla="*/ 2147483646 w 736"/>
                    <a:gd name="T61" fmla="*/ 2147483646 h 721"/>
                    <a:gd name="T62" fmla="*/ 2147483646 w 736"/>
                    <a:gd name="T63" fmla="*/ 2147483646 h 721"/>
                    <a:gd name="T64" fmla="*/ 2147483646 w 736"/>
                    <a:gd name="T65" fmla="*/ 2147483646 h 721"/>
                    <a:gd name="T66" fmla="*/ 2147483646 w 736"/>
                    <a:gd name="T67" fmla="*/ 0 h 721"/>
                    <a:gd name="T68" fmla="*/ 2147483646 w 736"/>
                    <a:gd name="T69" fmla="*/ 2147483646 h 721"/>
                    <a:gd name="T70" fmla="*/ 2147483646 w 736"/>
                    <a:gd name="T71" fmla="*/ 2147483646 h 721"/>
                    <a:gd name="T72" fmla="*/ 2147483646 w 736"/>
                    <a:gd name="T73" fmla="*/ 2147483646 h 721"/>
                    <a:gd name="T74" fmla="*/ 2147483646 w 736"/>
                    <a:gd name="T75" fmla="*/ 2147483646 h 721"/>
                    <a:gd name="T76" fmla="*/ 2147483646 w 736"/>
                    <a:gd name="T77" fmla="*/ 2147483646 h 721"/>
                    <a:gd name="T78" fmla="*/ 2147483646 w 736"/>
                    <a:gd name="T79" fmla="*/ 2147483646 h 721"/>
                    <a:gd name="T80" fmla="*/ 2147483646 w 736"/>
                    <a:gd name="T81" fmla="*/ 2147483646 h 721"/>
                    <a:gd name="T82" fmla="*/ 2147483646 w 736"/>
                    <a:gd name="T83" fmla="*/ 2147483646 h 721"/>
                    <a:gd name="T84" fmla="*/ 2147483646 w 736"/>
                    <a:gd name="T85" fmla="*/ 2147483646 h 721"/>
                    <a:gd name="T86" fmla="*/ 2147483646 w 736"/>
                    <a:gd name="T87" fmla="*/ 2147483646 h 721"/>
                    <a:gd name="T88" fmla="*/ 2147483646 w 736"/>
                    <a:gd name="T89" fmla="*/ 2147483646 h 721"/>
                    <a:gd name="T90" fmla="*/ 2147483646 w 736"/>
                    <a:gd name="T91" fmla="*/ 2147483646 h 721"/>
                    <a:gd name="T92" fmla="*/ 2147483646 w 736"/>
                    <a:gd name="T93" fmla="*/ 2147483646 h 721"/>
                    <a:gd name="T94" fmla="*/ 2147483646 w 736"/>
                    <a:gd name="T95" fmla="*/ 2147483646 h 721"/>
                    <a:gd name="T96" fmla="*/ 2147483646 w 736"/>
                    <a:gd name="T97" fmla="*/ 2147483646 h 721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736"/>
                    <a:gd name="T148" fmla="*/ 0 h 721"/>
                    <a:gd name="T149" fmla="*/ 736 w 736"/>
                    <a:gd name="T150" fmla="*/ 721 h 721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736" h="721">
                      <a:moveTo>
                        <a:pt x="0" y="691"/>
                      </a:moveTo>
                      <a:lnTo>
                        <a:pt x="46" y="697"/>
                      </a:lnTo>
                      <a:lnTo>
                        <a:pt x="53" y="690"/>
                      </a:lnTo>
                      <a:lnTo>
                        <a:pt x="60" y="685"/>
                      </a:lnTo>
                      <a:lnTo>
                        <a:pt x="68" y="679"/>
                      </a:lnTo>
                      <a:lnTo>
                        <a:pt x="75" y="674"/>
                      </a:lnTo>
                      <a:lnTo>
                        <a:pt x="83" y="671"/>
                      </a:lnTo>
                      <a:lnTo>
                        <a:pt x="91" y="668"/>
                      </a:lnTo>
                      <a:lnTo>
                        <a:pt x="97" y="666"/>
                      </a:lnTo>
                      <a:lnTo>
                        <a:pt x="105" y="666"/>
                      </a:lnTo>
                      <a:lnTo>
                        <a:pt x="116" y="666"/>
                      </a:lnTo>
                      <a:lnTo>
                        <a:pt x="126" y="668"/>
                      </a:lnTo>
                      <a:lnTo>
                        <a:pt x="137" y="671"/>
                      </a:lnTo>
                      <a:lnTo>
                        <a:pt x="149" y="674"/>
                      </a:lnTo>
                      <a:lnTo>
                        <a:pt x="172" y="683"/>
                      </a:lnTo>
                      <a:lnTo>
                        <a:pt x="196" y="692"/>
                      </a:lnTo>
                      <a:lnTo>
                        <a:pt x="208" y="696"/>
                      </a:lnTo>
                      <a:lnTo>
                        <a:pt x="220" y="700"/>
                      </a:lnTo>
                      <a:lnTo>
                        <a:pt x="232" y="703"/>
                      </a:lnTo>
                      <a:lnTo>
                        <a:pt x="245" y="705"/>
                      </a:lnTo>
                      <a:lnTo>
                        <a:pt x="257" y="706"/>
                      </a:lnTo>
                      <a:lnTo>
                        <a:pt x="269" y="707"/>
                      </a:lnTo>
                      <a:lnTo>
                        <a:pt x="280" y="706"/>
                      </a:lnTo>
                      <a:lnTo>
                        <a:pt x="292" y="703"/>
                      </a:lnTo>
                      <a:lnTo>
                        <a:pt x="411" y="703"/>
                      </a:lnTo>
                      <a:lnTo>
                        <a:pt x="411" y="721"/>
                      </a:lnTo>
                      <a:lnTo>
                        <a:pt x="604" y="721"/>
                      </a:lnTo>
                      <a:lnTo>
                        <a:pt x="611" y="717"/>
                      </a:lnTo>
                      <a:lnTo>
                        <a:pt x="619" y="714"/>
                      </a:lnTo>
                      <a:lnTo>
                        <a:pt x="627" y="712"/>
                      </a:lnTo>
                      <a:lnTo>
                        <a:pt x="634" y="710"/>
                      </a:lnTo>
                      <a:lnTo>
                        <a:pt x="651" y="707"/>
                      </a:lnTo>
                      <a:lnTo>
                        <a:pt x="671" y="703"/>
                      </a:lnTo>
                      <a:lnTo>
                        <a:pt x="658" y="691"/>
                      </a:lnTo>
                      <a:lnTo>
                        <a:pt x="643" y="674"/>
                      </a:lnTo>
                      <a:lnTo>
                        <a:pt x="627" y="657"/>
                      </a:lnTo>
                      <a:lnTo>
                        <a:pt x="610" y="641"/>
                      </a:lnTo>
                      <a:lnTo>
                        <a:pt x="610" y="432"/>
                      </a:lnTo>
                      <a:lnTo>
                        <a:pt x="631" y="433"/>
                      </a:lnTo>
                      <a:lnTo>
                        <a:pt x="664" y="433"/>
                      </a:lnTo>
                      <a:lnTo>
                        <a:pt x="680" y="433"/>
                      </a:lnTo>
                      <a:lnTo>
                        <a:pt x="696" y="432"/>
                      </a:lnTo>
                      <a:lnTo>
                        <a:pt x="703" y="431"/>
                      </a:lnTo>
                      <a:lnTo>
                        <a:pt x="709" y="429"/>
                      </a:lnTo>
                      <a:lnTo>
                        <a:pt x="713" y="428"/>
                      </a:lnTo>
                      <a:lnTo>
                        <a:pt x="717" y="426"/>
                      </a:lnTo>
                      <a:lnTo>
                        <a:pt x="720" y="421"/>
                      </a:lnTo>
                      <a:lnTo>
                        <a:pt x="723" y="416"/>
                      </a:lnTo>
                      <a:lnTo>
                        <a:pt x="725" y="408"/>
                      </a:lnTo>
                      <a:lnTo>
                        <a:pt x="728" y="400"/>
                      </a:lnTo>
                      <a:lnTo>
                        <a:pt x="732" y="380"/>
                      </a:lnTo>
                      <a:lnTo>
                        <a:pt x="734" y="360"/>
                      </a:lnTo>
                      <a:lnTo>
                        <a:pt x="736" y="324"/>
                      </a:lnTo>
                      <a:lnTo>
                        <a:pt x="736" y="309"/>
                      </a:lnTo>
                      <a:lnTo>
                        <a:pt x="728" y="304"/>
                      </a:lnTo>
                      <a:lnTo>
                        <a:pt x="722" y="302"/>
                      </a:lnTo>
                      <a:lnTo>
                        <a:pt x="718" y="302"/>
                      </a:lnTo>
                      <a:lnTo>
                        <a:pt x="714" y="303"/>
                      </a:lnTo>
                      <a:lnTo>
                        <a:pt x="711" y="304"/>
                      </a:lnTo>
                      <a:lnTo>
                        <a:pt x="708" y="304"/>
                      </a:lnTo>
                      <a:lnTo>
                        <a:pt x="703" y="302"/>
                      </a:lnTo>
                      <a:lnTo>
                        <a:pt x="697" y="297"/>
                      </a:lnTo>
                      <a:lnTo>
                        <a:pt x="685" y="298"/>
                      </a:lnTo>
                      <a:lnTo>
                        <a:pt x="676" y="300"/>
                      </a:lnTo>
                      <a:lnTo>
                        <a:pt x="666" y="302"/>
                      </a:lnTo>
                      <a:lnTo>
                        <a:pt x="650" y="303"/>
                      </a:lnTo>
                      <a:lnTo>
                        <a:pt x="641" y="302"/>
                      </a:lnTo>
                      <a:lnTo>
                        <a:pt x="634" y="299"/>
                      </a:lnTo>
                      <a:lnTo>
                        <a:pt x="631" y="298"/>
                      </a:lnTo>
                      <a:lnTo>
                        <a:pt x="628" y="295"/>
                      </a:lnTo>
                      <a:lnTo>
                        <a:pt x="626" y="293"/>
                      </a:lnTo>
                      <a:lnTo>
                        <a:pt x="623" y="290"/>
                      </a:lnTo>
                      <a:lnTo>
                        <a:pt x="620" y="282"/>
                      </a:lnTo>
                      <a:lnTo>
                        <a:pt x="619" y="274"/>
                      </a:lnTo>
                      <a:lnTo>
                        <a:pt x="618" y="264"/>
                      </a:lnTo>
                      <a:lnTo>
                        <a:pt x="617" y="253"/>
                      </a:lnTo>
                      <a:lnTo>
                        <a:pt x="616" y="244"/>
                      </a:lnTo>
                      <a:lnTo>
                        <a:pt x="613" y="236"/>
                      </a:lnTo>
                      <a:lnTo>
                        <a:pt x="610" y="227"/>
                      </a:lnTo>
                      <a:lnTo>
                        <a:pt x="607" y="219"/>
                      </a:lnTo>
                      <a:lnTo>
                        <a:pt x="604" y="211"/>
                      </a:lnTo>
                      <a:lnTo>
                        <a:pt x="600" y="203"/>
                      </a:lnTo>
                      <a:lnTo>
                        <a:pt x="598" y="195"/>
                      </a:lnTo>
                      <a:lnTo>
                        <a:pt x="597" y="186"/>
                      </a:lnTo>
                      <a:lnTo>
                        <a:pt x="598" y="181"/>
                      </a:lnTo>
                      <a:lnTo>
                        <a:pt x="600" y="177"/>
                      </a:lnTo>
                      <a:lnTo>
                        <a:pt x="604" y="171"/>
                      </a:lnTo>
                      <a:lnTo>
                        <a:pt x="607" y="167"/>
                      </a:lnTo>
                      <a:lnTo>
                        <a:pt x="610" y="162"/>
                      </a:lnTo>
                      <a:lnTo>
                        <a:pt x="613" y="157"/>
                      </a:lnTo>
                      <a:lnTo>
                        <a:pt x="616" y="153"/>
                      </a:lnTo>
                      <a:lnTo>
                        <a:pt x="617" y="148"/>
                      </a:lnTo>
                      <a:lnTo>
                        <a:pt x="616" y="136"/>
                      </a:lnTo>
                      <a:lnTo>
                        <a:pt x="612" y="120"/>
                      </a:lnTo>
                      <a:lnTo>
                        <a:pt x="611" y="109"/>
                      </a:lnTo>
                      <a:lnTo>
                        <a:pt x="611" y="100"/>
                      </a:lnTo>
                      <a:lnTo>
                        <a:pt x="613" y="90"/>
                      </a:lnTo>
                      <a:lnTo>
                        <a:pt x="617" y="81"/>
                      </a:lnTo>
                      <a:lnTo>
                        <a:pt x="594" y="77"/>
                      </a:lnTo>
                      <a:lnTo>
                        <a:pt x="544" y="70"/>
                      </a:lnTo>
                      <a:lnTo>
                        <a:pt x="517" y="67"/>
                      </a:lnTo>
                      <a:lnTo>
                        <a:pt x="494" y="66"/>
                      </a:lnTo>
                      <a:lnTo>
                        <a:pt x="484" y="65"/>
                      </a:lnTo>
                      <a:lnTo>
                        <a:pt x="477" y="66"/>
                      </a:lnTo>
                      <a:lnTo>
                        <a:pt x="473" y="67"/>
                      </a:lnTo>
                      <a:lnTo>
                        <a:pt x="471" y="69"/>
                      </a:lnTo>
                      <a:lnTo>
                        <a:pt x="471" y="73"/>
                      </a:lnTo>
                      <a:lnTo>
                        <a:pt x="471" y="81"/>
                      </a:lnTo>
                      <a:lnTo>
                        <a:pt x="470" y="86"/>
                      </a:lnTo>
                      <a:lnTo>
                        <a:pt x="469" y="91"/>
                      </a:lnTo>
                      <a:lnTo>
                        <a:pt x="466" y="96"/>
                      </a:lnTo>
                      <a:lnTo>
                        <a:pt x="463" y="101"/>
                      </a:lnTo>
                      <a:lnTo>
                        <a:pt x="460" y="107"/>
                      </a:lnTo>
                      <a:lnTo>
                        <a:pt x="454" y="112"/>
                      </a:lnTo>
                      <a:lnTo>
                        <a:pt x="448" y="117"/>
                      </a:lnTo>
                      <a:lnTo>
                        <a:pt x="440" y="122"/>
                      </a:lnTo>
                      <a:lnTo>
                        <a:pt x="430" y="125"/>
                      </a:lnTo>
                      <a:lnTo>
                        <a:pt x="419" y="128"/>
                      </a:lnTo>
                      <a:lnTo>
                        <a:pt x="406" y="130"/>
                      </a:lnTo>
                      <a:lnTo>
                        <a:pt x="392" y="130"/>
                      </a:lnTo>
                      <a:lnTo>
                        <a:pt x="385" y="129"/>
                      </a:lnTo>
                      <a:lnTo>
                        <a:pt x="378" y="127"/>
                      </a:lnTo>
                      <a:lnTo>
                        <a:pt x="372" y="122"/>
                      </a:lnTo>
                      <a:lnTo>
                        <a:pt x="364" y="115"/>
                      </a:lnTo>
                      <a:lnTo>
                        <a:pt x="358" y="108"/>
                      </a:lnTo>
                      <a:lnTo>
                        <a:pt x="351" y="100"/>
                      </a:lnTo>
                      <a:lnTo>
                        <a:pt x="344" y="91"/>
                      </a:lnTo>
                      <a:lnTo>
                        <a:pt x="339" y="82"/>
                      </a:lnTo>
                      <a:lnTo>
                        <a:pt x="333" y="72"/>
                      </a:lnTo>
                      <a:lnTo>
                        <a:pt x="328" y="60"/>
                      </a:lnTo>
                      <a:lnTo>
                        <a:pt x="324" y="50"/>
                      </a:lnTo>
                      <a:lnTo>
                        <a:pt x="319" y="39"/>
                      </a:lnTo>
                      <a:lnTo>
                        <a:pt x="316" y="29"/>
                      </a:lnTo>
                      <a:lnTo>
                        <a:pt x="314" y="19"/>
                      </a:lnTo>
                      <a:lnTo>
                        <a:pt x="312" y="10"/>
                      </a:lnTo>
                      <a:lnTo>
                        <a:pt x="312" y="0"/>
                      </a:lnTo>
                      <a:lnTo>
                        <a:pt x="26" y="0"/>
                      </a:lnTo>
                      <a:lnTo>
                        <a:pt x="26" y="5"/>
                      </a:lnTo>
                      <a:lnTo>
                        <a:pt x="28" y="10"/>
                      </a:lnTo>
                      <a:lnTo>
                        <a:pt x="30" y="15"/>
                      </a:lnTo>
                      <a:lnTo>
                        <a:pt x="34" y="19"/>
                      </a:lnTo>
                      <a:lnTo>
                        <a:pt x="38" y="22"/>
                      </a:lnTo>
                      <a:lnTo>
                        <a:pt x="42" y="26"/>
                      </a:lnTo>
                      <a:lnTo>
                        <a:pt x="47" y="29"/>
                      </a:lnTo>
                      <a:lnTo>
                        <a:pt x="52" y="31"/>
                      </a:lnTo>
                      <a:lnTo>
                        <a:pt x="58" y="47"/>
                      </a:lnTo>
                      <a:lnTo>
                        <a:pt x="67" y="61"/>
                      </a:lnTo>
                      <a:lnTo>
                        <a:pt x="75" y="75"/>
                      </a:lnTo>
                      <a:lnTo>
                        <a:pt x="84" y="89"/>
                      </a:lnTo>
                      <a:lnTo>
                        <a:pt x="92" y="104"/>
                      </a:lnTo>
                      <a:lnTo>
                        <a:pt x="98" y="121"/>
                      </a:lnTo>
                      <a:lnTo>
                        <a:pt x="102" y="130"/>
                      </a:lnTo>
                      <a:lnTo>
                        <a:pt x="104" y="139"/>
                      </a:lnTo>
                      <a:lnTo>
                        <a:pt x="105" y="150"/>
                      </a:lnTo>
                      <a:lnTo>
                        <a:pt x="105" y="161"/>
                      </a:lnTo>
                      <a:lnTo>
                        <a:pt x="103" y="171"/>
                      </a:lnTo>
                      <a:lnTo>
                        <a:pt x="98" y="183"/>
                      </a:lnTo>
                      <a:lnTo>
                        <a:pt x="96" y="190"/>
                      </a:lnTo>
                      <a:lnTo>
                        <a:pt x="94" y="196"/>
                      </a:lnTo>
                      <a:lnTo>
                        <a:pt x="93" y="203"/>
                      </a:lnTo>
                      <a:lnTo>
                        <a:pt x="92" y="210"/>
                      </a:lnTo>
                      <a:lnTo>
                        <a:pt x="93" y="217"/>
                      </a:lnTo>
                      <a:lnTo>
                        <a:pt x="94" y="223"/>
                      </a:lnTo>
                      <a:lnTo>
                        <a:pt x="96" y="229"/>
                      </a:lnTo>
                      <a:lnTo>
                        <a:pt x="98" y="236"/>
                      </a:lnTo>
                      <a:lnTo>
                        <a:pt x="105" y="248"/>
                      </a:lnTo>
                      <a:lnTo>
                        <a:pt x="112" y="260"/>
                      </a:lnTo>
                      <a:lnTo>
                        <a:pt x="119" y="272"/>
                      </a:lnTo>
                      <a:lnTo>
                        <a:pt x="126" y="285"/>
                      </a:lnTo>
                      <a:lnTo>
                        <a:pt x="128" y="293"/>
                      </a:lnTo>
                      <a:lnTo>
                        <a:pt x="130" y="300"/>
                      </a:lnTo>
                      <a:lnTo>
                        <a:pt x="131" y="307"/>
                      </a:lnTo>
                      <a:lnTo>
                        <a:pt x="133" y="315"/>
                      </a:lnTo>
                      <a:lnTo>
                        <a:pt x="131" y="326"/>
                      </a:lnTo>
                      <a:lnTo>
                        <a:pt x="129" y="338"/>
                      </a:lnTo>
                      <a:lnTo>
                        <a:pt x="127" y="352"/>
                      </a:lnTo>
                      <a:lnTo>
                        <a:pt x="123" y="364"/>
                      </a:lnTo>
                      <a:lnTo>
                        <a:pt x="118" y="377"/>
                      </a:lnTo>
                      <a:lnTo>
                        <a:pt x="113" y="389"/>
                      </a:lnTo>
                      <a:lnTo>
                        <a:pt x="106" y="403"/>
                      </a:lnTo>
                      <a:lnTo>
                        <a:pt x="100" y="414"/>
                      </a:lnTo>
                      <a:lnTo>
                        <a:pt x="92" y="426"/>
                      </a:lnTo>
                      <a:lnTo>
                        <a:pt x="84" y="436"/>
                      </a:lnTo>
                      <a:lnTo>
                        <a:pt x="77" y="446"/>
                      </a:lnTo>
                      <a:lnTo>
                        <a:pt x="68" y="457"/>
                      </a:lnTo>
                      <a:lnTo>
                        <a:pt x="59" y="465"/>
                      </a:lnTo>
                      <a:lnTo>
                        <a:pt x="50" y="471"/>
                      </a:lnTo>
                      <a:lnTo>
                        <a:pt x="41" y="477"/>
                      </a:lnTo>
                      <a:lnTo>
                        <a:pt x="33" y="481"/>
                      </a:lnTo>
                      <a:lnTo>
                        <a:pt x="33" y="586"/>
                      </a:lnTo>
                      <a:lnTo>
                        <a:pt x="28" y="588"/>
                      </a:lnTo>
                      <a:lnTo>
                        <a:pt x="25" y="591"/>
                      </a:lnTo>
                      <a:lnTo>
                        <a:pt x="23" y="595"/>
                      </a:lnTo>
                      <a:lnTo>
                        <a:pt x="19" y="600"/>
                      </a:lnTo>
                      <a:lnTo>
                        <a:pt x="15" y="612"/>
                      </a:lnTo>
                      <a:lnTo>
                        <a:pt x="11" y="627"/>
                      </a:lnTo>
                      <a:lnTo>
                        <a:pt x="4" y="659"/>
                      </a:lnTo>
                      <a:lnTo>
                        <a:pt x="0" y="69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23" name="Freeform 381">
                  <a:extLst>
                    <a:ext uri="{FF2B5EF4-FFF2-40B4-BE49-F238E27FC236}">
                      <a16:creationId xmlns:a16="http://schemas.microsoft.com/office/drawing/2014/main" xmlns="" id="{3C305C1E-6CCF-4B3D-9E93-5B28F6568A3F}"/>
                    </a:ext>
                  </a:extLst>
                </p:cNvPr>
                <p:cNvSpPr>
                  <a:spLocks/>
                </p:cNvSpPr>
                <p:nvPr>
                  <p:custDataLst>
                    <p:tags r:id="rId270"/>
                  </p:custDataLst>
                </p:nvPr>
              </p:nvSpPr>
              <p:spPr bwMode="auto">
                <a:xfrm>
                  <a:off x="4308475" y="3824288"/>
                  <a:ext cx="15875" cy="60325"/>
                </a:xfrm>
                <a:custGeom>
                  <a:avLst/>
                  <a:gdLst>
                    <a:gd name="T0" fmla="*/ 0 w 39"/>
                    <a:gd name="T1" fmla="*/ 2147483646 h 31"/>
                    <a:gd name="T2" fmla="*/ 2147483646 w 39"/>
                    <a:gd name="T3" fmla="*/ 2147483646 h 31"/>
                    <a:gd name="T4" fmla="*/ 2147483646 w 39"/>
                    <a:gd name="T5" fmla="*/ 2147483646 h 31"/>
                    <a:gd name="T6" fmla="*/ 2147483646 w 39"/>
                    <a:gd name="T7" fmla="*/ 2147483646 h 31"/>
                    <a:gd name="T8" fmla="*/ 2147483646 w 39"/>
                    <a:gd name="T9" fmla="*/ 2147483646 h 31"/>
                    <a:gd name="T10" fmla="*/ 2147483646 w 39"/>
                    <a:gd name="T11" fmla="*/ 2147483646 h 31"/>
                    <a:gd name="T12" fmla="*/ 2147483646 w 39"/>
                    <a:gd name="T13" fmla="*/ 2147483646 h 31"/>
                    <a:gd name="T14" fmla="*/ 2147483646 w 39"/>
                    <a:gd name="T15" fmla="*/ 0 h 31"/>
                    <a:gd name="T16" fmla="*/ 2147483646 w 39"/>
                    <a:gd name="T17" fmla="*/ 0 h 31"/>
                    <a:gd name="T18" fmla="*/ 2147483646 w 39"/>
                    <a:gd name="T19" fmla="*/ 0 h 31"/>
                    <a:gd name="T20" fmla="*/ 2147483646 w 39"/>
                    <a:gd name="T21" fmla="*/ 0 h 31"/>
                    <a:gd name="T22" fmla="*/ 0 w 39"/>
                    <a:gd name="T23" fmla="*/ 0 h 31"/>
                    <a:gd name="T24" fmla="*/ 0 w 39"/>
                    <a:gd name="T25" fmla="*/ 2147483646 h 3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9"/>
                    <a:gd name="T40" fmla="*/ 0 h 31"/>
                    <a:gd name="T41" fmla="*/ 39 w 39"/>
                    <a:gd name="T42" fmla="*/ 31 h 3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9" h="31">
                      <a:moveTo>
                        <a:pt x="0" y="31"/>
                      </a:moveTo>
                      <a:lnTo>
                        <a:pt x="12" y="28"/>
                      </a:lnTo>
                      <a:lnTo>
                        <a:pt x="22" y="28"/>
                      </a:lnTo>
                      <a:lnTo>
                        <a:pt x="26" y="28"/>
                      </a:lnTo>
                      <a:lnTo>
                        <a:pt x="30" y="28"/>
                      </a:lnTo>
                      <a:lnTo>
                        <a:pt x="35" y="27"/>
                      </a:lnTo>
                      <a:lnTo>
                        <a:pt x="39" y="25"/>
                      </a:lnTo>
                      <a:lnTo>
                        <a:pt x="39" y="0"/>
                      </a:lnTo>
                      <a:lnTo>
                        <a:pt x="26" y="0"/>
                      </a:lnTo>
                      <a:lnTo>
                        <a:pt x="17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24" name="Freeform 382">
                  <a:extLst>
                    <a:ext uri="{FF2B5EF4-FFF2-40B4-BE49-F238E27FC236}">
                      <a16:creationId xmlns:a16="http://schemas.microsoft.com/office/drawing/2014/main" xmlns="" id="{797FC50C-CA2E-49B7-ABFC-CCF0F7C959A7}"/>
                    </a:ext>
                  </a:extLst>
                </p:cNvPr>
                <p:cNvSpPr>
                  <a:spLocks/>
                </p:cNvSpPr>
                <p:nvPr>
                  <p:custDataLst>
                    <p:tags r:id="rId271"/>
                  </p:custDataLst>
                </p:nvPr>
              </p:nvSpPr>
              <p:spPr bwMode="auto">
                <a:xfrm>
                  <a:off x="4410075" y="4367213"/>
                  <a:ext cx="396875" cy="398462"/>
                </a:xfrm>
                <a:custGeom>
                  <a:avLst/>
                  <a:gdLst>
                    <a:gd name="T0" fmla="*/ 2147483646 w 903"/>
                    <a:gd name="T1" fmla="*/ 2147483646 h 759"/>
                    <a:gd name="T2" fmla="*/ 2147483646 w 903"/>
                    <a:gd name="T3" fmla="*/ 2147483646 h 759"/>
                    <a:gd name="T4" fmla="*/ 2147483646 w 903"/>
                    <a:gd name="T5" fmla="*/ 2147483646 h 759"/>
                    <a:gd name="T6" fmla="*/ 2147483646 w 903"/>
                    <a:gd name="T7" fmla="*/ 2147483646 h 759"/>
                    <a:gd name="T8" fmla="*/ 2147483646 w 903"/>
                    <a:gd name="T9" fmla="*/ 2147483646 h 759"/>
                    <a:gd name="T10" fmla="*/ 2147483646 w 903"/>
                    <a:gd name="T11" fmla="*/ 2147483646 h 759"/>
                    <a:gd name="T12" fmla="*/ 2147483646 w 903"/>
                    <a:gd name="T13" fmla="*/ 2147483646 h 759"/>
                    <a:gd name="T14" fmla="*/ 2147483646 w 903"/>
                    <a:gd name="T15" fmla="*/ 2147483646 h 759"/>
                    <a:gd name="T16" fmla="*/ 2147483646 w 903"/>
                    <a:gd name="T17" fmla="*/ 2147483646 h 759"/>
                    <a:gd name="T18" fmla="*/ 2147483646 w 903"/>
                    <a:gd name="T19" fmla="*/ 2147483646 h 759"/>
                    <a:gd name="T20" fmla="*/ 2147483646 w 903"/>
                    <a:gd name="T21" fmla="*/ 2147483646 h 759"/>
                    <a:gd name="T22" fmla="*/ 2147483646 w 903"/>
                    <a:gd name="T23" fmla="*/ 2147483646 h 759"/>
                    <a:gd name="T24" fmla="*/ 2147483646 w 903"/>
                    <a:gd name="T25" fmla="*/ 2147483646 h 759"/>
                    <a:gd name="T26" fmla="*/ 2147483646 w 903"/>
                    <a:gd name="T27" fmla="*/ 2147483646 h 759"/>
                    <a:gd name="T28" fmla="*/ 2147483646 w 903"/>
                    <a:gd name="T29" fmla="*/ 2147483646 h 759"/>
                    <a:gd name="T30" fmla="*/ 2147483646 w 903"/>
                    <a:gd name="T31" fmla="*/ 2147483646 h 759"/>
                    <a:gd name="T32" fmla="*/ 2147483646 w 903"/>
                    <a:gd name="T33" fmla="*/ 2147483646 h 759"/>
                    <a:gd name="T34" fmla="*/ 2147483646 w 903"/>
                    <a:gd name="T35" fmla="*/ 2147483646 h 759"/>
                    <a:gd name="T36" fmla="*/ 2147483646 w 903"/>
                    <a:gd name="T37" fmla="*/ 2147483646 h 759"/>
                    <a:gd name="T38" fmla="*/ 2147483646 w 903"/>
                    <a:gd name="T39" fmla="*/ 2147483646 h 759"/>
                    <a:gd name="T40" fmla="*/ 2147483646 w 903"/>
                    <a:gd name="T41" fmla="*/ 2147483646 h 759"/>
                    <a:gd name="T42" fmla="*/ 2147483646 w 903"/>
                    <a:gd name="T43" fmla="*/ 2147483646 h 759"/>
                    <a:gd name="T44" fmla="*/ 2147483646 w 903"/>
                    <a:gd name="T45" fmla="*/ 2147483646 h 759"/>
                    <a:gd name="T46" fmla="*/ 2147483646 w 903"/>
                    <a:gd name="T47" fmla="*/ 2147483646 h 759"/>
                    <a:gd name="T48" fmla="*/ 2147483646 w 903"/>
                    <a:gd name="T49" fmla="*/ 2147483646 h 759"/>
                    <a:gd name="T50" fmla="*/ 2147483646 w 903"/>
                    <a:gd name="T51" fmla="*/ 2147483646 h 759"/>
                    <a:gd name="T52" fmla="*/ 2147483646 w 903"/>
                    <a:gd name="T53" fmla="*/ 2147483646 h 759"/>
                    <a:gd name="T54" fmla="*/ 0 w 903"/>
                    <a:gd name="T55" fmla="*/ 2147483646 h 759"/>
                    <a:gd name="T56" fmla="*/ 2147483646 w 903"/>
                    <a:gd name="T57" fmla="*/ 2147483646 h 759"/>
                    <a:gd name="T58" fmla="*/ 2147483646 w 903"/>
                    <a:gd name="T59" fmla="*/ 2147483646 h 759"/>
                    <a:gd name="T60" fmla="*/ 2147483646 w 903"/>
                    <a:gd name="T61" fmla="*/ 2147483646 h 759"/>
                    <a:gd name="T62" fmla="*/ 2147483646 w 903"/>
                    <a:gd name="T63" fmla="*/ 2147483646 h 759"/>
                    <a:gd name="T64" fmla="*/ 2147483646 w 903"/>
                    <a:gd name="T65" fmla="*/ 2147483646 h 759"/>
                    <a:gd name="T66" fmla="*/ 2147483646 w 903"/>
                    <a:gd name="T67" fmla="*/ 2147483646 h 759"/>
                    <a:gd name="T68" fmla="*/ 2147483646 w 903"/>
                    <a:gd name="T69" fmla="*/ 2147483646 h 759"/>
                    <a:gd name="T70" fmla="*/ 2147483646 w 903"/>
                    <a:gd name="T71" fmla="*/ 2147483646 h 759"/>
                    <a:gd name="T72" fmla="*/ 2147483646 w 903"/>
                    <a:gd name="T73" fmla="*/ 2147483646 h 759"/>
                    <a:gd name="T74" fmla="*/ 2147483646 w 903"/>
                    <a:gd name="T75" fmla="*/ 2147483646 h 759"/>
                    <a:gd name="T76" fmla="*/ 2147483646 w 903"/>
                    <a:gd name="T77" fmla="*/ 2147483646 h 759"/>
                    <a:gd name="T78" fmla="*/ 2147483646 w 903"/>
                    <a:gd name="T79" fmla="*/ 2147483646 h 759"/>
                    <a:gd name="T80" fmla="*/ 2147483646 w 903"/>
                    <a:gd name="T81" fmla="*/ 2147483646 h 759"/>
                    <a:gd name="T82" fmla="*/ 2147483646 w 903"/>
                    <a:gd name="T83" fmla="*/ 2147483646 h 759"/>
                    <a:gd name="T84" fmla="*/ 2147483646 w 903"/>
                    <a:gd name="T85" fmla="*/ 2147483646 h 759"/>
                    <a:gd name="T86" fmla="*/ 2147483646 w 903"/>
                    <a:gd name="T87" fmla="*/ 2147483646 h 759"/>
                    <a:gd name="T88" fmla="*/ 2147483646 w 903"/>
                    <a:gd name="T89" fmla="*/ 2147483646 h 759"/>
                    <a:gd name="T90" fmla="*/ 2147483646 w 903"/>
                    <a:gd name="T91" fmla="*/ 2147483646 h 759"/>
                    <a:gd name="T92" fmla="*/ 2147483646 w 903"/>
                    <a:gd name="T93" fmla="*/ 2147483646 h 759"/>
                    <a:gd name="T94" fmla="*/ 2147483646 w 903"/>
                    <a:gd name="T95" fmla="*/ 2147483646 h 759"/>
                    <a:gd name="T96" fmla="*/ 2147483646 w 903"/>
                    <a:gd name="T97" fmla="*/ 2147483646 h 759"/>
                    <a:gd name="T98" fmla="*/ 2147483646 w 903"/>
                    <a:gd name="T99" fmla="*/ 2147483646 h 759"/>
                    <a:gd name="T100" fmla="*/ 2147483646 w 903"/>
                    <a:gd name="T101" fmla="*/ 2147483646 h 759"/>
                    <a:gd name="T102" fmla="*/ 2147483646 w 903"/>
                    <a:gd name="T103" fmla="*/ 2147483646 h 759"/>
                    <a:gd name="T104" fmla="*/ 2147483646 w 903"/>
                    <a:gd name="T105" fmla="*/ 2147483646 h 759"/>
                    <a:gd name="T106" fmla="*/ 2147483646 w 903"/>
                    <a:gd name="T107" fmla="*/ 2147483646 h 759"/>
                    <a:gd name="T108" fmla="*/ 2147483646 w 903"/>
                    <a:gd name="T109" fmla="*/ 2147483646 h 759"/>
                    <a:gd name="T110" fmla="*/ 2147483646 w 903"/>
                    <a:gd name="T111" fmla="*/ 2147483646 h 759"/>
                    <a:gd name="T112" fmla="*/ 2147483646 w 903"/>
                    <a:gd name="T113" fmla="*/ 2147483646 h 759"/>
                    <a:gd name="T114" fmla="*/ 2147483646 w 903"/>
                    <a:gd name="T115" fmla="*/ 2147483646 h 759"/>
                    <a:gd name="T116" fmla="*/ 2147483646 w 903"/>
                    <a:gd name="T117" fmla="*/ 2147483646 h 759"/>
                    <a:gd name="T118" fmla="*/ 2147483646 w 903"/>
                    <a:gd name="T119" fmla="*/ 2147483646 h 759"/>
                    <a:gd name="T120" fmla="*/ 2147483646 w 903"/>
                    <a:gd name="T121" fmla="*/ 2147483646 h 759"/>
                    <a:gd name="T122" fmla="*/ 2147483646 w 903"/>
                    <a:gd name="T123" fmla="*/ 2147483646 h 759"/>
                    <a:gd name="T124" fmla="*/ 2147483646 w 903"/>
                    <a:gd name="T125" fmla="*/ 2147483646 h 759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903"/>
                    <a:gd name="T190" fmla="*/ 0 h 759"/>
                    <a:gd name="T191" fmla="*/ 903 w 903"/>
                    <a:gd name="T192" fmla="*/ 759 h 759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903" h="759">
                      <a:moveTo>
                        <a:pt x="870" y="296"/>
                      </a:moveTo>
                      <a:lnTo>
                        <a:pt x="875" y="295"/>
                      </a:lnTo>
                      <a:lnTo>
                        <a:pt x="886" y="293"/>
                      </a:lnTo>
                      <a:lnTo>
                        <a:pt x="899" y="291"/>
                      </a:lnTo>
                      <a:lnTo>
                        <a:pt x="903" y="290"/>
                      </a:lnTo>
                      <a:lnTo>
                        <a:pt x="863" y="364"/>
                      </a:lnTo>
                      <a:lnTo>
                        <a:pt x="863" y="376"/>
                      </a:lnTo>
                      <a:lnTo>
                        <a:pt x="863" y="388"/>
                      </a:lnTo>
                      <a:lnTo>
                        <a:pt x="857" y="392"/>
                      </a:lnTo>
                      <a:lnTo>
                        <a:pt x="849" y="397"/>
                      </a:lnTo>
                      <a:lnTo>
                        <a:pt x="840" y="405"/>
                      </a:lnTo>
                      <a:lnTo>
                        <a:pt x="832" y="414"/>
                      </a:lnTo>
                      <a:lnTo>
                        <a:pt x="813" y="436"/>
                      </a:lnTo>
                      <a:lnTo>
                        <a:pt x="794" y="460"/>
                      </a:lnTo>
                      <a:lnTo>
                        <a:pt x="776" y="485"/>
                      </a:lnTo>
                      <a:lnTo>
                        <a:pt x="761" y="507"/>
                      </a:lnTo>
                      <a:lnTo>
                        <a:pt x="749" y="525"/>
                      </a:lnTo>
                      <a:lnTo>
                        <a:pt x="744" y="537"/>
                      </a:lnTo>
                      <a:lnTo>
                        <a:pt x="732" y="550"/>
                      </a:lnTo>
                      <a:lnTo>
                        <a:pt x="720" y="561"/>
                      </a:lnTo>
                      <a:lnTo>
                        <a:pt x="706" y="571"/>
                      </a:lnTo>
                      <a:lnTo>
                        <a:pt x="694" y="581"/>
                      </a:lnTo>
                      <a:lnTo>
                        <a:pt x="670" y="598"/>
                      </a:lnTo>
                      <a:lnTo>
                        <a:pt x="647" y="613"/>
                      </a:lnTo>
                      <a:lnTo>
                        <a:pt x="624" y="628"/>
                      </a:lnTo>
                      <a:lnTo>
                        <a:pt x="603" y="646"/>
                      </a:lnTo>
                      <a:lnTo>
                        <a:pt x="592" y="655"/>
                      </a:lnTo>
                      <a:lnTo>
                        <a:pt x="583" y="666"/>
                      </a:lnTo>
                      <a:lnTo>
                        <a:pt x="574" y="677"/>
                      </a:lnTo>
                      <a:lnTo>
                        <a:pt x="565" y="690"/>
                      </a:lnTo>
                      <a:lnTo>
                        <a:pt x="561" y="694"/>
                      </a:lnTo>
                      <a:lnTo>
                        <a:pt x="557" y="698"/>
                      </a:lnTo>
                      <a:lnTo>
                        <a:pt x="553" y="700"/>
                      </a:lnTo>
                      <a:lnTo>
                        <a:pt x="546" y="702"/>
                      </a:lnTo>
                      <a:lnTo>
                        <a:pt x="534" y="704"/>
                      </a:lnTo>
                      <a:lnTo>
                        <a:pt x="520" y="705"/>
                      </a:lnTo>
                      <a:lnTo>
                        <a:pt x="513" y="705"/>
                      </a:lnTo>
                      <a:lnTo>
                        <a:pt x="507" y="706"/>
                      </a:lnTo>
                      <a:lnTo>
                        <a:pt x="501" y="708"/>
                      </a:lnTo>
                      <a:lnTo>
                        <a:pt x="496" y="710"/>
                      </a:lnTo>
                      <a:lnTo>
                        <a:pt x="491" y="713"/>
                      </a:lnTo>
                      <a:lnTo>
                        <a:pt x="488" y="716"/>
                      </a:lnTo>
                      <a:lnTo>
                        <a:pt x="486" y="721"/>
                      </a:lnTo>
                      <a:lnTo>
                        <a:pt x="485" y="727"/>
                      </a:lnTo>
                      <a:lnTo>
                        <a:pt x="444" y="727"/>
                      </a:lnTo>
                      <a:lnTo>
                        <a:pt x="415" y="727"/>
                      </a:lnTo>
                      <a:lnTo>
                        <a:pt x="395" y="727"/>
                      </a:lnTo>
                      <a:lnTo>
                        <a:pt x="372" y="727"/>
                      </a:lnTo>
                      <a:lnTo>
                        <a:pt x="359" y="727"/>
                      </a:lnTo>
                      <a:lnTo>
                        <a:pt x="348" y="729"/>
                      </a:lnTo>
                      <a:lnTo>
                        <a:pt x="344" y="730"/>
                      </a:lnTo>
                      <a:lnTo>
                        <a:pt x="339" y="732"/>
                      </a:lnTo>
                      <a:lnTo>
                        <a:pt x="332" y="735"/>
                      </a:lnTo>
                      <a:lnTo>
                        <a:pt x="325" y="739"/>
                      </a:lnTo>
                      <a:lnTo>
                        <a:pt x="320" y="735"/>
                      </a:lnTo>
                      <a:lnTo>
                        <a:pt x="316" y="732"/>
                      </a:lnTo>
                      <a:lnTo>
                        <a:pt x="310" y="730"/>
                      </a:lnTo>
                      <a:lnTo>
                        <a:pt x="306" y="729"/>
                      </a:lnTo>
                      <a:lnTo>
                        <a:pt x="296" y="727"/>
                      </a:lnTo>
                      <a:lnTo>
                        <a:pt x="286" y="727"/>
                      </a:lnTo>
                      <a:lnTo>
                        <a:pt x="283" y="730"/>
                      </a:lnTo>
                      <a:lnTo>
                        <a:pt x="278" y="732"/>
                      </a:lnTo>
                      <a:lnTo>
                        <a:pt x="272" y="735"/>
                      </a:lnTo>
                      <a:lnTo>
                        <a:pt x="263" y="737"/>
                      </a:lnTo>
                      <a:lnTo>
                        <a:pt x="242" y="742"/>
                      </a:lnTo>
                      <a:lnTo>
                        <a:pt x="218" y="747"/>
                      </a:lnTo>
                      <a:lnTo>
                        <a:pt x="173" y="756"/>
                      </a:lnTo>
                      <a:lnTo>
                        <a:pt x="146" y="759"/>
                      </a:lnTo>
                      <a:lnTo>
                        <a:pt x="139" y="758"/>
                      </a:lnTo>
                      <a:lnTo>
                        <a:pt x="131" y="757"/>
                      </a:lnTo>
                      <a:lnTo>
                        <a:pt x="123" y="756"/>
                      </a:lnTo>
                      <a:lnTo>
                        <a:pt x="116" y="753"/>
                      </a:lnTo>
                      <a:lnTo>
                        <a:pt x="109" y="750"/>
                      </a:lnTo>
                      <a:lnTo>
                        <a:pt x="103" y="746"/>
                      </a:lnTo>
                      <a:lnTo>
                        <a:pt x="96" y="743"/>
                      </a:lnTo>
                      <a:lnTo>
                        <a:pt x="90" y="739"/>
                      </a:lnTo>
                      <a:lnTo>
                        <a:pt x="85" y="734"/>
                      </a:lnTo>
                      <a:lnTo>
                        <a:pt x="82" y="730"/>
                      </a:lnTo>
                      <a:lnTo>
                        <a:pt x="78" y="725"/>
                      </a:lnTo>
                      <a:lnTo>
                        <a:pt x="76" y="719"/>
                      </a:lnTo>
                      <a:lnTo>
                        <a:pt x="75" y="714"/>
                      </a:lnTo>
                      <a:lnTo>
                        <a:pt x="75" y="708"/>
                      </a:lnTo>
                      <a:lnTo>
                        <a:pt x="76" y="703"/>
                      </a:lnTo>
                      <a:lnTo>
                        <a:pt x="79" y="697"/>
                      </a:lnTo>
                      <a:lnTo>
                        <a:pt x="60" y="648"/>
                      </a:lnTo>
                      <a:lnTo>
                        <a:pt x="65" y="639"/>
                      </a:lnTo>
                      <a:lnTo>
                        <a:pt x="72" y="632"/>
                      </a:lnTo>
                      <a:lnTo>
                        <a:pt x="75" y="628"/>
                      </a:lnTo>
                      <a:lnTo>
                        <a:pt x="77" y="625"/>
                      </a:lnTo>
                      <a:lnTo>
                        <a:pt x="79" y="621"/>
                      </a:lnTo>
                      <a:lnTo>
                        <a:pt x="79" y="616"/>
                      </a:lnTo>
                      <a:lnTo>
                        <a:pt x="79" y="608"/>
                      </a:lnTo>
                      <a:lnTo>
                        <a:pt x="78" y="600"/>
                      </a:lnTo>
                      <a:lnTo>
                        <a:pt x="76" y="592"/>
                      </a:lnTo>
                      <a:lnTo>
                        <a:pt x="74" y="584"/>
                      </a:lnTo>
                      <a:lnTo>
                        <a:pt x="68" y="572"/>
                      </a:lnTo>
                      <a:lnTo>
                        <a:pt x="61" y="561"/>
                      </a:lnTo>
                      <a:lnTo>
                        <a:pt x="43" y="542"/>
                      </a:lnTo>
                      <a:lnTo>
                        <a:pt x="27" y="524"/>
                      </a:lnTo>
                      <a:lnTo>
                        <a:pt x="22" y="516"/>
                      </a:lnTo>
                      <a:lnTo>
                        <a:pt x="18" y="509"/>
                      </a:lnTo>
                      <a:lnTo>
                        <a:pt x="16" y="502"/>
                      </a:lnTo>
                      <a:lnTo>
                        <a:pt x="14" y="496"/>
                      </a:lnTo>
                      <a:lnTo>
                        <a:pt x="12" y="484"/>
                      </a:lnTo>
                      <a:lnTo>
                        <a:pt x="11" y="472"/>
                      </a:lnTo>
                      <a:lnTo>
                        <a:pt x="11" y="461"/>
                      </a:lnTo>
                      <a:lnTo>
                        <a:pt x="11" y="450"/>
                      </a:lnTo>
                      <a:lnTo>
                        <a:pt x="10" y="439"/>
                      </a:lnTo>
                      <a:lnTo>
                        <a:pt x="7" y="426"/>
                      </a:lnTo>
                      <a:lnTo>
                        <a:pt x="6" y="412"/>
                      </a:lnTo>
                      <a:lnTo>
                        <a:pt x="4" y="395"/>
                      </a:lnTo>
                      <a:lnTo>
                        <a:pt x="0" y="377"/>
                      </a:lnTo>
                      <a:lnTo>
                        <a:pt x="0" y="364"/>
                      </a:lnTo>
                      <a:lnTo>
                        <a:pt x="33" y="364"/>
                      </a:lnTo>
                      <a:lnTo>
                        <a:pt x="36" y="371"/>
                      </a:lnTo>
                      <a:lnTo>
                        <a:pt x="39" y="377"/>
                      </a:lnTo>
                      <a:lnTo>
                        <a:pt x="43" y="382"/>
                      </a:lnTo>
                      <a:lnTo>
                        <a:pt x="48" y="387"/>
                      </a:lnTo>
                      <a:lnTo>
                        <a:pt x="52" y="392"/>
                      </a:lnTo>
                      <a:lnTo>
                        <a:pt x="57" y="396"/>
                      </a:lnTo>
                      <a:lnTo>
                        <a:pt x="63" y="399"/>
                      </a:lnTo>
                      <a:lnTo>
                        <a:pt x="68" y="402"/>
                      </a:lnTo>
                      <a:lnTo>
                        <a:pt x="81" y="407"/>
                      </a:lnTo>
                      <a:lnTo>
                        <a:pt x="94" y="410"/>
                      </a:lnTo>
                      <a:lnTo>
                        <a:pt x="107" y="412"/>
                      </a:lnTo>
                      <a:lnTo>
                        <a:pt x="119" y="413"/>
                      </a:lnTo>
                      <a:lnTo>
                        <a:pt x="128" y="412"/>
                      </a:lnTo>
                      <a:lnTo>
                        <a:pt x="135" y="411"/>
                      </a:lnTo>
                      <a:lnTo>
                        <a:pt x="142" y="409"/>
                      </a:lnTo>
                      <a:lnTo>
                        <a:pt x="149" y="407"/>
                      </a:lnTo>
                      <a:lnTo>
                        <a:pt x="154" y="404"/>
                      </a:lnTo>
                      <a:lnTo>
                        <a:pt x="160" y="400"/>
                      </a:lnTo>
                      <a:lnTo>
                        <a:pt x="164" y="396"/>
                      </a:lnTo>
                      <a:lnTo>
                        <a:pt x="168" y="392"/>
                      </a:lnTo>
                      <a:lnTo>
                        <a:pt x="176" y="382"/>
                      </a:lnTo>
                      <a:lnTo>
                        <a:pt x="182" y="372"/>
                      </a:lnTo>
                      <a:lnTo>
                        <a:pt x="187" y="361"/>
                      </a:lnTo>
                      <a:lnTo>
                        <a:pt x="193" y="351"/>
                      </a:lnTo>
                      <a:lnTo>
                        <a:pt x="193" y="240"/>
                      </a:lnTo>
                      <a:lnTo>
                        <a:pt x="197" y="229"/>
                      </a:lnTo>
                      <a:lnTo>
                        <a:pt x="199" y="217"/>
                      </a:lnTo>
                      <a:lnTo>
                        <a:pt x="201" y="206"/>
                      </a:lnTo>
                      <a:lnTo>
                        <a:pt x="202" y="194"/>
                      </a:lnTo>
                      <a:lnTo>
                        <a:pt x="204" y="184"/>
                      </a:lnTo>
                      <a:lnTo>
                        <a:pt x="206" y="176"/>
                      </a:lnTo>
                      <a:lnTo>
                        <a:pt x="207" y="173"/>
                      </a:lnTo>
                      <a:lnTo>
                        <a:pt x="208" y="170"/>
                      </a:lnTo>
                      <a:lnTo>
                        <a:pt x="210" y="168"/>
                      </a:lnTo>
                      <a:lnTo>
                        <a:pt x="212" y="167"/>
                      </a:lnTo>
                      <a:lnTo>
                        <a:pt x="220" y="171"/>
                      </a:lnTo>
                      <a:lnTo>
                        <a:pt x="229" y="175"/>
                      </a:lnTo>
                      <a:lnTo>
                        <a:pt x="239" y="178"/>
                      </a:lnTo>
                      <a:lnTo>
                        <a:pt x="245" y="179"/>
                      </a:lnTo>
                      <a:lnTo>
                        <a:pt x="245" y="201"/>
                      </a:lnTo>
                      <a:lnTo>
                        <a:pt x="245" y="219"/>
                      </a:lnTo>
                      <a:lnTo>
                        <a:pt x="245" y="238"/>
                      </a:lnTo>
                      <a:lnTo>
                        <a:pt x="245" y="259"/>
                      </a:lnTo>
                      <a:lnTo>
                        <a:pt x="246" y="265"/>
                      </a:lnTo>
                      <a:lnTo>
                        <a:pt x="246" y="270"/>
                      </a:lnTo>
                      <a:lnTo>
                        <a:pt x="247" y="274"/>
                      </a:lnTo>
                      <a:lnTo>
                        <a:pt x="250" y="278"/>
                      </a:lnTo>
                      <a:lnTo>
                        <a:pt x="252" y="281"/>
                      </a:lnTo>
                      <a:lnTo>
                        <a:pt x="254" y="284"/>
                      </a:lnTo>
                      <a:lnTo>
                        <a:pt x="256" y="287"/>
                      </a:lnTo>
                      <a:lnTo>
                        <a:pt x="260" y="289"/>
                      </a:lnTo>
                      <a:lnTo>
                        <a:pt x="267" y="292"/>
                      </a:lnTo>
                      <a:lnTo>
                        <a:pt x="276" y="294"/>
                      </a:lnTo>
                      <a:lnTo>
                        <a:pt x="287" y="295"/>
                      </a:lnTo>
                      <a:lnTo>
                        <a:pt x="299" y="296"/>
                      </a:lnTo>
                      <a:lnTo>
                        <a:pt x="303" y="295"/>
                      </a:lnTo>
                      <a:lnTo>
                        <a:pt x="308" y="295"/>
                      </a:lnTo>
                      <a:lnTo>
                        <a:pt x="312" y="293"/>
                      </a:lnTo>
                      <a:lnTo>
                        <a:pt x="316" y="291"/>
                      </a:lnTo>
                      <a:lnTo>
                        <a:pt x="322" y="286"/>
                      </a:lnTo>
                      <a:lnTo>
                        <a:pt x="329" y="280"/>
                      </a:lnTo>
                      <a:lnTo>
                        <a:pt x="333" y="272"/>
                      </a:lnTo>
                      <a:lnTo>
                        <a:pt x="337" y="263"/>
                      </a:lnTo>
                      <a:lnTo>
                        <a:pt x="342" y="254"/>
                      </a:lnTo>
                      <a:lnTo>
                        <a:pt x="345" y="243"/>
                      </a:lnTo>
                      <a:lnTo>
                        <a:pt x="350" y="234"/>
                      </a:lnTo>
                      <a:lnTo>
                        <a:pt x="353" y="224"/>
                      </a:lnTo>
                      <a:lnTo>
                        <a:pt x="357" y="216"/>
                      </a:lnTo>
                      <a:lnTo>
                        <a:pt x="363" y="208"/>
                      </a:lnTo>
                      <a:lnTo>
                        <a:pt x="368" y="201"/>
                      </a:lnTo>
                      <a:lnTo>
                        <a:pt x="375" y="195"/>
                      </a:lnTo>
                      <a:lnTo>
                        <a:pt x="378" y="193"/>
                      </a:lnTo>
                      <a:lnTo>
                        <a:pt x="382" y="192"/>
                      </a:lnTo>
                      <a:lnTo>
                        <a:pt x="387" y="191"/>
                      </a:lnTo>
                      <a:lnTo>
                        <a:pt x="392" y="191"/>
                      </a:lnTo>
                      <a:lnTo>
                        <a:pt x="400" y="191"/>
                      </a:lnTo>
                      <a:lnTo>
                        <a:pt x="408" y="192"/>
                      </a:lnTo>
                      <a:lnTo>
                        <a:pt x="414" y="193"/>
                      </a:lnTo>
                      <a:lnTo>
                        <a:pt x="421" y="195"/>
                      </a:lnTo>
                      <a:lnTo>
                        <a:pt x="431" y="200"/>
                      </a:lnTo>
                      <a:lnTo>
                        <a:pt x="441" y="204"/>
                      </a:lnTo>
                      <a:lnTo>
                        <a:pt x="451" y="208"/>
                      </a:lnTo>
                      <a:lnTo>
                        <a:pt x="460" y="212"/>
                      </a:lnTo>
                      <a:lnTo>
                        <a:pt x="466" y="214"/>
                      </a:lnTo>
                      <a:lnTo>
                        <a:pt x="471" y="215"/>
                      </a:lnTo>
                      <a:lnTo>
                        <a:pt x="478" y="216"/>
                      </a:lnTo>
                      <a:lnTo>
                        <a:pt x="485" y="216"/>
                      </a:lnTo>
                      <a:lnTo>
                        <a:pt x="496" y="216"/>
                      </a:lnTo>
                      <a:lnTo>
                        <a:pt x="504" y="215"/>
                      </a:lnTo>
                      <a:lnTo>
                        <a:pt x="512" y="213"/>
                      </a:lnTo>
                      <a:lnTo>
                        <a:pt x="518" y="211"/>
                      </a:lnTo>
                      <a:lnTo>
                        <a:pt x="523" y="208"/>
                      </a:lnTo>
                      <a:lnTo>
                        <a:pt x="527" y="204"/>
                      </a:lnTo>
                      <a:lnTo>
                        <a:pt x="531" y="200"/>
                      </a:lnTo>
                      <a:lnTo>
                        <a:pt x="534" y="194"/>
                      </a:lnTo>
                      <a:lnTo>
                        <a:pt x="544" y="169"/>
                      </a:lnTo>
                      <a:lnTo>
                        <a:pt x="558" y="135"/>
                      </a:lnTo>
                      <a:lnTo>
                        <a:pt x="564" y="127"/>
                      </a:lnTo>
                      <a:lnTo>
                        <a:pt x="572" y="119"/>
                      </a:lnTo>
                      <a:lnTo>
                        <a:pt x="582" y="110"/>
                      </a:lnTo>
                      <a:lnTo>
                        <a:pt x="593" y="100"/>
                      </a:lnTo>
                      <a:lnTo>
                        <a:pt x="620" y="80"/>
                      </a:lnTo>
                      <a:lnTo>
                        <a:pt x="649" y="61"/>
                      </a:lnTo>
                      <a:lnTo>
                        <a:pt x="679" y="43"/>
                      </a:lnTo>
                      <a:lnTo>
                        <a:pt x="708" y="25"/>
                      </a:lnTo>
                      <a:lnTo>
                        <a:pt x="732" y="11"/>
                      </a:lnTo>
                      <a:lnTo>
                        <a:pt x="750" y="0"/>
                      </a:lnTo>
                      <a:lnTo>
                        <a:pt x="777" y="1"/>
                      </a:lnTo>
                      <a:lnTo>
                        <a:pt x="798" y="3"/>
                      </a:lnTo>
                      <a:lnTo>
                        <a:pt x="806" y="3"/>
                      </a:lnTo>
                      <a:lnTo>
                        <a:pt x="815" y="3"/>
                      </a:lnTo>
                      <a:lnTo>
                        <a:pt x="823" y="2"/>
                      </a:lnTo>
                      <a:lnTo>
                        <a:pt x="830" y="0"/>
                      </a:lnTo>
                      <a:lnTo>
                        <a:pt x="830" y="6"/>
                      </a:lnTo>
                      <a:lnTo>
                        <a:pt x="850" y="6"/>
                      </a:lnTo>
                      <a:lnTo>
                        <a:pt x="850" y="17"/>
                      </a:lnTo>
                      <a:lnTo>
                        <a:pt x="851" y="26"/>
                      </a:lnTo>
                      <a:lnTo>
                        <a:pt x="854" y="35"/>
                      </a:lnTo>
                      <a:lnTo>
                        <a:pt x="856" y="41"/>
                      </a:lnTo>
                      <a:lnTo>
                        <a:pt x="861" y="52"/>
                      </a:lnTo>
                      <a:lnTo>
                        <a:pt x="867" y="62"/>
                      </a:lnTo>
                      <a:lnTo>
                        <a:pt x="873" y="71"/>
                      </a:lnTo>
                      <a:lnTo>
                        <a:pt x="879" y="82"/>
                      </a:lnTo>
                      <a:lnTo>
                        <a:pt x="880" y="90"/>
                      </a:lnTo>
                      <a:lnTo>
                        <a:pt x="882" y="98"/>
                      </a:lnTo>
                      <a:lnTo>
                        <a:pt x="883" y="107"/>
                      </a:lnTo>
                      <a:lnTo>
                        <a:pt x="883" y="117"/>
                      </a:lnTo>
                      <a:lnTo>
                        <a:pt x="883" y="204"/>
                      </a:lnTo>
                      <a:lnTo>
                        <a:pt x="875" y="206"/>
                      </a:lnTo>
                      <a:lnTo>
                        <a:pt x="868" y="207"/>
                      </a:lnTo>
                      <a:lnTo>
                        <a:pt x="860" y="207"/>
                      </a:lnTo>
                      <a:lnTo>
                        <a:pt x="852" y="206"/>
                      </a:lnTo>
                      <a:lnTo>
                        <a:pt x="838" y="205"/>
                      </a:lnTo>
                      <a:lnTo>
                        <a:pt x="830" y="204"/>
                      </a:lnTo>
                      <a:lnTo>
                        <a:pt x="826" y="236"/>
                      </a:lnTo>
                      <a:lnTo>
                        <a:pt x="825" y="262"/>
                      </a:lnTo>
                      <a:lnTo>
                        <a:pt x="826" y="272"/>
                      </a:lnTo>
                      <a:lnTo>
                        <a:pt x="826" y="281"/>
                      </a:lnTo>
                      <a:lnTo>
                        <a:pt x="828" y="289"/>
                      </a:lnTo>
                      <a:lnTo>
                        <a:pt x="830" y="296"/>
                      </a:lnTo>
                      <a:lnTo>
                        <a:pt x="870" y="29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25" name="Freeform 383">
                  <a:extLst>
                    <a:ext uri="{FF2B5EF4-FFF2-40B4-BE49-F238E27FC236}">
                      <a16:creationId xmlns:a16="http://schemas.microsoft.com/office/drawing/2014/main" xmlns="" id="{720AD98F-8CB4-4DC6-9139-A6C0C7534DD9}"/>
                    </a:ext>
                  </a:extLst>
                </p:cNvPr>
                <p:cNvSpPr>
                  <a:spLocks/>
                </p:cNvSpPr>
                <p:nvPr>
                  <p:custDataLst>
                    <p:tags r:id="rId272"/>
                  </p:custDataLst>
                </p:nvPr>
              </p:nvSpPr>
              <p:spPr bwMode="auto">
                <a:xfrm>
                  <a:off x="4557713" y="2935288"/>
                  <a:ext cx="411162" cy="611187"/>
                </a:xfrm>
                <a:custGeom>
                  <a:avLst/>
                  <a:gdLst>
                    <a:gd name="T0" fmla="*/ 2147483646 w 943"/>
                    <a:gd name="T1" fmla="*/ 2147483646 h 1172"/>
                    <a:gd name="T2" fmla="*/ 2147483646 w 943"/>
                    <a:gd name="T3" fmla="*/ 2147483646 h 1172"/>
                    <a:gd name="T4" fmla="*/ 2147483646 w 943"/>
                    <a:gd name="T5" fmla="*/ 2147483646 h 1172"/>
                    <a:gd name="T6" fmla="*/ 2147483646 w 943"/>
                    <a:gd name="T7" fmla="*/ 2147483646 h 1172"/>
                    <a:gd name="T8" fmla="*/ 2147483646 w 943"/>
                    <a:gd name="T9" fmla="*/ 2147483646 h 1172"/>
                    <a:gd name="T10" fmla="*/ 2147483646 w 943"/>
                    <a:gd name="T11" fmla="*/ 2147483646 h 1172"/>
                    <a:gd name="T12" fmla="*/ 2147483646 w 943"/>
                    <a:gd name="T13" fmla="*/ 2147483646 h 1172"/>
                    <a:gd name="T14" fmla="*/ 2147483646 w 943"/>
                    <a:gd name="T15" fmla="*/ 2147483646 h 1172"/>
                    <a:gd name="T16" fmla="*/ 2147483646 w 943"/>
                    <a:gd name="T17" fmla="*/ 2147483646 h 1172"/>
                    <a:gd name="T18" fmla="*/ 2147483646 w 943"/>
                    <a:gd name="T19" fmla="*/ 2147483646 h 1172"/>
                    <a:gd name="T20" fmla="*/ 2147483646 w 943"/>
                    <a:gd name="T21" fmla="*/ 2147483646 h 1172"/>
                    <a:gd name="T22" fmla="*/ 2147483646 w 943"/>
                    <a:gd name="T23" fmla="*/ 2147483646 h 1172"/>
                    <a:gd name="T24" fmla="*/ 2147483646 w 943"/>
                    <a:gd name="T25" fmla="*/ 2147483646 h 1172"/>
                    <a:gd name="T26" fmla="*/ 2147483646 w 943"/>
                    <a:gd name="T27" fmla="*/ 2147483646 h 1172"/>
                    <a:gd name="T28" fmla="*/ 2147483646 w 943"/>
                    <a:gd name="T29" fmla="*/ 2147483646 h 1172"/>
                    <a:gd name="T30" fmla="*/ 2147483646 w 943"/>
                    <a:gd name="T31" fmla="*/ 2147483646 h 1172"/>
                    <a:gd name="T32" fmla="*/ 2147483646 w 943"/>
                    <a:gd name="T33" fmla="*/ 2147483646 h 1172"/>
                    <a:gd name="T34" fmla="*/ 2147483646 w 943"/>
                    <a:gd name="T35" fmla="*/ 2147483646 h 1172"/>
                    <a:gd name="T36" fmla="*/ 2147483646 w 943"/>
                    <a:gd name="T37" fmla="*/ 2147483646 h 1172"/>
                    <a:gd name="T38" fmla="*/ 2147483646 w 943"/>
                    <a:gd name="T39" fmla="*/ 2147483646 h 1172"/>
                    <a:gd name="T40" fmla="*/ 2147483646 w 943"/>
                    <a:gd name="T41" fmla="*/ 2147483646 h 1172"/>
                    <a:gd name="T42" fmla="*/ 2147483646 w 943"/>
                    <a:gd name="T43" fmla="*/ 2147483646 h 1172"/>
                    <a:gd name="T44" fmla="*/ 2147483646 w 943"/>
                    <a:gd name="T45" fmla="*/ 2147483646 h 1172"/>
                    <a:gd name="T46" fmla="*/ 2147483646 w 943"/>
                    <a:gd name="T47" fmla="*/ 2147483646 h 1172"/>
                    <a:gd name="T48" fmla="*/ 2147483646 w 943"/>
                    <a:gd name="T49" fmla="*/ 2147483646 h 1172"/>
                    <a:gd name="T50" fmla="*/ 2147483646 w 943"/>
                    <a:gd name="T51" fmla="*/ 2147483646 h 1172"/>
                    <a:gd name="T52" fmla="*/ 2147483646 w 943"/>
                    <a:gd name="T53" fmla="*/ 2147483646 h 1172"/>
                    <a:gd name="T54" fmla="*/ 2147483646 w 943"/>
                    <a:gd name="T55" fmla="*/ 2147483646 h 1172"/>
                    <a:gd name="T56" fmla="*/ 2147483646 w 943"/>
                    <a:gd name="T57" fmla="*/ 2147483646 h 1172"/>
                    <a:gd name="T58" fmla="*/ 2147483646 w 943"/>
                    <a:gd name="T59" fmla="*/ 2147483646 h 1172"/>
                    <a:gd name="T60" fmla="*/ 2147483646 w 943"/>
                    <a:gd name="T61" fmla="*/ 2147483646 h 1172"/>
                    <a:gd name="T62" fmla="*/ 2147483646 w 943"/>
                    <a:gd name="T63" fmla="*/ 2147483646 h 1172"/>
                    <a:gd name="T64" fmla="*/ 2147483646 w 943"/>
                    <a:gd name="T65" fmla="*/ 2147483646 h 1172"/>
                    <a:gd name="T66" fmla="*/ 2147483646 w 943"/>
                    <a:gd name="T67" fmla="*/ 2147483646 h 1172"/>
                    <a:gd name="T68" fmla="*/ 2147483646 w 943"/>
                    <a:gd name="T69" fmla="*/ 2147483646 h 1172"/>
                    <a:gd name="T70" fmla="*/ 2147483646 w 943"/>
                    <a:gd name="T71" fmla="*/ 2147483646 h 1172"/>
                    <a:gd name="T72" fmla="*/ 2147483646 w 943"/>
                    <a:gd name="T73" fmla="*/ 2147483646 h 1172"/>
                    <a:gd name="T74" fmla="*/ 2147483646 w 943"/>
                    <a:gd name="T75" fmla="*/ 2147483646 h 1172"/>
                    <a:gd name="T76" fmla="*/ 2147483646 w 943"/>
                    <a:gd name="T77" fmla="*/ 2147483646 h 1172"/>
                    <a:gd name="T78" fmla="*/ 2147483646 w 943"/>
                    <a:gd name="T79" fmla="*/ 2147483646 h 1172"/>
                    <a:gd name="T80" fmla="*/ 2147483646 w 943"/>
                    <a:gd name="T81" fmla="*/ 2147483646 h 1172"/>
                    <a:gd name="T82" fmla="*/ 2147483646 w 943"/>
                    <a:gd name="T83" fmla="*/ 2147483646 h 1172"/>
                    <a:gd name="T84" fmla="*/ 2147483646 w 943"/>
                    <a:gd name="T85" fmla="*/ 2147483646 h 1172"/>
                    <a:gd name="T86" fmla="*/ 2147483646 w 943"/>
                    <a:gd name="T87" fmla="*/ 2147483646 h 1172"/>
                    <a:gd name="T88" fmla="*/ 2147483646 w 943"/>
                    <a:gd name="T89" fmla="*/ 2147483646 h 1172"/>
                    <a:gd name="T90" fmla="*/ 2147483646 w 943"/>
                    <a:gd name="T91" fmla="*/ 2147483646 h 1172"/>
                    <a:gd name="T92" fmla="*/ 2147483646 w 943"/>
                    <a:gd name="T93" fmla="*/ 2147483646 h 1172"/>
                    <a:gd name="T94" fmla="*/ 2147483646 w 943"/>
                    <a:gd name="T95" fmla="*/ 2147483646 h 1172"/>
                    <a:gd name="T96" fmla="*/ 2147483646 w 943"/>
                    <a:gd name="T97" fmla="*/ 2147483646 h 1172"/>
                    <a:gd name="T98" fmla="*/ 2147483646 w 943"/>
                    <a:gd name="T99" fmla="*/ 2147483646 h 1172"/>
                    <a:gd name="T100" fmla="*/ 2147483646 w 943"/>
                    <a:gd name="T101" fmla="*/ 2147483646 h 1172"/>
                    <a:gd name="T102" fmla="*/ 2147483646 w 943"/>
                    <a:gd name="T103" fmla="*/ 2147483646 h 1172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943"/>
                    <a:gd name="T157" fmla="*/ 0 h 1172"/>
                    <a:gd name="T158" fmla="*/ 943 w 943"/>
                    <a:gd name="T159" fmla="*/ 1172 h 1172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943" h="1172">
                      <a:moveTo>
                        <a:pt x="711" y="30"/>
                      </a:moveTo>
                      <a:lnTo>
                        <a:pt x="715" y="25"/>
                      </a:lnTo>
                      <a:lnTo>
                        <a:pt x="728" y="15"/>
                      </a:lnTo>
                      <a:lnTo>
                        <a:pt x="735" y="9"/>
                      </a:lnTo>
                      <a:lnTo>
                        <a:pt x="742" y="5"/>
                      </a:lnTo>
                      <a:lnTo>
                        <a:pt x="747" y="1"/>
                      </a:lnTo>
                      <a:lnTo>
                        <a:pt x="751" y="0"/>
                      </a:lnTo>
                      <a:lnTo>
                        <a:pt x="755" y="10"/>
                      </a:lnTo>
                      <a:lnTo>
                        <a:pt x="759" y="17"/>
                      </a:lnTo>
                      <a:lnTo>
                        <a:pt x="765" y="23"/>
                      </a:lnTo>
                      <a:lnTo>
                        <a:pt x="769" y="26"/>
                      </a:lnTo>
                      <a:lnTo>
                        <a:pt x="776" y="28"/>
                      </a:lnTo>
                      <a:lnTo>
                        <a:pt x="784" y="30"/>
                      </a:lnTo>
                      <a:lnTo>
                        <a:pt x="792" y="30"/>
                      </a:lnTo>
                      <a:lnTo>
                        <a:pt x="803" y="30"/>
                      </a:lnTo>
                      <a:lnTo>
                        <a:pt x="804" y="40"/>
                      </a:lnTo>
                      <a:lnTo>
                        <a:pt x="808" y="48"/>
                      </a:lnTo>
                      <a:lnTo>
                        <a:pt x="810" y="51"/>
                      </a:lnTo>
                      <a:lnTo>
                        <a:pt x="812" y="53"/>
                      </a:lnTo>
                      <a:lnTo>
                        <a:pt x="814" y="55"/>
                      </a:lnTo>
                      <a:lnTo>
                        <a:pt x="816" y="55"/>
                      </a:lnTo>
                      <a:lnTo>
                        <a:pt x="823" y="76"/>
                      </a:lnTo>
                      <a:lnTo>
                        <a:pt x="830" y="94"/>
                      </a:lnTo>
                      <a:lnTo>
                        <a:pt x="832" y="102"/>
                      </a:lnTo>
                      <a:lnTo>
                        <a:pt x="835" y="109"/>
                      </a:lnTo>
                      <a:lnTo>
                        <a:pt x="836" y="116"/>
                      </a:lnTo>
                      <a:lnTo>
                        <a:pt x="837" y="123"/>
                      </a:lnTo>
                      <a:lnTo>
                        <a:pt x="836" y="150"/>
                      </a:lnTo>
                      <a:lnTo>
                        <a:pt x="836" y="175"/>
                      </a:lnTo>
                      <a:lnTo>
                        <a:pt x="837" y="187"/>
                      </a:lnTo>
                      <a:lnTo>
                        <a:pt x="838" y="200"/>
                      </a:lnTo>
                      <a:lnTo>
                        <a:pt x="842" y="211"/>
                      </a:lnTo>
                      <a:lnTo>
                        <a:pt x="845" y="222"/>
                      </a:lnTo>
                      <a:lnTo>
                        <a:pt x="851" y="232"/>
                      </a:lnTo>
                      <a:lnTo>
                        <a:pt x="857" y="243"/>
                      </a:lnTo>
                      <a:lnTo>
                        <a:pt x="866" y="253"/>
                      </a:lnTo>
                      <a:lnTo>
                        <a:pt x="876" y="264"/>
                      </a:lnTo>
                      <a:lnTo>
                        <a:pt x="889" y="273"/>
                      </a:lnTo>
                      <a:lnTo>
                        <a:pt x="904" y="283"/>
                      </a:lnTo>
                      <a:lnTo>
                        <a:pt x="922" y="292"/>
                      </a:lnTo>
                      <a:lnTo>
                        <a:pt x="943" y="301"/>
                      </a:lnTo>
                      <a:lnTo>
                        <a:pt x="928" y="314"/>
                      </a:lnTo>
                      <a:lnTo>
                        <a:pt x="913" y="328"/>
                      </a:lnTo>
                      <a:lnTo>
                        <a:pt x="896" y="344"/>
                      </a:lnTo>
                      <a:lnTo>
                        <a:pt x="879" y="361"/>
                      </a:lnTo>
                      <a:lnTo>
                        <a:pt x="871" y="370"/>
                      </a:lnTo>
                      <a:lnTo>
                        <a:pt x="865" y="380"/>
                      </a:lnTo>
                      <a:lnTo>
                        <a:pt x="859" y="389"/>
                      </a:lnTo>
                      <a:lnTo>
                        <a:pt x="854" y="399"/>
                      </a:lnTo>
                      <a:lnTo>
                        <a:pt x="851" y="410"/>
                      </a:lnTo>
                      <a:lnTo>
                        <a:pt x="849" y="420"/>
                      </a:lnTo>
                      <a:lnTo>
                        <a:pt x="848" y="432"/>
                      </a:lnTo>
                      <a:lnTo>
                        <a:pt x="851" y="443"/>
                      </a:lnTo>
                      <a:lnTo>
                        <a:pt x="830" y="616"/>
                      </a:lnTo>
                      <a:lnTo>
                        <a:pt x="809" y="635"/>
                      </a:lnTo>
                      <a:lnTo>
                        <a:pt x="787" y="652"/>
                      </a:lnTo>
                      <a:lnTo>
                        <a:pt x="782" y="658"/>
                      </a:lnTo>
                      <a:lnTo>
                        <a:pt x="778" y="663"/>
                      </a:lnTo>
                      <a:lnTo>
                        <a:pt x="774" y="670"/>
                      </a:lnTo>
                      <a:lnTo>
                        <a:pt x="770" y="677"/>
                      </a:lnTo>
                      <a:lnTo>
                        <a:pt x="767" y="686"/>
                      </a:lnTo>
                      <a:lnTo>
                        <a:pt x="766" y="696"/>
                      </a:lnTo>
                      <a:lnTo>
                        <a:pt x="764" y="708"/>
                      </a:lnTo>
                      <a:lnTo>
                        <a:pt x="764" y="721"/>
                      </a:lnTo>
                      <a:lnTo>
                        <a:pt x="763" y="721"/>
                      </a:lnTo>
                      <a:lnTo>
                        <a:pt x="758" y="721"/>
                      </a:lnTo>
                      <a:lnTo>
                        <a:pt x="755" y="723"/>
                      </a:lnTo>
                      <a:lnTo>
                        <a:pt x="752" y="726"/>
                      </a:lnTo>
                      <a:lnTo>
                        <a:pt x="748" y="730"/>
                      </a:lnTo>
                      <a:lnTo>
                        <a:pt x="745" y="735"/>
                      </a:lnTo>
                      <a:lnTo>
                        <a:pt x="741" y="743"/>
                      </a:lnTo>
                      <a:lnTo>
                        <a:pt x="736" y="752"/>
                      </a:lnTo>
                      <a:lnTo>
                        <a:pt x="732" y="766"/>
                      </a:lnTo>
                      <a:lnTo>
                        <a:pt x="728" y="780"/>
                      </a:lnTo>
                      <a:lnTo>
                        <a:pt x="723" y="798"/>
                      </a:lnTo>
                      <a:lnTo>
                        <a:pt x="719" y="821"/>
                      </a:lnTo>
                      <a:lnTo>
                        <a:pt x="714" y="845"/>
                      </a:lnTo>
                      <a:lnTo>
                        <a:pt x="711" y="875"/>
                      </a:lnTo>
                      <a:lnTo>
                        <a:pt x="701" y="875"/>
                      </a:lnTo>
                      <a:lnTo>
                        <a:pt x="692" y="877"/>
                      </a:lnTo>
                      <a:lnTo>
                        <a:pt x="684" y="880"/>
                      </a:lnTo>
                      <a:lnTo>
                        <a:pt x="677" y="884"/>
                      </a:lnTo>
                      <a:lnTo>
                        <a:pt x="670" y="890"/>
                      </a:lnTo>
                      <a:lnTo>
                        <a:pt x="665" y="896"/>
                      </a:lnTo>
                      <a:lnTo>
                        <a:pt x="662" y="903"/>
                      </a:lnTo>
                      <a:lnTo>
                        <a:pt x="659" y="910"/>
                      </a:lnTo>
                      <a:lnTo>
                        <a:pt x="658" y="917"/>
                      </a:lnTo>
                      <a:lnTo>
                        <a:pt x="658" y="924"/>
                      </a:lnTo>
                      <a:lnTo>
                        <a:pt x="661" y="929"/>
                      </a:lnTo>
                      <a:lnTo>
                        <a:pt x="664" y="934"/>
                      </a:lnTo>
                      <a:lnTo>
                        <a:pt x="666" y="936"/>
                      </a:lnTo>
                      <a:lnTo>
                        <a:pt x="669" y="937"/>
                      </a:lnTo>
                      <a:lnTo>
                        <a:pt x="673" y="938"/>
                      </a:lnTo>
                      <a:lnTo>
                        <a:pt x="677" y="939"/>
                      </a:lnTo>
                      <a:lnTo>
                        <a:pt x="686" y="939"/>
                      </a:lnTo>
                      <a:lnTo>
                        <a:pt x="697" y="936"/>
                      </a:lnTo>
                      <a:lnTo>
                        <a:pt x="700" y="941"/>
                      </a:lnTo>
                      <a:lnTo>
                        <a:pt x="702" y="944"/>
                      </a:lnTo>
                      <a:lnTo>
                        <a:pt x="706" y="947"/>
                      </a:lnTo>
                      <a:lnTo>
                        <a:pt x="709" y="950"/>
                      </a:lnTo>
                      <a:lnTo>
                        <a:pt x="717" y="955"/>
                      </a:lnTo>
                      <a:lnTo>
                        <a:pt x="724" y="958"/>
                      </a:lnTo>
                      <a:lnTo>
                        <a:pt x="731" y="963"/>
                      </a:lnTo>
                      <a:lnTo>
                        <a:pt x="739" y="968"/>
                      </a:lnTo>
                      <a:lnTo>
                        <a:pt x="742" y="971"/>
                      </a:lnTo>
                      <a:lnTo>
                        <a:pt x="745" y="975"/>
                      </a:lnTo>
                      <a:lnTo>
                        <a:pt x="747" y="981"/>
                      </a:lnTo>
                      <a:lnTo>
                        <a:pt x="751" y="986"/>
                      </a:lnTo>
                      <a:lnTo>
                        <a:pt x="753" y="996"/>
                      </a:lnTo>
                      <a:lnTo>
                        <a:pt x="756" y="1007"/>
                      </a:lnTo>
                      <a:lnTo>
                        <a:pt x="759" y="1018"/>
                      </a:lnTo>
                      <a:lnTo>
                        <a:pt x="765" y="1028"/>
                      </a:lnTo>
                      <a:lnTo>
                        <a:pt x="767" y="1033"/>
                      </a:lnTo>
                      <a:lnTo>
                        <a:pt x="771" y="1039"/>
                      </a:lnTo>
                      <a:lnTo>
                        <a:pt x="775" y="1043"/>
                      </a:lnTo>
                      <a:lnTo>
                        <a:pt x="779" y="1046"/>
                      </a:lnTo>
                      <a:lnTo>
                        <a:pt x="785" y="1049"/>
                      </a:lnTo>
                      <a:lnTo>
                        <a:pt x="790" y="1052"/>
                      </a:lnTo>
                      <a:lnTo>
                        <a:pt x="797" y="1053"/>
                      </a:lnTo>
                      <a:lnTo>
                        <a:pt x="803" y="1053"/>
                      </a:lnTo>
                      <a:lnTo>
                        <a:pt x="810" y="1063"/>
                      </a:lnTo>
                      <a:lnTo>
                        <a:pt x="814" y="1071"/>
                      </a:lnTo>
                      <a:lnTo>
                        <a:pt x="815" y="1076"/>
                      </a:lnTo>
                      <a:lnTo>
                        <a:pt x="815" y="1081"/>
                      </a:lnTo>
                      <a:lnTo>
                        <a:pt x="809" y="1094"/>
                      </a:lnTo>
                      <a:lnTo>
                        <a:pt x="797" y="1115"/>
                      </a:lnTo>
                      <a:lnTo>
                        <a:pt x="776" y="1115"/>
                      </a:lnTo>
                      <a:lnTo>
                        <a:pt x="755" y="1115"/>
                      </a:lnTo>
                      <a:lnTo>
                        <a:pt x="734" y="1115"/>
                      </a:lnTo>
                      <a:lnTo>
                        <a:pt x="718" y="1115"/>
                      </a:lnTo>
                      <a:lnTo>
                        <a:pt x="718" y="1127"/>
                      </a:lnTo>
                      <a:lnTo>
                        <a:pt x="718" y="1139"/>
                      </a:lnTo>
                      <a:lnTo>
                        <a:pt x="711" y="1143"/>
                      </a:lnTo>
                      <a:lnTo>
                        <a:pt x="697" y="1152"/>
                      </a:lnTo>
                      <a:lnTo>
                        <a:pt x="687" y="1157"/>
                      </a:lnTo>
                      <a:lnTo>
                        <a:pt x="675" y="1161"/>
                      </a:lnTo>
                      <a:lnTo>
                        <a:pt x="663" y="1163"/>
                      </a:lnTo>
                      <a:lnTo>
                        <a:pt x="651" y="1164"/>
                      </a:lnTo>
                      <a:lnTo>
                        <a:pt x="628" y="1166"/>
                      </a:lnTo>
                      <a:lnTo>
                        <a:pt x="598" y="1170"/>
                      </a:lnTo>
                      <a:lnTo>
                        <a:pt x="583" y="1171"/>
                      </a:lnTo>
                      <a:lnTo>
                        <a:pt x="566" y="1172"/>
                      </a:lnTo>
                      <a:lnTo>
                        <a:pt x="549" y="1172"/>
                      </a:lnTo>
                      <a:lnTo>
                        <a:pt x="531" y="1170"/>
                      </a:lnTo>
                      <a:lnTo>
                        <a:pt x="515" y="1158"/>
                      </a:lnTo>
                      <a:lnTo>
                        <a:pt x="496" y="1141"/>
                      </a:lnTo>
                      <a:lnTo>
                        <a:pt x="486" y="1133"/>
                      </a:lnTo>
                      <a:lnTo>
                        <a:pt x="475" y="1127"/>
                      </a:lnTo>
                      <a:lnTo>
                        <a:pt x="470" y="1124"/>
                      </a:lnTo>
                      <a:lnTo>
                        <a:pt x="464" y="1123"/>
                      </a:lnTo>
                      <a:lnTo>
                        <a:pt x="457" y="1121"/>
                      </a:lnTo>
                      <a:lnTo>
                        <a:pt x="452" y="1121"/>
                      </a:lnTo>
                      <a:lnTo>
                        <a:pt x="432" y="1122"/>
                      </a:lnTo>
                      <a:lnTo>
                        <a:pt x="405" y="1124"/>
                      </a:lnTo>
                      <a:lnTo>
                        <a:pt x="390" y="1125"/>
                      </a:lnTo>
                      <a:lnTo>
                        <a:pt x="375" y="1126"/>
                      </a:lnTo>
                      <a:lnTo>
                        <a:pt x="360" y="1126"/>
                      </a:lnTo>
                      <a:lnTo>
                        <a:pt x="345" y="1125"/>
                      </a:lnTo>
                      <a:lnTo>
                        <a:pt x="331" y="1123"/>
                      </a:lnTo>
                      <a:lnTo>
                        <a:pt x="319" y="1120"/>
                      </a:lnTo>
                      <a:lnTo>
                        <a:pt x="314" y="1117"/>
                      </a:lnTo>
                      <a:lnTo>
                        <a:pt x="308" y="1115"/>
                      </a:lnTo>
                      <a:lnTo>
                        <a:pt x="304" y="1112"/>
                      </a:lnTo>
                      <a:lnTo>
                        <a:pt x="300" y="1108"/>
                      </a:lnTo>
                      <a:lnTo>
                        <a:pt x="297" y="1104"/>
                      </a:lnTo>
                      <a:lnTo>
                        <a:pt x="295" y="1100"/>
                      </a:lnTo>
                      <a:lnTo>
                        <a:pt x="293" y="1095"/>
                      </a:lnTo>
                      <a:lnTo>
                        <a:pt x="292" y="1088"/>
                      </a:lnTo>
                      <a:lnTo>
                        <a:pt x="293" y="1082"/>
                      </a:lnTo>
                      <a:lnTo>
                        <a:pt x="294" y="1075"/>
                      </a:lnTo>
                      <a:lnTo>
                        <a:pt x="295" y="1068"/>
                      </a:lnTo>
                      <a:lnTo>
                        <a:pt x="298" y="1060"/>
                      </a:lnTo>
                      <a:lnTo>
                        <a:pt x="291" y="1049"/>
                      </a:lnTo>
                      <a:lnTo>
                        <a:pt x="283" y="1039"/>
                      </a:lnTo>
                      <a:lnTo>
                        <a:pt x="274" y="1029"/>
                      </a:lnTo>
                      <a:lnTo>
                        <a:pt x="265" y="1021"/>
                      </a:lnTo>
                      <a:lnTo>
                        <a:pt x="248" y="1005"/>
                      </a:lnTo>
                      <a:lnTo>
                        <a:pt x="230" y="990"/>
                      </a:lnTo>
                      <a:lnTo>
                        <a:pt x="222" y="983"/>
                      </a:lnTo>
                      <a:lnTo>
                        <a:pt x="216" y="974"/>
                      </a:lnTo>
                      <a:lnTo>
                        <a:pt x="209" y="966"/>
                      </a:lnTo>
                      <a:lnTo>
                        <a:pt x="204" y="957"/>
                      </a:lnTo>
                      <a:lnTo>
                        <a:pt x="198" y="947"/>
                      </a:lnTo>
                      <a:lnTo>
                        <a:pt x="195" y="937"/>
                      </a:lnTo>
                      <a:lnTo>
                        <a:pt x="193" y="925"/>
                      </a:lnTo>
                      <a:lnTo>
                        <a:pt x="193" y="911"/>
                      </a:lnTo>
                      <a:lnTo>
                        <a:pt x="180" y="911"/>
                      </a:lnTo>
                      <a:lnTo>
                        <a:pt x="169" y="909"/>
                      </a:lnTo>
                      <a:lnTo>
                        <a:pt x="160" y="907"/>
                      </a:lnTo>
                      <a:lnTo>
                        <a:pt x="152" y="903"/>
                      </a:lnTo>
                      <a:lnTo>
                        <a:pt x="146" y="898"/>
                      </a:lnTo>
                      <a:lnTo>
                        <a:pt x="140" y="893"/>
                      </a:lnTo>
                      <a:lnTo>
                        <a:pt x="136" y="887"/>
                      </a:lnTo>
                      <a:lnTo>
                        <a:pt x="131" y="880"/>
                      </a:lnTo>
                      <a:lnTo>
                        <a:pt x="120" y="846"/>
                      </a:lnTo>
                      <a:lnTo>
                        <a:pt x="106" y="806"/>
                      </a:lnTo>
                      <a:lnTo>
                        <a:pt x="105" y="801"/>
                      </a:lnTo>
                      <a:lnTo>
                        <a:pt x="103" y="796"/>
                      </a:lnTo>
                      <a:lnTo>
                        <a:pt x="99" y="792"/>
                      </a:lnTo>
                      <a:lnTo>
                        <a:pt x="97" y="788"/>
                      </a:lnTo>
                      <a:lnTo>
                        <a:pt x="90" y="780"/>
                      </a:lnTo>
                      <a:lnTo>
                        <a:pt x="83" y="774"/>
                      </a:lnTo>
                      <a:lnTo>
                        <a:pt x="75" y="768"/>
                      </a:lnTo>
                      <a:lnTo>
                        <a:pt x="69" y="761"/>
                      </a:lnTo>
                      <a:lnTo>
                        <a:pt x="65" y="758"/>
                      </a:lnTo>
                      <a:lnTo>
                        <a:pt x="63" y="753"/>
                      </a:lnTo>
                      <a:lnTo>
                        <a:pt x="61" y="749"/>
                      </a:lnTo>
                      <a:lnTo>
                        <a:pt x="60" y="745"/>
                      </a:lnTo>
                      <a:lnTo>
                        <a:pt x="46" y="711"/>
                      </a:lnTo>
                      <a:lnTo>
                        <a:pt x="33" y="676"/>
                      </a:lnTo>
                      <a:lnTo>
                        <a:pt x="25" y="659"/>
                      </a:lnTo>
                      <a:lnTo>
                        <a:pt x="17" y="643"/>
                      </a:lnTo>
                      <a:lnTo>
                        <a:pt x="9" y="628"/>
                      </a:lnTo>
                      <a:lnTo>
                        <a:pt x="0" y="616"/>
                      </a:lnTo>
                      <a:lnTo>
                        <a:pt x="4" y="611"/>
                      </a:lnTo>
                      <a:lnTo>
                        <a:pt x="8" y="607"/>
                      </a:lnTo>
                      <a:lnTo>
                        <a:pt x="11" y="602"/>
                      </a:lnTo>
                      <a:lnTo>
                        <a:pt x="13" y="598"/>
                      </a:lnTo>
                      <a:lnTo>
                        <a:pt x="16" y="587"/>
                      </a:lnTo>
                      <a:lnTo>
                        <a:pt x="18" y="577"/>
                      </a:lnTo>
                      <a:lnTo>
                        <a:pt x="19" y="567"/>
                      </a:lnTo>
                      <a:lnTo>
                        <a:pt x="20" y="555"/>
                      </a:lnTo>
                      <a:lnTo>
                        <a:pt x="23" y="543"/>
                      </a:lnTo>
                      <a:lnTo>
                        <a:pt x="26" y="529"/>
                      </a:lnTo>
                      <a:lnTo>
                        <a:pt x="29" y="521"/>
                      </a:lnTo>
                      <a:lnTo>
                        <a:pt x="33" y="514"/>
                      </a:lnTo>
                      <a:lnTo>
                        <a:pt x="37" y="507"/>
                      </a:lnTo>
                      <a:lnTo>
                        <a:pt x="41" y="500"/>
                      </a:lnTo>
                      <a:lnTo>
                        <a:pt x="52" y="487"/>
                      </a:lnTo>
                      <a:lnTo>
                        <a:pt x="64" y="474"/>
                      </a:lnTo>
                      <a:lnTo>
                        <a:pt x="78" y="464"/>
                      </a:lnTo>
                      <a:lnTo>
                        <a:pt x="90" y="456"/>
                      </a:lnTo>
                      <a:lnTo>
                        <a:pt x="102" y="449"/>
                      </a:lnTo>
                      <a:lnTo>
                        <a:pt x="113" y="443"/>
                      </a:lnTo>
                      <a:lnTo>
                        <a:pt x="113" y="222"/>
                      </a:lnTo>
                      <a:lnTo>
                        <a:pt x="113" y="212"/>
                      </a:lnTo>
                      <a:lnTo>
                        <a:pt x="113" y="200"/>
                      </a:lnTo>
                      <a:lnTo>
                        <a:pt x="113" y="188"/>
                      </a:lnTo>
                      <a:lnTo>
                        <a:pt x="113" y="178"/>
                      </a:lnTo>
                      <a:lnTo>
                        <a:pt x="123" y="179"/>
                      </a:lnTo>
                      <a:lnTo>
                        <a:pt x="131" y="179"/>
                      </a:lnTo>
                      <a:lnTo>
                        <a:pt x="139" y="178"/>
                      </a:lnTo>
                      <a:lnTo>
                        <a:pt x="146" y="176"/>
                      </a:lnTo>
                      <a:lnTo>
                        <a:pt x="150" y="174"/>
                      </a:lnTo>
                      <a:lnTo>
                        <a:pt x="153" y="171"/>
                      </a:lnTo>
                      <a:lnTo>
                        <a:pt x="157" y="167"/>
                      </a:lnTo>
                      <a:lnTo>
                        <a:pt x="159" y="162"/>
                      </a:lnTo>
                      <a:lnTo>
                        <a:pt x="160" y="152"/>
                      </a:lnTo>
                      <a:lnTo>
                        <a:pt x="160" y="137"/>
                      </a:lnTo>
                      <a:lnTo>
                        <a:pt x="160" y="122"/>
                      </a:lnTo>
                      <a:lnTo>
                        <a:pt x="159" y="105"/>
                      </a:lnTo>
                      <a:lnTo>
                        <a:pt x="159" y="93"/>
                      </a:lnTo>
                      <a:lnTo>
                        <a:pt x="159" y="83"/>
                      </a:lnTo>
                      <a:lnTo>
                        <a:pt x="159" y="76"/>
                      </a:lnTo>
                      <a:lnTo>
                        <a:pt x="159" y="67"/>
                      </a:lnTo>
                      <a:lnTo>
                        <a:pt x="664" y="73"/>
                      </a:lnTo>
                      <a:lnTo>
                        <a:pt x="668" y="74"/>
                      </a:lnTo>
                      <a:lnTo>
                        <a:pt x="672" y="73"/>
                      </a:lnTo>
                      <a:lnTo>
                        <a:pt x="676" y="72"/>
                      </a:lnTo>
                      <a:lnTo>
                        <a:pt x="679" y="69"/>
                      </a:lnTo>
                      <a:lnTo>
                        <a:pt x="688" y="63"/>
                      </a:lnTo>
                      <a:lnTo>
                        <a:pt x="695" y="54"/>
                      </a:lnTo>
                      <a:lnTo>
                        <a:pt x="707" y="38"/>
                      </a:lnTo>
                      <a:lnTo>
                        <a:pt x="711" y="3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326" name="Group 384">
                  <a:extLst>
                    <a:ext uri="{FF2B5EF4-FFF2-40B4-BE49-F238E27FC236}">
                      <a16:creationId xmlns:a16="http://schemas.microsoft.com/office/drawing/2014/main" xmlns="" id="{2799832C-58E4-44CE-B6D6-FD76D6857ED4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273"/>
                  </p:custDataLst>
                </p:nvPr>
              </p:nvGrpSpPr>
              <p:grpSpPr bwMode="auto">
                <a:xfrm>
                  <a:off x="3341688" y="3136900"/>
                  <a:ext cx="80962" cy="82550"/>
                  <a:chOff x="2352" y="2343"/>
                  <a:chExt cx="65" cy="53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487" name="Freeform 385">
                    <a:extLst>
                      <a:ext uri="{FF2B5EF4-FFF2-40B4-BE49-F238E27FC236}">
                        <a16:creationId xmlns:a16="http://schemas.microsoft.com/office/drawing/2014/main" xmlns="" id="{EF15E319-50EE-44DB-9032-625B81D4F00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52" y="2343"/>
                    <a:ext cx="16" cy="11"/>
                  </a:xfrm>
                  <a:custGeom>
                    <a:avLst/>
                    <a:gdLst>
                      <a:gd name="T0" fmla="*/ 0 w 51"/>
                      <a:gd name="T1" fmla="*/ 0 h 33"/>
                      <a:gd name="T2" fmla="*/ 0 w 51"/>
                      <a:gd name="T3" fmla="*/ 0 h 33"/>
                      <a:gd name="T4" fmla="*/ 0 w 51"/>
                      <a:gd name="T5" fmla="*/ 0 h 33"/>
                      <a:gd name="T6" fmla="*/ 0 w 51"/>
                      <a:gd name="T7" fmla="*/ 0 h 33"/>
                      <a:gd name="T8" fmla="*/ 0 w 51"/>
                      <a:gd name="T9" fmla="*/ 0 h 33"/>
                      <a:gd name="T10" fmla="*/ 0 w 51"/>
                      <a:gd name="T11" fmla="*/ 0 h 33"/>
                      <a:gd name="T12" fmla="*/ 0 w 51"/>
                      <a:gd name="T13" fmla="*/ 0 h 33"/>
                      <a:gd name="T14" fmla="*/ 0 w 51"/>
                      <a:gd name="T15" fmla="*/ 0 h 33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51"/>
                      <a:gd name="T25" fmla="*/ 0 h 33"/>
                      <a:gd name="T26" fmla="*/ 51 w 51"/>
                      <a:gd name="T27" fmla="*/ 33 h 33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51" h="33">
                        <a:moveTo>
                          <a:pt x="46" y="0"/>
                        </a:moveTo>
                        <a:lnTo>
                          <a:pt x="0" y="5"/>
                        </a:lnTo>
                        <a:lnTo>
                          <a:pt x="4" y="28"/>
                        </a:lnTo>
                        <a:lnTo>
                          <a:pt x="10" y="33"/>
                        </a:lnTo>
                        <a:lnTo>
                          <a:pt x="35" y="25"/>
                        </a:lnTo>
                        <a:lnTo>
                          <a:pt x="48" y="15"/>
                        </a:lnTo>
                        <a:lnTo>
                          <a:pt x="51" y="8"/>
                        </a:lnTo>
                        <a:lnTo>
                          <a:pt x="46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88" name="Freeform 386">
                    <a:extLst>
                      <a:ext uri="{FF2B5EF4-FFF2-40B4-BE49-F238E27FC236}">
                        <a16:creationId xmlns:a16="http://schemas.microsoft.com/office/drawing/2014/main" xmlns="" id="{9028B0C5-DF8C-4E3F-AEC8-73C647DB51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2" y="2354"/>
                    <a:ext cx="20" cy="7"/>
                  </a:xfrm>
                  <a:custGeom>
                    <a:avLst/>
                    <a:gdLst>
                      <a:gd name="T0" fmla="*/ 0 w 61"/>
                      <a:gd name="T1" fmla="*/ 0 h 20"/>
                      <a:gd name="T2" fmla="*/ 0 w 61"/>
                      <a:gd name="T3" fmla="*/ 0 h 20"/>
                      <a:gd name="T4" fmla="*/ 0 w 61"/>
                      <a:gd name="T5" fmla="*/ 0 h 20"/>
                      <a:gd name="T6" fmla="*/ 0 w 61"/>
                      <a:gd name="T7" fmla="*/ 0 h 20"/>
                      <a:gd name="T8" fmla="*/ 0 w 61"/>
                      <a:gd name="T9" fmla="*/ 0 h 20"/>
                      <a:gd name="T10" fmla="*/ 0 w 61"/>
                      <a:gd name="T11" fmla="*/ 0 h 20"/>
                      <a:gd name="T12" fmla="*/ 0 w 61"/>
                      <a:gd name="T13" fmla="*/ 0 h 20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61"/>
                      <a:gd name="T22" fmla="*/ 0 h 20"/>
                      <a:gd name="T23" fmla="*/ 61 w 61"/>
                      <a:gd name="T24" fmla="*/ 20 h 20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61" h="20">
                        <a:moveTo>
                          <a:pt x="61" y="6"/>
                        </a:moveTo>
                        <a:lnTo>
                          <a:pt x="53" y="2"/>
                        </a:lnTo>
                        <a:lnTo>
                          <a:pt x="0" y="0"/>
                        </a:lnTo>
                        <a:lnTo>
                          <a:pt x="2" y="14"/>
                        </a:lnTo>
                        <a:lnTo>
                          <a:pt x="7" y="20"/>
                        </a:lnTo>
                        <a:lnTo>
                          <a:pt x="18" y="13"/>
                        </a:lnTo>
                        <a:lnTo>
                          <a:pt x="61" y="6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89" name="Freeform 387">
                    <a:extLst>
                      <a:ext uri="{FF2B5EF4-FFF2-40B4-BE49-F238E27FC236}">
                        <a16:creationId xmlns:a16="http://schemas.microsoft.com/office/drawing/2014/main" xmlns="" id="{47E06B1B-92B0-430E-A97D-7261D5596CA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07" y="2346"/>
                    <a:ext cx="5" cy="12"/>
                  </a:xfrm>
                  <a:custGeom>
                    <a:avLst/>
                    <a:gdLst>
                      <a:gd name="T0" fmla="*/ 0 w 15"/>
                      <a:gd name="T1" fmla="*/ 0 h 36"/>
                      <a:gd name="T2" fmla="*/ 0 w 15"/>
                      <a:gd name="T3" fmla="*/ 0 h 36"/>
                      <a:gd name="T4" fmla="*/ 0 w 15"/>
                      <a:gd name="T5" fmla="*/ 0 h 36"/>
                      <a:gd name="T6" fmla="*/ 0 w 15"/>
                      <a:gd name="T7" fmla="*/ 0 h 36"/>
                      <a:gd name="T8" fmla="*/ 0 w 15"/>
                      <a:gd name="T9" fmla="*/ 0 h 36"/>
                      <a:gd name="T10" fmla="*/ 0 w 15"/>
                      <a:gd name="T11" fmla="*/ 0 h 36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5"/>
                      <a:gd name="T19" fmla="*/ 0 h 36"/>
                      <a:gd name="T20" fmla="*/ 15 w 15"/>
                      <a:gd name="T21" fmla="*/ 36 h 36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5" h="36">
                        <a:moveTo>
                          <a:pt x="2" y="0"/>
                        </a:moveTo>
                        <a:lnTo>
                          <a:pt x="0" y="20"/>
                        </a:lnTo>
                        <a:lnTo>
                          <a:pt x="0" y="36"/>
                        </a:lnTo>
                        <a:lnTo>
                          <a:pt x="11" y="35"/>
                        </a:lnTo>
                        <a:lnTo>
                          <a:pt x="15" y="14"/>
                        </a:lnTo>
                        <a:lnTo>
                          <a:pt x="2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90" name="Freeform 388">
                    <a:extLst>
                      <a:ext uri="{FF2B5EF4-FFF2-40B4-BE49-F238E27FC236}">
                        <a16:creationId xmlns:a16="http://schemas.microsoft.com/office/drawing/2014/main" xmlns="" id="{D8CECF74-CCA6-4B67-BD4F-E193157D753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06" y="2361"/>
                    <a:ext cx="11" cy="11"/>
                  </a:xfrm>
                  <a:custGeom>
                    <a:avLst/>
                    <a:gdLst>
                      <a:gd name="T0" fmla="*/ 0 w 37"/>
                      <a:gd name="T1" fmla="*/ 0 h 33"/>
                      <a:gd name="T2" fmla="*/ 0 w 37"/>
                      <a:gd name="T3" fmla="*/ 0 h 33"/>
                      <a:gd name="T4" fmla="*/ 0 w 37"/>
                      <a:gd name="T5" fmla="*/ 0 h 33"/>
                      <a:gd name="T6" fmla="*/ 0 w 37"/>
                      <a:gd name="T7" fmla="*/ 0 h 33"/>
                      <a:gd name="T8" fmla="*/ 0 w 37"/>
                      <a:gd name="T9" fmla="*/ 0 h 33"/>
                      <a:gd name="T10" fmla="*/ 0 w 37"/>
                      <a:gd name="T11" fmla="*/ 0 h 33"/>
                      <a:gd name="T12" fmla="*/ 0 w 37"/>
                      <a:gd name="T13" fmla="*/ 0 h 33"/>
                      <a:gd name="T14" fmla="*/ 0 w 37"/>
                      <a:gd name="T15" fmla="*/ 0 h 33"/>
                      <a:gd name="T16" fmla="*/ 0 w 37"/>
                      <a:gd name="T17" fmla="*/ 0 h 33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37"/>
                      <a:gd name="T28" fmla="*/ 0 h 33"/>
                      <a:gd name="T29" fmla="*/ 37 w 37"/>
                      <a:gd name="T30" fmla="*/ 33 h 33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37" h="33">
                        <a:moveTo>
                          <a:pt x="4" y="4"/>
                        </a:moveTo>
                        <a:lnTo>
                          <a:pt x="22" y="0"/>
                        </a:lnTo>
                        <a:lnTo>
                          <a:pt x="35" y="6"/>
                        </a:lnTo>
                        <a:lnTo>
                          <a:pt x="37" y="22"/>
                        </a:lnTo>
                        <a:lnTo>
                          <a:pt x="24" y="33"/>
                        </a:lnTo>
                        <a:lnTo>
                          <a:pt x="11" y="33"/>
                        </a:lnTo>
                        <a:lnTo>
                          <a:pt x="2" y="24"/>
                        </a:lnTo>
                        <a:lnTo>
                          <a:pt x="0" y="16"/>
                        </a:lnTo>
                        <a:lnTo>
                          <a:pt x="4" y="4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91" name="Freeform 389">
                    <a:extLst>
                      <a:ext uri="{FF2B5EF4-FFF2-40B4-BE49-F238E27FC236}">
                        <a16:creationId xmlns:a16="http://schemas.microsoft.com/office/drawing/2014/main" xmlns="" id="{B4046EE1-FF79-4F73-A4F5-3183638495D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88" y="2378"/>
                    <a:ext cx="16" cy="18"/>
                  </a:xfrm>
                  <a:custGeom>
                    <a:avLst/>
                    <a:gdLst>
                      <a:gd name="T0" fmla="*/ 0 w 49"/>
                      <a:gd name="T1" fmla="*/ 0 h 54"/>
                      <a:gd name="T2" fmla="*/ 0 w 49"/>
                      <a:gd name="T3" fmla="*/ 0 h 54"/>
                      <a:gd name="T4" fmla="*/ 0 w 49"/>
                      <a:gd name="T5" fmla="*/ 0 h 54"/>
                      <a:gd name="T6" fmla="*/ 0 w 49"/>
                      <a:gd name="T7" fmla="*/ 0 h 54"/>
                      <a:gd name="T8" fmla="*/ 0 w 49"/>
                      <a:gd name="T9" fmla="*/ 0 h 54"/>
                      <a:gd name="T10" fmla="*/ 0 w 49"/>
                      <a:gd name="T11" fmla="*/ 0 h 54"/>
                      <a:gd name="T12" fmla="*/ 0 w 49"/>
                      <a:gd name="T13" fmla="*/ 0 h 54"/>
                      <a:gd name="T14" fmla="*/ 0 w 49"/>
                      <a:gd name="T15" fmla="*/ 0 h 54"/>
                      <a:gd name="T16" fmla="*/ 0 w 49"/>
                      <a:gd name="T17" fmla="*/ 0 h 54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49"/>
                      <a:gd name="T28" fmla="*/ 0 h 54"/>
                      <a:gd name="T29" fmla="*/ 49 w 49"/>
                      <a:gd name="T30" fmla="*/ 54 h 54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49" h="54">
                        <a:moveTo>
                          <a:pt x="2" y="0"/>
                        </a:moveTo>
                        <a:lnTo>
                          <a:pt x="0" y="0"/>
                        </a:lnTo>
                        <a:lnTo>
                          <a:pt x="2" y="50"/>
                        </a:lnTo>
                        <a:lnTo>
                          <a:pt x="18" y="54"/>
                        </a:lnTo>
                        <a:lnTo>
                          <a:pt x="44" y="45"/>
                        </a:lnTo>
                        <a:lnTo>
                          <a:pt x="49" y="31"/>
                        </a:lnTo>
                        <a:lnTo>
                          <a:pt x="40" y="21"/>
                        </a:lnTo>
                        <a:lnTo>
                          <a:pt x="19" y="8"/>
                        </a:lnTo>
                        <a:lnTo>
                          <a:pt x="2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92" name="Freeform 390">
                    <a:extLst>
                      <a:ext uri="{FF2B5EF4-FFF2-40B4-BE49-F238E27FC236}">
                        <a16:creationId xmlns:a16="http://schemas.microsoft.com/office/drawing/2014/main" xmlns="" id="{66B5CCF2-353D-47F2-A2A2-E515D7858F7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4" y="2388"/>
                    <a:ext cx="9" cy="7"/>
                  </a:xfrm>
                  <a:custGeom>
                    <a:avLst/>
                    <a:gdLst>
                      <a:gd name="T0" fmla="*/ 0 w 26"/>
                      <a:gd name="T1" fmla="*/ 0 h 22"/>
                      <a:gd name="T2" fmla="*/ 0 w 26"/>
                      <a:gd name="T3" fmla="*/ 0 h 22"/>
                      <a:gd name="T4" fmla="*/ 0 w 26"/>
                      <a:gd name="T5" fmla="*/ 0 h 22"/>
                      <a:gd name="T6" fmla="*/ 0 w 26"/>
                      <a:gd name="T7" fmla="*/ 0 h 22"/>
                      <a:gd name="T8" fmla="*/ 0 w 26"/>
                      <a:gd name="T9" fmla="*/ 0 h 22"/>
                      <a:gd name="T10" fmla="*/ 0 w 26"/>
                      <a:gd name="T11" fmla="*/ 0 h 22"/>
                      <a:gd name="T12" fmla="*/ 0 w 26"/>
                      <a:gd name="T13" fmla="*/ 0 h 2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26"/>
                      <a:gd name="T22" fmla="*/ 0 h 22"/>
                      <a:gd name="T23" fmla="*/ 26 w 26"/>
                      <a:gd name="T24" fmla="*/ 22 h 2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26" h="22">
                        <a:moveTo>
                          <a:pt x="18" y="0"/>
                        </a:moveTo>
                        <a:lnTo>
                          <a:pt x="3" y="2"/>
                        </a:lnTo>
                        <a:lnTo>
                          <a:pt x="0" y="15"/>
                        </a:lnTo>
                        <a:lnTo>
                          <a:pt x="6" y="21"/>
                        </a:lnTo>
                        <a:lnTo>
                          <a:pt x="19" y="22"/>
                        </a:lnTo>
                        <a:lnTo>
                          <a:pt x="26" y="11"/>
                        </a:lnTo>
                        <a:lnTo>
                          <a:pt x="18" y="0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327" name="Group 391">
                  <a:extLst>
                    <a:ext uri="{FF2B5EF4-FFF2-40B4-BE49-F238E27FC236}">
                      <a16:creationId xmlns:a16="http://schemas.microsoft.com/office/drawing/2014/main" xmlns="" id="{430E991A-3C7A-4AE4-B3A8-620A7A7FB2E7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274"/>
                  </p:custDataLst>
                </p:nvPr>
              </p:nvGrpSpPr>
              <p:grpSpPr bwMode="auto">
                <a:xfrm>
                  <a:off x="1187450" y="1196975"/>
                  <a:ext cx="1897063" cy="1133475"/>
                  <a:chOff x="527" y="1110"/>
                  <a:chExt cx="1410" cy="709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445" name="Freeform 392">
                    <a:extLst>
                      <a:ext uri="{FF2B5EF4-FFF2-40B4-BE49-F238E27FC236}">
                        <a16:creationId xmlns:a16="http://schemas.microsoft.com/office/drawing/2014/main" xmlns="" id="{660F30B0-1F79-492B-A00A-CDA26D33B8F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01" y="1427"/>
                    <a:ext cx="31" cy="17"/>
                  </a:xfrm>
                  <a:custGeom>
                    <a:avLst/>
                    <a:gdLst>
                      <a:gd name="T0" fmla="*/ 0 w 98"/>
                      <a:gd name="T1" fmla="*/ 0 h 54"/>
                      <a:gd name="T2" fmla="*/ 0 w 98"/>
                      <a:gd name="T3" fmla="*/ 0 h 54"/>
                      <a:gd name="T4" fmla="*/ 0 w 98"/>
                      <a:gd name="T5" fmla="*/ 0 h 54"/>
                      <a:gd name="T6" fmla="*/ 0 w 98"/>
                      <a:gd name="T7" fmla="*/ 0 h 54"/>
                      <a:gd name="T8" fmla="*/ 0 w 98"/>
                      <a:gd name="T9" fmla="*/ 0 h 54"/>
                      <a:gd name="T10" fmla="*/ 0 w 98"/>
                      <a:gd name="T11" fmla="*/ 0 h 54"/>
                      <a:gd name="T12" fmla="*/ 0 w 98"/>
                      <a:gd name="T13" fmla="*/ 0 h 54"/>
                      <a:gd name="T14" fmla="*/ 0 w 98"/>
                      <a:gd name="T15" fmla="*/ 0 h 54"/>
                      <a:gd name="T16" fmla="*/ 0 w 98"/>
                      <a:gd name="T17" fmla="*/ 0 h 54"/>
                      <a:gd name="T18" fmla="*/ 0 w 98"/>
                      <a:gd name="T19" fmla="*/ 0 h 54"/>
                      <a:gd name="T20" fmla="*/ 0 w 98"/>
                      <a:gd name="T21" fmla="*/ 0 h 54"/>
                      <a:gd name="T22" fmla="*/ 0 w 98"/>
                      <a:gd name="T23" fmla="*/ 0 h 54"/>
                      <a:gd name="T24" fmla="*/ 0 w 98"/>
                      <a:gd name="T25" fmla="*/ 0 h 54"/>
                      <a:gd name="T26" fmla="*/ 0 w 98"/>
                      <a:gd name="T27" fmla="*/ 0 h 54"/>
                      <a:gd name="T28" fmla="*/ 0 w 98"/>
                      <a:gd name="T29" fmla="*/ 0 h 54"/>
                      <a:gd name="T30" fmla="*/ 0 w 98"/>
                      <a:gd name="T31" fmla="*/ 0 h 54"/>
                      <a:gd name="T32" fmla="*/ 0 w 98"/>
                      <a:gd name="T33" fmla="*/ 0 h 54"/>
                      <a:gd name="T34" fmla="*/ 0 w 98"/>
                      <a:gd name="T35" fmla="*/ 0 h 54"/>
                      <a:gd name="T36" fmla="*/ 0 w 98"/>
                      <a:gd name="T37" fmla="*/ 0 h 54"/>
                      <a:gd name="T38" fmla="*/ 0 w 98"/>
                      <a:gd name="T39" fmla="*/ 0 h 54"/>
                      <a:gd name="T40" fmla="*/ 0 w 98"/>
                      <a:gd name="T41" fmla="*/ 0 h 54"/>
                      <a:gd name="T42" fmla="*/ 0 w 98"/>
                      <a:gd name="T43" fmla="*/ 0 h 54"/>
                      <a:gd name="T44" fmla="*/ 0 w 98"/>
                      <a:gd name="T45" fmla="*/ 0 h 54"/>
                      <a:gd name="T46" fmla="*/ 0 w 98"/>
                      <a:gd name="T47" fmla="*/ 0 h 54"/>
                      <a:gd name="T48" fmla="*/ 0 w 98"/>
                      <a:gd name="T49" fmla="*/ 0 h 54"/>
                      <a:gd name="T50" fmla="*/ 0 w 98"/>
                      <a:gd name="T51" fmla="*/ 0 h 54"/>
                      <a:gd name="T52" fmla="*/ 0 w 98"/>
                      <a:gd name="T53" fmla="*/ 0 h 54"/>
                      <a:gd name="T54" fmla="*/ 0 w 98"/>
                      <a:gd name="T55" fmla="*/ 0 h 54"/>
                      <a:gd name="T56" fmla="*/ 0 w 98"/>
                      <a:gd name="T57" fmla="*/ 0 h 54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w 98"/>
                      <a:gd name="T88" fmla="*/ 0 h 54"/>
                      <a:gd name="T89" fmla="*/ 98 w 98"/>
                      <a:gd name="T90" fmla="*/ 54 h 54"/>
                    </a:gdLst>
                    <a:ahLst/>
                    <a:cxnLst>
                      <a:cxn ang="T58">
                        <a:pos x="T0" y="T1"/>
                      </a:cxn>
                      <a:cxn ang="T59">
                        <a:pos x="T2" y="T3"/>
                      </a:cxn>
                      <a:cxn ang="T60">
                        <a:pos x="T4" y="T5"/>
                      </a:cxn>
                      <a:cxn ang="T61">
                        <a:pos x="T6" y="T7"/>
                      </a:cxn>
                      <a:cxn ang="T62">
                        <a:pos x="T8" y="T9"/>
                      </a:cxn>
                      <a:cxn ang="T63">
                        <a:pos x="T10" y="T11"/>
                      </a:cxn>
                      <a:cxn ang="T64">
                        <a:pos x="T12" y="T13"/>
                      </a:cxn>
                      <a:cxn ang="T65">
                        <a:pos x="T14" y="T15"/>
                      </a:cxn>
                      <a:cxn ang="T66">
                        <a:pos x="T16" y="T17"/>
                      </a:cxn>
                      <a:cxn ang="T67">
                        <a:pos x="T18" y="T19"/>
                      </a:cxn>
                      <a:cxn ang="T68">
                        <a:pos x="T20" y="T21"/>
                      </a:cxn>
                      <a:cxn ang="T69">
                        <a:pos x="T22" y="T23"/>
                      </a:cxn>
                      <a:cxn ang="T70">
                        <a:pos x="T24" y="T25"/>
                      </a:cxn>
                      <a:cxn ang="T71">
                        <a:pos x="T26" y="T27"/>
                      </a:cxn>
                      <a:cxn ang="T72">
                        <a:pos x="T28" y="T29"/>
                      </a:cxn>
                      <a:cxn ang="T73">
                        <a:pos x="T30" y="T31"/>
                      </a:cxn>
                      <a:cxn ang="T74">
                        <a:pos x="T32" y="T33"/>
                      </a:cxn>
                      <a:cxn ang="T75">
                        <a:pos x="T34" y="T35"/>
                      </a:cxn>
                      <a:cxn ang="T76">
                        <a:pos x="T36" y="T37"/>
                      </a:cxn>
                      <a:cxn ang="T77">
                        <a:pos x="T38" y="T39"/>
                      </a:cxn>
                      <a:cxn ang="T78">
                        <a:pos x="T40" y="T41"/>
                      </a:cxn>
                      <a:cxn ang="T79">
                        <a:pos x="T42" y="T43"/>
                      </a:cxn>
                      <a:cxn ang="T80">
                        <a:pos x="T44" y="T45"/>
                      </a:cxn>
                      <a:cxn ang="T81">
                        <a:pos x="T46" y="T47"/>
                      </a:cxn>
                      <a:cxn ang="T82">
                        <a:pos x="T48" y="T49"/>
                      </a:cxn>
                      <a:cxn ang="T83">
                        <a:pos x="T50" y="T51"/>
                      </a:cxn>
                      <a:cxn ang="T84">
                        <a:pos x="T52" y="T53"/>
                      </a:cxn>
                      <a:cxn ang="T85">
                        <a:pos x="T54" y="T55"/>
                      </a:cxn>
                      <a:cxn ang="T86">
                        <a:pos x="T56" y="T57"/>
                      </a:cxn>
                    </a:cxnLst>
                    <a:rect l="T87" t="T88" r="T89" b="T90"/>
                    <a:pathLst>
                      <a:path w="98" h="54">
                        <a:moveTo>
                          <a:pt x="0" y="41"/>
                        </a:moveTo>
                        <a:lnTo>
                          <a:pt x="5" y="46"/>
                        </a:lnTo>
                        <a:lnTo>
                          <a:pt x="13" y="50"/>
                        </a:lnTo>
                        <a:lnTo>
                          <a:pt x="23" y="53"/>
                        </a:lnTo>
                        <a:lnTo>
                          <a:pt x="32" y="54"/>
                        </a:lnTo>
                        <a:lnTo>
                          <a:pt x="38" y="54"/>
                        </a:lnTo>
                        <a:lnTo>
                          <a:pt x="45" y="53"/>
                        </a:lnTo>
                        <a:lnTo>
                          <a:pt x="50" y="51"/>
                        </a:lnTo>
                        <a:lnTo>
                          <a:pt x="56" y="49"/>
                        </a:lnTo>
                        <a:lnTo>
                          <a:pt x="67" y="42"/>
                        </a:lnTo>
                        <a:lnTo>
                          <a:pt x="75" y="35"/>
                        </a:lnTo>
                        <a:lnTo>
                          <a:pt x="84" y="28"/>
                        </a:lnTo>
                        <a:lnTo>
                          <a:pt x="91" y="20"/>
                        </a:lnTo>
                        <a:lnTo>
                          <a:pt x="95" y="12"/>
                        </a:lnTo>
                        <a:lnTo>
                          <a:pt x="98" y="4"/>
                        </a:lnTo>
                        <a:lnTo>
                          <a:pt x="91" y="2"/>
                        </a:lnTo>
                        <a:lnTo>
                          <a:pt x="83" y="0"/>
                        </a:lnTo>
                        <a:lnTo>
                          <a:pt x="75" y="0"/>
                        </a:lnTo>
                        <a:lnTo>
                          <a:pt x="68" y="0"/>
                        </a:lnTo>
                        <a:lnTo>
                          <a:pt x="59" y="1"/>
                        </a:lnTo>
                        <a:lnTo>
                          <a:pt x="51" y="3"/>
                        </a:lnTo>
                        <a:lnTo>
                          <a:pt x="43" y="6"/>
                        </a:lnTo>
                        <a:lnTo>
                          <a:pt x="37" y="9"/>
                        </a:lnTo>
                        <a:lnTo>
                          <a:pt x="23" y="17"/>
                        </a:lnTo>
                        <a:lnTo>
                          <a:pt x="12" y="25"/>
                        </a:lnTo>
                        <a:lnTo>
                          <a:pt x="7" y="29"/>
                        </a:lnTo>
                        <a:lnTo>
                          <a:pt x="4" y="33"/>
                        </a:lnTo>
                        <a:lnTo>
                          <a:pt x="1" y="37"/>
                        </a:lnTo>
                        <a:lnTo>
                          <a:pt x="0" y="41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46" name="Freeform 393">
                    <a:extLst>
                      <a:ext uri="{FF2B5EF4-FFF2-40B4-BE49-F238E27FC236}">
                        <a16:creationId xmlns:a16="http://schemas.microsoft.com/office/drawing/2014/main" xmlns="" id="{1F456417-C845-4ABA-AA21-DA2406A58FA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87" y="1551"/>
                    <a:ext cx="21" cy="8"/>
                  </a:xfrm>
                  <a:custGeom>
                    <a:avLst/>
                    <a:gdLst>
                      <a:gd name="T0" fmla="*/ 0 w 67"/>
                      <a:gd name="T1" fmla="*/ 0 h 28"/>
                      <a:gd name="T2" fmla="*/ 0 w 67"/>
                      <a:gd name="T3" fmla="*/ 0 h 28"/>
                      <a:gd name="T4" fmla="*/ 0 w 67"/>
                      <a:gd name="T5" fmla="*/ 0 h 28"/>
                      <a:gd name="T6" fmla="*/ 0 w 67"/>
                      <a:gd name="T7" fmla="*/ 0 h 28"/>
                      <a:gd name="T8" fmla="*/ 0 w 67"/>
                      <a:gd name="T9" fmla="*/ 0 h 28"/>
                      <a:gd name="T10" fmla="*/ 0 w 67"/>
                      <a:gd name="T11" fmla="*/ 0 h 28"/>
                      <a:gd name="T12" fmla="*/ 0 w 67"/>
                      <a:gd name="T13" fmla="*/ 0 h 28"/>
                      <a:gd name="T14" fmla="*/ 0 w 67"/>
                      <a:gd name="T15" fmla="*/ 0 h 28"/>
                      <a:gd name="T16" fmla="*/ 0 w 67"/>
                      <a:gd name="T17" fmla="*/ 0 h 28"/>
                      <a:gd name="T18" fmla="*/ 0 w 67"/>
                      <a:gd name="T19" fmla="*/ 0 h 28"/>
                      <a:gd name="T20" fmla="*/ 0 w 67"/>
                      <a:gd name="T21" fmla="*/ 0 h 28"/>
                      <a:gd name="T22" fmla="*/ 0 w 67"/>
                      <a:gd name="T23" fmla="*/ 0 h 28"/>
                      <a:gd name="T24" fmla="*/ 0 w 67"/>
                      <a:gd name="T25" fmla="*/ 0 h 28"/>
                      <a:gd name="T26" fmla="*/ 0 w 67"/>
                      <a:gd name="T27" fmla="*/ 0 h 28"/>
                      <a:gd name="T28" fmla="*/ 0 w 67"/>
                      <a:gd name="T29" fmla="*/ 0 h 28"/>
                      <a:gd name="T30" fmla="*/ 0 w 67"/>
                      <a:gd name="T31" fmla="*/ 0 h 28"/>
                      <a:gd name="T32" fmla="*/ 0 w 67"/>
                      <a:gd name="T33" fmla="*/ 0 h 28"/>
                      <a:gd name="T34" fmla="*/ 0 w 67"/>
                      <a:gd name="T35" fmla="*/ 0 h 28"/>
                      <a:gd name="T36" fmla="*/ 0 w 67"/>
                      <a:gd name="T37" fmla="*/ 0 h 28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67"/>
                      <a:gd name="T58" fmla="*/ 0 h 28"/>
                      <a:gd name="T59" fmla="*/ 67 w 67"/>
                      <a:gd name="T60" fmla="*/ 28 h 28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67" h="28">
                        <a:moveTo>
                          <a:pt x="0" y="27"/>
                        </a:moveTo>
                        <a:lnTo>
                          <a:pt x="11" y="28"/>
                        </a:lnTo>
                        <a:lnTo>
                          <a:pt x="21" y="27"/>
                        </a:lnTo>
                        <a:lnTo>
                          <a:pt x="31" y="25"/>
                        </a:lnTo>
                        <a:lnTo>
                          <a:pt x="41" y="21"/>
                        </a:lnTo>
                        <a:lnTo>
                          <a:pt x="49" y="17"/>
                        </a:lnTo>
                        <a:lnTo>
                          <a:pt x="57" y="12"/>
                        </a:lnTo>
                        <a:lnTo>
                          <a:pt x="63" y="7"/>
                        </a:lnTo>
                        <a:lnTo>
                          <a:pt x="67" y="3"/>
                        </a:lnTo>
                        <a:lnTo>
                          <a:pt x="57" y="1"/>
                        </a:lnTo>
                        <a:lnTo>
                          <a:pt x="46" y="0"/>
                        </a:lnTo>
                        <a:lnTo>
                          <a:pt x="36" y="1"/>
                        </a:lnTo>
                        <a:lnTo>
                          <a:pt x="26" y="3"/>
                        </a:lnTo>
                        <a:lnTo>
                          <a:pt x="17" y="7"/>
                        </a:lnTo>
                        <a:lnTo>
                          <a:pt x="10" y="12"/>
                        </a:lnTo>
                        <a:lnTo>
                          <a:pt x="7" y="15"/>
                        </a:lnTo>
                        <a:lnTo>
                          <a:pt x="4" y="19"/>
                        </a:lnTo>
                        <a:lnTo>
                          <a:pt x="2" y="22"/>
                        </a:lnTo>
                        <a:lnTo>
                          <a:pt x="0" y="27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47" name="Freeform 394">
                    <a:extLst>
                      <a:ext uri="{FF2B5EF4-FFF2-40B4-BE49-F238E27FC236}">
                        <a16:creationId xmlns:a16="http://schemas.microsoft.com/office/drawing/2014/main" xmlns="" id="{6A44D83C-FC78-45A1-9F06-64CAB5A5BA7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32" y="1608"/>
                    <a:ext cx="11" cy="11"/>
                  </a:xfrm>
                  <a:custGeom>
                    <a:avLst/>
                    <a:gdLst>
                      <a:gd name="T0" fmla="*/ 0 w 32"/>
                      <a:gd name="T1" fmla="*/ 0 h 36"/>
                      <a:gd name="T2" fmla="*/ 0 w 32"/>
                      <a:gd name="T3" fmla="*/ 0 h 36"/>
                      <a:gd name="T4" fmla="*/ 0 w 32"/>
                      <a:gd name="T5" fmla="*/ 0 h 36"/>
                      <a:gd name="T6" fmla="*/ 0 w 32"/>
                      <a:gd name="T7" fmla="*/ 0 h 36"/>
                      <a:gd name="T8" fmla="*/ 0 w 32"/>
                      <a:gd name="T9" fmla="*/ 0 h 36"/>
                      <a:gd name="T10" fmla="*/ 0 w 32"/>
                      <a:gd name="T11" fmla="*/ 0 h 36"/>
                      <a:gd name="T12" fmla="*/ 0 w 32"/>
                      <a:gd name="T13" fmla="*/ 0 h 36"/>
                      <a:gd name="T14" fmla="*/ 0 w 32"/>
                      <a:gd name="T15" fmla="*/ 0 h 36"/>
                      <a:gd name="T16" fmla="*/ 0 w 32"/>
                      <a:gd name="T17" fmla="*/ 0 h 36"/>
                      <a:gd name="T18" fmla="*/ 0 w 32"/>
                      <a:gd name="T19" fmla="*/ 0 h 36"/>
                      <a:gd name="T20" fmla="*/ 0 w 32"/>
                      <a:gd name="T21" fmla="*/ 0 h 36"/>
                      <a:gd name="T22" fmla="*/ 0 w 32"/>
                      <a:gd name="T23" fmla="*/ 0 h 36"/>
                      <a:gd name="T24" fmla="*/ 0 w 32"/>
                      <a:gd name="T25" fmla="*/ 0 h 36"/>
                      <a:gd name="T26" fmla="*/ 0 w 32"/>
                      <a:gd name="T27" fmla="*/ 0 h 36"/>
                      <a:gd name="T28" fmla="*/ 0 w 32"/>
                      <a:gd name="T29" fmla="*/ 0 h 36"/>
                      <a:gd name="T30" fmla="*/ 0 w 32"/>
                      <a:gd name="T31" fmla="*/ 0 h 36"/>
                      <a:gd name="T32" fmla="*/ 0 w 32"/>
                      <a:gd name="T33" fmla="*/ 0 h 36"/>
                      <a:gd name="T34" fmla="*/ 0 w 32"/>
                      <a:gd name="T35" fmla="*/ 0 h 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32"/>
                      <a:gd name="T55" fmla="*/ 0 h 36"/>
                      <a:gd name="T56" fmla="*/ 32 w 32"/>
                      <a:gd name="T57" fmla="*/ 36 h 36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32" h="36">
                        <a:moveTo>
                          <a:pt x="0" y="18"/>
                        </a:moveTo>
                        <a:lnTo>
                          <a:pt x="1" y="24"/>
                        </a:lnTo>
                        <a:lnTo>
                          <a:pt x="4" y="29"/>
                        </a:lnTo>
                        <a:lnTo>
                          <a:pt x="6" y="32"/>
                        </a:lnTo>
                        <a:lnTo>
                          <a:pt x="8" y="34"/>
                        </a:lnTo>
                        <a:lnTo>
                          <a:pt x="11" y="36"/>
                        </a:lnTo>
                        <a:lnTo>
                          <a:pt x="13" y="36"/>
                        </a:lnTo>
                        <a:lnTo>
                          <a:pt x="32" y="36"/>
                        </a:lnTo>
                        <a:lnTo>
                          <a:pt x="32" y="22"/>
                        </a:lnTo>
                        <a:lnTo>
                          <a:pt x="31" y="14"/>
                        </a:lnTo>
                        <a:lnTo>
                          <a:pt x="30" y="7"/>
                        </a:lnTo>
                        <a:lnTo>
                          <a:pt x="26" y="0"/>
                        </a:lnTo>
                        <a:lnTo>
                          <a:pt x="19" y="2"/>
                        </a:lnTo>
                        <a:lnTo>
                          <a:pt x="11" y="7"/>
                        </a:lnTo>
                        <a:lnTo>
                          <a:pt x="6" y="10"/>
                        </a:lnTo>
                        <a:lnTo>
                          <a:pt x="3" y="13"/>
                        </a:lnTo>
                        <a:lnTo>
                          <a:pt x="1" y="16"/>
                        </a:lnTo>
                        <a:lnTo>
                          <a:pt x="0" y="18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48" name="Freeform 395">
                    <a:extLst>
                      <a:ext uri="{FF2B5EF4-FFF2-40B4-BE49-F238E27FC236}">
                        <a16:creationId xmlns:a16="http://schemas.microsoft.com/office/drawing/2014/main" xmlns="" id="{2503A1A5-5356-4A69-A6CD-8263BACB2C4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79" y="1314"/>
                    <a:ext cx="46" cy="17"/>
                  </a:xfrm>
                  <a:custGeom>
                    <a:avLst/>
                    <a:gdLst>
                      <a:gd name="T0" fmla="*/ 0 w 146"/>
                      <a:gd name="T1" fmla="*/ 0 h 52"/>
                      <a:gd name="T2" fmla="*/ 0 w 146"/>
                      <a:gd name="T3" fmla="*/ 0 h 52"/>
                      <a:gd name="T4" fmla="*/ 0 w 146"/>
                      <a:gd name="T5" fmla="*/ 0 h 52"/>
                      <a:gd name="T6" fmla="*/ 0 w 146"/>
                      <a:gd name="T7" fmla="*/ 0 h 52"/>
                      <a:gd name="T8" fmla="*/ 0 w 146"/>
                      <a:gd name="T9" fmla="*/ 0 h 52"/>
                      <a:gd name="T10" fmla="*/ 0 w 146"/>
                      <a:gd name="T11" fmla="*/ 0 h 52"/>
                      <a:gd name="T12" fmla="*/ 0 w 146"/>
                      <a:gd name="T13" fmla="*/ 0 h 52"/>
                      <a:gd name="T14" fmla="*/ 0 w 146"/>
                      <a:gd name="T15" fmla="*/ 0 h 52"/>
                      <a:gd name="T16" fmla="*/ 0 w 146"/>
                      <a:gd name="T17" fmla="*/ 0 h 52"/>
                      <a:gd name="T18" fmla="*/ 0 w 146"/>
                      <a:gd name="T19" fmla="*/ 0 h 52"/>
                      <a:gd name="T20" fmla="*/ 0 w 146"/>
                      <a:gd name="T21" fmla="*/ 0 h 52"/>
                      <a:gd name="T22" fmla="*/ 0 w 146"/>
                      <a:gd name="T23" fmla="*/ 0 h 52"/>
                      <a:gd name="T24" fmla="*/ 0 w 146"/>
                      <a:gd name="T25" fmla="*/ 0 h 52"/>
                      <a:gd name="T26" fmla="*/ 0 w 146"/>
                      <a:gd name="T27" fmla="*/ 0 h 52"/>
                      <a:gd name="T28" fmla="*/ 0 w 146"/>
                      <a:gd name="T29" fmla="*/ 0 h 52"/>
                      <a:gd name="T30" fmla="*/ 0 w 146"/>
                      <a:gd name="T31" fmla="*/ 0 h 52"/>
                      <a:gd name="T32" fmla="*/ 0 w 146"/>
                      <a:gd name="T33" fmla="*/ 0 h 52"/>
                      <a:gd name="T34" fmla="*/ 0 w 146"/>
                      <a:gd name="T35" fmla="*/ 0 h 52"/>
                      <a:gd name="T36" fmla="*/ 0 w 146"/>
                      <a:gd name="T37" fmla="*/ 0 h 52"/>
                      <a:gd name="T38" fmla="*/ 0 w 146"/>
                      <a:gd name="T39" fmla="*/ 0 h 52"/>
                      <a:gd name="T40" fmla="*/ 0 w 146"/>
                      <a:gd name="T41" fmla="*/ 0 h 52"/>
                      <a:gd name="T42" fmla="*/ 0 w 146"/>
                      <a:gd name="T43" fmla="*/ 0 h 52"/>
                      <a:gd name="T44" fmla="*/ 0 w 146"/>
                      <a:gd name="T45" fmla="*/ 0 h 52"/>
                      <a:gd name="T46" fmla="*/ 0 w 146"/>
                      <a:gd name="T47" fmla="*/ 0 h 52"/>
                      <a:gd name="T48" fmla="*/ 0 w 146"/>
                      <a:gd name="T49" fmla="*/ 0 h 52"/>
                      <a:gd name="T50" fmla="*/ 0 w 146"/>
                      <a:gd name="T51" fmla="*/ 0 h 52"/>
                      <a:gd name="T52" fmla="*/ 0 w 146"/>
                      <a:gd name="T53" fmla="*/ 0 h 52"/>
                      <a:gd name="T54" fmla="*/ 0 w 146"/>
                      <a:gd name="T55" fmla="*/ 0 h 52"/>
                      <a:gd name="T56" fmla="*/ 0 w 146"/>
                      <a:gd name="T57" fmla="*/ 0 h 52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w 146"/>
                      <a:gd name="T88" fmla="*/ 0 h 52"/>
                      <a:gd name="T89" fmla="*/ 146 w 146"/>
                      <a:gd name="T90" fmla="*/ 52 h 52"/>
                    </a:gdLst>
                    <a:ahLst/>
                    <a:cxnLst>
                      <a:cxn ang="T58">
                        <a:pos x="T0" y="T1"/>
                      </a:cxn>
                      <a:cxn ang="T59">
                        <a:pos x="T2" y="T3"/>
                      </a:cxn>
                      <a:cxn ang="T60">
                        <a:pos x="T4" y="T5"/>
                      </a:cxn>
                      <a:cxn ang="T61">
                        <a:pos x="T6" y="T7"/>
                      </a:cxn>
                      <a:cxn ang="T62">
                        <a:pos x="T8" y="T9"/>
                      </a:cxn>
                      <a:cxn ang="T63">
                        <a:pos x="T10" y="T11"/>
                      </a:cxn>
                      <a:cxn ang="T64">
                        <a:pos x="T12" y="T13"/>
                      </a:cxn>
                      <a:cxn ang="T65">
                        <a:pos x="T14" y="T15"/>
                      </a:cxn>
                      <a:cxn ang="T66">
                        <a:pos x="T16" y="T17"/>
                      </a:cxn>
                      <a:cxn ang="T67">
                        <a:pos x="T18" y="T19"/>
                      </a:cxn>
                      <a:cxn ang="T68">
                        <a:pos x="T20" y="T21"/>
                      </a:cxn>
                      <a:cxn ang="T69">
                        <a:pos x="T22" y="T23"/>
                      </a:cxn>
                      <a:cxn ang="T70">
                        <a:pos x="T24" y="T25"/>
                      </a:cxn>
                      <a:cxn ang="T71">
                        <a:pos x="T26" y="T27"/>
                      </a:cxn>
                      <a:cxn ang="T72">
                        <a:pos x="T28" y="T29"/>
                      </a:cxn>
                      <a:cxn ang="T73">
                        <a:pos x="T30" y="T31"/>
                      </a:cxn>
                      <a:cxn ang="T74">
                        <a:pos x="T32" y="T33"/>
                      </a:cxn>
                      <a:cxn ang="T75">
                        <a:pos x="T34" y="T35"/>
                      </a:cxn>
                      <a:cxn ang="T76">
                        <a:pos x="T36" y="T37"/>
                      </a:cxn>
                      <a:cxn ang="T77">
                        <a:pos x="T38" y="T39"/>
                      </a:cxn>
                      <a:cxn ang="T78">
                        <a:pos x="T40" y="T41"/>
                      </a:cxn>
                      <a:cxn ang="T79">
                        <a:pos x="T42" y="T43"/>
                      </a:cxn>
                      <a:cxn ang="T80">
                        <a:pos x="T44" y="T45"/>
                      </a:cxn>
                      <a:cxn ang="T81">
                        <a:pos x="T46" y="T47"/>
                      </a:cxn>
                      <a:cxn ang="T82">
                        <a:pos x="T48" y="T49"/>
                      </a:cxn>
                      <a:cxn ang="T83">
                        <a:pos x="T50" y="T51"/>
                      </a:cxn>
                      <a:cxn ang="T84">
                        <a:pos x="T52" y="T53"/>
                      </a:cxn>
                      <a:cxn ang="T85">
                        <a:pos x="T54" y="T55"/>
                      </a:cxn>
                      <a:cxn ang="T86">
                        <a:pos x="T56" y="T57"/>
                      </a:cxn>
                    </a:cxnLst>
                    <a:rect l="T87" t="T88" r="T89" b="T90"/>
                    <a:pathLst>
                      <a:path w="146" h="52">
                        <a:moveTo>
                          <a:pt x="0" y="43"/>
                        </a:moveTo>
                        <a:lnTo>
                          <a:pt x="11" y="46"/>
                        </a:lnTo>
                        <a:lnTo>
                          <a:pt x="22" y="48"/>
                        </a:lnTo>
                        <a:lnTo>
                          <a:pt x="33" y="51"/>
                        </a:lnTo>
                        <a:lnTo>
                          <a:pt x="43" y="52"/>
                        </a:lnTo>
                        <a:lnTo>
                          <a:pt x="63" y="52"/>
                        </a:lnTo>
                        <a:lnTo>
                          <a:pt x="82" y="51"/>
                        </a:lnTo>
                        <a:lnTo>
                          <a:pt x="117" y="46"/>
                        </a:lnTo>
                        <a:lnTo>
                          <a:pt x="146" y="43"/>
                        </a:lnTo>
                        <a:lnTo>
                          <a:pt x="144" y="36"/>
                        </a:lnTo>
                        <a:lnTo>
                          <a:pt x="142" y="30"/>
                        </a:lnTo>
                        <a:lnTo>
                          <a:pt x="139" y="24"/>
                        </a:lnTo>
                        <a:lnTo>
                          <a:pt x="137" y="19"/>
                        </a:lnTo>
                        <a:lnTo>
                          <a:pt x="134" y="15"/>
                        </a:lnTo>
                        <a:lnTo>
                          <a:pt x="129" y="11"/>
                        </a:lnTo>
                        <a:lnTo>
                          <a:pt x="125" y="8"/>
                        </a:lnTo>
                        <a:lnTo>
                          <a:pt x="121" y="6"/>
                        </a:lnTo>
                        <a:lnTo>
                          <a:pt x="111" y="2"/>
                        </a:lnTo>
                        <a:lnTo>
                          <a:pt x="101" y="0"/>
                        </a:lnTo>
                        <a:lnTo>
                          <a:pt x="89" y="1"/>
                        </a:lnTo>
                        <a:lnTo>
                          <a:pt x="78" y="2"/>
                        </a:lnTo>
                        <a:lnTo>
                          <a:pt x="66" y="5"/>
                        </a:lnTo>
                        <a:lnTo>
                          <a:pt x="54" y="9"/>
                        </a:lnTo>
                        <a:lnTo>
                          <a:pt x="43" y="14"/>
                        </a:lnTo>
                        <a:lnTo>
                          <a:pt x="32" y="19"/>
                        </a:lnTo>
                        <a:lnTo>
                          <a:pt x="22" y="25"/>
                        </a:lnTo>
                        <a:lnTo>
                          <a:pt x="13" y="31"/>
                        </a:lnTo>
                        <a:lnTo>
                          <a:pt x="5" y="37"/>
                        </a:lnTo>
                        <a:lnTo>
                          <a:pt x="0" y="43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49" name="Freeform 396">
                    <a:extLst>
                      <a:ext uri="{FF2B5EF4-FFF2-40B4-BE49-F238E27FC236}">
                        <a16:creationId xmlns:a16="http://schemas.microsoft.com/office/drawing/2014/main" xmlns="" id="{A185C969-FED9-4F58-A12F-55F44EE71F4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61" y="1252"/>
                    <a:ext cx="20" cy="10"/>
                  </a:xfrm>
                  <a:custGeom>
                    <a:avLst/>
                    <a:gdLst>
                      <a:gd name="T0" fmla="*/ 0 w 60"/>
                      <a:gd name="T1" fmla="*/ 0 h 31"/>
                      <a:gd name="T2" fmla="*/ 0 w 60"/>
                      <a:gd name="T3" fmla="*/ 0 h 31"/>
                      <a:gd name="T4" fmla="*/ 0 w 60"/>
                      <a:gd name="T5" fmla="*/ 0 h 31"/>
                      <a:gd name="T6" fmla="*/ 0 w 60"/>
                      <a:gd name="T7" fmla="*/ 0 h 31"/>
                      <a:gd name="T8" fmla="*/ 0 w 60"/>
                      <a:gd name="T9" fmla="*/ 0 h 31"/>
                      <a:gd name="T10" fmla="*/ 0 w 60"/>
                      <a:gd name="T11" fmla="*/ 0 h 31"/>
                      <a:gd name="T12" fmla="*/ 0 w 60"/>
                      <a:gd name="T13" fmla="*/ 0 h 31"/>
                      <a:gd name="T14" fmla="*/ 0 w 60"/>
                      <a:gd name="T15" fmla="*/ 0 h 31"/>
                      <a:gd name="T16" fmla="*/ 0 w 60"/>
                      <a:gd name="T17" fmla="*/ 0 h 31"/>
                      <a:gd name="T18" fmla="*/ 0 w 60"/>
                      <a:gd name="T19" fmla="*/ 0 h 31"/>
                      <a:gd name="T20" fmla="*/ 0 w 60"/>
                      <a:gd name="T21" fmla="*/ 0 h 31"/>
                      <a:gd name="T22" fmla="*/ 0 w 60"/>
                      <a:gd name="T23" fmla="*/ 0 h 31"/>
                      <a:gd name="T24" fmla="*/ 0 w 60"/>
                      <a:gd name="T25" fmla="*/ 0 h 31"/>
                      <a:gd name="T26" fmla="*/ 0 w 60"/>
                      <a:gd name="T27" fmla="*/ 0 h 31"/>
                      <a:gd name="T28" fmla="*/ 0 w 60"/>
                      <a:gd name="T29" fmla="*/ 0 h 31"/>
                      <a:gd name="T30" fmla="*/ 0 w 60"/>
                      <a:gd name="T31" fmla="*/ 0 h 31"/>
                      <a:gd name="T32" fmla="*/ 0 w 60"/>
                      <a:gd name="T33" fmla="*/ 0 h 31"/>
                      <a:gd name="T34" fmla="*/ 0 w 60"/>
                      <a:gd name="T35" fmla="*/ 0 h 31"/>
                      <a:gd name="T36" fmla="*/ 0 w 60"/>
                      <a:gd name="T37" fmla="*/ 0 h 31"/>
                      <a:gd name="T38" fmla="*/ 0 w 60"/>
                      <a:gd name="T39" fmla="*/ 0 h 31"/>
                      <a:gd name="T40" fmla="*/ 0 w 60"/>
                      <a:gd name="T41" fmla="*/ 0 h 31"/>
                      <a:gd name="T42" fmla="*/ 0 w 60"/>
                      <a:gd name="T43" fmla="*/ 0 h 31"/>
                      <a:gd name="T44" fmla="*/ 0 w 60"/>
                      <a:gd name="T45" fmla="*/ 0 h 31"/>
                      <a:gd name="T46" fmla="*/ 0 w 60"/>
                      <a:gd name="T47" fmla="*/ 0 h 31"/>
                      <a:gd name="T48" fmla="*/ 0 w 60"/>
                      <a:gd name="T49" fmla="*/ 0 h 31"/>
                      <a:gd name="T50" fmla="*/ 0 w 60"/>
                      <a:gd name="T51" fmla="*/ 0 h 31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60"/>
                      <a:gd name="T79" fmla="*/ 0 h 31"/>
                      <a:gd name="T80" fmla="*/ 60 w 60"/>
                      <a:gd name="T81" fmla="*/ 31 h 31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60" h="31">
                        <a:moveTo>
                          <a:pt x="60" y="0"/>
                        </a:moveTo>
                        <a:lnTo>
                          <a:pt x="49" y="0"/>
                        </a:lnTo>
                        <a:lnTo>
                          <a:pt x="38" y="0"/>
                        </a:lnTo>
                        <a:lnTo>
                          <a:pt x="31" y="0"/>
                        </a:lnTo>
                        <a:lnTo>
                          <a:pt x="27" y="0"/>
                        </a:lnTo>
                        <a:lnTo>
                          <a:pt x="18" y="0"/>
                        </a:lnTo>
                        <a:lnTo>
                          <a:pt x="9" y="2"/>
                        </a:lnTo>
                        <a:lnTo>
                          <a:pt x="5" y="3"/>
                        </a:lnTo>
                        <a:lnTo>
                          <a:pt x="2" y="5"/>
                        </a:lnTo>
                        <a:lnTo>
                          <a:pt x="1" y="8"/>
                        </a:lnTo>
                        <a:lnTo>
                          <a:pt x="0" y="12"/>
                        </a:lnTo>
                        <a:lnTo>
                          <a:pt x="1" y="15"/>
                        </a:lnTo>
                        <a:lnTo>
                          <a:pt x="2" y="18"/>
                        </a:lnTo>
                        <a:lnTo>
                          <a:pt x="5" y="22"/>
                        </a:lnTo>
                        <a:lnTo>
                          <a:pt x="9" y="24"/>
                        </a:lnTo>
                        <a:lnTo>
                          <a:pt x="12" y="27"/>
                        </a:lnTo>
                        <a:lnTo>
                          <a:pt x="18" y="29"/>
                        </a:lnTo>
                        <a:lnTo>
                          <a:pt x="22" y="31"/>
                        </a:lnTo>
                        <a:lnTo>
                          <a:pt x="27" y="31"/>
                        </a:lnTo>
                        <a:lnTo>
                          <a:pt x="32" y="30"/>
                        </a:lnTo>
                        <a:lnTo>
                          <a:pt x="37" y="28"/>
                        </a:lnTo>
                        <a:lnTo>
                          <a:pt x="43" y="24"/>
                        </a:lnTo>
                        <a:lnTo>
                          <a:pt x="48" y="18"/>
                        </a:lnTo>
                        <a:lnTo>
                          <a:pt x="57" y="10"/>
                        </a:lnTo>
                        <a:lnTo>
                          <a:pt x="60" y="6"/>
                        </a:lnTo>
                        <a:lnTo>
                          <a:pt x="60" y="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50" name="Freeform 397">
                    <a:extLst>
                      <a:ext uri="{FF2B5EF4-FFF2-40B4-BE49-F238E27FC236}">
                        <a16:creationId xmlns:a16="http://schemas.microsoft.com/office/drawing/2014/main" xmlns="" id="{246B2293-BD6C-42B2-979D-96F907F5FC4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30" y="1713"/>
                    <a:ext cx="26" cy="20"/>
                  </a:xfrm>
                  <a:custGeom>
                    <a:avLst/>
                    <a:gdLst>
                      <a:gd name="T0" fmla="*/ 0 w 80"/>
                      <a:gd name="T1" fmla="*/ 0 h 62"/>
                      <a:gd name="T2" fmla="*/ 0 w 80"/>
                      <a:gd name="T3" fmla="*/ 0 h 62"/>
                      <a:gd name="T4" fmla="*/ 0 w 80"/>
                      <a:gd name="T5" fmla="*/ 0 h 62"/>
                      <a:gd name="T6" fmla="*/ 0 w 80"/>
                      <a:gd name="T7" fmla="*/ 0 h 62"/>
                      <a:gd name="T8" fmla="*/ 0 w 80"/>
                      <a:gd name="T9" fmla="*/ 0 h 62"/>
                      <a:gd name="T10" fmla="*/ 0 w 80"/>
                      <a:gd name="T11" fmla="*/ 0 h 62"/>
                      <a:gd name="T12" fmla="*/ 0 w 80"/>
                      <a:gd name="T13" fmla="*/ 0 h 62"/>
                      <a:gd name="T14" fmla="*/ 0 w 80"/>
                      <a:gd name="T15" fmla="*/ 0 h 62"/>
                      <a:gd name="T16" fmla="*/ 0 w 80"/>
                      <a:gd name="T17" fmla="*/ 0 h 62"/>
                      <a:gd name="T18" fmla="*/ 0 w 80"/>
                      <a:gd name="T19" fmla="*/ 0 h 62"/>
                      <a:gd name="T20" fmla="*/ 0 w 80"/>
                      <a:gd name="T21" fmla="*/ 0 h 62"/>
                      <a:gd name="T22" fmla="*/ 0 w 80"/>
                      <a:gd name="T23" fmla="*/ 0 h 62"/>
                      <a:gd name="T24" fmla="*/ 0 w 80"/>
                      <a:gd name="T25" fmla="*/ 0 h 62"/>
                      <a:gd name="T26" fmla="*/ 0 w 80"/>
                      <a:gd name="T27" fmla="*/ 0 h 62"/>
                      <a:gd name="T28" fmla="*/ 0 w 80"/>
                      <a:gd name="T29" fmla="*/ 0 h 62"/>
                      <a:gd name="T30" fmla="*/ 0 w 80"/>
                      <a:gd name="T31" fmla="*/ 0 h 62"/>
                      <a:gd name="T32" fmla="*/ 0 w 80"/>
                      <a:gd name="T33" fmla="*/ 0 h 62"/>
                      <a:gd name="T34" fmla="*/ 0 w 80"/>
                      <a:gd name="T35" fmla="*/ 0 h 62"/>
                      <a:gd name="T36" fmla="*/ 0 w 80"/>
                      <a:gd name="T37" fmla="*/ 0 h 62"/>
                      <a:gd name="T38" fmla="*/ 0 w 80"/>
                      <a:gd name="T39" fmla="*/ 0 h 62"/>
                      <a:gd name="T40" fmla="*/ 0 w 80"/>
                      <a:gd name="T41" fmla="*/ 0 h 62"/>
                      <a:gd name="T42" fmla="*/ 0 w 80"/>
                      <a:gd name="T43" fmla="*/ 0 h 62"/>
                      <a:gd name="T44" fmla="*/ 0 w 80"/>
                      <a:gd name="T45" fmla="*/ 0 h 62"/>
                      <a:gd name="T46" fmla="*/ 0 w 80"/>
                      <a:gd name="T47" fmla="*/ 0 h 62"/>
                      <a:gd name="T48" fmla="*/ 0 w 80"/>
                      <a:gd name="T49" fmla="*/ 0 h 62"/>
                      <a:gd name="T50" fmla="*/ 0 w 80"/>
                      <a:gd name="T51" fmla="*/ 0 h 62"/>
                      <a:gd name="T52" fmla="*/ 0 w 80"/>
                      <a:gd name="T53" fmla="*/ 0 h 62"/>
                      <a:gd name="T54" fmla="*/ 0 w 80"/>
                      <a:gd name="T55" fmla="*/ 0 h 62"/>
                      <a:gd name="T56" fmla="*/ 0 w 80"/>
                      <a:gd name="T57" fmla="*/ 0 h 62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w 80"/>
                      <a:gd name="T88" fmla="*/ 0 h 62"/>
                      <a:gd name="T89" fmla="*/ 80 w 80"/>
                      <a:gd name="T90" fmla="*/ 62 h 62"/>
                    </a:gdLst>
                    <a:ahLst/>
                    <a:cxnLst>
                      <a:cxn ang="T58">
                        <a:pos x="T0" y="T1"/>
                      </a:cxn>
                      <a:cxn ang="T59">
                        <a:pos x="T2" y="T3"/>
                      </a:cxn>
                      <a:cxn ang="T60">
                        <a:pos x="T4" y="T5"/>
                      </a:cxn>
                      <a:cxn ang="T61">
                        <a:pos x="T6" y="T7"/>
                      </a:cxn>
                      <a:cxn ang="T62">
                        <a:pos x="T8" y="T9"/>
                      </a:cxn>
                      <a:cxn ang="T63">
                        <a:pos x="T10" y="T11"/>
                      </a:cxn>
                      <a:cxn ang="T64">
                        <a:pos x="T12" y="T13"/>
                      </a:cxn>
                      <a:cxn ang="T65">
                        <a:pos x="T14" y="T15"/>
                      </a:cxn>
                      <a:cxn ang="T66">
                        <a:pos x="T16" y="T17"/>
                      </a:cxn>
                      <a:cxn ang="T67">
                        <a:pos x="T18" y="T19"/>
                      </a:cxn>
                      <a:cxn ang="T68">
                        <a:pos x="T20" y="T21"/>
                      </a:cxn>
                      <a:cxn ang="T69">
                        <a:pos x="T22" y="T23"/>
                      </a:cxn>
                      <a:cxn ang="T70">
                        <a:pos x="T24" y="T25"/>
                      </a:cxn>
                      <a:cxn ang="T71">
                        <a:pos x="T26" y="T27"/>
                      </a:cxn>
                      <a:cxn ang="T72">
                        <a:pos x="T28" y="T29"/>
                      </a:cxn>
                      <a:cxn ang="T73">
                        <a:pos x="T30" y="T31"/>
                      </a:cxn>
                      <a:cxn ang="T74">
                        <a:pos x="T32" y="T33"/>
                      </a:cxn>
                      <a:cxn ang="T75">
                        <a:pos x="T34" y="T35"/>
                      </a:cxn>
                      <a:cxn ang="T76">
                        <a:pos x="T36" y="T37"/>
                      </a:cxn>
                      <a:cxn ang="T77">
                        <a:pos x="T38" y="T39"/>
                      </a:cxn>
                      <a:cxn ang="T78">
                        <a:pos x="T40" y="T41"/>
                      </a:cxn>
                      <a:cxn ang="T79">
                        <a:pos x="T42" y="T43"/>
                      </a:cxn>
                      <a:cxn ang="T80">
                        <a:pos x="T44" y="T45"/>
                      </a:cxn>
                      <a:cxn ang="T81">
                        <a:pos x="T46" y="T47"/>
                      </a:cxn>
                      <a:cxn ang="T82">
                        <a:pos x="T48" y="T49"/>
                      </a:cxn>
                      <a:cxn ang="T83">
                        <a:pos x="T50" y="T51"/>
                      </a:cxn>
                      <a:cxn ang="T84">
                        <a:pos x="T52" y="T53"/>
                      </a:cxn>
                      <a:cxn ang="T85">
                        <a:pos x="T54" y="T55"/>
                      </a:cxn>
                      <a:cxn ang="T86">
                        <a:pos x="T56" y="T57"/>
                      </a:cxn>
                    </a:cxnLst>
                    <a:rect l="T87" t="T88" r="T89" b="T90"/>
                    <a:pathLst>
                      <a:path w="80" h="62">
                        <a:moveTo>
                          <a:pt x="0" y="43"/>
                        </a:moveTo>
                        <a:lnTo>
                          <a:pt x="1" y="46"/>
                        </a:lnTo>
                        <a:lnTo>
                          <a:pt x="1" y="49"/>
                        </a:lnTo>
                        <a:lnTo>
                          <a:pt x="3" y="51"/>
                        </a:lnTo>
                        <a:lnTo>
                          <a:pt x="4" y="53"/>
                        </a:lnTo>
                        <a:lnTo>
                          <a:pt x="10" y="57"/>
                        </a:lnTo>
                        <a:lnTo>
                          <a:pt x="15" y="59"/>
                        </a:lnTo>
                        <a:lnTo>
                          <a:pt x="28" y="62"/>
                        </a:lnTo>
                        <a:lnTo>
                          <a:pt x="40" y="62"/>
                        </a:lnTo>
                        <a:lnTo>
                          <a:pt x="45" y="62"/>
                        </a:lnTo>
                        <a:lnTo>
                          <a:pt x="49" y="59"/>
                        </a:lnTo>
                        <a:lnTo>
                          <a:pt x="54" y="57"/>
                        </a:lnTo>
                        <a:lnTo>
                          <a:pt x="58" y="54"/>
                        </a:lnTo>
                        <a:lnTo>
                          <a:pt x="65" y="47"/>
                        </a:lnTo>
                        <a:lnTo>
                          <a:pt x="70" y="38"/>
                        </a:lnTo>
                        <a:lnTo>
                          <a:pt x="74" y="28"/>
                        </a:lnTo>
                        <a:lnTo>
                          <a:pt x="78" y="18"/>
                        </a:lnTo>
                        <a:lnTo>
                          <a:pt x="79" y="8"/>
                        </a:lnTo>
                        <a:lnTo>
                          <a:pt x="80" y="0"/>
                        </a:lnTo>
                        <a:lnTo>
                          <a:pt x="71" y="0"/>
                        </a:lnTo>
                        <a:lnTo>
                          <a:pt x="59" y="3"/>
                        </a:lnTo>
                        <a:lnTo>
                          <a:pt x="46" y="8"/>
                        </a:lnTo>
                        <a:lnTo>
                          <a:pt x="33" y="13"/>
                        </a:lnTo>
                        <a:lnTo>
                          <a:pt x="21" y="19"/>
                        </a:lnTo>
                        <a:lnTo>
                          <a:pt x="10" y="26"/>
                        </a:lnTo>
                        <a:lnTo>
                          <a:pt x="6" y="30"/>
                        </a:lnTo>
                        <a:lnTo>
                          <a:pt x="3" y="34"/>
                        </a:lnTo>
                        <a:lnTo>
                          <a:pt x="1" y="39"/>
                        </a:lnTo>
                        <a:lnTo>
                          <a:pt x="0" y="43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51" name="Freeform 398">
                    <a:extLst>
                      <a:ext uri="{FF2B5EF4-FFF2-40B4-BE49-F238E27FC236}">
                        <a16:creationId xmlns:a16="http://schemas.microsoft.com/office/drawing/2014/main" xmlns="" id="{E6169F18-A4D3-44CC-B592-C8155E4EFDB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83" y="1674"/>
                    <a:ext cx="33" cy="16"/>
                  </a:xfrm>
                  <a:custGeom>
                    <a:avLst/>
                    <a:gdLst>
                      <a:gd name="T0" fmla="*/ 0 w 106"/>
                      <a:gd name="T1" fmla="*/ 0 h 49"/>
                      <a:gd name="T2" fmla="*/ 0 w 106"/>
                      <a:gd name="T3" fmla="*/ 0 h 49"/>
                      <a:gd name="T4" fmla="*/ 0 w 106"/>
                      <a:gd name="T5" fmla="*/ 0 h 49"/>
                      <a:gd name="T6" fmla="*/ 0 w 106"/>
                      <a:gd name="T7" fmla="*/ 0 h 49"/>
                      <a:gd name="T8" fmla="*/ 0 w 106"/>
                      <a:gd name="T9" fmla="*/ 0 h 49"/>
                      <a:gd name="T10" fmla="*/ 0 w 106"/>
                      <a:gd name="T11" fmla="*/ 0 h 49"/>
                      <a:gd name="T12" fmla="*/ 0 w 106"/>
                      <a:gd name="T13" fmla="*/ 0 h 49"/>
                      <a:gd name="T14" fmla="*/ 0 w 106"/>
                      <a:gd name="T15" fmla="*/ 0 h 49"/>
                      <a:gd name="T16" fmla="*/ 0 w 106"/>
                      <a:gd name="T17" fmla="*/ 0 h 49"/>
                      <a:gd name="T18" fmla="*/ 0 w 106"/>
                      <a:gd name="T19" fmla="*/ 0 h 49"/>
                      <a:gd name="T20" fmla="*/ 0 w 106"/>
                      <a:gd name="T21" fmla="*/ 0 h 49"/>
                      <a:gd name="T22" fmla="*/ 0 w 106"/>
                      <a:gd name="T23" fmla="*/ 0 h 49"/>
                      <a:gd name="T24" fmla="*/ 0 w 106"/>
                      <a:gd name="T25" fmla="*/ 0 h 49"/>
                      <a:gd name="T26" fmla="*/ 0 w 106"/>
                      <a:gd name="T27" fmla="*/ 0 h 49"/>
                      <a:gd name="T28" fmla="*/ 0 w 106"/>
                      <a:gd name="T29" fmla="*/ 0 h 49"/>
                      <a:gd name="T30" fmla="*/ 0 w 106"/>
                      <a:gd name="T31" fmla="*/ 0 h 49"/>
                      <a:gd name="T32" fmla="*/ 0 w 106"/>
                      <a:gd name="T33" fmla="*/ 0 h 49"/>
                      <a:gd name="T34" fmla="*/ 0 w 106"/>
                      <a:gd name="T35" fmla="*/ 0 h 49"/>
                      <a:gd name="T36" fmla="*/ 0 w 106"/>
                      <a:gd name="T37" fmla="*/ 0 h 49"/>
                      <a:gd name="T38" fmla="*/ 0 w 106"/>
                      <a:gd name="T39" fmla="*/ 0 h 49"/>
                      <a:gd name="T40" fmla="*/ 0 w 106"/>
                      <a:gd name="T41" fmla="*/ 0 h 49"/>
                      <a:gd name="T42" fmla="*/ 0 w 106"/>
                      <a:gd name="T43" fmla="*/ 0 h 49"/>
                      <a:gd name="T44" fmla="*/ 0 w 106"/>
                      <a:gd name="T45" fmla="*/ 0 h 49"/>
                      <a:gd name="T46" fmla="*/ 0 w 106"/>
                      <a:gd name="T47" fmla="*/ 0 h 49"/>
                      <a:gd name="T48" fmla="*/ 0 w 106"/>
                      <a:gd name="T49" fmla="*/ 0 h 49"/>
                      <a:gd name="T50" fmla="*/ 0 w 106"/>
                      <a:gd name="T51" fmla="*/ 0 h 49"/>
                      <a:gd name="T52" fmla="*/ 0 w 106"/>
                      <a:gd name="T53" fmla="*/ 0 h 49"/>
                      <a:gd name="T54" fmla="*/ 0 w 106"/>
                      <a:gd name="T55" fmla="*/ 0 h 49"/>
                      <a:gd name="T56" fmla="*/ 0 w 106"/>
                      <a:gd name="T57" fmla="*/ 0 h 49"/>
                      <a:gd name="T58" fmla="*/ 0 w 106"/>
                      <a:gd name="T59" fmla="*/ 0 h 49"/>
                      <a:gd name="T60" fmla="*/ 0 w 106"/>
                      <a:gd name="T61" fmla="*/ 0 h 49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106"/>
                      <a:gd name="T94" fmla="*/ 0 h 49"/>
                      <a:gd name="T95" fmla="*/ 106 w 106"/>
                      <a:gd name="T96" fmla="*/ 49 h 49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106" h="49">
                        <a:moveTo>
                          <a:pt x="80" y="13"/>
                        </a:moveTo>
                        <a:lnTo>
                          <a:pt x="72" y="12"/>
                        </a:lnTo>
                        <a:lnTo>
                          <a:pt x="66" y="11"/>
                        </a:lnTo>
                        <a:lnTo>
                          <a:pt x="59" y="8"/>
                        </a:lnTo>
                        <a:lnTo>
                          <a:pt x="53" y="6"/>
                        </a:lnTo>
                        <a:lnTo>
                          <a:pt x="47" y="4"/>
                        </a:lnTo>
                        <a:lnTo>
                          <a:pt x="41" y="2"/>
                        </a:lnTo>
                        <a:lnTo>
                          <a:pt x="34" y="0"/>
                        </a:lnTo>
                        <a:lnTo>
                          <a:pt x="26" y="0"/>
                        </a:lnTo>
                        <a:lnTo>
                          <a:pt x="15" y="0"/>
                        </a:lnTo>
                        <a:lnTo>
                          <a:pt x="0" y="0"/>
                        </a:lnTo>
                        <a:lnTo>
                          <a:pt x="9" y="11"/>
                        </a:lnTo>
                        <a:lnTo>
                          <a:pt x="17" y="21"/>
                        </a:lnTo>
                        <a:lnTo>
                          <a:pt x="26" y="29"/>
                        </a:lnTo>
                        <a:lnTo>
                          <a:pt x="34" y="36"/>
                        </a:lnTo>
                        <a:lnTo>
                          <a:pt x="42" y="42"/>
                        </a:lnTo>
                        <a:lnTo>
                          <a:pt x="52" y="46"/>
                        </a:lnTo>
                        <a:lnTo>
                          <a:pt x="61" y="48"/>
                        </a:lnTo>
                        <a:lnTo>
                          <a:pt x="72" y="49"/>
                        </a:lnTo>
                        <a:lnTo>
                          <a:pt x="79" y="48"/>
                        </a:lnTo>
                        <a:lnTo>
                          <a:pt x="87" y="45"/>
                        </a:lnTo>
                        <a:lnTo>
                          <a:pt x="97" y="39"/>
                        </a:lnTo>
                        <a:lnTo>
                          <a:pt x="106" y="31"/>
                        </a:lnTo>
                        <a:lnTo>
                          <a:pt x="101" y="30"/>
                        </a:lnTo>
                        <a:lnTo>
                          <a:pt x="98" y="28"/>
                        </a:lnTo>
                        <a:lnTo>
                          <a:pt x="93" y="25"/>
                        </a:lnTo>
                        <a:lnTo>
                          <a:pt x="90" y="22"/>
                        </a:lnTo>
                        <a:lnTo>
                          <a:pt x="88" y="19"/>
                        </a:lnTo>
                        <a:lnTo>
                          <a:pt x="84" y="16"/>
                        </a:lnTo>
                        <a:lnTo>
                          <a:pt x="82" y="14"/>
                        </a:lnTo>
                        <a:lnTo>
                          <a:pt x="80" y="13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52" name="Freeform 399">
                    <a:extLst>
                      <a:ext uri="{FF2B5EF4-FFF2-40B4-BE49-F238E27FC236}">
                        <a16:creationId xmlns:a16="http://schemas.microsoft.com/office/drawing/2014/main" xmlns="" id="{86AEB8C9-F6DF-498C-AB40-A9011BE3F79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99" y="1713"/>
                    <a:ext cx="15" cy="7"/>
                  </a:xfrm>
                  <a:custGeom>
                    <a:avLst/>
                    <a:gdLst>
                      <a:gd name="T0" fmla="*/ 0 w 47"/>
                      <a:gd name="T1" fmla="*/ 0 h 22"/>
                      <a:gd name="T2" fmla="*/ 0 w 47"/>
                      <a:gd name="T3" fmla="*/ 0 h 22"/>
                      <a:gd name="T4" fmla="*/ 0 w 47"/>
                      <a:gd name="T5" fmla="*/ 0 h 22"/>
                      <a:gd name="T6" fmla="*/ 0 w 47"/>
                      <a:gd name="T7" fmla="*/ 0 h 22"/>
                      <a:gd name="T8" fmla="*/ 0 w 47"/>
                      <a:gd name="T9" fmla="*/ 0 h 22"/>
                      <a:gd name="T10" fmla="*/ 0 w 47"/>
                      <a:gd name="T11" fmla="*/ 0 h 22"/>
                      <a:gd name="T12" fmla="*/ 0 w 47"/>
                      <a:gd name="T13" fmla="*/ 0 h 22"/>
                      <a:gd name="T14" fmla="*/ 0 w 47"/>
                      <a:gd name="T15" fmla="*/ 0 h 22"/>
                      <a:gd name="T16" fmla="*/ 0 w 47"/>
                      <a:gd name="T17" fmla="*/ 0 h 22"/>
                      <a:gd name="T18" fmla="*/ 0 w 47"/>
                      <a:gd name="T19" fmla="*/ 0 h 22"/>
                      <a:gd name="T20" fmla="*/ 0 w 47"/>
                      <a:gd name="T21" fmla="*/ 0 h 22"/>
                      <a:gd name="T22" fmla="*/ 0 w 47"/>
                      <a:gd name="T23" fmla="*/ 0 h 22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47"/>
                      <a:gd name="T37" fmla="*/ 0 h 22"/>
                      <a:gd name="T38" fmla="*/ 47 w 47"/>
                      <a:gd name="T39" fmla="*/ 22 h 22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47" h="22">
                        <a:moveTo>
                          <a:pt x="0" y="19"/>
                        </a:moveTo>
                        <a:lnTo>
                          <a:pt x="5" y="21"/>
                        </a:lnTo>
                        <a:lnTo>
                          <a:pt x="12" y="22"/>
                        </a:lnTo>
                        <a:lnTo>
                          <a:pt x="18" y="22"/>
                        </a:lnTo>
                        <a:lnTo>
                          <a:pt x="26" y="21"/>
                        </a:lnTo>
                        <a:lnTo>
                          <a:pt x="33" y="19"/>
                        </a:lnTo>
                        <a:lnTo>
                          <a:pt x="38" y="15"/>
                        </a:lnTo>
                        <a:lnTo>
                          <a:pt x="41" y="12"/>
                        </a:lnTo>
                        <a:lnTo>
                          <a:pt x="44" y="9"/>
                        </a:lnTo>
                        <a:lnTo>
                          <a:pt x="45" y="5"/>
                        </a:lnTo>
                        <a:lnTo>
                          <a:pt x="47" y="0"/>
                        </a:lnTo>
                        <a:lnTo>
                          <a:pt x="0" y="19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53" name="Freeform 400">
                    <a:extLst>
                      <a:ext uri="{FF2B5EF4-FFF2-40B4-BE49-F238E27FC236}">
                        <a16:creationId xmlns:a16="http://schemas.microsoft.com/office/drawing/2014/main" xmlns="" id="{93E86BFB-E34A-485C-BE6B-ACE586E0613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08" y="1742"/>
                    <a:ext cx="17" cy="11"/>
                  </a:xfrm>
                  <a:custGeom>
                    <a:avLst/>
                    <a:gdLst>
                      <a:gd name="T0" fmla="*/ 0 w 53"/>
                      <a:gd name="T1" fmla="*/ 0 h 32"/>
                      <a:gd name="T2" fmla="*/ 0 w 53"/>
                      <a:gd name="T3" fmla="*/ 0 h 32"/>
                      <a:gd name="T4" fmla="*/ 0 w 53"/>
                      <a:gd name="T5" fmla="*/ 0 h 32"/>
                      <a:gd name="T6" fmla="*/ 0 w 53"/>
                      <a:gd name="T7" fmla="*/ 0 h 32"/>
                      <a:gd name="T8" fmla="*/ 0 w 53"/>
                      <a:gd name="T9" fmla="*/ 0 h 32"/>
                      <a:gd name="T10" fmla="*/ 0 w 53"/>
                      <a:gd name="T11" fmla="*/ 0 h 32"/>
                      <a:gd name="T12" fmla="*/ 0 w 53"/>
                      <a:gd name="T13" fmla="*/ 0 h 32"/>
                      <a:gd name="T14" fmla="*/ 0 w 53"/>
                      <a:gd name="T15" fmla="*/ 0 h 32"/>
                      <a:gd name="T16" fmla="*/ 0 w 53"/>
                      <a:gd name="T17" fmla="*/ 0 h 32"/>
                      <a:gd name="T18" fmla="*/ 0 w 53"/>
                      <a:gd name="T19" fmla="*/ 0 h 32"/>
                      <a:gd name="T20" fmla="*/ 0 w 53"/>
                      <a:gd name="T21" fmla="*/ 0 h 32"/>
                      <a:gd name="T22" fmla="*/ 0 w 53"/>
                      <a:gd name="T23" fmla="*/ 0 h 32"/>
                      <a:gd name="T24" fmla="*/ 0 w 53"/>
                      <a:gd name="T25" fmla="*/ 0 h 32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53"/>
                      <a:gd name="T40" fmla="*/ 0 h 32"/>
                      <a:gd name="T41" fmla="*/ 53 w 53"/>
                      <a:gd name="T42" fmla="*/ 32 h 32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53" h="32">
                        <a:moveTo>
                          <a:pt x="53" y="0"/>
                        </a:moveTo>
                        <a:lnTo>
                          <a:pt x="37" y="9"/>
                        </a:lnTo>
                        <a:lnTo>
                          <a:pt x="23" y="18"/>
                        </a:lnTo>
                        <a:lnTo>
                          <a:pt x="11" y="26"/>
                        </a:lnTo>
                        <a:lnTo>
                          <a:pt x="0" y="32"/>
                        </a:lnTo>
                        <a:lnTo>
                          <a:pt x="13" y="32"/>
                        </a:lnTo>
                        <a:lnTo>
                          <a:pt x="26" y="32"/>
                        </a:lnTo>
                        <a:lnTo>
                          <a:pt x="39" y="32"/>
                        </a:lnTo>
                        <a:lnTo>
                          <a:pt x="53" y="32"/>
                        </a:lnTo>
                        <a:lnTo>
                          <a:pt x="53" y="24"/>
                        </a:lnTo>
                        <a:lnTo>
                          <a:pt x="53" y="16"/>
                        </a:lnTo>
                        <a:lnTo>
                          <a:pt x="53" y="9"/>
                        </a:lnTo>
                        <a:lnTo>
                          <a:pt x="53" y="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54" name="Freeform 401">
                    <a:extLst>
                      <a:ext uri="{FF2B5EF4-FFF2-40B4-BE49-F238E27FC236}">
                        <a16:creationId xmlns:a16="http://schemas.microsoft.com/office/drawing/2014/main" xmlns="" id="{158A311F-BB44-473F-BFBE-316BBE93575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50" y="1438"/>
                    <a:ext cx="14" cy="12"/>
                  </a:xfrm>
                  <a:custGeom>
                    <a:avLst/>
                    <a:gdLst>
                      <a:gd name="T0" fmla="*/ 0 w 46"/>
                      <a:gd name="T1" fmla="*/ 0 h 34"/>
                      <a:gd name="T2" fmla="*/ 0 w 46"/>
                      <a:gd name="T3" fmla="*/ 0 h 34"/>
                      <a:gd name="T4" fmla="*/ 0 w 46"/>
                      <a:gd name="T5" fmla="*/ 0 h 34"/>
                      <a:gd name="T6" fmla="*/ 0 w 46"/>
                      <a:gd name="T7" fmla="*/ 0 h 34"/>
                      <a:gd name="T8" fmla="*/ 0 w 46"/>
                      <a:gd name="T9" fmla="*/ 0 h 34"/>
                      <a:gd name="T10" fmla="*/ 0 w 46"/>
                      <a:gd name="T11" fmla="*/ 0 h 34"/>
                      <a:gd name="T12" fmla="*/ 0 w 46"/>
                      <a:gd name="T13" fmla="*/ 0 h 34"/>
                      <a:gd name="T14" fmla="*/ 0 w 46"/>
                      <a:gd name="T15" fmla="*/ 0 h 34"/>
                      <a:gd name="T16" fmla="*/ 0 w 46"/>
                      <a:gd name="T17" fmla="*/ 0 h 34"/>
                      <a:gd name="T18" fmla="*/ 0 w 46"/>
                      <a:gd name="T19" fmla="*/ 0 h 34"/>
                      <a:gd name="T20" fmla="*/ 0 w 46"/>
                      <a:gd name="T21" fmla="*/ 0 h 34"/>
                      <a:gd name="T22" fmla="*/ 0 w 46"/>
                      <a:gd name="T23" fmla="*/ 0 h 34"/>
                      <a:gd name="T24" fmla="*/ 0 w 46"/>
                      <a:gd name="T25" fmla="*/ 0 h 34"/>
                      <a:gd name="T26" fmla="*/ 0 w 46"/>
                      <a:gd name="T27" fmla="*/ 0 h 34"/>
                      <a:gd name="T28" fmla="*/ 0 w 46"/>
                      <a:gd name="T29" fmla="*/ 0 h 34"/>
                      <a:gd name="T30" fmla="*/ 0 w 46"/>
                      <a:gd name="T31" fmla="*/ 0 h 34"/>
                      <a:gd name="T32" fmla="*/ 0 w 46"/>
                      <a:gd name="T33" fmla="*/ 0 h 34"/>
                      <a:gd name="T34" fmla="*/ 0 w 46"/>
                      <a:gd name="T35" fmla="*/ 0 h 34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w 46"/>
                      <a:gd name="T55" fmla="*/ 0 h 34"/>
                      <a:gd name="T56" fmla="*/ 46 w 46"/>
                      <a:gd name="T57" fmla="*/ 34 h 34"/>
                    </a:gdLst>
                    <a:ahLst/>
                    <a:cxnLst>
                      <a:cxn ang="T36">
                        <a:pos x="T0" y="T1"/>
                      </a:cxn>
                      <a:cxn ang="T37">
                        <a:pos x="T2" y="T3"/>
                      </a:cxn>
                      <a:cxn ang="T38">
                        <a:pos x="T4" y="T5"/>
                      </a:cxn>
                      <a:cxn ang="T39">
                        <a:pos x="T6" y="T7"/>
                      </a:cxn>
                      <a:cxn ang="T40">
                        <a:pos x="T8" y="T9"/>
                      </a:cxn>
                      <a:cxn ang="T41">
                        <a:pos x="T10" y="T11"/>
                      </a:cxn>
                      <a:cxn ang="T42">
                        <a:pos x="T12" y="T13"/>
                      </a:cxn>
                      <a:cxn ang="T43">
                        <a:pos x="T14" y="T15"/>
                      </a:cxn>
                      <a:cxn ang="T44">
                        <a:pos x="T16" y="T17"/>
                      </a:cxn>
                      <a:cxn ang="T45">
                        <a:pos x="T18" y="T19"/>
                      </a:cxn>
                      <a:cxn ang="T46">
                        <a:pos x="T20" y="T21"/>
                      </a:cxn>
                      <a:cxn ang="T47">
                        <a:pos x="T22" y="T23"/>
                      </a:cxn>
                      <a:cxn ang="T48">
                        <a:pos x="T24" y="T25"/>
                      </a:cxn>
                      <a:cxn ang="T49">
                        <a:pos x="T26" y="T27"/>
                      </a:cxn>
                      <a:cxn ang="T50">
                        <a:pos x="T28" y="T29"/>
                      </a:cxn>
                      <a:cxn ang="T51">
                        <a:pos x="T30" y="T31"/>
                      </a:cxn>
                      <a:cxn ang="T52">
                        <a:pos x="T32" y="T33"/>
                      </a:cxn>
                      <a:cxn ang="T53">
                        <a:pos x="T34" y="T35"/>
                      </a:cxn>
                    </a:cxnLst>
                    <a:rect l="T54" t="T55" r="T56" b="T57"/>
                    <a:pathLst>
                      <a:path w="46" h="34">
                        <a:moveTo>
                          <a:pt x="27" y="3"/>
                        </a:moveTo>
                        <a:lnTo>
                          <a:pt x="0" y="16"/>
                        </a:lnTo>
                        <a:lnTo>
                          <a:pt x="0" y="34"/>
                        </a:lnTo>
                        <a:lnTo>
                          <a:pt x="27" y="34"/>
                        </a:lnTo>
                        <a:lnTo>
                          <a:pt x="31" y="32"/>
                        </a:lnTo>
                        <a:lnTo>
                          <a:pt x="35" y="28"/>
                        </a:lnTo>
                        <a:lnTo>
                          <a:pt x="39" y="25"/>
                        </a:lnTo>
                        <a:lnTo>
                          <a:pt x="42" y="21"/>
                        </a:lnTo>
                        <a:lnTo>
                          <a:pt x="44" y="17"/>
                        </a:lnTo>
                        <a:lnTo>
                          <a:pt x="45" y="13"/>
                        </a:lnTo>
                        <a:lnTo>
                          <a:pt x="46" y="8"/>
                        </a:lnTo>
                        <a:lnTo>
                          <a:pt x="46" y="3"/>
                        </a:lnTo>
                        <a:lnTo>
                          <a:pt x="46" y="1"/>
                        </a:lnTo>
                        <a:lnTo>
                          <a:pt x="44" y="0"/>
                        </a:lnTo>
                        <a:lnTo>
                          <a:pt x="42" y="0"/>
                        </a:lnTo>
                        <a:lnTo>
                          <a:pt x="39" y="0"/>
                        </a:lnTo>
                        <a:lnTo>
                          <a:pt x="32" y="2"/>
                        </a:lnTo>
                        <a:lnTo>
                          <a:pt x="27" y="3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55" name="Freeform 402">
                    <a:extLst>
                      <a:ext uri="{FF2B5EF4-FFF2-40B4-BE49-F238E27FC236}">
                        <a16:creationId xmlns:a16="http://schemas.microsoft.com/office/drawing/2014/main" xmlns="" id="{4156D717-A3D0-4656-871A-489D92556E6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05" y="1224"/>
                    <a:ext cx="16" cy="8"/>
                  </a:xfrm>
                  <a:custGeom>
                    <a:avLst/>
                    <a:gdLst>
                      <a:gd name="T0" fmla="*/ 0 w 48"/>
                      <a:gd name="T1" fmla="*/ 0 h 25"/>
                      <a:gd name="T2" fmla="*/ 0 w 48"/>
                      <a:gd name="T3" fmla="*/ 0 h 25"/>
                      <a:gd name="T4" fmla="*/ 0 w 48"/>
                      <a:gd name="T5" fmla="*/ 0 h 25"/>
                      <a:gd name="T6" fmla="*/ 0 w 48"/>
                      <a:gd name="T7" fmla="*/ 0 h 25"/>
                      <a:gd name="T8" fmla="*/ 0 w 48"/>
                      <a:gd name="T9" fmla="*/ 0 h 25"/>
                      <a:gd name="T10" fmla="*/ 0 w 48"/>
                      <a:gd name="T11" fmla="*/ 0 h 25"/>
                      <a:gd name="T12" fmla="*/ 0 w 48"/>
                      <a:gd name="T13" fmla="*/ 0 h 25"/>
                      <a:gd name="T14" fmla="*/ 0 w 48"/>
                      <a:gd name="T15" fmla="*/ 0 h 25"/>
                      <a:gd name="T16" fmla="*/ 0 w 48"/>
                      <a:gd name="T17" fmla="*/ 0 h 25"/>
                      <a:gd name="T18" fmla="*/ 0 w 48"/>
                      <a:gd name="T19" fmla="*/ 0 h 25"/>
                      <a:gd name="T20" fmla="*/ 0 w 48"/>
                      <a:gd name="T21" fmla="*/ 0 h 25"/>
                      <a:gd name="T22" fmla="*/ 0 w 48"/>
                      <a:gd name="T23" fmla="*/ 0 h 25"/>
                      <a:gd name="T24" fmla="*/ 0 w 48"/>
                      <a:gd name="T25" fmla="*/ 0 h 25"/>
                      <a:gd name="T26" fmla="*/ 0 w 48"/>
                      <a:gd name="T27" fmla="*/ 0 h 25"/>
                      <a:gd name="T28" fmla="*/ 0 w 48"/>
                      <a:gd name="T29" fmla="*/ 0 h 25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48"/>
                      <a:gd name="T46" fmla="*/ 0 h 25"/>
                      <a:gd name="T47" fmla="*/ 48 w 48"/>
                      <a:gd name="T48" fmla="*/ 25 h 25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48" h="25">
                        <a:moveTo>
                          <a:pt x="0" y="25"/>
                        </a:moveTo>
                        <a:lnTo>
                          <a:pt x="14" y="25"/>
                        </a:lnTo>
                        <a:lnTo>
                          <a:pt x="28" y="25"/>
                        </a:lnTo>
                        <a:lnTo>
                          <a:pt x="30" y="24"/>
                        </a:lnTo>
                        <a:lnTo>
                          <a:pt x="33" y="22"/>
                        </a:lnTo>
                        <a:lnTo>
                          <a:pt x="37" y="18"/>
                        </a:lnTo>
                        <a:lnTo>
                          <a:pt x="40" y="15"/>
                        </a:lnTo>
                        <a:lnTo>
                          <a:pt x="45" y="7"/>
                        </a:lnTo>
                        <a:lnTo>
                          <a:pt x="48" y="0"/>
                        </a:lnTo>
                        <a:lnTo>
                          <a:pt x="40" y="1"/>
                        </a:lnTo>
                        <a:lnTo>
                          <a:pt x="33" y="2"/>
                        </a:lnTo>
                        <a:lnTo>
                          <a:pt x="28" y="5"/>
                        </a:lnTo>
                        <a:lnTo>
                          <a:pt x="21" y="8"/>
                        </a:lnTo>
                        <a:lnTo>
                          <a:pt x="11" y="16"/>
                        </a:lnTo>
                        <a:lnTo>
                          <a:pt x="0" y="25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56" name="Freeform 403">
                    <a:extLst>
                      <a:ext uri="{FF2B5EF4-FFF2-40B4-BE49-F238E27FC236}">
                        <a16:creationId xmlns:a16="http://schemas.microsoft.com/office/drawing/2014/main" xmlns="" id="{4AEEFA00-1486-40A0-A897-204562745F0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43" y="1188"/>
                    <a:ext cx="8" cy="11"/>
                  </a:xfrm>
                  <a:custGeom>
                    <a:avLst/>
                    <a:gdLst>
                      <a:gd name="T0" fmla="*/ 0 w 30"/>
                      <a:gd name="T1" fmla="*/ 0 h 37"/>
                      <a:gd name="T2" fmla="*/ 0 w 30"/>
                      <a:gd name="T3" fmla="*/ 0 h 37"/>
                      <a:gd name="T4" fmla="*/ 0 w 30"/>
                      <a:gd name="T5" fmla="*/ 0 h 37"/>
                      <a:gd name="T6" fmla="*/ 0 w 30"/>
                      <a:gd name="T7" fmla="*/ 0 h 37"/>
                      <a:gd name="T8" fmla="*/ 0 w 30"/>
                      <a:gd name="T9" fmla="*/ 0 h 37"/>
                      <a:gd name="T10" fmla="*/ 0 w 30"/>
                      <a:gd name="T11" fmla="*/ 0 h 37"/>
                      <a:gd name="T12" fmla="*/ 0 w 30"/>
                      <a:gd name="T13" fmla="*/ 0 h 37"/>
                      <a:gd name="T14" fmla="*/ 0 w 30"/>
                      <a:gd name="T15" fmla="*/ 0 h 37"/>
                      <a:gd name="T16" fmla="*/ 0 w 30"/>
                      <a:gd name="T17" fmla="*/ 0 h 37"/>
                      <a:gd name="T18" fmla="*/ 0 w 30"/>
                      <a:gd name="T19" fmla="*/ 0 h 37"/>
                      <a:gd name="T20" fmla="*/ 0 w 30"/>
                      <a:gd name="T21" fmla="*/ 0 h 37"/>
                      <a:gd name="T22" fmla="*/ 0 w 30"/>
                      <a:gd name="T23" fmla="*/ 0 h 37"/>
                      <a:gd name="T24" fmla="*/ 0 w 30"/>
                      <a:gd name="T25" fmla="*/ 0 h 37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30"/>
                      <a:gd name="T40" fmla="*/ 0 h 37"/>
                      <a:gd name="T41" fmla="*/ 30 w 30"/>
                      <a:gd name="T42" fmla="*/ 37 h 37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30" h="37">
                        <a:moveTo>
                          <a:pt x="0" y="0"/>
                        </a:moveTo>
                        <a:lnTo>
                          <a:pt x="0" y="37"/>
                        </a:lnTo>
                        <a:lnTo>
                          <a:pt x="11" y="36"/>
                        </a:lnTo>
                        <a:lnTo>
                          <a:pt x="20" y="34"/>
                        </a:lnTo>
                        <a:lnTo>
                          <a:pt x="22" y="33"/>
                        </a:lnTo>
                        <a:lnTo>
                          <a:pt x="26" y="32"/>
                        </a:lnTo>
                        <a:lnTo>
                          <a:pt x="28" y="30"/>
                        </a:lnTo>
                        <a:lnTo>
                          <a:pt x="29" y="28"/>
                        </a:lnTo>
                        <a:lnTo>
                          <a:pt x="30" y="23"/>
                        </a:lnTo>
                        <a:lnTo>
                          <a:pt x="30" y="16"/>
                        </a:lnTo>
                        <a:lnTo>
                          <a:pt x="29" y="9"/>
                        </a:lnTo>
                        <a:lnTo>
                          <a:pt x="27" y="0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57" name="Freeform 404">
                    <a:extLst>
                      <a:ext uri="{FF2B5EF4-FFF2-40B4-BE49-F238E27FC236}">
                        <a16:creationId xmlns:a16="http://schemas.microsoft.com/office/drawing/2014/main" xmlns="" id="{869C310F-5405-470B-85B3-0137F35DB74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34" y="1208"/>
                    <a:ext cx="36" cy="16"/>
                  </a:xfrm>
                  <a:custGeom>
                    <a:avLst/>
                    <a:gdLst>
                      <a:gd name="T0" fmla="*/ 0 w 113"/>
                      <a:gd name="T1" fmla="*/ 0 h 46"/>
                      <a:gd name="T2" fmla="*/ 0 w 113"/>
                      <a:gd name="T3" fmla="*/ 0 h 46"/>
                      <a:gd name="T4" fmla="*/ 0 w 113"/>
                      <a:gd name="T5" fmla="*/ 0 h 46"/>
                      <a:gd name="T6" fmla="*/ 0 w 113"/>
                      <a:gd name="T7" fmla="*/ 0 h 46"/>
                      <a:gd name="T8" fmla="*/ 0 w 113"/>
                      <a:gd name="T9" fmla="*/ 0 h 46"/>
                      <a:gd name="T10" fmla="*/ 0 w 113"/>
                      <a:gd name="T11" fmla="*/ 0 h 46"/>
                      <a:gd name="T12" fmla="*/ 0 w 113"/>
                      <a:gd name="T13" fmla="*/ 0 h 46"/>
                      <a:gd name="T14" fmla="*/ 0 w 113"/>
                      <a:gd name="T15" fmla="*/ 0 h 46"/>
                      <a:gd name="T16" fmla="*/ 0 w 113"/>
                      <a:gd name="T17" fmla="*/ 0 h 46"/>
                      <a:gd name="T18" fmla="*/ 0 w 113"/>
                      <a:gd name="T19" fmla="*/ 0 h 46"/>
                      <a:gd name="T20" fmla="*/ 0 w 113"/>
                      <a:gd name="T21" fmla="*/ 0 h 46"/>
                      <a:gd name="T22" fmla="*/ 0 w 113"/>
                      <a:gd name="T23" fmla="*/ 0 h 46"/>
                      <a:gd name="T24" fmla="*/ 0 w 113"/>
                      <a:gd name="T25" fmla="*/ 0 h 46"/>
                      <a:gd name="T26" fmla="*/ 0 w 113"/>
                      <a:gd name="T27" fmla="*/ 0 h 46"/>
                      <a:gd name="T28" fmla="*/ 0 w 113"/>
                      <a:gd name="T29" fmla="*/ 0 h 46"/>
                      <a:gd name="T30" fmla="*/ 0 w 113"/>
                      <a:gd name="T31" fmla="*/ 0 h 46"/>
                      <a:gd name="T32" fmla="*/ 0 w 113"/>
                      <a:gd name="T33" fmla="*/ 0 h 46"/>
                      <a:gd name="T34" fmla="*/ 0 w 113"/>
                      <a:gd name="T35" fmla="*/ 0 h 46"/>
                      <a:gd name="T36" fmla="*/ 0 w 113"/>
                      <a:gd name="T37" fmla="*/ 0 h 46"/>
                      <a:gd name="T38" fmla="*/ 0 w 113"/>
                      <a:gd name="T39" fmla="*/ 0 h 46"/>
                      <a:gd name="T40" fmla="*/ 0 w 113"/>
                      <a:gd name="T41" fmla="*/ 0 h 46"/>
                      <a:gd name="T42" fmla="*/ 0 w 113"/>
                      <a:gd name="T43" fmla="*/ 0 h 46"/>
                      <a:gd name="T44" fmla="*/ 0 w 113"/>
                      <a:gd name="T45" fmla="*/ 0 h 46"/>
                      <a:gd name="T46" fmla="*/ 0 w 113"/>
                      <a:gd name="T47" fmla="*/ 0 h 46"/>
                      <a:gd name="T48" fmla="*/ 0 w 113"/>
                      <a:gd name="T49" fmla="*/ 0 h 46"/>
                      <a:gd name="T50" fmla="*/ 0 w 113"/>
                      <a:gd name="T51" fmla="*/ 0 h 46"/>
                      <a:gd name="T52" fmla="*/ 0 w 113"/>
                      <a:gd name="T53" fmla="*/ 0 h 46"/>
                      <a:gd name="T54" fmla="*/ 0 w 113"/>
                      <a:gd name="T55" fmla="*/ 0 h 46"/>
                      <a:gd name="T56" fmla="*/ 0 w 113"/>
                      <a:gd name="T57" fmla="*/ 0 h 46"/>
                      <a:gd name="T58" fmla="*/ 0 w 113"/>
                      <a:gd name="T59" fmla="*/ 0 h 46"/>
                      <a:gd name="T60" fmla="*/ 0 w 113"/>
                      <a:gd name="T61" fmla="*/ 0 h 4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113"/>
                      <a:gd name="T94" fmla="*/ 0 h 46"/>
                      <a:gd name="T95" fmla="*/ 113 w 113"/>
                      <a:gd name="T96" fmla="*/ 46 h 46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113" h="46">
                        <a:moveTo>
                          <a:pt x="33" y="3"/>
                        </a:moveTo>
                        <a:lnTo>
                          <a:pt x="22" y="3"/>
                        </a:lnTo>
                        <a:lnTo>
                          <a:pt x="12" y="5"/>
                        </a:lnTo>
                        <a:lnTo>
                          <a:pt x="7" y="7"/>
                        </a:lnTo>
                        <a:lnTo>
                          <a:pt x="3" y="11"/>
                        </a:lnTo>
                        <a:lnTo>
                          <a:pt x="1" y="15"/>
                        </a:lnTo>
                        <a:lnTo>
                          <a:pt x="0" y="21"/>
                        </a:lnTo>
                        <a:lnTo>
                          <a:pt x="6" y="27"/>
                        </a:lnTo>
                        <a:lnTo>
                          <a:pt x="10" y="33"/>
                        </a:lnTo>
                        <a:lnTo>
                          <a:pt x="16" y="37"/>
                        </a:lnTo>
                        <a:lnTo>
                          <a:pt x="20" y="41"/>
                        </a:lnTo>
                        <a:lnTo>
                          <a:pt x="25" y="43"/>
                        </a:lnTo>
                        <a:lnTo>
                          <a:pt x="30" y="45"/>
                        </a:lnTo>
                        <a:lnTo>
                          <a:pt x="35" y="46"/>
                        </a:lnTo>
                        <a:lnTo>
                          <a:pt x="40" y="46"/>
                        </a:lnTo>
                        <a:lnTo>
                          <a:pt x="56" y="46"/>
                        </a:lnTo>
                        <a:lnTo>
                          <a:pt x="70" y="43"/>
                        </a:lnTo>
                        <a:lnTo>
                          <a:pt x="76" y="41"/>
                        </a:lnTo>
                        <a:lnTo>
                          <a:pt x="81" y="38"/>
                        </a:lnTo>
                        <a:lnTo>
                          <a:pt x="87" y="36"/>
                        </a:lnTo>
                        <a:lnTo>
                          <a:pt x="91" y="33"/>
                        </a:lnTo>
                        <a:lnTo>
                          <a:pt x="99" y="27"/>
                        </a:lnTo>
                        <a:lnTo>
                          <a:pt x="106" y="20"/>
                        </a:lnTo>
                        <a:lnTo>
                          <a:pt x="110" y="12"/>
                        </a:lnTo>
                        <a:lnTo>
                          <a:pt x="113" y="3"/>
                        </a:lnTo>
                        <a:lnTo>
                          <a:pt x="99" y="1"/>
                        </a:lnTo>
                        <a:lnTo>
                          <a:pt x="87" y="0"/>
                        </a:lnTo>
                        <a:lnTo>
                          <a:pt x="76" y="0"/>
                        </a:lnTo>
                        <a:lnTo>
                          <a:pt x="66" y="1"/>
                        </a:lnTo>
                        <a:lnTo>
                          <a:pt x="48" y="2"/>
                        </a:lnTo>
                        <a:lnTo>
                          <a:pt x="33" y="3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58" name="Freeform 405">
                    <a:extLst>
                      <a:ext uri="{FF2B5EF4-FFF2-40B4-BE49-F238E27FC236}">
                        <a16:creationId xmlns:a16="http://schemas.microsoft.com/office/drawing/2014/main" xmlns="" id="{64360998-BAE9-487D-9E34-51D42CA476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65" y="1201"/>
                    <a:ext cx="49" cy="28"/>
                  </a:xfrm>
                  <a:custGeom>
                    <a:avLst/>
                    <a:gdLst>
                      <a:gd name="T0" fmla="*/ 0 w 153"/>
                      <a:gd name="T1" fmla="*/ 0 h 82"/>
                      <a:gd name="T2" fmla="*/ 0 w 153"/>
                      <a:gd name="T3" fmla="*/ 0 h 82"/>
                      <a:gd name="T4" fmla="*/ 0 w 153"/>
                      <a:gd name="T5" fmla="*/ 0 h 82"/>
                      <a:gd name="T6" fmla="*/ 0 w 153"/>
                      <a:gd name="T7" fmla="*/ 0 h 82"/>
                      <a:gd name="T8" fmla="*/ 0 w 153"/>
                      <a:gd name="T9" fmla="*/ 0 h 82"/>
                      <a:gd name="T10" fmla="*/ 0 w 153"/>
                      <a:gd name="T11" fmla="*/ 0 h 82"/>
                      <a:gd name="T12" fmla="*/ 0 w 153"/>
                      <a:gd name="T13" fmla="*/ 0 h 82"/>
                      <a:gd name="T14" fmla="*/ 0 w 153"/>
                      <a:gd name="T15" fmla="*/ 0 h 82"/>
                      <a:gd name="T16" fmla="*/ 0 w 153"/>
                      <a:gd name="T17" fmla="*/ 0 h 82"/>
                      <a:gd name="T18" fmla="*/ 0 w 153"/>
                      <a:gd name="T19" fmla="*/ 0 h 82"/>
                      <a:gd name="T20" fmla="*/ 0 w 153"/>
                      <a:gd name="T21" fmla="*/ 0 h 82"/>
                      <a:gd name="T22" fmla="*/ 0 w 153"/>
                      <a:gd name="T23" fmla="*/ 0 h 82"/>
                      <a:gd name="T24" fmla="*/ 0 w 153"/>
                      <a:gd name="T25" fmla="*/ 0 h 82"/>
                      <a:gd name="T26" fmla="*/ 0 w 153"/>
                      <a:gd name="T27" fmla="*/ 0 h 82"/>
                      <a:gd name="T28" fmla="*/ 0 w 153"/>
                      <a:gd name="T29" fmla="*/ 0 h 82"/>
                      <a:gd name="T30" fmla="*/ 0 w 153"/>
                      <a:gd name="T31" fmla="*/ 0 h 82"/>
                      <a:gd name="T32" fmla="*/ 0 w 153"/>
                      <a:gd name="T33" fmla="*/ 0 h 82"/>
                      <a:gd name="T34" fmla="*/ 0 w 153"/>
                      <a:gd name="T35" fmla="*/ 0 h 82"/>
                      <a:gd name="T36" fmla="*/ 1 w 153"/>
                      <a:gd name="T37" fmla="*/ 0 h 82"/>
                      <a:gd name="T38" fmla="*/ 1 w 153"/>
                      <a:gd name="T39" fmla="*/ 0 h 82"/>
                      <a:gd name="T40" fmla="*/ 1 w 153"/>
                      <a:gd name="T41" fmla="*/ 0 h 82"/>
                      <a:gd name="T42" fmla="*/ 0 w 153"/>
                      <a:gd name="T43" fmla="*/ 0 h 82"/>
                      <a:gd name="T44" fmla="*/ 0 w 153"/>
                      <a:gd name="T45" fmla="*/ 0 h 82"/>
                      <a:gd name="T46" fmla="*/ 0 w 153"/>
                      <a:gd name="T47" fmla="*/ 0 h 82"/>
                      <a:gd name="T48" fmla="*/ 0 w 153"/>
                      <a:gd name="T49" fmla="*/ 0 h 82"/>
                      <a:gd name="T50" fmla="*/ 0 w 153"/>
                      <a:gd name="T51" fmla="*/ 0 h 82"/>
                      <a:gd name="T52" fmla="*/ 0 w 153"/>
                      <a:gd name="T53" fmla="*/ 0 h 82"/>
                      <a:gd name="T54" fmla="*/ 0 w 153"/>
                      <a:gd name="T55" fmla="*/ 0 h 82"/>
                      <a:gd name="T56" fmla="*/ 0 w 153"/>
                      <a:gd name="T57" fmla="*/ 0 h 82"/>
                      <a:gd name="T58" fmla="*/ 0 w 153"/>
                      <a:gd name="T59" fmla="*/ 0 h 82"/>
                      <a:gd name="T60" fmla="*/ 0 w 153"/>
                      <a:gd name="T61" fmla="*/ 0 h 82"/>
                      <a:gd name="T62" fmla="*/ 0 w 153"/>
                      <a:gd name="T63" fmla="*/ 0 h 82"/>
                      <a:gd name="T64" fmla="*/ 0 w 153"/>
                      <a:gd name="T65" fmla="*/ 0 h 82"/>
                      <a:gd name="T66" fmla="*/ 0 w 153"/>
                      <a:gd name="T67" fmla="*/ 0 h 82"/>
                      <a:gd name="T68" fmla="*/ 0 w 153"/>
                      <a:gd name="T69" fmla="*/ 0 h 82"/>
                      <a:gd name="T70" fmla="*/ 0 w 153"/>
                      <a:gd name="T71" fmla="*/ 0 h 82"/>
                      <a:gd name="T72" fmla="*/ 0 w 153"/>
                      <a:gd name="T73" fmla="*/ 0 h 82"/>
                      <a:gd name="T74" fmla="*/ 0 w 153"/>
                      <a:gd name="T75" fmla="*/ 0 h 82"/>
                      <a:gd name="T76" fmla="*/ 0 w 153"/>
                      <a:gd name="T77" fmla="*/ 0 h 82"/>
                      <a:gd name="T78" fmla="*/ 0 w 153"/>
                      <a:gd name="T79" fmla="*/ 0 h 82"/>
                      <a:gd name="T80" fmla="*/ 0 w 153"/>
                      <a:gd name="T81" fmla="*/ 0 h 82"/>
                      <a:gd name="T82" fmla="*/ 0 w 153"/>
                      <a:gd name="T83" fmla="*/ 0 h 82"/>
                      <a:gd name="T84" fmla="*/ 0 w 153"/>
                      <a:gd name="T85" fmla="*/ 0 h 82"/>
                      <a:gd name="T86" fmla="*/ 0 w 153"/>
                      <a:gd name="T87" fmla="*/ 0 h 82"/>
                      <a:gd name="T88" fmla="*/ 0 w 153"/>
                      <a:gd name="T89" fmla="*/ 0 h 82"/>
                      <a:gd name="T90" fmla="*/ 0 w 153"/>
                      <a:gd name="T91" fmla="*/ 0 h 82"/>
                      <a:gd name="T92" fmla="*/ 0 w 153"/>
                      <a:gd name="T93" fmla="*/ 0 h 82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153"/>
                      <a:gd name="T142" fmla="*/ 0 h 82"/>
                      <a:gd name="T143" fmla="*/ 153 w 153"/>
                      <a:gd name="T144" fmla="*/ 82 h 82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153" h="82">
                        <a:moveTo>
                          <a:pt x="0" y="79"/>
                        </a:moveTo>
                        <a:lnTo>
                          <a:pt x="2" y="81"/>
                        </a:lnTo>
                        <a:lnTo>
                          <a:pt x="6" y="82"/>
                        </a:lnTo>
                        <a:lnTo>
                          <a:pt x="10" y="82"/>
                        </a:lnTo>
                        <a:lnTo>
                          <a:pt x="14" y="82"/>
                        </a:lnTo>
                        <a:lnTo>
                          <a:pt x="23" y="80"/>
                        </a:lnTo>
                        <a:lnTo>
                          <a:pt x="33" y="79"/>
                        </a:lnTo>
                        <a:lnTo>
                          <a:pt x="40" y="79"/>
                        </a:lnTo>
                        <a:lnTo>
                          <a:pt x="47" y="78"/>
                        </a:lnTo>
                        <a:lnTo>
                          <a:pt x="56" y="76"/>
                        </a:lnTo>
                        <a:lnTo>
                          <a:pt x="65" y="74"/>
                        </a:lnTo>
                        <a:lnTo>
                          <a:pt x="83" y="68"/>
                        </a:lnTo>
                        <a:lnTo>
                          <a:pt x="103" y="59"/>
                        </a:lnTo>
                        <a:lnTo>
                          <a:pt x="112" y="54"/>
                        </a:lnTo>
                        <a:lnTo>
                          <a:pt x="121" y="49"/>
                        </a:lnTo>
                        <a:lnTo>
                          <a:pt x="129" y="43"/>
                        </a:lnTo>
                        <a:lnTo>
                          <a:pt x="136" y="38"/>
                        </a:lnTo>
                        <a:lnTo>
                          <a:pt x="142" y="32"/>
                        </a:lnTo>
                        <a:lnTo>
                          <a:pt x="147" y="25"/>
                        </a:lnTo>
                        <a:lnTo>
                          <a:pt x="150" y="19"/>
                        </a:lnTo>
                        <a:lnTo>
                          <a:pt x="153" y="12"/>
                        </a:lnTo>
                        <a:lnTo>
                          <a:pt x="134" y="8"/>
                        </a:lnTo>
                        <a:lnTo>
                          <a:pt x="115" y="3"/>
                        </a:lnTo>
                        <a:lnTo>
                          <a:pt x="96" y="1"/>
                        </a:lnTo>
                        <a:lnTo>
                          <a:pt x="77" y="0"/>
                        </a:lnTo>
                        <a:lnTo>
                          <a:pt x="68" y="1"/>
                        </a:lnTo>
                        <a:lnTo>
                          <a:pt x="60" y="1"/>
                        </a:lnTo>
                        <a:lnTo>
                          <a:pt x="52" y="2"/>
                        </a:lnTo>
                        <a:lnTo>
                          <a:pt x="45" y="4"/>
                        </a:lnTo>
                        <a:lnTo>
                          <a:pt x="38" y="7"/>
                        </a:lnTo>
                        <a:lnTo>
                          <a:pt x="34" y="10"/>
                        </a:lnTo>
                        <a:lnTo>
                          <a:pt x="30" y="14"/>
                        </a:lnTo>
                        <a:lnTo>
                          <a:pt x="26" y="18"/>
                        </a:lnTo>
                        <a:lnTo>
                          <a:pt x="32" y="23"/>
                        </a:lnTo>
                        <a:lnTo>
                          <a:pt x="36" y="29"/>
                        </a:lnTo>
                        <a:lnTo>
                          <a:pt x="38" y="32"/>
                        </a:lnTo>
                        <a:lnTo>
                          <a:pt x="42" y="34"/>
                        </a:lnTo>
                        <a:lnTo>
                          <a:pt x="44" y="36"/>
                        </a:lnTo>
                        <a:lnTo>
                          <a:pt x="46" y="36"/>
                        </a:lnTo>
                        <a:lnTo>
                          <a:pt x="40" y="41"/>
                        </a:lnTo>
                        <a:lnTo>
                          <a:pt x="33" y="46"/>
                        </a:lnTo>
                        <a:lnTo>
                          <a:pt x="29" y="52"/>
                        </a:lnTo>
                        <a:lnTo>
                          <a:pt x="23" y="57"/>
                        </a:lnTo>
                        <a:lnTo>
                          <a:pt x="18" y="64"/>
                        </a:lnTo>
                        <a:lnTo>
                          <a:pt x="13" y="69"/>
                        </a:lnTo>
                        <a:lnTo>
                          <a:pt x="7" y="75"/>
                        </a:lnTo>
                        <a:lnTo>
                          <a:pt x="0" y="79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59" name="Freeform 406">
                    <a:extLst>
                      <a:ext uri="{FF2B5EF4-FFF2-40B4-BE49-F238E27FC236}">
                        <a16:creationId xmlns:a16="http://schemas.microsoft.com/office/drawing/2014/main" xmlns="" id="{6CED3C64-6F04-4DED-B920-05DB91B44EF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14" y="1217"/>
                    <a:ext cx="29" cy="17"/>
                  </a:xfrm>
                  <a:custGeom>
                    <a:avLst/>
                    <a:gdLst>
                      <a:gd name="T0" fmla="*/ 0 w 86"/>
                      <a:gd name="T1" fmla="*/ 0 h 50"/>
                      <a:gd name="T2" fmla="*/ 0 w 86"/>
                      <a:gd name="T3" fmla="*/ 0 h 50"/>
                      <a:gd name="T4" fmla="*/ 0 w 86"/>
                      <a:gd name="T5" fmla="*/ 0 h 50"/>
                      <a:gd name="T6" fmla="*/ 0 w 86"/>
                      <a:gd name="T7" fmla="*/ 0 h 50"/>
                      <a:gd name="T8" fmla="*/ 0 w 86"/>
                      <a:gd name="T9" fmla="*/ 0 h 50"/>
                      <a:gd name="T10" fmla="*/ 0 w 86"/>
                      <a:gd name="T11" fmla="*/ 0 h 50"/>
                      <a:gd name="T12" fmla="*/ 0 w 86"/>
                      <a:gd name="T13" fmla="*/ 0 h 50"/>
                      <a:gd name="T14" fmla="*/ 0 w 86"/>
                      <a:gd name="T15" fmla="*/ 0 h 50"/>
                      <a:gd name="T16" fmla="*/ 0 w 86"/>
                      <a:gd name="T17" fmla="*/ 0 h 50"/>
                      <a:gd name="T18" fmla="*/ 0 w 86"/>
                      <a:gd name="T19" fmla="*/ 0 h 50"/>
                      <a:gd name="T20" fmla="*/ 0 w 86"/>
                      <a:gd name="T21" fmla="*/ 0 h 50"/>
                      <a:gd name="T22" fmla="*/ 0 w 86"/>
                      <a:gd name="T23" fmla="*/ 0 h 50"/>
                      <a:gd name="T24" fmla="*/ 0 w 86"/>
                      <a:gd name="T25" fmla="*/ 0 h 50"/>
                      <a:gd name="T26" fmla="*/ 0 w 86"/>
                      <a:gd name="T27" fmla="*/ 0 h 50"/>
                      <a:gd name="T28" fmla="*/ 0 w 86"/>
                      <a:gd name="T29" fmla="*/ 0 h 50"/>
                      <a:gd name="T30" fmla="*/ 0 w 86"/>
                      <a:gd name="T31" fmla="*/ 0 h 50"/>
                      <a:gd name="T32" fmla="*/ 0 w 86"/>
                      <a:gd name="T33" fmla="*/ 0 h 50"/>
                      <a:gd name="T34" fmla="*/ 0 w 86"/>
                      <a:gd name="T35" fmla="*/ 0 h 50"/>
                      <a:gd name="T36" fmla="*/ 0 w 86"/>
                      <a:gd name="T37" fmla="*/ 0 h 50"/>
                      <a:gd name="T38" fmla="*/ 0 w 86"/>
                      <a:gd name="T39" fmla="*/ 0 h 50"/>
                      <a:gd name="T40" fmla="*/ 0 w 86"/>
                      <a:gd name="T41" fmla="*/ 0 h 50"/>
                      <a:gd name="T42" fmla="*/ 0 w 86"/>
                      <a:gd name="T43" fmla="*/ 0 h 50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86"/>
                      <a:gd name="T67" fmla="*/ 0 h 50"/>
                      <a:gd name="T68" fmla="*/ 86 w 86"/>
                      <a:gd name="T69" fmla="*/ 50 h 50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86" h="50">
                        <a:moveTo>
                          <a:pt x="0" y="37"/>
                        </a:moveTo>
                        <a:lnTo>
                          <a:pt x="5" y="41"/>
                        </a:lnTo>
                        <a:lnTo>
                          <a:pt x="11" y="44"/>
                        </a:lnTo>
                        <a:lnTo>
                          <a:pt x="16" y="47"/>
                        </a:lnTo>
                        <a:lnTo>
                          <a:pt x="23" y="48"/>
                        </a:lnTo>
                        <a:lnTo>
                          <a:pt x="35" y="49"/>
                        </a:lnTo>
                        <a:lnTo>
                          <a:pt x="46" y="50"/>
                        </a:lnTo>
                        <a:lnTo>
                          <a:pt x="58" y="49"/>
                        </a:lnTo>
                        <a:lnTo>
                          <a:pt x="67" y="48"/>
                        </a:lnTo>
                        <a:lnTo>
                          <a:pt x="73" y="47"/>
                        </a:lnTo>
                        <a:lnTo>
                          <a:pt x="79" y="44"/>
                        </a:lnTo>
                        <a:lnTo>
                          <a:pt x="82" y="41"/>
                        </a:lnTo>
                        <a:lnTo>
                          <a:pt x="84" y="37"/>
                        </a:lnTo>
                        <a:lnTo>
                          <a:pt x="85" y="32"/>
                        </a:lnTo>
                        <a:lnTo>
                          <a:pt x="86" y="25"/>
                        </a:lnTo>
                        <a:lnTo>
                          <a:pt x="85" y="17"/>
                        </a:lnTo>
                        <a:lnTo>
                          <a:pt x="84" y="10"/>
                        </a:lnTo>
                        <a:lnTo>
                          <a:pt x="83" y="7"/>
                        </a:lnTo>
                        <a:lnTo>
                          <a:pt x="81" y="5"/>
                        </a:lnTo>
                        <a:lnTo>
                          <a:pt x="77" y="2"/>
                        </a:lnTo>
                        <a:lnTo>
                          <a:pt x="73" y="0"/>
                        </a:lnTo>
                        <a:lnTo>
                          <a:pt x="0" y="37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60" name="Freeform 407">
                    <a:extLst>
                      <a:ext uri="{FF2B5EF4-FFF2-40B4-BE49-F238E27FC236}">
                        <a16:creationId xmlns:a16="http://schemas.microsoft.com/office/drawing/2014/main" xmlns="" id="{D7360293-FA32-450D-B116-961F1371E0F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79" y="1163"/>
                    <a:ext cx="55" cy="25"/>
                  </a:xfrm>
                  <a:custGeom>
                    <a:avLst/>
                    <a:gdLst>
                      <a:gd name="T0" fmla="*/ 0 w 172"/>
                      <a:gd name="T1" fmla="*/ 0 h 74"/>
                      <a:gd name="T2" fmla="*/ 0 w 172"/>
                      <a:gd name="T3" fmla="*/ 0 h 74"/>
                      <a:gd name="T4" fmla="*/ 0 w 172"/>
                      <a:gd name="T5" fmla="*/ 0 h 74"/>
                      <a:gd name="T6" fmla="*/ 0 w 172"/>
                      <a:gd name="T7" fmla="*/ 0 h 74"/>
                      <a:gd name="T8" fmla="*/ 0 w 172"/>
                      <a:gd name="T9" fmla="*/ 0 h 74"/>
                      <a:gd name="T10" fmla="*/ 0 w 172"/>
                      <a:gd name="T11" fmla="*/ 0 h 74"/>
                      <a:gd name="T12" fmla="*/ 0 w 172"/>
                      <a:gd name="T13" fmla="*/ 0 h 74"/>
                      <a:gd name="T14" fmla="*/ 0 w 172"/>
                      <a:gd name="T15" fmla="*/ 0 h 74"/>
                      <a:gd name="T16" fmla="*/ 0 w 172"/>
                      <a:gd name="T17" fmla="*/ 0 h 74"/>
                      <a:gd name="T18" fmla="*/ 0 w 172"/>
                      <a:gd name="T19" fmla="*/ 0 h 74"/>
                      <a:gd name="T20" fmla="*/ 0 w 172"/>
                      <a:gd name="T21" fmla="*/ 0 h 74"/>
                      <a:gd name="T22" fmla="*/ 0 w 172"/>
                      <a:gd name="T23" fmla="*/ 0 h 74"/>
                      <a:gd name="T24" fmla="*/ 0 w 172"/>
                      <a:gd name="T25" fmla="*/ 0 h 74"/>
                      <a:gd name="T26" fmla="*/ 0 w 172"/>
                      <a:gd name="T27" fmla="*/ 0 h 74"/>
                      <a:gd name="T28" fmla="*/ 0 w 172"/>
                      <a:gd name="T29" fmla="*/ 0 h 74"/>
                      <a:gd name="T30" fmla="*/ 0 w 172"/>
                      <a:gd name="T31" fmla="*/ 0 h 74"/>
                      <a:gd name="T32" fmla="*/ 0 w 172"/>
                      <a:gd name="T33" fmla="*/ 0 h 74"/>
                      <a:gd name="T34" fmla="*/ 0 w 172"/>
                      <a:gd name="T35" fmla="*/ 0 h 74"/>
                      <a:gd name="T36" fmla="*/ 0 w 172"/>
                      <a:gd name="T37" fmla="*/ 0 h 74"/>
                      <a:gd name="T38" fmla="*/ 0 w 172"/>
                      <a:gd name="T39" fmla="*/ 0 h 74"/>
                      <a:gd name="T40" fmla="*/ 0 w 172"/>
                      <a:gd name="T41" fmla="*/ 0 h 74"/>
                      <a:gd name="T42" fmla="*/ 0 w 172"/>
                      <a:gd name="T43" fmla="*/ 0 h 74"/>
                      <a:gd name="T44" fmla="*/ 0 w 172"/>
                      <a:gd name="T45" fmla="*/ 0 h 74"/>
                      <a:gd name="T46" fmla="*/ 0 w 172"/>
                      <a:gd name="T47" fmla="*/ 0 h 74"/>
                      <a:gd name="T48" fmla="*/ 0 w 172"/>
                      <a:gd name="T49" fmla="*/ 0 h 74"/>
                      <a:gd name="T50" fmla="*/ 0 w 172"/>
                      <a:gd name="T51" fmla="*/ 0 h 74"/>
                      <a:gd name="T52" fmla="*/ 0 w 172"/>
                      <a:gd name="T53" fmla="*/ 0 h 74"/>
                      <a:gd name="T54" fmla="*/ 0 w 172"/>
                      <a:gd name="T55" fmla="*/ 0 h 74"/>
                      <a:gd name="T56" fmla="*/ 0 w 172"/>
                      <a:gd name="T57" fmla="*/ 0 h 74"/>
                      <a:gd name="T58" fmla="*/ 0 w 172"/>
                      <a:gd name="T59" fmla="*/ 0 h 74"/>
                      <a:gd name="T60" fmla="*/ 0 w 172"/>
                      <a:gd name="T61" fmla="*/ 0 h 74"/>
                      <a:gd name="T62" fmla="*/ 0 w 172"/>
                      <a:gd name="T63" fmla="*/ 0 h 74"/>
                      <a:gd name="T64" fmla="*/ 0 w 172"/>
                      <a:gd name="T65" fmla="*/ 0 h 74"/>
                      <a:gd name="T66" fmla="*/ 0 w 172"/>
                      <a:gd name="T67" fmla="*/ 0 h 74"/>
                      <a:gd name="T68" fmla="*/ 1 w 172"/>
                      <a:gd name="T69" fmla="*/ 0 h 74"/>
                      <a:gd name="T70" fmla="*/ 1 w 172"/>
                      <a:gd name="T71" fmla="*/ 0 h 74"/>
                      <a:gd name="T72" fmla="*/ 1 w 172"/>
                      <a:gd name="T73" fmla="*/ 0 h 74"/>
                      <a:gd name="T74" fmla="*/ 1 w 172"/>
                      <a:gd name="T75" fmla="*/ 0 h 74"/>
                      <a:gd name="T76" fmla="*/ 1 w 172"/>
                      <a:gd name="T77" fmla="*/ 0 h 74"/>
                      <a:gd name="T78" fmla="*/ 1 w 172"/>
                      <a:gd name="T79" fmla="*/ 0 h 74"/>
                      <a:gd name="T80" fmla="*/ 1 w 172"/>
                      <a:gd name="T81" fmla="*/ 0 h 74"/>
                      <a:gd name="T82" fmla="*/ 1 w 172"/>
                      <a:gd name="T83" fmla="*/ 0 h 74"/>
                      <a:gd name="T84" fmla="*/ 1 w 172"/>
                      <a:gd name="T85" fmla="*/ 0 h 74"/>
                      <a:gd name="T86" fmla="*/ 1 w 172"/>
                      <a:gd name="T87" fmla="*/ 0 h 74"/>
                      <a:gd name="T88" fmla="*/ 1 w 172"/>
                      <a:gd name="T89" fmla="*/ 0 h 74"/>
                      <a:gd name="T90" fmla="*/ 0 w 172"/>
                      <a:gd name="T91" fmla="*/ 0 h 74"/>
                      <a:gd name="T92" fmla="*/ 0 w 172"/>
                      <a:gd name="T93" fmla="*/ 0 h 74"/>
                      <a:gd name="T94" fmla="*/ 0 w 172"/>
                      <a:gd name="T95" fmla="*/ 0 h 74"/>
                      <a:gd name="T96" fmla="*/ 0 w 172"/>
                      <a:gd name="T97" fmla="*/ 0 h 74"/>
                      <a:gd name="T98" fmla="*/ 0 w 172"/>
                      <a:gd name="T99" fmla="*/ 0 h 74"/>
                      <a:gd name="T100" fmla="*/ 0 w 172"/>
                      <a:gd name="T101" fmla="*/ 0 h 74"/>
                      <a:gd name="T102" fmla="*/ 0 w 172"/>
                      <a:gd name="T103" fmla="*/ 0 h 74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w 172"/>
                      <a:gd name="T157" fmla="*/ 0 h 74"/>
                      <a:gd name="T158" fmla="*/ 172 w 172"/>
                      <a:gd name="T159" fmla="*/ 74 h 74"/>
                    </a:gdLst>
                    <a:ahLst/>
                    <a:cxnLst>
                      <a:cxn ang="T104">
                        <a:pos x="T0" y="T1"/>
                      </a:cxn>
                      <a:cxn ang="T105">
                        <a:pos x="T2" y="T3"/>
                      </a:cxn>
                      <a:cxn ang="T106">
                        <a:pos x="T4" y="T5"/>
                      </a:cxn>
                      <a:cxn ang="T107">
                        <a:pos x="T6" y="T7"/>
                      </a:cxn>
                      <a:cxn ang="T108">
                        <a:pos x="T8" y="T9"/>
                      </a:cxn>
                      <a:cxn ang="T109">
                        <a:pos x="T10" y="T11"/>
                      </a:cxn>
                      <a:cxn ang="T110">
                        <a:pos x="T12" y="T13"/>
                      </a:cxn>
                      <a:cxn ang="T111">
                        <a:pos x="T14" y="T15"/>
                      </a:cxn>
                      <a:cxn ang="T112">
                        <a:pos x="T16" y="T17"/>
                      </a:cxn>
                      <a:cxn ang="T113">
                        <a:pos x="T18" y="T19"/>
                      </a:cxn>
                      <a:cxn ang="T114">
                        <a:pos x="T20" y="T21"/>
                      </a:cxn>
                      <a:cxn ang="T115">
                        <a:pos x="T22" y="T23"/>
                      </a:cxn>
                      <a:cxn ang="T116">
                        <a:pos x="T24" y="T25"/>
                      </a:cxn>
                      <a:cxn ang="T117">
                        <a:pos x="T26" y="T27"/>
                      </a:cxn>
                      <a:cxn ang="T118">
                        <a:pos x="T28" y="T29"/>
                      </a:cxn>
                      <a:cxn ang="T119">
                        <a:pos x="T30" y="T31"/>
                      </a:cxn>
                      <a:cxn ang="T120">
                        <a:pos x="T32" y="T33"/>
                      </a:cxn>
                      <a:cxn ang="T121">
                        <a:pos x="T34" y="T35"/>
                      </a:cxn>
                      <a:cxn ang="T122">
                        <a:pos x="T36" y="T37"/>
                      </a:cxn>
                      <a:cxn ang="T123">
                        <a:pos x="T38" y="T39"/>
                      </a:cxn>
                      <a:cxn ang="T124">
                        <a:pos x="T40" y="T41"/>
                      </a:cxn>
                      <a:cxn ang="T125">
                        <a:pos x="T42" y="T43"/>
                      </a:cxn>
                      <a:cxn ang="T126">
                        <a:pos x="T44" y="T45"/>
                      </a:cxn>
                      <a:cxn ang="T127">
                        <a:pos x="T46" y="T47"/>
                      </a:cxn>
                      <a:cxn ang="T128">
                        <a:pos x="T48" y="T49"/>
                      </a:cxn>
                      <a:cxn ang="T129">
                        <a:pos x="T50" y="T51"/>
                      </a:cxn>
                      <a:cxn ang="T130">
                        <a:pos x="T52" y="T53"/>
                      </a:cxn>
                      <a:cxn ang="T131">
                        <a:pos x="T54" y="T55"/>
                      </a:cxn>
                      <a:cxn ang="T132">
                        <a:pos x="T56" y="T57"/>
                      </a:cxn>
                      <a:cxn ang="T133">
                        <a:pos x="T58" y="T59"/>
                      </a:cxn>
                      <a:cxn ang="T134">
                        <a:pos x="T60" y="T61"/>
                      </a:cxn>
                      <a:cxn ang="T135">
                        <a:pos x="T62" y="T63"/>
                      </a:cxn>
                      <a:cxn ang="T136">
                        <a:pos x="T64" y="T65"/>
                      </a:cxn>
                      <a:cxn ang="T137">
                        <a:pos x="T66" y="T67"/>
                      </a:cxn>
                      <a:cxn ang="T138">
                        <a:pos x="T68" y="T69"/>
                      </a:cxn>
                      <a:cxn ang="T139">
                        <a:pos x="T70" y="T71"/>
                      </a:cxn>
                      <a:cxn ang="T140">
                        <a:pos x="T72" y="T73"/>
                      </a:cxn>
                      <a:cxn ang="T141">
                        <a:pos x="T74" y="T75"/>
                      </a:cxn>
                      <a:cxn ang="T142">
                        <a:pos x="T76" y="T77"/>
                      </a:cxn>
                      <a:cxn ang="T143">
                        <a:pos x="T78" y="T79"/>
                      </a:cxn>
                      <a:cxn ang="T144">
                        <a:pos x="T80" y="T81"/>
                      </a:cxn>
                      <a:cxn ang="T145">
                        <a:pos x="T82" y="T83"/>
                      </a:cxn>
                      <a:cxn ang="T146">
                        <a:pos x="T84" y="T85"/>
                      </a:cxn>
                      <a:cxn ang="T147">
                        <a:pos x="T86" y="T87"/>
                      </a:cxn>
                      <a:cxn ang="T148">
                        <a:pos x="T88" y="T89"/>
                      </a:cxn>
                      <a:cxn ang="T149">
                        <a:pos x="T90" y="T91"/>
                      </a:cxn>
                      <a:cxn ang="T150">
                        <a:pos x="T92" y="T93"/>
                      </a:cxn>
                      <a:cxn ang="T151">
                        <a:pos x="T94" y="T95"/>
                      </a:cxn>
                      <a:cxn ang="T152">
                        <a:pos x="T96" y="T97"/>
                      </a:cxn>
                      <a:cxn ang="T153">
                        <a:pos x="T98" y="T99"/>
                      </a:cxn>
                      <a:cxn ang="T154">
                        <a:pos x="T100" y="T101"/>
                      </a:cxn>
                      <a:cxn ang="T155">
                        <a:pos x="T102" y="T103"/>
                      </a:cxn>
                    </a:cxnLst>
                    <a:rect l="T156" t="T157" r="T158" b="T159"/>
                    <a:pathLst>
                      <a:path w="172" h="74">
                        <a:moveTo>
                          <a:pt x="119" y="61"/>
                        </a:moveTo>
                        <a:lnTo>
                          <a:pt x="109" y="61"/>
                        </a:lnTo>
                        <a:lnTo>
                          <a:pt x="99" y="61"/>
                        </a:lnTo>
                        <a:lnTo>
                          <a:pt x="90" y="61"/>
                        </a:lnTo>
                        <a:lnTo>
                          <a:pt x="80" y="61"/>
                        </a:lnTo>
                        <a:lnTo>
                          <a:pt x="60" y="74"/>
                        </a:lnTo>
                        <a:lnTo>
                          <a:pt x="33" y="74"/>
                        </a:lnTo>
                        <a:lnTo>
                          <a:pt x="36" y="61"/>
                        </a:lnTo>
                        <a:lnTo>
                          <a:pt x="39" y="49"/>
                        </a:lnTo>
                        <a:lnTo>
                          <a:pt x="30" y="49"/>
                        </a:lnTo>
                        <a:lnTo>
                          <a:pt x="23" y="48"/>
                        </a:lnTo>
                        <a:lnTo>
                          <a:pt x="15" y="47"/>
                        </a:lnTo>
                        <a:lnTo>
                          <a:pt x="9" y="45"/>
                        </a:lnTo>
                        <a:lnTo>
                          <a:pt x="5" y="42"/>
                        </a:lnTo>
                        <a:lnTo>
                          <a:pt x="2" y="39"/>
                        </a:lnTo>
                        <a:lnTo>
                          <a:pt x="1" y="35"/>
                        </a:lnTo>
                        <a:lnTo>
                          <a:pt x="0" y="31"/>
                        </a:lnTo>
                        <a:lnTo>
                          <a:pt x="1" y="26"/>
                        </a:lnTo>
                        <a:lnTo>
                          <a:pt x="2" y="21"/>
                        </a:lnTo>
                        <a:lnTo>
                          <a:pt x="5" y="17"/>
                        </a:lnTo>
                        <a:lnTo>
                          <a:pt x="8" y="14"/>
                        </a:lnTo>
                        <a:lnTo>
                          <a:pt x="13" y="10"/>
                        </a:lnTo>
                        <a:lnTo>
                          <a:pt x="18" y="7"/>
                        </a:lnTo>
                        <a:lnTo>
                          <a:pt x="24" y="5"/>
                        </a:lnTo>
                        <a:lnTo>
                          <a:pt x="29" y="4"/>
                        </a:lnTo>
                        <a:lnTo>
                          <a:pt x="42" y="1"/>
                        </a:lnTo>
                        <a:lnTo>
                          <a:pt x="56" y="0"/>
                        </a:lnTo>
                        <a:lnTo>
                          <a:pt x="69" y="0"/>
                        </a:lnTo>
                        <a:lnTo>
                          <a:pt x="80" y="0"/>
                        </a:lnTo>
                        <a:lnTo>
                          <a:pt x="94" y="1"/>
                        </a:lnTo>
                        <a:lnTo>
                          <a:pt x="106" y="4"/>
                        </a:lnTo>
                        <a:lnTo>
                          <a:pt x="117" y="7"/>
                        </a:lnTo>
                        <a:lnTo>
                          <a:pt x="128" y="13"/>
                        </a:lnTo>
                        <a:lnTo>
                          <a:pt x="139" y="17"/>
                        </a:lnTo>
                        <a:lnTo>
                          <a:pt x="150" y="21"/>
                        </a:lnTo>
                        <a:lnTo>
                          <a:pt x="161" y="24"/>
                        </a:lnTo>
                        <a:lnTo>
                          <a:pt x="172" y="25"/>
                        </a:lnTo>
                        <a:lnTo>
                          <a:pt x="172" y="43"/>
                        </a:lnTo>
                        <a:lnTo>
                          <a:pt x="169" y="48"/>
                        </a:lnTo>
                        <a:lnTo>
                          <a:pt x="165" y="53"/>
                        </a:lnTo>
                        <a:lnTo>
                          <a:pt x="161" y="57"/>
                        </a:lnTo>
                        <a:lnTo>
                          <a:pt x="158" y="60"/>
                        </a:lnTo>
                        <a:lnTo>
                          <a:pt x="153" y="62"/>
                        </a:lnTo>
                        <a:lnTo>
                          <a:pt x="149" y="63"/>
                        </a:lnTo>
                        <a:lnTo>
                          <a:pt x="146" y="65"/>
                        </a:lnTo>
                        <a:lnTo>
                          <a:pt x="141" y="65"/>
                        </a:lnTo>
                        <a:lnTo>
                          <a:pt x="131" y="65"/>
                        </a:lnTo>
                        <a:lnTo>
                          <a:pt x="121" y="63"/>
                        </a:lnTo>
                        <a:lnTo>
                          <a:pt x="112" y="59"/>
                        </a:lnTo>
                        <a:lnTo>
                          <a:pt x="99" y="55"/>
                        </a:lnTo>
                        <a:lnTo>
                          <a:pt x="106" y="55"/>
                        </a:lnTo>
                        <a:lnTo>
                          <a:pt x="119" y="61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61" name="Freeform 408">
                    <a:extLst>
                      <a:ext uri="{FF2B5EF4-FFF2-40B4-BE49-F238E27FC236}">
                        <a16:creationId xmlns:a16="http://schemas.microsoft.com/office/drawing/2014/main" xmlns="" id="{D384B5C6-AE83-4E7D-BAC5-D0B4A36BDB9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50" y="1171"/>
                    <a:ext cx="38" cy="17"/>
                  </a:xfrm>
                  <a:custGeom>
                    <a:avLst/>
                    <a:gdLst>
                      <a:gd name="T0" fmla="*/ 0 w 120"/>
                      <a:gd name="T1" fmla="*/ 0 h 49"/>
                      <a:gd name="T2" fmla="*/ 0 w 120"/>
                      <a:gd name="T3" fmla="*/ 0 h 49"/>
                      <a:gd name="T4" fmla="*/ 0 w 120"/>
                      <a:gd name="T5" fmla="*/ 0 h 49"/>
                      <a:gd name="T6" fmla="*/ 0 w 120"/>
                      <a:gd name="T7" fmla="*/ 0 h 49"/>
                      <a:gd name="T8" fmla="*/ 0 w 120"/>
                      <a:gd name="T9" fmla="*/ 0 h 49"/>
                      <a:gd name="T10" fmla="*/ 0 w 120"/>
                      <a:gd name="T11" fmla="*/ 0 h 49"/>
                      <a:gd name="T12" fmla="*/ 0 w 120"/>
                      <a:gd name="T13" fmla="*/ 0 h 49"/>
                      <a:gd name="T14" fmla="*/ 0 w 120"/>
                      <a:gd name="T15" fmla="*/ 0 h 49"/>
                      <a:gd name="T16" fmla="*/ 0 w 120"/>
                      <a:gd name="T17" fmla="*/ 0 h 49"/>
                      <a:gd name="T18" fmla="*/ 0 w 120"/>
                      <a:gd name="T19" fmla="*/ 0 h 49"/>
                      <a:gd name="T20" fmla="*/ 0 w 120"/>
                      <a:gd name="T21" fmla="*/ 0 h 49"/>
                      <a:gd name="T22" fmla="*/ 0 w 120"/>
                      <a:gd name="T23" fmla="*/ 0 h 49"/>
                      <a:gd name="T24" fmla="*/ 0 w 120"/>
                      <a:gd name="T25" fmla="*/ 0 h 49"/>
                      <a:gd name="T26" fmla="*/ 0 w 120"/>
                      <a:gd name="T27" fmla="*/ 0 h 49"/>
                      <a:gd name="T28" fmla="*/ 0 w 120"/>
                      <a:gd name="T29" fmla="*/ 0 h 49"/>
                      <a:gd name="T30" fmla="*/ 0 w 120"/>
                      <a:gd name="T31" fmla="*/ 0 h 49"/>
                      <a:gd name="T32" fmla="*/ 0 w 120"/>
                      <a:gd name="T33" fmla="*/ 0 h 49"/>
                      <a:gd name="T34" fmla="*/ 0 w 120"/>
                      <a:gd name="T35" fmla="*/ 0 h 49"/>
                      <a:gd name="T36" fmla="*/ 0 w 120"/>
                      <a:gd name="T37" fmla="*/ 0 h 49"/>
                      <a:gd name="T38" fmla="*/ 0 w 120"/>
                      <a:gd name="T39" fmla="*/ 0 h 49"/>
                      <a:gd name="T40" fmla="*/ 0 w 120"/>
                      <a:gd name="T41" fmla="*/ 0 h 49"/>
                      <a:gd name="T42" fmla="*/ 0 w 120"/>
                      <a:gd name="T43" fmla="*/ 0 h 49"/>
                      <a:gd name="T44" fmla="*/ 0 w 120"/>
                      <a:gd name="T45" fmla="*/ 0 h 49"/>
                      <a:gd name="T46" fmla="*/ 0 w 120"/>
                      <a:gd name="T47" fmla="*/ 0 h 49"/>
                      <a:gd name="T48" fmla="*/ 0 w 120"/>
                      <a:gd name="T49" fmla="*/ 0 h 49"/>
                      <a:gd name="T50" fmla="*/ 0 w 120"/>
                      <a:gd name="T51" fmla="*/ 0 h 49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120"/>
                      <a:gd name="T79" fmla="*/ 0 h 49"/>
                      <a:gd name="T80" fmla="*/ 120 w 120"/>
                      <a:gd name="T81" fmla="*/ 49 h 49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120" h="49">
                        <a:moveTo>
                          <a:pt x="27" y="49"/>
                        </a:moveTo>
                        <a:lnTo>
                          <a:pt x="47" y="49"/>
                        </a:lnTo>
                        <a:lnTo>
                          <a:pt x="64" y="48"/>
                        </a:lnTo>
                        <a:lnTo>
                          <a:pt x="78" y="46"/>
                        </a:lnTo>
                        <a:lnTo>
                          <a:pt x="90" y="43"/>
                        </a:lnTo>
                        <a:lnTo>
                          <a:pt x="96" y="39"/>
                        </a:lnTo>
                        <a:lnTo>
                          <a:pt x="100" y="37"/>
                        </a:lnTo>
                        <a:lnTo>
                          <a:pt x="104" y="34"/>
                        </a:lnTo>
                        <a:lnTo>
                          <a:pt x="108" y="31"/>
                        </a:lnTo>
                        <a:lnTo>
                          <a:pt x="114" y="22"/>
                        </a:lnTo>
                        <a:lnTo>
                          <a:pt x="120" y="12"/>
                        </a:lnTo>
                        <a:lnTo>
                          <a:pt x="102" y="6"/>
                        </a:lnTo>
                        <a:lnTo>
                          <a:pt x="84" y="3"/>
                        </a:lnTo>
                        <a:lnTo>
                          <a:pt x="66" y="1"/>
                        </a:lnTo>
                        <a:lnTo>
                          <a:pt x="50" y="0"/>
                        </a:lnTo>
                        <a:lnTo>
                          <a:pt x="34" y="1"/>
                        </a:lnTo>
                        <a:lnTo>
                          <a:pt x="20" y="2"/>
                        </a:lnTo>
                        <a:lnTo>
                          <a:pt x="9" y="4"/>
                        </a:lnTo>
                        <a:lnTo>
                          <a:pt x="0" y="6"/>
                        </a:lnTo>
                        <a:lnTo>
                          <a:pt x="0" y="30"/>
                        </a:lnTo>
                        <a:lnTo>
                          <a:pt x="2" y="35"/>
                        </a:lnTo>
                        <a:lnTo>
                          <a:pt x="6" y="38"/>
                        </a:lnTo>
                        <a:lnTo>
                          <a:pt x="9" y="41"/>
                        </a:lnTo>
                        <a:lnTo>
                          <a:pt x="13" y="45"/>
                        </a:lnTo>
                        <a:lnTo>
                          <a:pt x="20" y="48"/>
                        </a:lnTo>
                        <a:lnTo>
                          <a:pt x="27" y="49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62" name="Freeform 409">
                    <a:extLst>
                      <a:ext uri="{FF2B5EF4-FFF2-40B4-BE49-F238E27FC236}">
                        <a16:creationId xmlns:a16="http://schemas.microsoft.com/office/drawing/2014/main" xmlns="" id="{4F9DF1B2-CCA3-4708-9C73-37747A1F96B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41" y="1194"/>
                    <a:ext cx="26" cy="19"/>
                  </a:xfrm>
                  <a:custGeom>
                    <a:avLst/>
                    <a:gdLst>
                      <a:gd name="T0" fmla="*/ 0 w 85"/>
                      <a:gd name="T1" fmla="*/ 0 h 61"/>
                      <a:gd name="T2" fmla="*/ 0 w 85"/>
                      <a:gd name="T3" fmla="*/ 0 h 61"/>
                      <a:gd name="T4" fmla="*/ 0 w 85"/>
                      <a:gd name="T5" fmla="*/ 0 h 61"/>
                      <a:gd name="T6" fmla="*/ 0 w 85"/>
                      <a:gd name="T7" fmla="*/ 0 h 61"/>
                      <a:gd name="T8" fmla="*/ 0 w 85"/>
                      <a:gd name="T9" fmla="*/ 0 h 61"/>
                      <a:gd name="T10" fmla="*/ 0 w 85"/>
                      <a:gd name="T11" fmla="*/ 0 h 61"/>
                      <a:gd name="T12" fmla="*/ 0 w 85"/>
                      <a:gd name="T13" fmla="*/ 0 h 61"/>
                      <a:gd name="T14" fmla="*/ 0 w 85"/>
                      <a:gd name="T15" fmla="*/ 0 h 61"/>
                      <a:gd name="T16" fmla="*/ 0 w 85"/>
                      <a:gd name="T17" fmla="*/ 0 h 61"/>
                      <a:gd name="T18" fmla="*/ 0 w 85"/>
                      <a:gd name="T19" fmla="*/ 0 h 61"/>
                      <a:gd name="T20" fmla="*/ 0 w 85"/>
                      <a:gd name="T21" fmla="*/ 0 h 61"/>
                      <a:gd name="T22" fmla="*/ 0 w 85"/>
                      <a:gd name="T23" fmla="*/ 0 h 61"/>
                      <a:gd name="T24" fmla="*/ 0 w 85"/>
                      <a:gd name="T25" fmla="*/ 0 h 61"/>
                      <a:gd name="T26" fmla="*/ 0 w 85"/>
                      <a:gd name="T27" fmla="*/ 0 h 61"/>
                      <a:gd name="T28" fmla="*/ 0 w 85"/>
                      <a:gd name="T29" fmla="*/ 0 h 61"/>
                      <a:gd name="T30" fmla="*/ 0 w 85"/>
                      <a:gd name="T31" fmla="*/ 0 h 61"/>
                      <a:gd name="T32" fmla="*/ 0 w 85"/>
                      <a:gd name="T33" fmla="*/ 0 h 61"/>
                      <a:gd name="T34" fmla="*/ 0 w 85"/>
                      <a:gd name="T35" fmla="*/ 0 h 61"/>
                      <a:gd name="T36" fmla="*/ 0 w 85"/>
                      <a:gd name="T37" fmla="*/ 0 h 61"/>
                      <a:gd name="T38" fmla="*/ 0 w 85"/>
                      <a:gd name="T39" fmla="*/ 0 h 61"/>
                      <a:gd name="T40" fmla="*/ 0 w 85"/>
                      <a:gd name="T41" fmla="*/ 0 h 61"/>
                      <a:gd name="T42" fmla="*/ 0 w 85"/>
                      <a:gd name="T43" fmla="*/ 0 h 61"/>
                      <a:gd name="T44" fmla="*/ 0 w 85"/>
                      <a:gd name="T45" fmla="*/ 0 h 61"/>
                      <a:gd name="T46" fmla="*/ 0 w 85"/>
                      <a:gd name="T47" fmla="*/ 0 h 61"/>
                      <a:gd name="T48" fmla="*/ 0 w 85"/>
                      <a:gd name="T49" fmla="*/ 0 h 61"/>
                      <a:gd name="T50" fmla="*/ 0 w 85"/>
                      <a:gd name="T51" fmla="*/ 0 h 61"/>
                      <a:gd name="T52" fmla="*/ 0 w 85"/>
                      <a:gd name="T53" fmla="*/ 0 h 61"/>
                      <a:gd name="T54" fmla="*/ 0 w 85"/>
                      <a:gd name="T55" fmla="*/ 0 h 61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w 85"/>
                      <a:gd name="T85" fmla="*/ 0 h 61"/>
                      <a:gd name="T86" fmla="*/ 85 w 85"/>
                      <a:gd name="T87" fmla="*/ 61 h 61"/>
                    </a:gdLst>
                    <a:ahLst/>
                    <a:cxnLst>
                      <a:cxn ang="T56">
                        <a:pos x="T0" y="T1"/>
                      </a:cxn>
                      <a:cxn ang="T57">
                        <a:pos x="T2" y="T3"/>
                      </a:cxn>
                      <a:cxn ang="T58">
                        <a:pos x="T4" y="T5"/>
                      </a:cxn>
                      <a:cxn ang="T59">
                        <a:pos x="T6" y="T7"/>
                      </a:cxn>
                      <a:cxn ang="T60">
                        <a:pos x="T8" y="T9"/>
                      </a:cxn>
                      <a:cxn ang="T61">
                        <a:pos x="T10" y="T11"/>
                      </a:cxn>
                      <a:cxn ang="T62">
                        <a:pos x="T12" y="T13"/>
                      </a:cxn>
                      <a:cxn ang="T63">
                        <a:pos x="T14" y="T15"/>
                      </a:cxn>
                      <a:cxn ang="T64">
                        <a:pos x="T16" y="T17"/>
                      </a:cxn>
                      <a:cxn ang="T65">
                        <a:pos x="T18" y="T19"/>
                      </a:cxn>
                      <a:cxn ang="T66">
                        <a:pos x="T20" y="T21"/>
                      </a:cxn>
                      <a:cxn ang="T67">
                        <a:pos x="T22" y="T23"/>
                      </a:cxn>
                      <a:cxn ang="T68">
                        <a:pos x="T24" y="T25"/>
                      </a:cxn>
                      <a:cxn ang="T69">
                        <a:pos x="T26" y="T27"/>
                      </a:cxn>
                      <a:cxn ang="T70">
                        <a:pos x="T28" y="T29"/>
                      </a:cxn>
                      <a:cxn ang="T71">
                        <a:pos x="T30" y="T31"/>
                      </a:cxn>
                      <a:cxn ang="T72">
                        <a:pos x="T32" y="T33"/>
                      </a:cxn>
                      <a:cxn ang="T73">
                        <a:pos x="T34" y="T35"/>
                      </a:cxn>
                      <a:cxn ang="T74">
                        <a:pos x="T36" y="T37"/>
                      </a:cxn>
                      <a:cxn ang="T75">
                        <a:pos x="T38" y="T39"/>
                      </a:cxn>
                      <a:cxn ang="T76">
                        <a:pos x="T40" y="T41"/>
                      </a:cxn>
                      <a:cxn ang="T77">
                        <a:pos x="T42" y="T43"/>
                      </a:cxn>
                      <a:cxn ang="T78">
                        <a:pos x="T44" y="T45"/>
                      </a:cxn>
                      <a:cxn ang="T79">
                        <a:pos x="T46" y="T47"/>
                      </a:cxn>
                      <a:cxn ang="T80">
                        <a:pos x="T48" y="T49"/>
                      </a:cxn>
                      <a:cxn ang="T81">
                        <a:pos x="T50" y="T51"/>
                      </a:cxn>
                      <a:cxn ang="T82">
                        <a:pos x="T52" y="T53"/>
                      </a:cxn>
                      <a:cxn ang="T83">
                        <a:pos x="T54" y="T55"/>
                      </a:cxn>
                    </a:cxnLst>
                    <a:rect l="T84" t="T85" r="T86" b="T87"/>
                    <a:pathLst>
                      <a:path w="85" h="61">
                        <a:moveTo>
                          <a:pt x="33" y="0"/>
                        </a:moveTo>
                        <a:lnTo>
                          <a:pt x="22" y="5"/>
                        </a:lnTo>
                        <a:lnTo>
                          <a:pt x="11" y="12"/>
                        </a:lnTo>
                        <a:lnTo>
                          <a:pt x="6" y="17"/>
                        </a:lnTo>
                        <a:lnTo>
                          <a:pt x="3" y="21"/>
                        </a:lnTo>
                        <a:lnTo>
                          <a:pt x="0" y="25"/>
                        </a:lnTo>
                        <a:lnTo>
                          <a:pt x="0" y="31"/>
                        </a:lnTo>
                        <a:lnTo>
                          <a:pt x="0" y="34"/>
                        </a:lnTo>
                        <a:lnTo>
                          <a:pt x="1" y="37"/>
                        </a:lnTo>
                        <a:lnTo>
                          <a:pt x="2" y="40"/>
                        </a:lnTo>
                        <a:lnTo>
                          <a:pt x="5" y="43"/>
                        </a:lnTo>
                        <a:lnTo>
                          <a:pt x="11" y="48"/>
                        </a:lnTo>
                        <a:lnTo>
                          <a:pt x="18" y="53"/>
                        </a:lnTo>
                        <a:lnTo>
                          <a:pt x="27" y="56"/>
                        </a:lnTo>
                        <a:lnTo>
                          <a:pt x="36" y="59"/>
                        </a:lnTo>
                        <a:lnTo>
                          <a:pt x="45" y="61"/>
                        </a:lnTo>
                        <a:lnTo>
                          <a:pt x="53" y="61"/>
                        </a:lnTo>
                        <a:lnTo>
                          <a:pt x="56" y="61"/>
                        </a:lnTo>
                        <a:lnTo>
                          <a:pt x="59" y="60"/>
                        </a:lnTo>
                        <a:lnTo>
                          <a:pt x="62" y="59"/>
                        </a:lnTo>
                        <a:lnTo>
                          <a:pt x="66" y="57"/>
                        </a:lnTo>
                        <a:lnTo>
                          <a:pt x="72" y="52"/>
                        </a:lnTo>
                        <a:lnTo>
                          <a:pt x="77" y="47"/>
                        </a:lnTo>
                        <a:lnTo>
                          <a:pt x="80" y="40"/>
                        </a:lnTo>
                        <a:lnTo>
                          <a:pt x="83" y="33"/>
                        </a:lnTo>
                        <a:lnTo>
                          <a:pt x="85" y="25"/>
                        </a:lnTo>
                        <a:lnTo>
                          <a:pt x="85" y="18"/>
                        </a:lnTo>
                        <a:lnTo>
                          <a:pt x="33" y="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63" name="Freeform 410">
                    <a:extLst>
                      <a:ext uri="{FF2B5EF4-FFF2-40B4-BE49-F238E27FC236}">
                        <a16:creationId xmlns:a16="http://schemas.microsoft.com/office/drawing/2014/main" xmlns="" id="{7E2F9F5A-E369-4FF9-8998-8387D61EFE2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54" y="1188"/>
                    <a:ext cx="31" cy="6"/>
                  </a:xfrm>
                  <a:custGeom>
                    <a:avLst/>
                    <a:gdLst>
                      <a:gd name="T0" fmla="*/ 0 w 100"/>
                      <a:gd name="T1" fmla="*/ 0 h 19"/>
                      <a:gd name="T2" fmla="*/ 0 w 100"/>
                      <a:gd name="T3" fmla="*/ 0 h 19"/>
                      <a:gd name="T4" fmla="*/ 0 w 100"/>
                      <a:gd name="T5" fmla="*/ 0 h 19"/>
                      <a:gd name="T6" fmla="*/ 0 w 100"/>
                      <a:gd name="T7" fmla="*/ 0 h 19"/>
                      <a:gd name="T8" fmla="*/ 0 w 100"/>
                      <a:gd name="T9" fmla="*/ 0 h 19"/>
                      <a:gd name="T10" fmla="*/ 0 w 100"/>
                      <a:gd name="T11" fmla="*/ 0 h 19"/>
                      <a:gd name="T12" fmla="*/ 0 w 100"/>
                      <a:gd name="T13" fmla="*/ 0 h 19"/>
                      <a:gd name="T14" fmla="*/ 0 w 100"/>
                      <a:gd name="T15" fmla="*/ 0 h 19"/>
                      <a:gd name="T16" fmla="*/ 0 w 100"/>
                      <a:gd name="T17" fmla="*/ 0 h 19"/>
                      <a:gd name="T18" fmla="*/ 0 w 100"/>
                      <a:gd name="T19" fmla="*/ 0 h 19"/>
                      <a:gd name="T20" fmla="*/ 0 w 100"/>
                      <a:gd name="T21" fmla="*/ 0 h 19"/>
                      <a:gd name="T22" fmla="*/ 0 w 100"/>
                      <a:gd name="T23" fmla="*/ 0 h 19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00"/>
                      <a:gd name="T37" fmla="*/ 0 h 19"/>
                      <a:gd name="T38" fmla="*/ 100 w 100"/>
                      <a:gd name="T39" fmla="*/ 19 h 19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00" h="19">
                        <a:moveTo>
                          <a:pt x="0" y="6"/>
                        </a:moveTo>
                        <a:lnTo>
                          <a:pt x="7" y="11"/>
                        </a:lnTo>
                        <a:lnTo>
                          <a:pt x="13" y="15"/>
                        </a:lnTo>
                        <a:lnTo>
                          <a:pt x="21" y="18"/>
                        </a:lnTo>
                        <a:lnTo>
                          <a:pt x="27" y="19"/>
                        </a:lnTo>
                        <a:lnTo>
                          <a:pt x="100" y="6"/>
                        </a:lnTo>
                        <a:lnTo>
                          <a:pt x="73" y="2"/>
                        </a:lnTo>
                        <a:lnTo>
                          <a:pt x="47" y="0"/>
                        </a:lnTo>
                        <a:lnTo>
                          <a:pt x="36" y="0"/>
                        </a:lnTo>
                        <a:lnTo>
                          <a:pt x="24" y="1"/>
                        </a:lnTo>
                        <a:lnTo>
                          <a:pt x="12" y="3"/>
                        </a:lnTo>
                        <a:lnTo>
                          <a:pt x="0" y="6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64" name="Freeform 411">
                    <a:extLst>
                      <a:ext uri="{FF2B5EF4-FFF2-40B4-BE49-F238E27FC236}">
                        <a16:creationId xmlns:a16="http://schemas.microsoft.com/office/drawing/2014/main" xmlns="" id="{41374691-B3DF-486C-8A3C-C42180BC421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72" y="1168"/>
                    <a:ext cx="53" cy="15"/>
                  </a:xfrm>
                  <a:custGeom>
                    <a:avLst/>
                    <a:gdLst>
                      <a:gd name="T0" fmla="*/ 0 w 166"/>
                      <a:gd name="T1" fmla="*/ 0 h 45"/>
                      <a:gd name="T2" fmla="*/ 0 w 166"/>
                      <a:gd name="T3" fmla="*/ 0 h 45"/>
                      <a:gd name="T4" fmla="*/ 0 w 166"/>
                      <a:gd name="T5" fmla="*/ 0 h 45"/>
                      <a:gd name="T6" fmla="*/ 0 w 166"/>
                      <a:gd name="T7" fmla="*/ 0 h 45"/>
                      <a:gd name="T8" fmla="*/ 0 w 166"/>
                      <a:gd name="T9" fmla="*/ 0 h 45"/>
                      <a:gd name="T10" fmla="*/ 0 w 166"/>
                      <a:gd name="T11" fmla="*/ 0 h 45"/>
                      <a:gd name="T12" fmla="*/ 0 w 166"/>
                      <a:gd name="T13" fmla="*/ 0 h 45"/>
                      <a:gd name="T14" fmla="*/ 0 w 166"/>
                      <a:gd name="T15" fmla="*/ 0 h 45"/>
                      <a:gd name="T16" fmla="*/ 0 w 166"/>
                      <a:gd name="T17" fmla="*/ 0 h 45"/>
                      <a:gd name="T18" fmla="*/ 1 w 166"/>
                      <a:gd name="T19" fmla="*/ 0 h 45"/>
                      <a:gd name="T20" fmla="*/ 1 w 166"/>
                      <a:gd name="T21" fmla="*/ 0 h 45"/>
                      <a:gd name="T22" fmla="*/ 0 w 166"/>
                      <a:gd name="T23" fmla="*/ 0 h 45"/>
                      <a:gd name="T24" fmla="*/ 0 w 166"/>
                      <a:gd name="T25" fmla="*/ 0 h 45"/>
                      <a:gd name="T26" fmla="*/ 0 w 166"/>
                      <a:gd name="T27" fmla="*/ 0 h 45"/>
                      <a:gd name="T28" fmla="*/ 0 w 166"/>
                      <a:gd name="T29" fmla="*/ 0 h 45"/>
                      <a:gd name="T30" fmla="*/ 0 w 166"/>
                      <a:gd name="T31" fmla="*/ 0 h 45"/>
                      <a:gd name="T32" fmla="*/ 0 w 166"/>
                      <a:gd name="T33" fmla="*/ 0 h 45"/>
                      <a:gd name="T34" fmla="*/ 0 w 166"/>
                      <a:gd name="T35" fmla="*/ 0 h 45"/>
                      <a:gd name="T36" fmla="*/ 0 w 166"/>
                      <a:gd name="T37" fmla="*/ 0 h 45"/>
                      <a:gd name="T38" fmla="*/ 0 w 166"/>
                      <a:gd name="T39" fmla="*/ 0 h 45"/>
                      <a:gd name="T40" fmla="*/ 0 w 166"/>
                      <a:gd name="T41" fmla="*/ 0 h 45"/>
                      <a:gd name="T42" fmla="*/ 0 w 166"/>
                      <a:gd name="T43" fmla="*/ 0 h 45"/>
                      <a:gd name="T44" fmla="*/ 0 w 166"/>
                      <a:gd name="T45" fmla="*/ 0 h 45"/>
                      <a:gd name="T46" fmla="*/ 0 w 166"/>
                      <a:gd name="T47" fmla="*/ 0 h 45"/>
                      <a:gd name="T48" fmla="*/ 0 w 166"/>
                      <a:gd name="T49" fmla="*/ 0 h 45"/>
                      <a:gd name="T50" fmla="*/ 0 w 166"/>
                      <a:gd name="T51" fmla="*/ 0 h 45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166"/>
                      <a:gd name="T79" fmla="*/ 0 h 45"/>
                      <a:gd name="T80" fmla="*/ 166 w 166"/>
                      <a:gd name="T81" fmla="*/ 45 h 45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166" h="45">
                        <a:moveTo>
                          <a:pt x="0" y="27"/>
                        </a:moveTo>
                        <a:lnTo>
                          <a:pt x="0" y="29"/>
                        </a:lnTo>
                        <a:lnTo>
                          <a:pt x="3" y="31"/>
                        </a:lnTo>
                        <a:lnTo>
                          <a:pt x="8" y="33"/>
                        </a:lnTo>
                        <a:lnTo>
                          <a:pt x="13" y="35"/>
                        </a:lnTo>
                        <a:lnTo>
                          <a:pt x="27" y="38"/>
                        </a:lnTo>
                        <a:lnTo>
                          <a:pt x="44" y="41"/>
                        </a:lnTo>
                        <a:lnTo>
                          <a:pt x="75" y="44"/>
                        </a:lnTo>
                        <a:lnTo>
                          <a:pt x="92" y="45"/>
                        </a:lnTo>
                        <a:lnTo>
                          <a:pt x="166" y="27"/>
                        </a:lnTo>
                        <a:lnTo>
                          <a:pt x="157" y="25"/>
                        </a:lnTo>
                        <a:lnTo>
                          <a:pt x="137" y="19"/>
                        </a:lnTo>
                        <a:lnTo>
                          <a:pt x="110" y="11"/>
                        </a:lnTo>
                        <a:lnTo>
                          <a:pt x="80" y="4"/>
                        </a:lnTo>
                        <a:lnTo>
                          <a:pt x="65" y="2"/>
                        </a:lnTo>
                        <a:lnTo>
                          <a:pt x="50" y="1"/>
                        </a:lnTo>
                        <a:lnTo>
                          <a:pt x="36" y="0"/>
                        </a:lnTo>
                        <a:lnTo>
                          <a:pt x="24" y="2"/>
                        </a:lnTo>
                        <a:lnTo>
                          <a:pt x="19" y="3"/>
                        </a:lnTo>
                        <a:lnTo>
                          <a:pt x="14" y="5"/>
                        </a:lnTo>
                        <a:lnTo>
                          <a:pt x="10" y="7"/>
                        </a:lnTo>
                        <a:lnTo>
                          <a:pt x="7" y="10"/>
                        </a:lnTo>
                        <a:lnTo>
                          <a:pt x="3" y="13"/>
                        </a:lnTo>
                        <a:lnTo>
                          <a:pt x="1" y="17"/>
                        </a:lnTo>
                        <a:lnTo>
                          <a:pt x="0" y="22"/>
                        </a:lnTo>
                        <a:lnTo>
                          <a:pt x="0" y="27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65" name="Freeform 412">
                    <a:extLst>
                      <a:ext uri="{FF2B5EF4-FFF2-40B4-BE49-F238E27FC236}">
                        <a16:creationId xmlns:a16="http://schemas.microsoft.com/office/drawing/2014/main" xmlns="" id="{2A300235-E19F-4E49-A671-9D9D9157ABD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8" y="1422"/>
                    <a:ext cx="11" cy="8"/>
                  </a:xfrm>
                  <a:custGeom>
                    <a:avLst/>
                    <a:gdLst>
                      <a:gd name="T0" fmla="*/ 0 w 33"/>
                      <a:gd name="T1" fmla="*/ 0 h 25"/>
                      <a:gd name="T2" fmla="*/ 0 w 33"/>
                      <a:gd name="T3" fmla="*/ 0 h 25"/>
                      <a:gd name="T4" fmla="*/ 0 w 33"/>
                      <a:gd name="T5" fmla="*/ 0 h 25"/>
                      <a:gd name="T6" fmla="*/ 0 w 33"/>
                      <a:gd name="T7" fmla="*/ 0 h 25"/>
                      <a:gd name="T8" fmla="*/ 0 w 33"/>
                      <a:gd name="T9" fmla="*/ 0 h 25"/>
                      <a:gd name="T10" fmla="*/ 0 w 33"/>
                      <a:gd name="T11" fmla="*/ 0 h 25"/>
                      <a:gd name="T12" fmla="*/ 0 w 33"/>
                      <a:gd name="T13" fmla="*/ 0 h 25"/>
                      <a:gd name="T14" fmla="*/ 0 w 33"/>
                      <a:gd name="T15" fmla="*/ 0 h 25"/>
                      <a:gd name="T16" fmla="*/ 0 w 33"/>
                      <a:gd name="T17" fmla="*/ 0 h 25"/>
                      <a:gd name="T18" fmla="*/ 0 w 33"/>
                      <a:gd name="T19" fmla="*/ 0 h 25"/>
                      <a:gd name="T20" fmla="*/ 0 w 33"/>
                      <a:gd name="T21" fmla="*/ 0 h 25"/>
                      <a:gd name="T22" fmla="*/ 0 w 33"/>
                      <a:gd name="T23" fmla="*/ 0 h 25"/>
                      <a:gd name="T24" fmla="*/ 0 w 33"/>
                      <a:gd name="T25" fmla="*/ 0 h 25"/>
                      <a:gd name="T26" fmla="*/ 0 w 33"/>
                      <a:gd name="T27" fmla="*/ 0 h 25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33"/>
                      <a:gd name="T43" fmla="*/ 0 h 25"/>
                      <a:gd name="T44" fmla="*/ 33 w 33"/>
                      <a:gd name="T45" fmla="*/ 25 h 25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33" h="25">
                        <a:moveTo>
                          <a:pt x="0" y="0"/>
                        </a:moveTo>
                        <a:lnTo>
                          <a:pt x="0" y="9"/>
                        </a:lnTo>
                        <a:lnTo>
                          <a:pt x="3" y="15"/>
                        </a:lnTo>
                        <a:lnTo>
                          <a:pt x="6" y="20"/>
                        </a:lnTo>
                        <a:lnTo>
                          <a:pt x="11" y="22"/>
                        </a:lnTo>
                        <a:lnTo>
                          <a:pt x="16" y="24"/>
                        </a:lnTo>
                        <a:lnTo>
                          <a:pt x="22" y="25"/>
                        </a:lnTo>
                        <a:lnTo>
                          <a:pt x="27" y="25"/>
                        </a:lnTo>
                        <a:lnTo>
                          <a:pt x="33" y="25"/>
                        </a:lnTo>
                        <a:lnTo>
                          <a:pt x="33" y="0"/>
                        </a:lnTo>
                        <a:lnTo>
                          <a:pt x="24" y="0"/>
                        </a:lnTo>
                        <a:lnTo>
                          <a:pt x="16" y="0"/>
                        </a:lnTo>
                        <a:lnTo>
                          <a:pt x="9" y="0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66" name="Freeform 413">
                    <a:extLst>
                      <a:ext uri="{FF2B5EF4-FFF2-40B4-BE49-F238E27FC236}">
                        <a16:creationId xmlns:a16="http://schemas.microsoft.com/office/drawing/2014/main" xmlns="" id="{B5817F67-2F98-4F58-B627-98632764689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05" y="1729"/>
                    <a:ext cx="16" cy="20"/>
                  </a:xfrm>
                  <a:custGeom>
                    <a:avLst/>
                    <a:gdLst>
                      <a:gd name="T0" fmla="*/ 0 w 48"/>
                      <a:gd name="T1" fmla="*/ 0 h 62"/>
                      <a:gd name="T2" fmla="*/ 0 w 48"/>
                      <a:gd name="T3" fmla="*/ 0 h 62"/>
                      <a:gd name="T4" fmla="*/ 0 w 48"/>
                      <a:gd name="T5" fmla="*/ 0 h 62"/>
                      <a:gd name="T6" fmla="*/ 0 w 48"/>
                      <a:gd name="T7" fmla="*/ 0 h 62"/>
                      <a:gd name="T8" fmla="*/ 0 w 48"/>
                      <a:gd name="T9" fmla="*/ 0 h 62"/>
                      <a:gd name="T10" fmla="*/ 0 w 48"/>
                      <a:gd name="T11" fmla="*/ 0 h 62"/>
                      <a:gd name="T12" fmla="*/ 0 w 48"/>
                      <a:gd name="T13" fmla="*/ 0 h 62"/>
                      <a:gd name="T14" fmla="*/ 0 w 48"/>
                      <a:gd name="T15" fmla="*/ 0 h 62"/>
                      <a:gd name="T16" fmla="*/ 0 w 48"/>
                      <a:gd name="T17" fmla="*/ 0 h 62"/>
                      <a:gd name="T18" fmla="*/ 0 w 48"/>
                      <a:gd name="T19" fmla="*/ 0 h 62"/>
                      <a:gd name="T20" fmla="*/ 0 w 48"/>
                      <a:gd name="T21" fmla="*/ 0 h 62"/>
                      <a:gd name="T22" fmla="*/ 0 w 48"/>
                      <a:gd name="T23" fmla="*/ 0 h 62"/>
                      <a:gd name="T24" fmla="*/ 0 w 48"/>
                      <a:gd name="T25" fmla="*/ 0 h 62"/>
                      <a:gd name="T26" fmla="*/ 0 w 48"/>
                      <a:gd name="T27" fmla="*/ 0 h 62"/>
                      <a:gd name="T28" fmla="*/ 0 w 48"/>
                      <a:gd name="T29" fmla="*/ 0 h 62"/>
                      <a:gd name="T30" fmla="*/ 0 w 48"/>
                      <a:gd name="T31" fmla="*/ 0 h 62"/>
                      <a:gd name="T32" fmla="*/ 0 w 48"/>
                      <a:gd name="T33" fmla="*/ 0 h 62"/>
                      <a:gd name="T34" fmla="*/ 0 w 48"/>
                      <a:gd name="T35" fmla="*/ 0 h 62"/>
                      <a:gd name="T36" fmla="*/ 0 w 48"/>
                      <a:gd name="T37" fmla="*/ 0 h 62"/>
                      <a:gd name="T38" fmla="*/ 0 w 48"/>
                      <a:gd name="T39" fmla="*/ 0 h 62"/>
                      <a:gd name="T40" fmla="*/ 0 w 48"/>
                      <a:gd name="T41" fmla="*/ 0 h 62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w 48"/>
                      <a:gd name="T64" fmla="*/ 0 h 62"/>
                      <a:gd name="T65" fmla="*/ 48 w 48"/>
                      <a:gd name="T66" fmla="*/ 62 h 62"/>
                    </a:gdLst>
                    <a:ahLst/>
                    <a:cxnLst>
                      <a:cxn ang="T42">
                        <a:pos x="T0" y="T1"/>
                      </a:cxn>
                      <a:cxn ang="T43">
                        <a:pos x="T2" y="T3"/>
                      </a:cxn>
                      <a:cxn ang="T44">
                        <a:pos x="T4" y="T5"/>
                      </a:cxn>
                      <a:cxn ang="T45">
                        <a:pos x="T6" y="T7"/>
                      </a:cxn>
                      <a:cxn ang="T46">
                        <a:pos x="T8" y="T9"/>
                      </a:cxn>
                      <a:cxn ang="T47">
                        <a:pos x="T10" y="T11"/>
                      </a:cxn>
                      <a:cxn ang="T48">
                        <a:pos x="T12" y="T13"/>
                      </a:cxn>
                      <a:cxn ang="T49">
                        <a:pos x="T14" y="T15"/>
                      </a:cxn>
                      <a:cxn ang="T50">
                        <a:pos x="T16" y="T17"/>
                      </a:cxn>
                      <a:cxn ang="T51">
                        <a:pos x="T18" y="T19"/>
                      </a:cxn>
                      <a:cxn ang="T52">
                        <a:pos x="T20" y="T21"/>
                      </a:cxn>
                      <a:cxn ang="T53">
                        <a:pos x="T22" y="T23"/>
                      </a:cxn>
                      <a:cxn ang="T54">
                        <a:pos x="T24" y="T25"/>
                      </a:cxn>
                      <a:cxn ang="T55">
                        <a:pos x="T26" y="T27"/>
                      </a:cxn>
                      <a:cxn ang="T56">
                        <a:pos x="T28" y="T29"/>
                      </a:cxn>
                      <a:cxn ang="T57">
                        <a:pos x="T30" y="T31"/>
                      </a:cxn>
                      <a:cxn ang="T58">
                        <a:pos x="T32" y="T33"/>
                      </a:cxn>
                      <a:cxn ang="T59">
                        <a:pos x="T34" y="T35"/>
                      </a:cxn>
                      <a:cxn ang="T60">
                        <a:pos x="T36" y="T37"/>
                      </a:cxn>
                      <a:cxn ang="T61">
                        <a:pos x="T38" y="T39"/>
                      </a:cxn>
                      <a:cxn ang="T62">
                        <a:pos x="T40" y="T41"/>
                      </a:cxn>
                    </a:cxnLst>
                    <a:rect l="T63" t="T64" r="T65" b="T66"/>
                    <a:pathLst>
                      <a:path w="48" h="62">
                        <a:moveTo>
                          <a:pt x="0" y="62"/>
                        </a:moveTo>
                        <a:lnTo>
                          <a:pt x="12" y="56"/>
                        </a:lnTo>
                        <a:lnTo>
                          <a:pt x="22" y="50"/>
                        </a:lnTo>
                        <a:lnTo>
                          <a:pt x="30" y="43"/>
                        </a:lnTo>
                        <a:lnTo>
                          <a:pt x="37" y="36"/>
                        </a:lnTo>
                        <a:lnTo>
                          <a:pt x="41" y="28"/>
                        </a:lnTo>
                        <a:lnTo>
                          <a:pt x="44" y="19"/>
                        </a:lnTo>
                        <a:lnTo>
                          <a:pt x="47" y="9"/>
                        </a:lnTo>
                        <a:lnTo>
                          <a:pt x="48" y="0"/>
                        </a:lnTo>
                        <a:lnTo>
                          <a:pt x="40" y="3"/>
                        </a:lnTo>
                        <a:lnTo>
                          <a:pt x="32" y="6"/>
                        </a:lnTo>
                        <a:lnTo>
                          <a:pt x="23" y="10"/>
                        </a:lnTo>
                        <a:lnTo>
                          <a:pt x="17" y="15"/>
                        </a:lnTo>
                        <a:lnTo>
                          <a:pt x="10" y="21"/>
                        </a:lnTo>
                        <a:lnTo>
                          <a:pt x="6" y="27"/>
                        </a:lnTo>
                        <a:lnTo>
                          <a:pt x="4" y="31"/>
                        </a:lnTo>
                        <a:lnTo>
                          <a:pt x="3" y="35"/>
                        </a:lnTo>
                        <a:lnTo>
                          <a:pt x="1" y="39"/>
                        </a:lnTo>
                        <a:lnTo>
                          <a:pt x="0" y="43"/>
                        </a:lnTo>
                        <a:lnTo>
                          <a:pt x="0" y="52"/>
                        </a:lnTo>
                        <a:lnTo>
                          <a:pt x="0" y="62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67" name="Freeform 414">
                    <a:extLst>
                      <a:ext uri="{FF2B5EF4-FFF2-40B4-BE49-F238E27FC236}">
                        <a16:creationId xmlns:a16="http://schemas.microsoft.com/office/drawing/2014/main" xmlns="" id="{43218C34-D67E-41DC-B195-0F99A95865E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54" y="1729"/>
                    <a:ext cx="36" cy="20"/>
                  </a:xfrm>
                  <a:custGeom>
                    <a:avLst/>
                    <a:gdLst>
                      <a:gd name="T0" fmla="*/ 0 w 113"/>
                      <a:gd name="T1" fmla="*/ 0 h 62"/>
                      <a:gd name="T2" fmla="*/ 0 w 113"/>
                      <a:gd name="T3" fmla="*/ 0 h 62"/>
                      <a:gd name="T4" fmla="*/ 0 w 113"/>
                      <a:gd name="T5" fmla="*/ 0 h 62"/>
                      <a:gd name="T6" fmla="*/ 0 w 113"/>
                      <a:gd name="T7" fmla="*/ 0 h 62"/>
                      <a:gd name="T8" fmla="*/ 0 w 113"/>
                      <a:gd name="T9" fmla="*/ 0 h 62"/>
                      <a:gd name="T10" fmla="*/ 0 w 113"/>
                      <a:gd name="T11" fmla="*/ 0 h 62"/>
                      <a:gd name="T12" fmla="*/ 0 w 113"/>
                      <a:gd name="T13" fmla="*/ 0 h 62"/>
                      <a:gd name="T14" fmla="*/ 0 w 113"/>
                      <a:gd name="T15" fmla="*/ 0 h 62"/>
                      <a:gd name="T16" fmla="*/ 0 w 113"/>
                      <a:gd name="T17" fmla="*/ 0 h 62"/>
                      <a:gd name="T18" fmla="*/ 0 w 113"/>
                      <a:gd name="T19" fmla="*/ 0 h 62"/>
                      <a:gd name="T20" fmla="*/ 0 w 113"/>
                      <a:gd name="T21" fmla="*/ 0 h 62"/>
                      <a:gd name="T22" fmla="*/ 0 w 113"/>
                      <a:gd name="T23" fmla="*/ 0 h 62"/>
                      <a:gd name="T24" fmla="*/ 0 w 113"/>
                      <a:gd name="T25" fmla="*/ 0 h 62"/>
                      <a:gd name="T26" fmla="*/ 0 w 113"/>
                      <a:gd name="T27" fmla="*/ 0 h 62"/>
                      <a:gd name="T28" fmla="*/ 0 w 113"/>
                      <a:gd name="T29" fmla="*/ 0 h 62"/>
                      <a:gd name="T30" fmla="*/ 0 w 113"/>
                      <a:gd name="T31" fmla="*/ 0 h 62"/>
                      <a:gd name="T32" fmla="*/ 0 w 113"/>
                      <a:gd name="T33" fmla="*/ 0 h 62"/>
                      <a:gd name="T34" fmla="*/ 0 w 113"/>
                      <a:gd name="T35" fmla="*/ 0 h 62"/>
                      <a:gd name="T36" fmla="*/ 0 w 113"/>
                      <a:gd name="T37" fmla="*/ 0 h 62"/>
                      <a:gd name="T38" fmla="*/ 0 w 113"/>
                      <a:gd name="T39" fmla="*/ 0 h 62"/>
                      <a:gd name="T40" fmla="*/ 0 w 113"/>
                      <a:gd name="T41" fmla="*/ 0 h 62"/>
                      <a:gd name="T42" fmla="*/ 0 w 113"/>
                      <a:gd name="T43" fmla="*/ 0 h 62"/>
                      <a:gd name="T44" fmla="*/ 0 w 113"/>
                      <a:gd name="T45" fmla="*/ 0 h 62"/>
                      <a:gd name="T46" fmla="*/ 0 w 113"/>
                      <a:gd name="T47" fmla="*/ 0 h 62"/>
                      <a:gd name="T48" fmla="*/ 0 w 113"/>
                      <a:gd name="T49" fmla="*/ 0 h 62"/>
                      <a:gd name="T50" fmla="*/ 0 w 113"/>
                      <a:gd name="T51" fmla="*/ 0 h 62"/>
                      <a:gd name="T52" fmla="*/ 0 w 113"/>
                      <a:gd name="T53" fmla="*/ 0 h 62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w 113"/>
                      <a:gd name="T82" fmla="*/ 0 h 62"/>
                      <a:gd name="T83" fmla="*/ 113 w 113"/>
                      <a:gd name="T84" fmla="*/ 62 h 62"/>
                    </a:gdLst>
                    <a:ahLst/>
                    <a:cxnLst>
                      <a:cxn ang="T54">
                        <a:pos x="T0" y="T1"/>
                      </a:cxn>
                      <a:cxn ang="T55">
                        <a:pos x="T2" y="T3"/>
                      </a:cxn>
                      <a:cxn ang="T56">
                        <a:pos x="T4" y="T5"/>
                      </a:cxn>
                      <a:cxn ang="T57">
                        <a:pos x="T6" y="T7"/>
                      </a:cxn>
                      <a:cxn ang="T58">
                        <a:pos x="T8" y="T9"/>
                      </a:cxn>
                      <a:cxn ang="T59">
                        <a:pos x="T10" y="T11"/>
                      </a:cxn>
                      <a:cxn ang="T60">
                        <a:pos x="T12" y="T13"/>
                      </a:cxn>
                      <a:cxn ang="T61">
                        <a:pos x="T14" y="T15"/>
                      </a:cxn>
                      <a:cxn ang="T62">
                        <a:pos x="T16" y="T17"/>
                      </a:cxn>
                      <a:cxn ang="T63">
                        <a:pos x="T18" y="T19"/>
                      </a:cxn>
                      <a:cxn ang="T64">
                        <a:pos x="T20" y="T21"/>
                      </a:cxn>
                      <a:cxn ang="T65">
                        <a:pos x="T22" y="T23"/>
                      </a:cxn>
                      <a:cxn ang="T66">
                        <a:pos x="T24" y="T25"/>
                      </a:cxn>
                      <a:cxn ang="T67">
                        <a:pos x="T26" y="T27"/>
                      </a:cxn>
                      <a:cxn ang="T68">
                        <a:pos x="T28" y="T29"/>
                      </a:cxn>
                      <a:cxn ang="T69">
                        <a:pos x="T30" y="T31"/>
                      </a:cxn>
                      <a:cxn ang="T70">
                        <a:pos x="T32" y="T33"/>
                      </a:cxn>
                      <a:cxn ang="T71">
                        <a:pos x="T34" y="T35"/>
                      </a:cxn>
                      <a:cxn ang="T72">
                        <a:pos x="T36" y="T37"/>
                      </a:cxn>
                      <a:cxn ang="T73">
                        <a:pos x="T38" y="T39"/>
                      </a:cxn>
                      <a:cxn ang="T74">
                        <a:pos x="T40" y="T41"/>
                      </a:cxn>
                      <a:cxn ang="T75">
                        <a:pos x="T42" y="T43"/>
                      </a:cxn>
                      <a:cxn ang="T76">
                        <a:pos x="T44" y="T45"/>
                      </a:cxn>
                      <a:cxn ang="T77">
                        <a:pos x="T46" y="T47"/>
                      </a:cxn>
                      <a:cxn ang="T78">
                        <a:pos x="T48" y="T49"/>
                      </a:cxn>
                      <a:cxn ang="T79">
                        <a:pos x="T50" y="T51"/>
                      </a:cxn>
                      <a:cxn ang="T80">
                        <a:pos x="T52" y="T53"/>
                      </a:cxn>
                    </a:cxnLst>
                    <a:rect l="T81" t="T82" r="T83" b="T84"/>
                    <a:pathLst>
                      <a:path w="113" h="62">
                        <a:moveTo>
                          <a:pt x="47" y="0"/>
                        </a:moveTo>
                        <a:lnTo>
                          <a:pt x="36" y="7"/>
                        </a:lnTo>
                        <a:lnTo>
                          <a:pt x="23" y="17"/>
                        </a:lnTo>
                        <a:lnTo>
                          <a:pt x="11" y="27"/>
                        </a:lnTo>
                        <a:lnTo>
                          <a:pt x="0" y="37"/>
                        </a:lnTo>
                        <a:lnTo>
                          <a:pt x="22" y="46"/>
                        </a:lnTo>
                        <a:lnTo>
                          <a:pt x="41" y="54"/>
                        </a:lnTo>
                        <a:lnTo>
                          <a:pt x="51" y="57"/>
                        </a:lnTo>
                        <a:lnTo>
                          <a:pt x="62" y="59"/>
                        </a:lnTo>
                        <a:lnTo>
                          <a:pt x="73" y="61"/>
                        </a:lnTo>
                        <a:lnTo>
                          <a:pt x="87" y="62"/>
                        </a:lnTo>
                        <a:lnTo>
                          <a:pt x="97" y="61"/>
                        </a:lnTo>
                        <a:lnTo>
                          <a:pt x="106" y="58"/>
                        </a:lnTo>
                        <a:lnTo>
                          <a:pt x="109" y="56"/>
                        </a:lnTo>
                        <a:lnTo>
                          <a:pt x="111" y="54"/>
                        </a:lnTo>
                        <a:lnTo>
                          <a:pt x="113" y="52"/>
                        </a:lnTo>
                        <a:lnTo>
                          <a:pt x="113" y="49"/>
                        </a:lnTo>
                        <a:lnTo>
                          <a:pt x="91" y="41"/>
                        </a:lnTo>
                        <a:lnTo>
                          <a:pt x="70" y="32"/>
                        </a:lnTo>
                        <a:lnTo>
                          <a:pt x="65" y="29"/>
                        </a:lnTo>
                        <a:lnTo>
                          <a:pt x="61" y="26"/>
                        </a:lnTo>
                        <a:lnTo>
                          <a:pt x="57" y="23"/>
                        </a:lnTo>
                        <a:lnTo>
                          <a:pt x="54" y="20"/>
                        </a:lnTo>
                        <a:lnTo>
                          <a:pt x="51" y="16"/>
                        </a:lnTo>
                        <a:lnTo>
                          <a:pt x="48" y="10"/>
                        </a:lnTo>
                        <a:lnTo>
                          <a:pt x="47" y="5"/>
                        </a:lnTo>
                        <a:lnTo>
                          <a:pt x="47" y="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68" name="Freeform 415">
                    <a:extLst>
                      <a:ext uri="{FF2B5EF4-FFF2-40B4-BE49-F238E27FC236}">
                        <a16:creationId xmlns:a16="http://schemas.microsoft.com/office/drawing/2014/main" xmlns="" id="{5FA0FC3C-FAF5-4979-A67D-53CD94B6FC2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48" y="1188"/>
                    <a:ext cx="29" cy="15"/>
                  </a:xfrm>
                  <a:custGeom>
                    <a:avLst/>
                    <a:gdLst>
                      <a:gd name="T0" fmla="*/ 0 w 93"/>
                      <a:gd name="T1" fmla="*/ 0 h 50"/>
                      <a:gd name="T2" fmla="*/ 0 w 93"/>
                      <a:gd name="T3" fmla="*/ 0 h 50"/>
                      <a:gd name="T4" fmla="*/ 0 w 93"/>
                      <a:gd name="T5" fmla="*/ 0 h 50"/>
                      <a:gd name="T6" fmla="*/ 0 w 93"/>
                      <a:gd name="T7" fmla="*/ 0 h 50"/>
                      <a:gd name="T8" fmla="*/ 0 w 93"/>
                      <a:gd name="T9" fmla="*/ 0 h 50"/>
                      <a:gd name="T10" fmla="*/ 0 w 93"/>
                      <a:gd name="T11" fmla="*/ 0 h 50"/>
                      <a:gd name="T12" fmla="*/ 0 w 93"/>
                      <a:gd name="T13" fmla="*/ 0 h 50"/>
                      <a:gd name="T14" fmla="*/ 0 w 93"/>
                      <a:gd name="T15" fmla="*/ 0 h 50"/>
                      <a:gd name="T16" fmla="*/ 0 w 93"/>
                      <a:gd name="T17" fmla="*/ 0 h 50"/>
                      <a:gd name="T18" fmla="*/ 0 w 93"/>
                      <a:gd name="T19" fmla="*/ 0 h 50"/>
                      <a:gd name="T20" fmla="*/ 0 w 93"/>
                      <a:gd name="T21" fmla="*/ 0 h 50"/>
                      <a:gd name="T22" fmla="*/ 0 w 93"/>
                      <a:gd name="T23" fmla="*/ 0 h 50"/>
                      <a:gd name="T24" fmla="*/ 0 w 93"/>
                      <a:gd name="T25" fmla="*/ 0 h 50"/>
                      <a:gd name="T26" fmla="*/ 0 w 93"/>
                      <a:gd name="T27" fmla="*/ 0 h 50"/>
                      <a:gd name="T28" fmla="*/ 0 w 93"/>
                      <a:gd name="T29" fmla="*/ 0 h 50"/>
                      <a:gd name="T30" fmla="*/ 0 w 93"/>
                      <a:gd name="T31" fmla="*/ 0 h 50"/>
                      <a:gd name="T32" fmla="*/ 0 w 93"/>
                      <a:gd name="T33" fmla="*/ 0 h 50"/>
                      <a:gd name="T34" fmla="*/ 0 w 93"/>
                      <a:gd name="T35" fmla="*/ 0 h 50"/>
                      <a:gd name="T36" fmla="*/ 0 w 93"/>
                      <a:gd name="T37" fmla="*/ 0 h 50"/>
                      <a:gd name="T38" fmla="*/ 0 w 93"/>
                      <a:gd name="T39" fmla="*/ 0 h 50"/>
                      <a:gd name="T40" fmla="*/ 0 w 93"/>
                      <a:gd name="T41" fmla="*/ 0 h 50"/>
                      <a:gd name="T42" fmla="*/ 0 w 93"/>
                      <a:gd name="T43" fmla="*/ 0 h 50"/>
                      <a:gd name="T44" fmla="*/ 0 w 93"/>
                      <a:gd name="T45" fmla="*/ 0 h 50"/>
                      <a:gd name="T46" fmla="*/ 0 w 93"/>
                      <a:gd name="T47" fmla="*/ 0 h 50"/>
                      <a:gd name="T48" fmla="*/ 0 w 93"/>
                      <a:gd name="T49" fmla="*/ 0 h 50"/>
                      <a:gd name="T50" fmla="*/ 0 w 93"/>
                      <a:gd name="T51" fmla="*/ 0 h 50"/>
                      <a:gd name="T52" fmla="*/ 0 w 93"/>
                      <a:gd name="T53" fmla="*/ 0 h 50"/>
                      <a:gd name="T54" fmla="*/ 0 w 93"/>
                      <a:gd name="T55" fmla="*/ 0 h 50"/>
                      <a:gd name="T56" fmla="*/ 0 w 93"/>
                      <a:gd name="T57" fmla="*/ 0 h 50"/>
                      <a:gd name="T58" fmla="*/ 0 w 93"/>
                      <a:gd name="T59" fmla="*/ 0 h 50"/>
                      <a:gd name="T60" fmla="*/ 0 w 93"/>
                      <a:gd name="T61" fmla="*/ 0 h 50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93"/>
                      <a:gd name="T94" fmla="*/ 0 h 50"/>
                      <a:gd name="T95" fmla="*/ 93 w 93"/>
                      <a:gd name="T96" fmla="*/ 50 h 50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93" h="50">
                        <a:moveTo>
                          <a:pt x="0" y="0"/>
                        </a:moveTo>
                        <a:lnTo>
                          <a:pt x="15" y="0"/>
                        </a:lnTo>
                        <a:lnTo>
                          <a:pt x="30" y="1"/>
                        </a:lnTo>
                        <a:lnTo>
                          <a:pt x="45" y="2"/>
                        </a:lnTo>
                        <a:lnTo>
                          <a:pt x="59" y="5"/>
                        </a:lnTo>
                        <a:lnTo>
                          <a:pt x="64" y="7"/>
                        </a:lnTo>
                        <a:lnTo>
                          <a:pt x="71" y="9"/>
                        </a:lnTo>
                        <a:lnTo>
                          <a:pt x="75" y="12"/>
                        </a:lnTo>
                        <a:lnTo>
                          <a:pt x="81" y="16"/>
                        </a:lnTo>
                        <a:lnTo>
                          <a:pt x="85" y="20"/>
                        </a:lnTo>
                        <a:lnTo>
                          <a:pt x="89" y="25"/>
                        </a:lnTo>
                        <a:lnTo>
                          <a:pt x="91" y="30"/>
                        </a:lnTo>
                        <a:lnTo>
                          <a:pt x="93" y="37"/>
                        </a:lnTo>
                        <a:lnTo>
                          <a:pt x="79" y="37"/>
                        </a:lnTo>
                        <a:lnTo>
                          <a:pt x="68" y="39"/>
                        </a:lnTo>
                        <a:lnTo>
                          <a:pt x="60" y="41"/>
                        </a:lnTo>
                        <a:lnTo>
                          <a:pt x="52" y="43"/>
                        </a:lnTo>
                        <a:lnTo>
                          <a:pt x="42" y="47"/>
                        </a:lnTo>
                        <a:lnTo>
                          <a:pt x="33" y="50"/>
                        </a:lnTo>
                        <a:lnTo>
                          <a:pt x="30" y="50"/>
                        </a:lnTo>
                        <a:lnTo>
                          <a:pt x="28" y="48"/>
                        </a:lnTo>
                        <a:lnTo>
                          <a:pt x="26" y="47"/>
                        </a:lnTo>
                        <a:lnTo>
                          <a:pt x="25" y="45"/>
                        </a:lnTo>
                        <a:lnTo>
                          <a:pt x="23" y="41"/>
                        </a:lnTo>
                        <a:lnTo>
                          <a:pt x="22" y="36"/>
                        </a:lnTo>
                        <a:lnTo>
                          <a:pt x="22" y="31"/>
                        </a:lnTo>
                        <a:lnTo>
                          <a:pt x="23" y="26"/>
                        </a:lnTo>
                        <a:lnTo>
                          <a:pt x="24" y="22"/>
                        </a:lnTo>
                        <a:lnTo>
                          <a:pt x="26" y="19"/>
                        </a:lnTo>
                        <a:lnTo>
                          <a:pt x="0" y="19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69" name="Freeform 416">
                    <a:extLst>
                      <a:ext uri="{FF2B5EF4-FFF2-40B4-BE49-F238E27FC236}">
                        <a16:creationId xmlns:a16="http://schemas.microsoft.com/office/drawing/2014/main" xmlns="" id="{52527B7A-6EFB-48A5-9121-21ADFB92F5F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36" y="1246"/>
                    <a:ext cx="331" cy="198"/>
                  </a:xfrm>
                  <a:custGeom>
                    <a:avLst/>
                    <a:gdLst>
                      <a:gd name="T0" fmla="*/ 0 w 1029"/>
                      <a:gd name="T1" fmla="*/ 0 h 604"/>
                      <a:gd name="T2" fmla="*/ 0 w 1029"/>
                      <a:gd name="T3" fmla="*/ 0 h 604"/>
                      <a:gd name="T4" fmla="*/ 1 w 1029"/>
                      <a:gd name="T5" fmla="*/ 0 h 604"/>
                      <a:gd name="T6" fmla="*/ 1 w 1029"/>
                      <a:gd name="T7" fmla="*/ 0 h 604"/>
                      <a:gd name="T8" fmla="*/ 1 w 1029"/>
                      <a:gd name="T9" fmla="*/ 0 h 604"/>
                      <a:gd name="T10" fmla="*/ 1 w 1029"/>
                      <a:gd name="T11" fmla="*/ 0 h 604"/>
                      <a:gd name="T12" fmla="*/ 1 w 1029"/>
                      <a:gd name="T13" fmla="*/ 0 h 604"/>
                      <a:gd name="T14" fmla="*/ 2 w 1029"/>
                      <a:gd name="T15" fmla="*/ 0 h 604"/>
                      <a:gd name="T16" fmla="*/ 2 w 1029"/>
                      <a:gd name="T17" fmla="*/ 0 h 604"/>
                      <a:gd name="T18" fmla="*/ 2 w 1029"/>
                      <a:gd name="T19" fmla="*/ 0 h 604"/>
                      <a:gd name="T20" fmla="*/ 2 w 1029"/>
                      <a:gd name="T21" fmla="*/ 0 h 604"/>
                      <a:gd name="T22" fmla="*/ 3 w 1029"/>
                      <a:gd name="T23" fmla="*/ 0 h 604"/>
                      <a:gd name="T24" fmla="*/ 3 w 1029"/>
                      <a:gd name="T25" fmla="*/ 1 h 604"/>
                      <a:gd name="T26" fmla="*/ 3 w 1029"/>
                      <a:gd name="T27" fmla="*/ 1 h 604"/>
                      <a:gd name="T28" fmla="*/ 3 w 1029"/>
                      <a:gd name="T29" fmla="*/ 1 h 604"/>
                      <a:gd name="T30" fmla="*/ 3 w 1029"/>
                      <a:gd name="T31" fmla="*/ 1 h 604"/>
                      <a:gd name="T32" fmla="*/ 3 w 1029"/>
                      <a:gd name="T33" fmla="*/ 1 h 604"/>
                      <a:gd name="T34" fmla="*/ 3 w 1029"/>
                      <a:gd name="T35" fmla="*/ 1 h 604"/>
                      <a:gd name="T36" fmla="*/ 3 w 1029"/>
                      <a:gd name="T37" fmla="*/ 1 h 604"/>
                      <a:gd name="T38" fmla="*/ 3 w 1029"/>
                      <a:gd name="T39" fmla="*/ 1 h 604"/>
                      <a:gd name="T40" fmla="*/ 3 w 1029"/>
                      <a:gd name="T41" fmla="*/ 1 h 604"/>
                      <a:gd name="T42" fmla="*/ 4 w 1029"/>
                      <a:gd name="T43" fmla="*/ 1 h 604"/>
                      <a:gd name="T44" fmla="*/ 3 w 1029"/>
                      <a:gd name="T45" fmla="*/ 2 h 604"/>
                      <a:gd name="T46" fmla="*/ 3 w 1029"/>
                      <a:gd name="T47" fmla="*/ 2 h 604"/>
                      <a:gd name="T48" fmla="*/ 3 w 1029"/>
                      <a:gd name="T49" fmla="*/ 2 h 604"/>
                      <a:gd name="T50" fmla="*/ 3 w 1029"/>
                      <a:gd name="T51" fmla="*/ 2 h 604"/>
                      <a:gd name="T52" fmla="*/ 3 w 1029"/>
                      <a:gd name="T53" fmla="*/ 2 h 604"/>
                      <a:gd name="T54" fmla="*/ 3 w 1029"/>
                      <a:gd name="T55" fmla="*/ 1 h 604"/>
                      <a:gd name="T56" fmla="*/ 3 w 1029"/>
                      <a:gd name="T57" fmla="*/ 1 h 604"/>
                      <a:gd name="T58" fmla="*/ 3 w 1029"/>
                      <a:gd name="T59" fmla="*/ 2 h 604"/>
                      <a:gd name="T60" fmla="*/ 3 w 1029"/>
                      <a:gd name="T61" fmla="*/ 2 h 604"/>
                      <a:gd name="T62" fmla="*/ 3 w 1029"/>
                      <a:gd name="T63" fmla="*/ 2 h 604"/>
                      <a:gd name="T64" fmla="*/ 3 w 1029"/>
                      <a:gd name="T65" fmla="*/ 2 h 604"/>
                      <a:gd name="T66" fmla="*/ 2 w 1029"/>
                      <a:gd name="T67" fmla="*/ 2 h 604"/>
                      <a:gd name="T68" fmla="*/ 2 w 1029"/>
                      <a:gd name="T69" fmla="*/ 2 h 604"/>
                      <a:gd name="T70" fmla="*/ 2 w 1029"/>
                      <a:gd name="T71" fmla="*/ 2 h 604"/>
                      <a:gd name="T72" fmla="*/ 2 w 1029"/>
                      <a:gd name="T73" fmla="*/ 2 h 604"/>
                      <a:gd name="T74" fmla="*/ 2 w 1029"/>
                      <a:gd name="T75" fmla="*/ 2 h 604"/>
                      <a:gd name="T76" fmla="*/ 2 w 1029"/>
                      <a:gd name="T77" fmla="*/ 2 h 604"/>
                      <a:gd name="T78" fmla="*/ 2 w 1029"/>
                      <a:gd name="T79" fmla="*/ 2 h 604"/>
                      <a:gd name="T80" fmla="*/ 1 w 1029"/>
                      <a:gd name="T81" fmla="*/ 2 h 604"/>
                      <a:gd name="T82" fmla="*/ 1 w 1029"/>
                      <a:gd name="T83" fmla="*/ 2 h 604"/>
                      <a:gd name="T84" fmla="*/ 2 w 1029"/>
                      <a:gd name="T85" fmla="*/ 2 h 604"/>
                      <a:gd name="T86" fmla="*/ 2 w 1029"/>
                      <a:gd name="T87" fmla="*/ 1 h 604"/>
                      <a:gd name="T88" fmla="*/ 2 w 1029"/>
                      <a:gd name="T89" fmla="*/ 1 h 604"/>
                      <a:gd name="T90" fmla="*/ 2 w 1029"/>
                      <a:gd name="T91" fmla="*/ 2 h 604"/>
                      <a:gd name="T92" fmla="*/ 2 w 1029"/>
                      <a:gd name="T93" fmla="*/ 2 h 604"/>
                      <a:gd name="T94" fmla="*/ 2 w 1029"/>
                      <a:gd name="T95" fmla="*/ 1 h 604"/>
                      <a:gd name="T96" fmla="*/ 2 w 1029"/>
                      <a:gd name="T97" fmla="*/ 1 h 604"/>
                      <a:gd name="T98" fmla="*/ 2 w 1029"/>
                      <a:gd name="T99" fmla="*/ 1 h 604"/>
                      <a:gd name="T100" fmla="*/ 2 w 1029"/>
                      <a:gd name="T101" fmla="*/ 1 h 604"/>
                      <a:gd name="T102" fmla="*/ 2 w 1029"/>
                      <a:gd name="T103" fmla="*/ 1 h 604"/>
                      <a:gd name="T104" fmla="*/ 2 w 1029"/>
                      <a:gd name="T105" fmla="*/ 1 h 604"/>
                      <a:gd name="T106" fmla="*/ 2 w 1029"/>
                      <a:gd name="T107" fmla="*/ 1 h 604"/>
                      <a:gd name="T108" fmla="*/ 2 w 1029"/>
                      <a:gd name="T109" fmla="*/ 1 h 604"/>
                      <a:gd name="T110" fmla="*/ 2 w 1029"/>
                      <a:gd name="T111" fmla="*/ 1 h 604"/>
                      <a:gd name="T112" fmla="*/ 1 w 1029"/>
                      <a:gd name="T113" fmla="*/ 1 h 604"/>
                      <a:gd name="T114" fmla="*/ 1 w 1029"/>
                      <a:gd name="T115" fmla="*/ 1 h 604"/>
                      <a:gd name="T116" fmla="*/ 0 w 1029"/>
                      <a:gd name="T117" fmla="*/ 1 h 604"/>
                      <a:gd name="T118" fmla="*/ 0 w 1029"/>
                      <a:gd name="T119" fmla="*/ 1 h 604"/>
                      <a:gd name="T120" fmla="*/ 0 w 1029"/>
                      <a:gd name="T121" fmla="*/ 1 h 604"/>
                      <a:gd name="T122" fmla="*/ 0 w 1029"/>
                      <a:gd name="T123" fmla="*/ 1 h 604"/>
                      <a:gd name="T124" fmla="*/ 0 w 1029"/>
                      <a:gd name="T125" fmla="*/ 1 h 604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029"/>
                      <a:gd name="T190" fmla="*/ 0 h 604"/>
                      <a:gd name="T191" fmla="*/ 1029 w 1029"/>
                      <a:gd name="T192" fmla="*/ 604 h 604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029" h="604">
                        <a:moveTo>
                          <a:pt x="73" y="129"/>
                        </a:moveTo>
                        <a:lnTo>
                          <a:pt x="34" y="129"/>
                        </a:lnTo>
                        <a:lnTo>
                          <a:pt x="28" y="128"/>
                        </a:lnTo>
                        <a:lnTo>
                          <a:pt x="24" y="125"/>
                        </a:lnTo>
                        <a:lnTo>
                          <a:pt x="22" y="121"/>
                        </a:lnTo>
                        <a:lnTo>
                          <a:pt x="20" y="117"/>
                        </a:lnTo>
                        <a:lnTo>
                          <a:pt x="20" y="112"/>
                        </a:lnTo>
                        <a:lnTo>
                          <a:pt x="22" y="107"/>
                        </a:lnTo>
                        <a:lnTo>
                          <a:pt x="24" y="102"/>
                        </a:lnTo>
                        <a:lnTo>
                          <a:pt x="26" y="97"/>
                        </a:lnTo>
                        <a:lnTo>
                          <a:pt x="34" y="87"/>
                        </a:lnTo>
                        <a:lnTo>
                          <a:pt x="42" y="77"/>
                        </a:lnTo>
                        <a:lnTo>
                          <a:pt x="54" y="69"/>
                        </a:lnTo>
                        <a:lnTo>
                          <a:pt x="67" y="60"/>
                        </a:lnTo>
                        <a:lnTo>
                          <a:pt x="81" y="52"/>
                        </a:lnTo>
                        <a:lnTo>
                          <a:pt x="96" y="45"/>
                        </a:lnTo>
                        <a:lnTo>
                          <a:pt x="128" y="30"/>
                        </a:lnTo>
                        <a:lnTo>
                          <a:pt x="160" y="18"/>
                        </a:lnTo>
                        <a:lnTo>
                          <a:pt x="190" y="8"/>
                        </a:lnTo>
                        <a:lnTo>
                          <a:pt x="213" y="0"/>
                        </a:lnTo>
                        <a:lnTo>
                          <a:pt x="266" y="0"/>
                        </a:lnTo>
                        <a:lnTo>
                          <a:pt x="264" y="7"/>
                        </a:lnTo>
                        <a:lnTo>
                          <a:pt x="260" y="14"/>
                        </a:lnTo>
                        <a:lnTo>
                          <a:pt x="255" y="19"/>
                        </a:lnTo>
                        <a:lnTo>
                          <a:pt x="250" y="24"/>
                        </a:lnTo>
                        <a:lnTo>
                          <a:pt x="236" y="32"/>
                        </a:lnTo>
                        <a:lnTo>
                          <a:pt x="220" y="40"/>
                        </a:lnTo>
                        <a:lnTo>
                          <a:pt x="205" y="47"/>
                        </a:lnTo>
                        <a:lnTo>
                          <a:pt x="192" y="55"/>
                        </a:lnTo>
                        <a:lnTo>
                          <a:pt x="187" y="60"/>
                        </a:lnTo>
                        <a:lnTo>
                          <a:pt x="183" y="66"/>
                        </a:lnTo>
                        <a:lnTo>
                          <a:pt x="181" y="72"/>
                        </a:lnTo>
                        <a:lnTo>
                          <a:pt x="180" y="80"/>
                        </a:lnTo>
                        <a:lnTo>
                          <a:pt x="180" y="95"/>
                        </a:lnTo>
                        <a:lnTo>
                          <a:pt x="180" y="105"/>
                        </a:lnTo>
                        <a:lnTo>
                          <a:pt x="198" y="104"/>
                        </a:lnTo>
                        <a:lnTo>
                          <a:pt x="216" y="101"/>
                        </a:lnTo>
                        <a:lnTo>
                          <a:pt x="233" y="97"/>
                        </a:lnTo>
                        <a:lnTo>
                          <a:pt x="252" y="93"/>
                        </a:lnTo>
                        <a:lnTo>
                          <a:pt x="252" y="82"/>
                        </a:lnTo>
                        <a:lnTo>
                          <a:pt x="252" y="67"/>
                        </a:lnTo>
                        <a:lnTo>
                          <a:pt x="274" y="60"/>
                        </a:lnTo>
                        <a:lnTo>
                          <a:pt x="295" y="51"/>
                        </a:lnTo>
                        <a:lnTo>
                          <a:pt x="316" y="42"/>
                        </a:lnTo>
                        <a:lnTo>
                          <a:pt x="336" y="32"/>
                        </a:lnTo>
                        <a:lnTo>
                          <a:pt x="355" y="24"/>
                        </a:lnTo>
                        <a:lnTo>
                          <a:pt x="376" y="18"/>
                        </a:lnTo>
                        <a:lnTo>
                          <a:pt x="386" y="15"/>
                        </a:lnTo>
                        <a:lnTo>
                          <a:pt x="397" y="14"/>
                        </a:lnTo>
                        <a:lnTo>
                          <a:pt x="408" y="12"/>
                        </a:lnTo>
                        <a:lnTo>
                          <a:pt x="419" y="12"/>
                        </a:lnTo>
                        <a:lnTo>
                          <a:pt x="422" y="12"/>
                        </a:lnTo>
                        <a:lnTo>
                          <a:pt x="426" y="14"/>
                        </a:lnTo>
                        <a:lnTo>
                          <a:pt x="429" y="15"/>
                        </a:lnTo>
                        <a:lnTo>
                          <a:pt x="432" y="18"/>
                        </a:lnTo>
                        <a:lnTo>
                          <a:pt x="438" y="23"/>
                        </a:lnTo>
                        <a:lnTo>
                          <a:pt x="443" y="30"/>
                        </a:lnTo>
                        <a:lnTo>
                          <a:pt x="450" y="44"/>
                        </a:lnTo>
                        <a:lnTo>
                          <a:pt x="452" y="49"/>
                        </a:lnTo>
                        <a:lnTo>
                          <a:pt x="443" y="57"/>
                        </a:lnTo>
                        <a:lnTo>
                          <a:pt x="437" y="64"/>
                        </a:lnTo>
                        <a:lnTo>
                          <a:pt x="434" y="68"/>
                        </a:lnTo>
                        <a:lnTo>
                          <a:pt x="433" y="71"/>
                        </a:lnTo>
                        <a:lnTo>
                          <a:pt x="432" y="75"/>
                        </a:lnTo>
                        <a:lnTo>
                          <a:pt x="432" y="80"/>
                        </a:lnTo>
                        <a:lnTo>
                          <a:pt x="467" y="80"/>
                        </a:lnTo>
                        <a:lnTo>
                          <a:pt x="504" y="80"/>
                        </a:lnTo>
                        <a:lnTo>
                          <a:pt x="536" y="80"/>
                        </a:lnTo>
                        <a:lnTo>
                          <a:pt x="565" y="80"/>
                        </a:lnTo>
                        <a:lnTo>
                          <a:pt x="581" y="80"/>
                        </a:lnTo>
                        <a:lnTo>
                          <a:pt x="601" y="83"/>
                        </a:lnTo>
                        <a:lnTo>
                          <a:pt x="621" y="85"/>
                        </a:lnTo>
                        <a:lnTo>
                          <a:pt x="637" y="86"/>
                        </a:lnTo>
                        <a:lnTo>
                          <a:pt x="648" y="86"/>
                        </a:lnTo>
                        <a:lnTo>
                          <a:pt x="658" y="87"/>
                        </a:lnTo>
                        <a:lnTo>
                          <a:pt x="667" y="88"/>
                        </a:lnTo>
                        <a:lnTo>
                          <a:pt x="675" y="89"/>
                        </a:lnTo>
                        <a:lnTo>
                          <a:pt x="690" y="94"/>
                        </a:lnTo>
                        <a:lnTo>
                          <a:pt x="702" y="99"/>
                        </a:lnTo>
                        <a:lnTo>
                          <a:pt x="715" y="103"/>
                        </a:lnTo>
                        <a:lnTo>
                          <a:pt x="728" y="107"/>
                        </a:lnTo>
                        <a:lnTo>
                          <a:pt x="734" y="109"/>
                        </a:lnTo>
                        <a:lnTo>
                          <a:pt x="742" y="110"/>
                        </a:lnTo>
                        <a:lnTo>
                          <a:pt x="749" y="111"/>
                        </a:lnTo>
                        <a:lnTo>
                          <a:pt x="757" y="111"/>
                        </a:lnTo>
                        <a:lnTo>
                          <a:pt x="753" y="115"/>
                        </a:lnTo>
                        <a:lnTo>
                          <a:pt x="751" y="119"/>
                        </a:lnTo>
                        <a:lnTo>
                          <a:pt x="748" y="122"/>
                        </a:lnTo>
                        <a:lnTo>
                          <a:pt x="747" y="125"/>
                        </a:lnTo>
                        <a:lnTo>
                          <a:pt x="747" y="130"/>
                        </a:lnTo>
                        <a:lnTo>
                          <a:pt x="749" y="134"/>
                        </a:lnTo>
                        <a:lnTo>
                          <a:pt x="752" y="138"/>
                        </a:lnTo>
                        <a:lnTo>
                          <a:pt x="754" y="142"/>
                        </a:lnTo>
                        <a:lnTo>
                          <a:pt x="754" y="145"/>
                        </a:lnTo>
                        <a:lnTo>
                          <a:pt x="754" y="147"/>
                        </a:lnTo>
                        <a:lnTo>
                          <a:pt x="753" y="151"/>
                        </a:lnTo>
                        <a:lnTo>
                          <a:pt x="751" y="154"/>
                        </a:lnTo>
                        <a:lnTo>
                          <a:pt x="711" y="184"/>
                        </a:lnTo>
                        <a:lnTo>
                          <a:pt x="728" y="179"/>
                        </a:lnTo>
                        <a:lnTo>
                          <a:pt x="746" y="172"/>
                        </a:lnTo>
                        <a:lnTo>
                          <a:pt x="764" y="166"/>
                        </a:lnTo>
                        <a:lnTo>
                          <a:pt x="777" y="160"/>
                        </a:lnTo>
                        <a:lnTo>
                          <a:pt x="798" y="160"/>
                        </a:lnTo>
                        <a:lnTo>
                          <a:pt x="797" y="164"/>
                        </a:lnTo>
                        <a:lnTo>
                          <a:pt x="799" y="168"/>
                        </a:lnTo>
                        <a:lnTo>
                          <a:pt x="802" y="172"/>
                        </a:lnTo>
                        <a:lnTo>
                          <a:pt x="807" y="174"/>
                        </a:lnTo>
                        <a:lnTo>
                          <a:pt x="820" y="179"/>
                        </a:lnTo>
                        <a:lnTo>
                          <a:pt x="834" y="183"/>
                        </a:lnTo>
                        <a:lnTo>
                          <a:pt x="848" y="186"/>
                        </a:lnTo>
                        <a:lnTo>
                          <a:pt x="860" y="189"/>
                        </a:lnTo>
                        <a:lnTo>
                          <a:pt x="866" y="191"/>
                        </a:lnTo>
                        <a:lnTo>
                          <a:pt x="869" y="192"/>
                        </a:lnTo>
                        <a:lnTo>
                          <a:pt x="870" y="194"/>
                        </a:lnTo>
                        <a:lnTo>
                          <a:pt x="870" y="196"/>
                        </a:lnTo>
                        <a:lnTo>
                          <a:pt x="864" y="234"/>
                        </a:lnTo>
                        <a:lnTo>
                          <a:pt x="863" y="236"/>
                        </a:lnTo>
                        <a:lnTo>
                          <a:pt x="860" y="238"/>
                        </a:lnTo>
                        <a:lnTo>
                          <a:pt x="856" y="239"/>
                        </a:lnTo>
                        <a:lnTo>
                          <a:pt x="852" y="240"/>
                        </a:lnTo>
                        <a:lnTo>
                          <a:pt x="838" y="242"/>
                        </a:lnTo>
                        <a:lnTo>
                          <a:pt x="824" y="243"/>
                        </a:lnTo>
                        <a:lnTo>
                          <a:pt x="809" y="244"/>
                        </a:lnTo>
                        <a:lnTo>
                          <a:pt x="797" y="246"/>
                        </a:lnTo>
                        <a:lnTo>
                          <a:pt x="791" y="247"/>
                        </a:lnTo>
                        <a:lnTo>
                          <a:pt x="788" y="248"/>
                        </a:lnTo>
                        <a:lnTo>
                          <a:pt x="785" y="250"/>
                        </a:lnTo>
                        <a:lnTo>
                          <a:pt x="784" y="252"/>
                        </a:lnTo>
                        <a:lnTo>
                          <a:pt x="799" y="262"/>
                        </a:lnTo>
                        <a:lnTo>
                          <a:pt x="813" y="269"/>
                        </a:lnTo>
                        <a:lnTo>
                          <a:pt x="827" y="275"/>
                        </a:lnTo>
                        <a:lnTo>
                          <a:pt x="843" y="280"/>
                        </a:lnTo>
                        <a:lnTo>
                          <a:pt x="859" y="284"/>
                        </a:lnTo>
                        <a:lnTo>
                          <a:pt x="877" y="287"/>
                        </a:lnTo>
                        <a:lnTo>
                          <a:pt x="896" y="289"/>
                        </a:lnTo>
                        <a:lnTo>
                          <a:pt x="916" y="289"/>
                        </a:lnTo>
                        <a:lnTo>
                          <a:pt x="915" y="298"/>
                        </a:lnTo>
                        <a:lnTo>
                          <a:pt x="913" y="307"/>
                        </a:lnTo>
                        <a:lnTo>
                          <a:pt x="909" y="317"/>
                        </a:lnTo>
                        <a:lnTo>
                          <a:pt x="903" y="327"/>
                        </a:lnTo>
                        <a:lnTo>
                          <a:pt x="914" y="330"/>
                        </a:lnTo>
                        <a:lnTo>
                          <a:pt x="925" y="333"/>
                        </a:lnTo>
                        <a:lnTo>
                          <a:pt x="937" y="333"/>
                        </a:lnTo>
                        <a:lnTo>
                          <a:pt x="948" y="333"/>
                        </a:lnTo>
                        <a:lnTo>
                          <a:pt x="959" y="332"/>
                        </a:lnTo>
                        <a:lnTo>
                          <a:pt x="969" y="331"/>
                        </a:lnTo>
                        <a:lnTo>
                          <a:pt x="977" y="329"/>
                        </a:lnTo>
                        <a:lnTo>
                          <a:pt x="983" y="327"/>
                        </a:lnTo>
                        <a:lnTo>
                          <a:pt x="987" y="333"/>
                        </a:lnTo>
                        <a:lnTo>
                          <a:pt x="991" y="337"/>
                        </a:lnTo>
                        <a:lnTo>
                          <a:pt x="995" y="341"/>
                        </a:lnTo>
                        <a:lnTo>
                          <a:pt x="1002" y="343"/>
                        </a:lnTo>
                        <a:lnTo>
                          <a:pt x="1015" y="347"/>
                        </a:lnTo>
                        <a:lnTo>
                          <a:pt x="1029" y="351"/>
                        </a:lnTo>
                        <a:lnTo>
                          <a:pt x="1012" y="360"/>
                        </a:lnTo>
                        <a:lnTo>
                          <a:pt x="997" y="371"/>
                        </a:lnTo>
                        <a:lnTo>
                          <a:pt x="983" y="382"/>
                        </a:lnTo>
                        <a:lnTo>
                          <a:pt x="971" y="391"/>
                        </a:lnTo>
                        <a:lnTo>
                          <a:pt x="959" y="400"/>
                        </a:lnTo>
                        <a:lnTo>
                          <a:pt x="947" y="406"/>
                        </a:lnTo>
                        <a:lnTo>
                          <a:pt x="939" y="409"/>
                        </a:lnTo>
                        <a:lnTo>
                          <a:pt x="933" y="411"/>
                        </a:lnTo>
                        <a:lnTo>
                          <a:pt x="925" y="412"/>
                        </a:lnTo>
                        <a:lnTo>
                          <a:pt x="916" y="412"/>
                        </a:lnTo>
                        <a:lnTo>
                          <a:pt x="911" y="413"/>
                        </a:lnTo>
                        <a:lnTo>
                          <a:pt x="907" y="414"/>
                        </a:lnTo>
                        <a:lnTo>
                          <a:pt x="902" y="415"/>
                        </a:lnTo>
                        <a:lnTo>
                          <a:pt x="899" y="417"/>
                        </a:lnTo>
                        <a:lnTo>
                          <a:pt x="893" y="422"/>
                        </a:lnTo>
                        <a:lnTo>
                          <a:pt x="889" y="428"/>
                        </a:lnTo>
                        <a:lnTo>
                          <a:pt x="885" y="434"/>
                        </a:lnTo>
                        <a:lnTo>
                          <a:pt x="881" y="439"/>
                        </a:lnTo>
                        <a:lnTo>
                          <a:pt x="879" y="441"/>
                        </a:lnTo>
                        <a:lnTo>
                          <a:pt x="877" y="442"/>
                        </a:lnTo>
                        <a:lnTo>
                          <a:pt x="874" y="443"/>
                        </a:lnTo>
                        <a:lnTo>
                          <a:pt x="870" y="444"/>
                        </a:lnTo>
                        <a:lnTo>
                          <a:pt x="865" y="442"/>
                        </a:lnTo>
                        <a:lnTo>
                          <a:pt x="857" y="439"/>
                        </a:lnTo>
                        <a:lnTo>
                          <a:pt x="849" y="435"/>
                        </a:lnTo>
                        <a:lnTo>
                          <a:pt x="842" y="429"/>
                        </a:lnTo>
                        <a:lnTo>
                          <a:pt x="835" y="422"/>
                        </a:lnTo>
                        <a:lnTo>
                          <a:pt x="830" y="414"/>
                        </a:lnTo>
                        <a:lnTo>
                          <a:pt x="827" y="411"/>
                        </a:lnTo>
                        <a:lnTo>
                          <a:pt x="825" y="407"/>
                        </a:lnTo>
                        <a:lnTo>
                          <a:pt x="824" y="404"/>
                        </a:lnTo>
                        <a:lnTo>
                          <a:pt x="824" y="400"/>
                        </a:lnTo>
                        <a:lnTo>
                          <a:pt x="840" y="400"/>
                        </a:lnTo>
                        <a:lnTo>
                          <a:pt x="851" y="400"/>
                        </a:lnTo>
                        <a:lnTo>
                          <a:pt x="851" y="393"/>
                        </a:lnTo>
                        <a:lnTo>
                          <a:pt x="851" y="382"/>
                        </a:lnTo>
                        <a:lnTo>
                          <a:pt x="837" y="382"/>
                        </a:lnTo>
                        <a:lnTo>
                          <a:pt x="827" y="382"/>
                        </a:lnTo>
                        <a:lnTo>
                          <a:pt x="816" y="382"/>
                        </a:lnTo>
                        <a:lnTo>
                          <a:pt x="804" y="382"/>
                        </a:lnTo>
                        <a:lnTo>
                          <a:pt x="798" y="381"/>
                        </a:lnTo>
                        <a:lnTo>
                          <a:pt x="792" y="379"/>
                        </a:lnTo>
                        <a:lnTo>
                          <a:pt x="788" y="376"/>
                        </a:lnTo>
                        <a:lnTo>
                          <a:pt x="784" y="373"/>
                        </a:lnTo>
                        <a:lnTo>
                          <a:pt x="780" y="369"/>
                        </a:lnTo>
                        <a:lnTo>
                          <a:pt x="776" y="366"/>
                        </a:lnTo>
                        <a:lnTo>
                          <a:pt x="770" y="364"/>
                        </a:lnTo>
                        <a:lnTo>
                          <a:pt x="764" y="363"/>
                        </a:lnTo>
                        <a:lnTo>
                          <a:pt x="759" y="364"/>
                        </a:lnTo>
                        <a:lnTo>
                          <a:pt x="755" y="366"/>
                        </a:lnTo>
                        <a:lnTo>
                          <a:pt x="752" y="369"/>
                        </a:lnTo>
                        <a:lnTo>
                          <a:pt x="749" y="374"/>
                        </a:lnTo>
                        <a:lnTo>
                          <a:pt x="747" y="379"/>
                        </a:lnTo>
                        <a:lnTo>
                          <a:pt x="745" y="384"/>
                        </a:lnTo>
                        <a:lnTo>
                          <a:pt x="744" y="389"/>
                        </a:lnTo>
                        <a:lnTo>
                          <a:pt x="744" y="394"/>
                        </a:lnTo>
                        <a:lnTo>
                          <a:pt x="711" y="394"/>
                        </a:lnTo>
                        <a:lnTo>
                          <a:pt x="711" y="412"/>
                        </a:lnTo>
                        <a:lnTo>
                          <a:pt x="715" y="414"/>
                        </a:lnTo>
                        <a:lnTo>
                          <a:pt x="720" y="418"/>
                        </a:lnTo>
                        <a:lnTo>
                          <a:pt x="726" y="423"/>
                        </a:lnTo>
                        <a:lnTo>
                          <a:pt x="733" y="430"/>
                        </a:lnTo>
                        <a:lnTo>
                          <a:pt x="747" y="445"/>
                        </a:lnTo>
                        <a:lnTo>
                          <a:pt x="762" y="462"/>
                        </a:lnTo>
                        <a:lnTo>
                          <a:pt x="775" y="478"/>
                        </a:lnTo>
                        <a:lnTo>
                          <a:pt x="787" y="494"/>
                        </a:lnTo>
                        <a:lnTo>
                          <a:pt x="795" y="505"/>
                        </a:lnTo>
                        <a:lnTo>
                          <a:pt x="798" y="511"/>
                        </a:lnTo>
                        <a:lnTo>
                          <a:pt x="797" y="517"/>
                        </a:lnTo>
                        <a:lnTo>
                          <a:pt x="795" y="523"/>
                        </a:lnTo>
                        <a:lnTo>
                          <a:pt x="795" y="527"/>
                        </a:lnTo>
                        <a:lnTo>
                          <a:pt x="795" y="530"/>
                        </a:lnTo>
                        <a:lnTo>
                          <a:pt x="796" y="533"/>
                        </a:lnTo>
                        <a:lnTo>
                          <a:pt x="798" y="535"/>
                        </a:lnTo>
                        <a:lnTo>
                          <a:pt x="788" y="539"/>
                        </a:lnTo>
                        <a:lnTo>
                          <a:pt x="779" y="543"/>
                        </a:lnTo>
                        <a:lnTo>
                          <a:pt x="771" y="547"/>
                        </a:lnTo>
                        <a:lnTo>
                          <a:pt x="765" y="551"/>
                        </a:lnTo>
                        <a:lnTo>
                          <a:pt x="758" y="554"/>
                        </a:lnTo>
                        <a:lnTo>
                          <a:pt x="752" y="558"/>
                        </a:lnTo>
                        <a:lnTo>
                          <a:pt x="745" y="560"/>
                        </a:lnTo>
                        <a:lnTo>
                          <a:pt x="737" y="560"/>
                        </a:lnTo>
                        <a:lnTo>
                          <a:pt x="723" y="559"/>
                        </a:lnTo>
                        <a:lnTo>
                          <a:pt x="708" y="556"/>
                        </a:lnTo>
                        <a:lnTo>
                          <a:pt x="695" y="552"/>
                        </a:lnTo>
                        <a:lnTo>
                          <a:pt x="681" y="546"/>
                        </a:lnTo>
                        <a:lnTo>
                          <a:pt x="669" y="540"/>
                        </a:lnTo>
                        <a:lnTo>
                          <a:pt x="659" y="531"/>
                        </a:lnTo>
                        <a:lnTo>
                          <a:pt x="651" y="524"/>
                        </a:lnTo>
                        <a:lnTo>
                          <a:pt x="644" y="517"/>
                        </a:lnTo>
                        <a:lnTo>
                          <a:pt x="618" y="517"/>
                        </a:lnTo>
                        <a:lnTo>
                          <a:pt x="621" y="525"/>
                        </a:lnTo>
                        <a:lnTo>
                          <a:pt x="624" y="531"/>
                        </a:lnTo>
                        <a:lnTo>
                          <a:pt x="629" y="538"/>
                        </a:lnTo>
                        <a:lnTo>
                          <a:pt x="634" y="543"/>
                        </a:lnTo>
                        <a:lnTo>
                          <a:pt x="645" y="552"/>
                        </a:lnTo>
                        <a:lnTo>
                          <a:pt x="657" y="560"/>
                        </a:lnTo>
                        <a:lnTo>
                          <a:pt x="668" y="567"/>
                        </a:lnTo>
                        <a:lnTo>
                          <a:pt x="678" y="575"/>
                        </a:lnTo>
                        <a:lnTo>
                          <a:pt x="683" y="580"/>
                        </a:lnTo>
                        <a:lnTo>
                          <a:pt x="687" y="585"/>
                        </a:lnTo>
                        <a:lnTo>
                          <a:pt x="689" y="590"/>
                        </a:lnTo>
                        <a:lnTo>
                          <a:pt x="691" y="598"/>
                        </a:lnTo>
                        <a:lnTo>
                          <a:pt x="678" y="601"/>
                        </a:lnTo>
                        <a:lnTo>
                          <a:pt x="665" y="604"/>
                        </a:lnTo>
                        <a:lnTo>
                          <a:pt x="644" y="603"/>
                        </a:lnTo>
                        <a:lnTo>
                          <a:pt x="618" y="599"/>
                        </a:lnTo>
                        <a:lnTo>
                          <a:pt x="589" y="592"/>
                        </a:lnTo>
                        <a:lnTo>
                          <a:pt x="558" y="584"/>
                        </a:lnTo>
                        <a:lnTo>
                          <a:pt x="544" y="580"/>
                        </a:lnTo>
                        <a:lnTo>
                          <a:pt x="531" y="575"/>
                        </a:lnTo>
                        <a:lnTo>
                          <a:pt x="518" y="570"/>
                        </a:lnTo>
                        <a:lnTo>
                          <a:pt x="507" y="565"/>
                        </a:lnTo>
                        <a:lnTo>
                          <a:pt x="497" y="559"/>
                        </a:lnTo>
                        <a:lnTo>
                          <a:pt x="488" y="554"/>
                        </a:lnTo>
                        <a:lnTo>
                          <a:pt x="483" y="548"/>
                        </a:lnTo>
                        <a:lnTo>
                          <a:pt x="478" y="542"/>
                        </a:lnTo>
                        <a:lnTo>
                          <a:pt x="475" y="532"/>
                        </a:lnTo>
                        <a:lnTo>
                          <a:pt x="471" y="523"/>
                        </a:lnTo>
                        <a:lnTo>
                          <a:pt x="464" y="513"/>
                        </a:lnTo>
                        <a:lnTo>
                          <a:pt x="457" y="504"/>
                        </a:lnTo>
                        <a:lnTo>
                          <a:pt x="451" y="496"/>
                        </a:lnTo>
                        <a:lnTo>
                          <a:pt x="444" y="489"/>
                        </a:lnTo>
                        <a:lnTo>
                          <a:pt x="438" y="484"/>
                        </a:lnTo>
                        <a:lnTo>
                          <a:pt x="432" y="480"/>
                        </a:lnTo>
                        <a:lnTo>
                          <a:pt x="410" y="473"/>
                        </a:lnTo>
                        <a:lnTo>
                          <a:pt x="388" y="468"/>
                        </a:lnTo>
                        <a:lnTo>
                          <a:pt x="384" y="467"/>
                        </a:lnTo>
                        <a:lnTo>
                          <a:pt x="379" y="465"/>
                        </a:lnTo>
                        <a:lnTo>
                          <a:pt x="375" y="463"/>
                        </a:lnTo>
                        <a:lnTo>
                          <a:pt x="372" y="460"/>
                        </a:lnTo>
                        <a:lnTo>
                          <a:pt x="370" y="457"/>
                        </a:lnTo>
                        <a:lnTo>
                          <a:pt x="367" y="453"/>
                        </a:lnTo>
                        <a:lnTo>
                          <a:pt x="366" y="449"/>
                        </a:lnTo>
                        <a:lnTo>
                          <a:pt x="365" y="444"/>
                        </a:lnTo>
                        <a:lnTo>
                          <a:pt x="366" y="441"/>
                        </a:lnTo>
                        <a:lnTo>
                          <a:pt x="368" y="439"/>
                        </a:lnTo>
                        <a:lnTo>
                          <a:pt x="373" y="437"/>
                        </a:lnTo>
                        <a:lnTo>
                          <a:pt x="378" y="436"/>
                        </a:lnTo>
                        <a:lnTo>
                          <a:pt x="392" y="433"/>
                        </a:lnTo>
                        <a:lnTo>
                          <a:pt x="406" y="430"/>
                        </a:lnTo>
                        <a:lnTo>
                          <a:pt x="435" y="427"/>
                        </a:lnTo>
                        <a:lnTo>
                          <a:pt x="452" y="424"/>
                        </a:lnTo>
                        <a:lnTo>
                          <a:pt x="452" y="416"/>
                        </a:lnTo>
                        <a:lnTo>
                          <a:pt x="454" y="409"/>
                        </a:lnTo>
                        <a:lnTo>
                          <a:pt x="456" y="404"/>
                        </a:lnTo>
                        <a:lnTo>
                          <a:pt x="459" y="399"/>
                        </a:lnTo>
                        <a:lnTo>
                          <a:pt x="461" y="394"/>
                        </a:lnTo>
                        <a:lnTo>
                          <a:pt x="463" y="390"/>
                        </a:lnTo>
                        <a:lnTo>
                          <a:pt x="465" y="386"/>
                        </a:lnTo>
                        <a:lnTo>
                          <a:pt x="465" y="382"/>
                        </a:lnTo>
                        <a:lnTo>
                          <a:pt x="479" y="382"/>
                        </a:lnTo>
                        <a:lnTo>
                          <a:pt x="490" y="380"/>
                        </a:lnTo>
                        <a:lnTo>
                          <a:pt x="500" y="378"/>
                        </a:lnTo>
                        <a:lnTo>
                          <a:pt x="508" y="375"/>
                        </a:lnTo>
                        <a:lnTo>
                          <a:pt x="521" y="368"/>
                        </a:lnTo>
                        <a:lnTo>
                          <a:pt x="532" y="363"/>
                        </a:lnTo>
                        <a:lnTo>
                          <a:pt x="572" y="363"/>
                        </a:lnTo>
                        <a:lnTo>
                          <a:pt x="573" y="369"/>
                        </a:lnTo>
                        <a:lnTo>
                          <a:pt x="575" y="376"/>
                        </a:lnTo>
                        <a:lnTo>
                          <a:pt x="577" y="380"/>
                        </a:lnTo>
                        <a:lnTo>
                          <a:pt x="580" y="384"/>
                        </a:lnTo>
                        <a:lnTo>
                          <a:pt x="583" y="387"/>
                        </a:lnTo>
                        <a:lnTo>
                          <a:pt x="587" y="389"/>
                        </a:lnTo>
                        <a:lnTo>
                          <a:pt x="590" y="391"/>
                        </a:lnTo>
                        <a:lnTo>
                          <a:pt x="595" y="393"/>
                        </a:lnTo>
                        <a:lnTo>
                          <a:pt x="603" y="394"/>
                        </a:lnTo>
                        <a:lnTo>
                          <a:pt x="614" y="395"/>
                        </a:lnTo>
                        <a:lnTo>
                          <a:pt x="625" y="394"/>
                        </a:lnTo>
                        <a:lnTo>
                          <a:pt x="637" y="394"/>
                        </a:lnTo>
                        <a:lnTo>
                          <a:pt x="650" y="394"/>
                        </a:lnTo>
                        <a:lnTo>
                          <a:pt x="659" y="393"/>
                        </a:lnTo>
                        <a:lnTo>
                          <a:pt x="668" y="392"/>
                        </a:lnTo>
                        <a:lnTo>
                          <a:pt x="675" y="390"/>
                        </a:lnTo>
                        <a:lnTo>
                          <a:pt x="687" y="387"/>
                        </a:lnTo>
                        <a:lnTo>
                          <a:pt x="698" y="382"/>
                        </a:lnTo>
                        <a:lnTo>
                          <a:pt x="698" y="373"/>
                        </a:lnTo>
                        <a:lnTo>
                          <a:pt x="698" y="363"/>
                        </a:lnTo>
                        <a:lnTo>
                          <a:pt x="605" y="351"/>
                        </a:lnTo>
                        <a:lnTo>
                          <a:pt x="596" y="351"/>
                        </a:lnTo>
                        <a:lnTo>
                          <a:pt x="588" y="353"/>
                        </a:lnTo>
                        <a:lnTo>
                          <a:pt x="581" y="355"/>
                        </a:lnTo>
                        <a:lnTo>
                          <a:pt x="576" y="357"/>
                        </a:lnTo>
                        <a:lnTo>
                          <a:pt x="572" y="359"/>
                        </a:lnTo>
                        <a:lnTo>
                          <a:pt x="567" y="361"/>
                        </a:lnTo>
                        <a:lnTo>
                          <a:pt x="563" y="362"/>
                        </a:lnTo>
                        <a:lnTo>
                          <a:pt x="558" y="363"/>
                        </a:lnTo>
                        <a:lnTo>
                          <a:pt x="550" y="362"/>
                        </a:lnTo>
                        <a:lnTo>
                          <a:pt x="542" y="361"/>
                        </a:lnTo>
                        <a:lnTo>
                          <a:pt x="540" y="360"/>
                        </a:lnTo>
                        <a:lnTo>
                          <a:pt x="536" y="360"/>
                        </a:lnTo>
                        <a:lnTo>
                          <a:pt x="534" y="361"/>
                        </a:lnTo>
                        <a:lnTo>
                          <a:pt x="532" y="363"/>
                        </a:lnTo>
                        <a:lnTo>
                          <a:pt x="533" y="358"/>
                        </a:lnTo>
                        <a:lnTo>
                          <a:pt x="535" y="354"/>
                        </a:lnTo>
                        <a:lnTo>
                          <a:pt x="539" y="350"/>
                        </a:lnTo>
                        <a:lnTo>
                          <a:pt x="542" y="347"/>
                        </a:lnTo>
                        <a:lnTo>
                          <a:pt x="550" y="339"/>
                        </a:lnTo>
                        <a:lnTo>
                          <a:pt x="557" y="332"/>
                        </a:lnTo>
                        <a:lnTo>
                          <a:pt x="565" y="324"/>
                        </a:lnTo>
                        <a:lnTo>
                          <a:pt x="572" y="316"/>
                        </a:lnTo>
                        <a:lnTo>
                          <a:pt x="574" y="311"/>
                        </a:lnTo>
                        <a:lnTo>
                          <a:pt x="576" y="306"/>
                        </a:lnTo>
                        <a:lnTo>
                          <a:pt x="577" y="301"/>
                        </a:lnTo>
                        <a:lnTo>
                          <a:pt x="578" y="295"/>
                        </a:lnTo>
                        <a:lnTo>
                          <a:pt x="577" y="290"/>
                        </a:lnTo>
                        <a:lnTo>
                          <a:pt x="576" y="283"/>
                        </a:lnTo>
                        <a:lnTo>
                          <a:pt x="575" y="280"/>
                        </a:lnTo>
                        <a:lnTo>
                          <a:pt x="575" y="277"/>
                        </a:lnTo>
                        <a:lnTo>
                          <a:pt x="576" y="274"/>
                        </a:lnTo>
                        <a:lnTo>
                          <a:pt x="578" y="271"/>
                        </a:lnTo>
                        <a:lnTo>
                          <a:pt x="568" y="271"/>
                        </a:lnTo>
                        <a:lnTo>
                          <a:pt x="558" y="269"/>
                        </a:lnTo>
                        <a:lnTo>
                          <a:pt x="550" y="267"/>
                        </a:lnTo>
                        <a:lnTo>
                          <a:pt x="541" y="263"/>
                        </a:lnTo>
                        <a:lnTo>
                          <a:pt x="533" y="258"/>
                        </a:lnTo>
                        <a:lnTo>
                          <a:pt x="524" y="254"/>
                        </a:lnTo>
                        <a:lnTo>
                          <a:pt x="518" y="248"/>
                        </a:lnTo>
                        <a:lnTo>
                          <a:pt x="511" y="243"/>
                        </a:lnTo>
                        <a:lnTo>
                          <a:pt x="499" y="231"/>
                        </a:lnTo>
                        <a:lnTo>
                          <a:pt x="489" y="219"/>
                        </a:lnTo>
                        <a:lnTo>
                          <a:pt x="483" y="208"/>
                        </a:lnTo>
                        <a:lnTo>
                          <a:pt x="478" y="196"/>
                        </a:lnTo>
                        <a:lnTo>
                          <a:pt x="473" y="198"/>
                        </a:lnTo>
                        <a:lnTo>
                          <a:pt x="467" y="198"/>
                        </a:lnTo>
                        <a:lnTo>
                          <a:pt x="463" y="198"/>
                        </a:lnTo>
                        <a:lnTo>
                          <a:pt x="459" y="196"/>
                        </a:lnTo>
                        <a:lnTo>
                          <a:pt x="452" y="190"/>
                        </a:lnTo>
                        <a:lnTo>
                          <a:pt x="446" y="183"/>
                        </a:lnTo>
                        <a:lnTo>
                          <a:pt x="441" y="175"/>
                        </a:lnTo>
                        <a:lnTo>
                          <a:pt x="434" y="168"/>
                        </a:lnTo>
                        <a:lnTo>
                          <a:pt x="431" y="165"/>
                        </a:lnTo>
                        <a:lnTo>
                          <a:pt x="428" y="162"/>
                        </a:lnTo>
                        <a:lnTo>
                          <a:pt x="423" y="161"/>
                        </a:lnTo>
                        <a:lnTo>
                          <a:pt x="419" y="160"/>
                        </a:lnTo>
                        <a:lnTo>
                          <a:pt x="415" y="161"/>
                        </a:lnTo>
                        <a:lnTo>
                          <a:pt x="411" y="162"/>
                        </a:lnTo>
                        <a:lnTo>
                          <a:pt x="408" y="163"/>
                        </a:lnTo>
                        <a:lnTo>
                          <a:pt x="404" y="165"/>
                        </a:lnTo>
                        <a:lnTo>
                          <a:pt x="397" y="170"/>
                        </a:lnTo>
                        <a:lnTo>
                          <a:pt x="392" y="177"/>
                        </a:lnTo>
                        <a:lnTo>
                          <a:pt x="386" y="184"/>
                        </a:lnTo>
                        <a:lnTo>
                          <a:pt x="382" y="191"/>
                        </a:lnTo>
                        <a:lnTo>
                          <a:pt x="379" y="197"/>
                        </a:lnTo>
                        <a:lnTo>
                          <a:pt x="378" y="203"/>
                        </a:lnTo>
                        <a:lnTo>
                          <a:pt x="339" y="203"/>
                        </a:lnTo>
                        <a:lnTo>
                          <a:pt x="317" y="194"/>
                        </a:lnTo>
                        <a:lnTo>
                          <a:pt x="295" y="188"/>
                        </a:lnTo>
                        <a:lnTo>
                          <a:pt x="273" y="182"/>
                        </a:lnTo>
                        <a:lnTo>
                          <a:pt x="252" y="178"/>
                        </a:lnTo>
                        <a:lnTo>
                          <a:pt x="230" y="176"/>
                        </a:lnTo>
                        <a:lnTo>
                          <a:pt x="207" y="174"/>
                        </a:lnTo>
                        <a:lnTo>
                          <a:pt x="184" y="173"/>
                        </a:lnTo>
                        <a:lnTo>
                          <a:pt x="160" y="172"/>
                        </a:lnTo>
                        <a:lnTo>
                          <a:pt x="148" y="173"/>
                        </a:lnTo>
                        <a:lnTo>
                          <a:pt x="138" y="176"/>
                        </a:lnTo>
                        <a:lnTo>
                          <a:pt x="129" y="180"/>
                        </a:lnTo>
                        <a:lnTo>
                          <a:pt x="121" y="184"/>
                        </a:lnTo>
                        <a:lnTo>
                          <a:pt x="114" y="189"/>
                        </a:lnTo>
                        <a:lnTo>
                          <a:pt x="107" y="193"/>
                        </a:lnTo>
                        <a:lnTo>
                          <a:pt x="101" y="195"/>
                        </a:lnTo>
                        <a:lnTo>
                          <a:pt x="93" y="196"/>
                        </a:lnTo>
                        <a:lnTo>
                          <a:pt x="88" y="196"/>
                        </a:lnTo>
                        <a:lnTo>
                          <a:pt x="84" y="194"/>
                        </a:lnTo>
                        <a:lnTo>
                          <a:pt x="81" y="190"/>
                        </a:lnTo>
                        <a:lnTo>
                          <a:pt x="79" y="187"/>
                        </a:lnTo>
                        <a:lnTo>
                          <a:pt x="74" y="179"/>
                        </a:lnTo>
                        <a:lnTo>
                          <a:pt x="73" y="172"/>
                        </a:lnTo>
                        <a:lnTo>
                          <a:pt x="50" y="177"/>
                        </a:lnTo>
                        <a:lnTo>
                          <a:pt x="29" y="181"/>
                        </a:lnTo>
                        <a:lnTo>
                          <a:pt x="25" y="181"/>
                        </a:lnTo>
                        <a:lnTo>
                          <a:pt x="20" y="180"/>
                        </a:lnTo>
                        <a:lnTo>
                          <a:pt x="16" y="180"/>
                        </a:lnTo>
                        <a:lnTo>
                          <a:pt x="13" y="178"/>
                        </a:lnTo>
                        <a:lnTo>
                          <a:pt x="8" y="176"/>
                        </a:lnTo>
                        <a:lnTo>
                          <a:pt x="6" y="174"/>
                        </a:lnTo>
                        <a:lnTo>
                          <a:pt x="3" y="170"/>
                        </a:lnTo>
                        <a:lnTo>
                          <a:pt x="0" y="166"/>
                        </a:lnTo>
                        <a:lnTo>
                          <a:pt x="4" y="162"/>
                        </a:lnTo>
                        <a:lnTo>
                          <a:pt x="9" y="158"/>
                        </a:lnTo>
                        <a:lnTo>
                          <a:pt x="14" y="155"/>
                        </a:lnTo>
                        <a:lnTo>
                          <a:pt x="20" y="152"/>
                        </a:lnTo>
                        <a:lnTo>
                          <a:pt x="32" y="149"/>
                        </a:lnTo>
                        <a:lnTo>
                          <a:pt x="46" y="146"/>
                        </a:lnTo>
                        <a:lnTo>
                          <a:pt x="59" y="145"/>
                        </a:lnTo>
                        <a:lnTo>
                          <a:pt x="70" y="147"/>
                        </a:lnTo>
                        <a:lnTo>
                          <a:pt x="75" y="149"/>
                        </a:lnTo>
                        <a:lnTo>
                          <a:pt x="80" y="150"/>
                        </a:lnTo>
                        <a:lnTo>
                          <a:pt x="83" y="152"/>
                        </a:lnTo>
                        <a:lnTo>
                          <a:pt x="86" y="154"/>
                        </a:lnTo>
                        <a:lnTo>
                          <a:pt x="86" y="139"/>
                        </a:lnTo>
                        <a:lnTo>
                          <a:pt x="86" y="129"/>
                        </a:lnTo>
                        <a:lnTo>
                          <a:pt x="73" y="129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70" name="Freeform 417">
                    <a:extLst>
                      <a:ext uri="{FF2B5EF4-FFF2-40B4-BE49-F238E27FC236}">
                        <a16:creationId xmlns:a16="http://schemas.microsoft.com/office/drawing/2014/main" xmlns="" id="{57C146A1-DDA3-4B04-BB67-71B4BE7FCBA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28" y="1110"/>
                    <a:ext cx="409" cy="105"/>
                  </a:xfrm>
                  <a:custGeom>
                    <a:avLst/>
                    <a:gdLst>
                      <a:gd name="T0" fmla="*/ 3 w 1268"/>
                      <a:gd name="T1" fmla="*/ 0 h 321"/>
                      <a:gd name="T2" fmla="*/ 3 w 1268"/>
                      <a:gd name="T3" fmla="*/ 0 h 321"/>
                      <a:gd name="T4" fmla="*/ 3 w 1268"/>
                      <a:gd name="T5" fmla="*/ 0 h 321"/>
                      <a:gd name="T6" fmla="*/ 3 w 1268"/>
                      <a:gd name="T7" fmla="*/ 0 h 321"/>
                      <a:gd name="T8" fmla="*/ 3 w 1268"/>
                      <a:gd name="T9" fmla="*/ 0 h 321"/>
                      <a:gd name="T10" fmla="*/ 4 w 1268"/>
                      <a:gd name="T11" fmla="*/ 0 h 321"/>
                      <a:gd name="T12" fmla="*/ 4 w 1268"/>
                      <a:gd name="T13" fmla="*/ 0 h 321"/>
                      <a:gd name="T14" fmla="*/ 4 w 1268"/>
                      <a:gd name="T15" fmla="*/ 0 h 321"/>
                      <a:gd name="T16" fmla="*/ 5 w 1268"/>
                      <a:gd name="T17" fmla="*/ 0 h 321"/>
                      <a:gd name="T18" fmla="*/ 5 w 1268"/>
                      <a:gd name="T19" fmla="*/ 0 h 321"/>
                      <a:gd name="T20" fmla="*/ 4 w 1268"/>
                      <a:gd name="T21" fmla="*/ 0 h 321"/>
                      <a:gd name="T22" fmla="*/ 4 w 1268"/>
                      <a:gd name="T23" fmla="*/ 0 h 321"/>
                      <a:gd name="T24" fmla="*/ 4 w 1268"/>
                      <a:gd name="T25" fmla="*/ 0 h 321"/>
                      <a:gd name="T26" fmla="*/ 4 w 1268"/>
                      <a:gd name="T27" fmla="*/ 0 h 321"/>
                      <a:gd name="T28" fmla="*/ 3 w 1268"/>
                      <a:gd name="T29" fmla="*/ 0 h 321"/>
                      <a:gd name="T30" fmla="*/ 3 w 1268"/>
                      <a:gd name="T31" fmla="*/ 0 h 321"/>
                      <a:gd name="T32" fmla="*/ 3 w 1268"/>
                      <a:gd name="T33" fmla="*/ 1 h 321"/>
                      <a:gd name="T34" fmla="*/ 2 w 1268"/>
                      <a:gd name="T35" fmla="*/ 1 h 321"/>
                      <a:gd name="T36" fmla="*/ 2 w 1268"/>
                      <a:gd name="T37" fmla="*/ 1 h 321"/>
                      <a:gd name="T38" fmla="*/ 2 w 1268"/>
                      <a:gd name="T39" fmla="*/ 1 h 321"/>
                      <a:gd name="T40" fmla="*/ 2 w 1268"/>
                      <a:gd name="T41" fmla="*/ 1 h 321"/>
                      <a:gd name="T42" fmla="*/ 2 w 1268"/>
                      <a:gd name="T43" fmla="*/ 1 h 321"/>
                      <a:gd name="T44" fmla="*/ 2 w 1268"/>
                      <a:gd name="T45" fmla="*/ 1 h 321"/>
                      <a:gd name="T46" fmla="*/ 2 w 1268"/>
                      <a:gd name="T47" fmla="*/ 1 h 321"/>
                      <a:gd name="T48" fmla="*/ 2 w 1268"/>
                      <a:gd name="T49" fmla="*/ 1 h 321"/>
                      <a:gd name="T50" fmla="*/ 2 w 1268"/>
                      <a:gd name="T51" fmla="*/ 1 h 321"/>
                      <a:gd name="T52" fmla="*/ 1 w 1268"/>
                      <a:gd name="T53" fmla="*/ 1 h 321"/>
                      <a:gd name="T54" fmla="*/ 1 w 1268"/>
                      <a:gd name="T55" fmla="*/ 1 h 321"/>
                      <a:gd name="T56" fmla="*/ 1 w 1268"/>
                      <a:gd name="T57" fmla="*/ 1 h 321"/>
                      <a:gd name="T58" fmla="*/ 1 w 1268"/>
                      <a:gd name="T59" fmla="*/ 1 h 321"/>
                      <a:gd name="T60" fmla="*/ 0 w 1268"/>
                      <a:gd name="T61" fmla="*/ 1 h 321"/>
                      <a:gd name="T62" fmla="*/ 0 w 1268"/>
                      <a:gd name="T63" fmla="*/ 1 h 321"/>
                      <a:gd name="T64" fmla="*/ 0 w 1268"/>
                      <a:gd name="T65" fmla="*/ 1 h 321"/>
                      <a:gd name="T66" fmla="*/ 0 w 1268"/>
                      <a:gd name="T67" fmla="*/ 1 h 321"/>
                      <a:gd name="T68" fmla="*/ 1 w 1268"/>
                      <a:gd name="T69" fmla="*/ 1 h 321"/>
                      <a:gd name="T70" fmla="*/ 1 w 1268"/>
                      <a:gd name="T71" fmla="*/ 1 h 321"/>
                      <a:gd name="T72" fmla="*/ 1 w 1268"/>
                      <a:gd name="T73" fmla="*/ 1 h 321"/>
                      <a:gd name="T74" fmla="*/ 1 w 1268"/>
                      <a:gd name="T75" fmla="*/ 1 h 321"/>
                      <a:gd name="T76" fmla="*/ 1 w 1268"/>
                      <a:gd name="T77" fmla="*/ 1 h 321"/>
                      <a:gd name="T78" fmla="*/ 1 w 1268"/>
                      <a:gd name="T79" fmla="*/ 1 h 321"/>
                      <a:gd name="T80" fmla="*/ 1 w 1268"/>
                      <a:gd name="T81" fmla="*/ 1 h 321"/>
                      <a:gd name="T82" fmla="*/ 1 w 1268"/>
                      <a:gd name="T83" fmla="*/ 1 h 321"/>
                      <a:gd name="T84" fmla="*/ 1 w 1268"/>
                      <a:gd name="T85" fmla="*/ 1 h 321"/>
                      <a:gd name="T86" fmla="*/ 1 w 1268"/>
                      <a:gd name="T87" fmla="*/ 1 h 321"/>
                      <a:gd name="T88" fmla="*/ 2 w 1268"/>
                      <a:gd name="T89" fmla="*/ 1 h 321"/>
                      <a:gd name="T90" fmla="*/ 1 w 1268"/>
                      <a:gd name="T91" fmla="*/ 1 h 321"/>
                      <a:gd name="T92" fmla="*/ 1 w 1268"/>
                      <a:gd name="T93" fmla="*/ 1 h 321"/>
                      <a:gd name="T94" fmla="*/ 1 w 1268"/>
                      <a:gd name="T95" fmla="*/ 1 h 321"/>
                      <a:gd name="T96" fmla="*/ 2 w 1268"/>
                      <a:gd name="T97" fmla="*/ 1 h 321"/>
                      <a:gd name="T98" fmla="*/ 2 w 1268"/>
                      <a:gd name="T99" fmla="*/ 0 h 321"/>
                      <a:gd name="T100" fmla="*/ 2 w 1268"/>
                      <a:gd name="T101" fmla="*/ 0 h 321"/>
                      <a:gd name="T102" fmla="*/ 2 w 1268"/>
                      <a:gd name="T103" fmla="*/ 0 h 321"/>
                      <a:gd name="T104" fmla="*/ 2 w 1268"/>
                      <a:gd name="T105" fmla="*/ 0 h 321"/>
                      <a:gd name="T106" fmla="*/ 1 w 1268"/>
                      <a:gd name="T107" fmla="*/ 0 h 321"/>
                      <a:gd name="T108" fmla="*/ 1 w 1268"/>
                      <a:gd name="T109" fmla="*/ 0 h 321"/>
                      <a:gd name="T110" fmla="*/ 1 w 1268"/>
                      <a:gd name="T111" fmla="*/ 0 h 321"/>
                      <a:gd name="T112" fmla="*/ 1 w 1268"/>
                      <a:gd name="T113" fmla="*/ 0 h 321"/>
                      <a:gd name="T114" fmla="*/ 2 w 1268"/>
                      <a:gd name="T115" fmla="*/ 0 h 321"/>
                      <a:gd name="T116" fmla="*/ 2 w 1268"/>
                      <a:gd name="T117" fmla="*/ 0 h 321"/>
                      <a:gd name="T118" fmla="*/ 2 w 1268"/>
                      <a:gd name="T119" fmla="*/ 0 h 321"/>
                      <a:gd name="T120" fmla="*/ 3 w 1268"/>
                      <a:gd name="T121" fmla="*/ 0 h 321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w 1268"/>
                      <a:gd name="T184" fmla="*/ 0 h 321"/>
                      <a:gd name="T185" fmla="*/ 1268 w 1268"/>
                      <a:gd name="T186" fmla="*/ 321 h 321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T183" t="T184" r="T185" b="T186"/>
                    <a:pathLst>
                      <a:path w="1268" h="321">
                        <a:moveTo>
                          <a:pt x="764" y="26"/>
                        </a:moveTo>
                        <a:lnTo>
                          <a:pt x="770" y="30"/>
                        </a:lnTo>
                        <a:lnTo>
                          <a:pt x="778" y="34"/>
                        </a:lnTo>
                        <a:lnTo>
                          <a:pt x="787" y="37"/>
                        </a:lnTo>
                        <a:lnTo>
                          <a:pt x="797" y="38"/>
                        </a:lnTo>
                        <a:lnTo>
                          <a:pt x="797" y="35"/>
                        </a:lnTo>
                        <a:lnTo>
                          <a:pt x="799" y="31"/>
                        </a:lnTo>
                        <a:lnTo>
                          <a:pt x="803" y="26"/>
                        </a:lnTo>
                        <a:lnTo>
                          <a:pt x="807" y="20"/>
                        </a:lnTo>
                        <a:lnTo>
                          <a:pt x="813" y="16"/>
                        </a:lnTo>
                        <a:lnTo>
                          <a:pt x="819" y="11"/>
                        </a:lnTo>
                        <a:lnTo>
                          <a:pt x="828" y="9"/>
                        </a:lnTo>
                        <a:lnTo>
                          <a:pt x="837" y="8"/>
                        </a:lnTo>
                        <a:lnTo>
                          <a:pt x="841" y="8"/>
                        </a:lnTo>
                        <a:lnTo>
                          <a:pt x="846" y="10"/>
                        </a:lnTo>
                        <a:lnTo>
                          <a:pt x="850" y="13"/>
                        </a:lnTo>
                        <a:lnTo>
                          <a:pt x="853" y="17"/>
                        </a:lnTo>
                        <a:lnTo>
                          <a:pt x="858" y="20"/>
                        </a:lnTo>
                        <a:lnTo>
                          <a:pt x="861" y="23"/>
                        </a:lnTo>
                        <a:lnTo>
                          <a:pt x="865" y="25"/>
                        </a:lnTo>
                        <a:lnTo>
                          <a:pt x="870" y="26"/>
                        </a:lnTo>
                        <a:lnTo>
                          <a:pt x="888" y="25"/>
                        </a:lnTo>
                        <a:lnTo>
                          <a:pt x="906" y="22"/>
                        </a:lnTo>
                        <a:lnTo>
                          <a:pt x="921" y="18"/>
                        </a:lnTo>
                        <a:lnTo>
                          <a:pt x="938" y="14"/>
                        </a:lnTo>
                        <a:lnTo>
                          <a:pt x="953" y="9"/>
                        </a:lnTo>
                        <a:lnTo>
                          <a:pt x="970" y="4"/>
                        </a:lnTo>
                        <a:lnTo>
                          <a:pt x="988" y="2"/>
                        </a:lnTo>
                        <a:lnTo>
                          <a:pt x="1009" y="0"/>
                        </a:lnTo>
                        <a:lnTo>
                          <a:pt x="1020" y="1"/>
                        </a:lnTo>
                        <a:lnTo>
                          <a:pt x="1032" y="3"/>
                        </a:lnTo>
                        <a:lnTo>
                          <a:pt x="1045" y="7"/>
                        </a:lnTo>
                        <a:lnTo>
                          <a:pt x="1059" y="11"/>
                        </a:lnTo>
                        <a:lnTo>
                          <a:pt x="1072" y="14"/>
                        </a:lnTo>
                        <a:lnTo>
                          <a:pt x="1084" y="17"/>
                        </a:lnTo>
                        <a:lnTo>
                          <a:pt x="1094" y="19"/>
                        </a:lnTo>
                        <a:lnTo>
                          <a:pt x="1103" y="20"/>
                        </a:lnTo>
                        <a:lnTo>
                          <a:pt x="1115" y="20"/>
                        </a:lnTo>
                        <a:lnTo>
                          <a:pt x="1123" y="20"/>
                        </a:lnTo>
                        <a:lnTo>
                          <a:pt x="1133" y="20"/>
                        </a:lnTo>
                        <a:lnTo>
                          <a:pt x="1149" y="20"/>
                        </a:lnTo>
                        <a:lnTo>
                          <a:pt x="1180" y="21"/>
                        </a:lnTo>
                        <a:lnTo>
                          <a:pt x="1209" y="23"/>
                        </a:lnTo>
                        <a:lnTo>
                          <a:pt x="1236" y="27"/>
                        </a:lnTo>
                        <a:lnTo>
                          <a:pt x="1268" y="32"/>
                        </a:lnTo>
                        <a:lnTo>
                          <a:pt x="1266" y="36"/>
                        </a:lnTo>
                        <a:lnTo>
                          <a:pt x="1263" y="39"/>
                        </a:lnTo>
                        <a:lnTo>
                          <a:pt x="1258" y="42"/>
                        </a:lnTo>
                        <a:lnTo>
                          <a:pt x="1253" y="45"/>
                        </a:lnTo>
                        <a:lnTo>
                          <a:pt x="1242" y="50"/>
                        </a:lnTo>
                        <a:lnTo>
                          <a:pt x="1229" y="54"/>
                        </a:lnTo>
                        <a:lnTo>
                          <a:pt x="1213" y="57"/>
                        </a:lnTo>
                        <a:lnTo>
                          <a:pt x="1198" y="59"/>
                        </a:lnTo>
                        <a:lnTo>
                          <a:pt x="1180" y="62"/>
                        </a:lnTo>
                        <a:lnTo>
                          <a:pt x="1163" y="64"/>
                        </a:lnTo>
                        <a:lnTo>
                          <a:pt x="1128" y="66"/>
                        </a:lnTo>
                        <a:lnTo>
                          <a:pt x="1094" y="69"/>
                        </a:lnTo>
                        <a:lnTo>
                          <a:pt x="1078" y="71"/>
                        </a:lnTo>
                        <a:lnTo>
                          <a:pt x="1065" y="74"/>
                        </a:lnTo>
                        <a:lnTo>
                          <a:pt x="1053" y="77"/>
                        </a:lnTo>
                        <a:lnTo>
                          <a:pt x="1043" y="81"/>
                        </a:lnTo>
                        <a:lnTo>
                          <a:pt x="1039" y="84"/>
                        </a:lnTo>
                        <a:lnTo>
                          <a:pt x="1034" y="87"/>
                        </a:lnTo>
                        <a:lnTo>
                          <a:pt x="1031" y="91"/>
                        </a:lnTo>
                        <a:lnTo>
                          <a:pt x="1029" y="96"/>
                        </a:lnTo>
                        <a:lnTo>
                          <a:pt x="1026" y="99"/>
                        </a:lnTo>
                        <a:lnTo>
                          <a:pt x="1021" y="102"/>
                        </a:lnTo>
                        <a:lnTo>
                          <a:pt x="1016" y="105"/>
                        </a:lnTo>
                        <a:lnTo>
                          <a:pt x="1009" y="105"/>
                        </a:lnTo>
                        <a:lnTo>
                          <a:pt x="999" y="104"/>
                        </a:lnTo>
                        <a:lnTo>
                          <a:pt x="991" y="102"/>
                        </a:lnTo>
                        <a:lnTo>
                          <a:pt x="983" y="98"/>
                        </a:lnTo>
                        <a:lnTo>
                          <a:pt x="976" y="93"/>
                        </a:lnTo>
                        <a:lnTo>
                          <a:pt x="943" y="93"/>
                        </a:lnTo>
                        <a:lnTo>
                          <a:pt x="942" y="102"/>
                        </a:lnTo>
                        <a:lnTo>
                          <a:pt x="939" y="110"/>
                        </a:lnTo>
                        <a:lnTo>
                          <a:pt x="937" y="113"/>
                        </a:lnTo>
                        <a:lnTo>
                          <a:pt x="935" y="115"/>
                        </a:lnTo>
                        <a:lnTo>
                          <a:pt x="932" y="118"/>
                        </a:lnTo>
                        <a:lnTo>
                          <a:pt x="930" y="118"/>
                        </a:lnTo>
                        <a:lnTo>
                          <a:pt x="902" y="119"/>
                        </a:lnTo>
                        <a:lnTo>
                          <a:pt x="862" y="120"/>
                        </a:lnTo>
                        <a:lnTo>
                          <a:pt x="818" y="124"/>
                        </a:lnTo>
                        <a:lnTo>
                          <a:pt x="771" y="129"/>
                        </a:lnTo>
                        <a:lnTo>
                          <a:pt x="747" y="133"/>
                        </a:lnTo>
                        <a:lnTo>
                          <a:pt x="725" y="137"/>
                        </a:lnTo>
                        <a:lnTo>
                          <a:pt x="703" y="143"/>
                        </a:lnTo>
                        <a:lnTo>
                          <a:pt x="683" y="149"/>
                        </a:lnTo>
                        <a:lnTo>
                          <a:pt x="674" y="153"/>
                        </a:lnTo>
                        <a:lnTo>
                          <a:pt x="666" y="156"/>
                        </a:lnTo>
                        <a:lnTo>
                          <a:pt x="658" y="160"/>
                        </a:lnTo>
                        <a:lnTo>
                          <a:pt x="651" y="165"/>
                        </a:lnTo>
                        <a:lnTo>
                          <a:pt x="645" y="169"/>
                        </a:lnTo>
                        <a:lnTo>
                          <a:pt x="639" y="175"/>
                        </a:lnTo>
                        <a:lnTo>
                          <a:pt x="635" y="181"/>
                        </a:lnTo>
                        <a:lnTo>
                          <a:pt x="630" y="186"/>
                        </a:lnTo>
                        <a:lnTo>
                          <a:pt x="604" y="186"/>
                        </a:lnTo>
                        <a:lnTo>
                          <a:pt x="604" y="177"/>
                        </a:lnTo>
                        <a:lnTo>
                          <a:pt x="604" y="167"/>
                        </a:lnTo>
                        <a:lnTo>
                          <a:pt x="591" y="167"/>
                        </a:lnTo>
                        <a:lnTo>
                          <a:pt x="579" y="167"/>
                        </a:lnTo>
                        <a:lnTo>
                          <a:pt x="562" y="167"/>
                        </a:lnTo>
                        <a:lnTo>
                          <a:pt x="538" y="167"/>
                        </a:lnTo>
                        <a:lnTo>
                          <a:pt x="556" y="175"/>
                        </a:lnTo>
                        <a:lnTo>
                          <a:pt x="570" y="181"/>
                        </a:lnTo>
                        <a:lnTo>
                          <a:pt x="577" y="185"/>
                        </a:lnTo>
                        <a:lnTo>
                          <a:pt x="583" y="190"/>
                        </a:lnTo>
                        <a:lnTo>
                          <a:pt x="591" y="196"/>
                        </a:lnTo>
                        <a:lnTo>
                          <a:pt x="597" y="204"/>
                        </a:lnTo>
                        <a:lnTo>
                          <a:pt x="590" y="207"/>
                        </a:lnTo>
                        <a:lnTo>
                          <a:pt x="581" y="212"/>
                        </a:lnTo>
                        <a:lnTo>
                          <a:pt x="571" y="218"/>
                        </a:lnTo>
                        <a:lnTo>
                          <a:pt x="562" y="225"/>
                        </a:lnTo>
                        <a:lnTo>
                          <a:pt x="552" y="232"/>
                        </a:lnTo>
                        <a:lnTo>
                          <a:pt x="545" y="237"/>
                        </a:lnTo>
                        <a:lnTo>
                          <a:pt x="537" y="240"/>
                        </a:lnTo>
                        <a:lnTo>
                          <a:pt x="532" y="241"/>
                        </a:lnTo>
                        <a:lnTo>
                          <a:pt x="517" y="241"/>
                        </a:lnTo>
                        <a:lnTo>
                          <a:pt x="502" y="238"/>
                        </a:lnTo>
                        <a:lnTo>
                          <a:pt x="483" y="236"/>
                        </a:lnTo>
                        <a:lnTo>
                          <a:pt x="458" y="235"/>
                        </a:lnTo>
                        <a:lnTo>
                          <a:pt x="442" y="236"/>
                        </a:lnTo>
                        <a:lnTo>
                          <a:pt x="427" y="237"/>
                        </a:lnTo>
                        <a:lnTo>
                          <a:pt x="415" y="240"/>
                        </a:lnTo>
                        <a:lnTo>
                          <a:pt x="404" y="242"/>
                        </a:lnTo>
                        <a:lnTo>
                          <a:pt x="384" y="248"/>
                        </a:lnTo>
                        <a:lnTo>
                          <a:pt x="365" y="254"/>
                        </a:lnTo>
                        <a:lnTo>
                          <a:pt x="382" y="257"/>
                        </a:lnTo>
                        <a:lnTo>
                          <a:pt x="394" y="258"/>
                        </a:lnTo>
                        <a:lnTo>
                          <a:pt x="405" y="257"/>
                        </a:lnTo>
                        <a:lnTo>
                          <a:pt x="418" y="254"/>
                        </a:lnTo>
                        <a:lnTo>
                          <a:pt x="418" y="272"/>
                        </a:lnTo>
                        <a:lnTo>
                          <a:pt x="413" y="277"/>
                        </a:lnTo>
                        <a:lnTo>
                          <a:pt x="404" y="285"/>
                        </a:lnTo>
                        <a:lnTo>
                          <a:pt x="392" y="293"/>
                        </a:lnTo>
                        <a:lnTo>
                          <a:pt x="379" y="301"/>
                        </a:lnTo>
                        <a:lnTo>
                          <a:pt x="356" y="315"/>
                        </a:lnTo>
                        <a:lnTo>
                          <a:pt x="345" y="321"/>
                        </a:lnTo>
                        <a:lnTo>
                          <a:pt x="339" y="321"/>
                        </a:lnTo>
                        <a:lnTo>
                          <a:pt x="333" y="320"/>
                        </a:lnTo>
                        <a:lnTo>
                          <a:pt x="327" y="318"/>
                        </a:lnTo>
                        <a:lnTo>
                          <a:pt x="322" y="315"/>
                        </a:lnTo>
                        <a:lnTo>
                          <a:pt x="312" y="310"/>
                        </a:lnTo>
                        <a:lnTo>
                          <a:pt x="301" y="303"/>
                        </a:lnTo>
                        <a:lnTo>
                          <a:pt x="290" y="296"/>
                        </a:lnTo>
                        <a:lnTo>
                          <a:pt x="279" y="290"/>
                        </a:lnTo>
                        <a:lnTo>
                          <a:pt x="272" y="288"/>
                        </a:lnTo>
                        <a:lnTo>
                          <a:pt x="266" y="286"/>
                        </a:lnTo>
                        <a:lnTo>
                          <a:pt x="259" y="285"/>
                        </a:lnTo>
                        <a:lnTo>
                          <a:pt x="253" y="285"/>
                        </a:lnTo>
                        <a:lnTo>
                          <a:pt x="215" y="283"/>
                        </a:lnTo>
                        <a:lnTo>
                          <a:pt x="182" y="281"/>
                        </a:lnTo>
                        <a:lnTo>
                          <a:pt x="152" y="279"/>
                        </a:lnTo>
                        <a:lnTo>
                          <a:pt x="123" y="277"/>
                        </a:lnTo>
                        <a:lnTo>
                          <a:pt x="96" y="276"/>
                        </a:lnTo>
                        <a:lnTo>
                          <a:pt x="66" y="276"/>
                        </a:lnTo>
                        <a:lnTo>
                          <a:pt x="51" y="277"/>
                        </a:lnTo>
                        <a:lnTo>
                          <a:pt x="35" y="279"/>
                        </a:lnTo>
                        <a:lnTo>
                          <a:pt x="18" y="281"/>
                        </a:lnTo>
                        <a:lnTo>
                          <a:pt x="0" y="285"/>
                        </a:lnTo>
                        <a:lnTo>
                          <a:pt x="0" y="281"/>
                        </a:lnTo>
                        <a:lnTo>
                          <a:pt x="1" y="277"/>
                        </a:lnTo>
                        <a:lnTo>
                          <a:pt x="2" y="274"/>
                        </a:lnTo>
                        <a:lnTo>
                          <a:pt x="5" y="271"/>
                        </a:lnTo>
                        <a:lnTo>
                          <a:pt x="10" y="266"/>
                        </a:lnTo>
                        <a:lnTo>
                          <a:pt x="17" y="261"/>
                        </a:lnTo>
                        <a:lnTo>
                          <a:pt x="25" y="257"/>
                        </a:lnTo>
                        <a:lnTo>
                          <a:pt x="35" y="253"/>
                        </a:lnTo>
                        <a:lnTo>
                          <a:pt x="45" y="249"/>
                        </a:lnTo>
                        <a:lnTo>
                          <a:pt x="56" y="246"/>
                        </a:lnTo>
                        <a:lnTo>
                          <a:pt x="79" y="241"/>
                        </a:lnTo>
                        <a:lnTo>
                          <a:pt x="101" y="238"/>
                        </a:lnTo>
                        <a:lnTo>
                          <a:pt x="120" y="236"/>
                        </a:lnTo>
                        <a:lnTo>
                          <a:pt x="133" y="235"/>
                        </a:lnTo>
                        <a:lnTo>
                          <a:pt x="143" y="235"/>
                        </a:lnTo>
                        <a:lnTo>
                          <a:pt x="159" y="235"/>
                        </a:lnTo>
                        <a:lnTo>
                          <a:pt x="162" y="235"/>
                        </a:lnTo>
                        <a:lnTo>
                          <a:pt x="164" y="233"/>
                        </a:lnTo>
                        <a:lnTo>
                          <a:pt x="167" y="230"/>
                        </a:lnTo>
                        <a:lnTo>
                          <a:pt x="170" y="225"/>
                        </a:lnTo>
                        <a:lnTo>
                          <a:pt x="174" y="222"/>
                        </a:lnTo>
                        <a:lnTo>
                          <a:pt x="177" y="219"/>
                        </a:lnTo>
                        <a:lnTo>
                          <a:pt x="181" y="217"/>
                        </a:lnTo>
                        <a:lnTo>
                          <a:pt x="186" y="216"/>
                        </a:lnTo>
                        <a:lnTo>
                          <a:pt x="190" y="217"/>
                        </a:lnTo>
                        <a:lnTo>
                          <a:pt x="196" y="218"/>
                        </a:lnTo>
                        <a:lnTo>
                          <a:pt x="200" y="219"/>
                        </a:lnTo>
                        <a:lnTo>
                          <a:pt x="203" y="221"/>
                        </a:lnTo>
                        <a:lnTo>
                          <a:pt x="211" y="226"/>
                        </a:lnTo>
                        <a:lnTo>
                          <a:pt x="219" y="232"/>
                        </a:lnTo>
                        <a:lnTo>
                          <a:pt x="226" y="238"/>
                        </a:lnTo>
                        <a:lnTo>
                          <a:pt x="234" y="243"/>
                        </a:lnTo>
                        <a:lnTo>
                          <a:pt x="238" y="245"/>
                        </a:lnTo>
                        <a:lnTo>
                          <a:pt x="243" y="246"/>
                        </a:lnTo>
                        <a:lnTo>
                          <a:pt x="247" y="247"/>
                        </a:lnTo>
                        <a:lnTo>
                          <a:pt x="253" y="247"/>
                        </a:lnTo>
                        <a:lnTo>
                          <a:pt x="253" y="204"/>
                        </a:lnTo>
                        <a:lnTo>
                          <a:pt x="232" y="206"/>
                        </a:lnTo>
                        <a:lnTo>
                          <a:pt x="212" y="207"/>
                        </a:lnTo>
                        <a:lnTo>
                          <a:pt x="208" y="207"/>
                        </a:lnTo>
                        <a:lnTo>
                          <a:pt x="204" y="207"/>
                        </a:lnTo>
                        <a:lnTo>
                          <a:pt x="201" y="206"/>
                        </a:lnTo>
                        <a:lnTo>
                          <a:pt x="198" y="204"/>
                        </a:lnTo>
                        <a:lnTo>
                          <a:pt x="196" y="202"/>
                        </a:lnTo>
                        <a:lnTo>
                          <a:pt x="193" y="200"/>
                        </a:lnTo>
                        <a:lnTo>
                          <a:pt x="192" y="196"/>
                        </a:lnTo>
                        <a:lnTo>
                          <a:pt x="192" y="192"/>
                        </a:lnTo>
                        <a:lnTo>
                          <a:pt x="193" y="188"/>
                        </a:lnTo>
                        <a:lnTo>
                          <a:pt x="194" y="184"/>
                        </a:lnTo>
                        <a:lnTo>
                          <a:pt x="197" y="181"/>
                        </a:lnTo>
                        <a:lnTo>
                          <a:pt x="199" y="179"/>
                        </a:lnTo>
                        <a:lnTo>
                          <a:pt x="205" y="176"/>
                        </a:lnTo>
                        <a:lnTo>
                          <a:pt x="214" y="174"/>
                        </a:lnTo>
                        <a:lnTo>
                          <a:pt x="232" y="172"/>
                        </a:lnTo>
                        <a:lnTo>
                          <a:pt x="246" y="174"/>
                        </a:lnTo>
                        <a:lnTo>
                          <a:pt x="265" y="176"/>
                        </a:lnTo>
                        <a:lnTo>
                          <a:pt x="290" y="180"/>
                        </a:lnTo>
                        <a:lnTo>
                          <a:pt x="315" y="184"/>
                        </a:lnTo>
                        <a:lnTo>
                          <a:pt x="338" y="186"/>
                        </a:lnTo>
                        <a:lnTo>
                          <a:pt x="365" y="186"/>
                        </a:lnTo>
                        <a:lnTo>
                          <a:pt x="386" y="184"/>
                        </a:lnTo>
                        <a:lnTo>
                          <a:pt x="394" y="183"/>
                        </a:lnTo>
                        <a:lnTo>
                          <a:pt x="403" y="181"/>
                        </a:lnTo>
                        <a:lnTo>
                          <a:pt x="411" y="178"/>
                        </a:lnTo>
                        <a:lnTo>
                          <a:pt x="418" y="174"/>
                        </a:lnTo>
                        <a:lnTo>
                          <a:pt x="379" y="172"/>
                        </a:lnTo>
                        <a:lnTo>
                          <a:pt x="344" y="172"/>
                        </a:lnTo>
                        <a:lnTo>
                          <a:pt x="336" y="172"/>
                        </a:lnTo>
                        <a:lnTo>
                          <a:pt x="328" y="171"/>
                        </a:lnTo>
                        <a:lnTo>
                          <a:pt x="322" y="169"/>
                        </a:lnTo>
                        <a:lnTo>
                          <a:pt x="315" y="167"/>
                        </a:lnTo>
                        <a:lnTo>
                          <a:pt x="310" y="164"/>
                        </a:lnTo>
                        <a:lnTo>
                          <a:pt x="305" y="160"/>
                        </a:lnTo>
                        <a:lnTo>
                          <a:pt x="302" y="155"/>
                        </a:lnTo>
                        <a:lnTo>
                          <a:pt x="299" y="149"/>
                        </a:lnTo>
                        <a:lnTo>
                          <a:pt x="309" y="145"/>
                        </a:lnTo>
                        <a:lnTo>
                          <a:pt x="320" y="142"/>
                        </a:lnTo>
                        <a:lnTo>
                          <a:pt x="331" y="140"/>
                        </a:lnTo>
                        <a:lnTo>
                          <a:pt x="345" y="138"/>
                        </a:lnTo>
                        <a:lnTo>
                          <a:pt x="378" y="137"/>
                        </a:lnTo>
                        <a:lnTo>
                          <a:pt x="425" y="137"/>
                        </a:lnTo>
                        <a:lnTo>
                          <a:pt x="426" y="141"/>
                        </a:lnTo>
                        <a:lnTo>
                          <a:pt x="429" y="146"/>
                        </a:lnTo>
                        <a:lnTo>
                          <a:pt x="434" y="150"/>
                        </a:lnTo>
                        <a:lnTo>
                          <a:pt x="438" y="155"/>
                        </a:lnTo>
                        <a:lnTo>
                          <a:pt x="484" y="155"/>
                        </a:lnTo>
                        <a:lnTo>
                          <a:pt x="483" y="146"/>
                        </a:lnTo>
                        <a:lnTo>
                          <a:pt x="481" y="137"/>
                        </a:lnTo>
                        <a:lnTo>
                          <a:pt x="479" y="130"/>
                        </a:lnTo>
                        <a:lnTo>
                          <a:pt x="478" y="124"/>
                        </a:lnTo>
                        <a:lnTo>
                          <a:pt x="645" y="124"/>
                        </a:lnTo>
                        <a:lnTo>
                          <a:pt x="648" y="109"/>
                        </a:lnTo>
                        <a:lnTo>
                          <a:pt x="651" y="101"/>
                        </a:lnTo>
                        <a:lnTo>
                          <a:pt x="657" y="95"/>
                        </a:lnTo>
                        <a:lnTo>
                          <a:pt x="664" y="87"/>
                        </a:lnTo>
                        <a:lnTo>
                          <a:pt x="653" y="91"/>
                        </a:lnTo>
                        <a:lnTo>
                          <a:pt x="638" y="99"/>
                        </a:lnTo>
                        <a:lnTo>
                          <a:pt x="622" y="108"/>
                        </a:lnTo>
                        <a:lnTo>
                          <a:pt x="611" y="111"/>
                        </a:lnTo>
                        <a:lnTo>
                          <a:pt x="589" y="110"/>
                        </a:lnTo>
                        <a:lnTo>
                          <a:pt x="556" y="108"/>
                        </a:lnTo>
                        <a:lnTo>
                          <a:pt x="522" y="106"/>
                        </a:lnTo>
                        <a:lnTo>
                          <a:pt x="491" y="105"/>
                        </a:lnTo>
                        <a:lnTo>
                          <a:pt x="476" y="107"/>
                        </a:lnTo>
                        <a:lnTo>
                          <a:pt x="449" y="111"/>
                        </a:lnTo>
                        <a:lnTo>
                          <a:pt x="414" y="115"/>
                        </a:lnTo>
                        <a:lnTo>
                          <a:pt x="376" y="119"/>
                        </a:lnTo>
                        <a:lnTo>
                          <a:pt x="355" y="120"/>
                        </a:lnTo>
                        <a:lnTo>
                          <a:pt x="333" y="119"/>
                        </a:lnTo>
                        <a:lnTo>
                          <a:pt x="312" y="116"/>
                        </a:lnTo>
                        <a:lnTo>
                          <a:pt x="291" y="113"/>
                        </a:lnTo>
                        <a:lnTo>
                          <a:pt x="281" y="111"/>
                        </a:lnTo>
                        <a:lnTo>
                          <a:pt x="271" y="108"/>
                        </a:lnTo>
                        <a:lnTo>
                          <a:pt x="261" y="105"/>
                        </a:lnTo>
                        <a:lnTo>
                          <a:pt x="253" y="101"/>
                        </a:lnTo>
                        <a:lnTo>
                          <a:pt x="244" y="97"/>
                        </a:lnTo>
                        <a:lnTo>
                          <a:pt x="235" y="92"/>
                        </a:lnTo>
                        <a:lnTo>
                          <a:pt x="226" y="87"/>
                        </a:lnTo>
                        <a:lnTo>
                          <a:pt x="219" y="81"/>
                        </a:lnTo>
                        <a:lnTo>
                          <a:pt x="219" y="80"/>
                        </a:lnTo>
                        <a:lnTo>
                          <a:pt x="221" y="79"/>
                        </a:lnTo>
                        <a:lnTo>
                          <a:pt x="223" y="78"/>
                        </a:lnTo>
                        <a:lnTo>
                          <a:pt x="227" y="76"/>
                        </a:lnTo>
                        <a:lnTo>
                          <a:pt x="238" y="74"/>
                        </a:lnTo>
                        <a:lnTo>
                          <a:pt x="253" y="71"/>
                        </a:lnTo>
                        <a:lnTo>
                          <a:pt x="290" y="66"/>
                        </a:lnTo>
                        <a:lnTo>
                          <a:pt x="334" y="60"/>
                        </a:lnTo>
                        <a:lnTo>
                          <a:pt x="378" y="55"/>
                        </a:lnTo>
                        <a:lnTo>
                          <a:pt x="417" y="50"/>
                        </a:lnTo>
                        <a:lnTo>
                          <a:pt x="446" y="47"/>
                        </a:lnTo>
                        <a:lnTo>
                          <a:pt x="458" y="44"/>
                        </a:lnTo>
                        <a:lnTo>
                          <a:pt x="545" y="44"/>
                        </a:lnTo>
                        <a:lnTo>
                          <a:pt x="591" y="32"/>
                        </a:lnTo>
                        <a:lnTo>
                          <a:pt x="605" y="33"/>
                        </a:lnTo>
                        <a:lnTo>
                          <a:pt x="618" y="32"/>
                        </a:lnTo>
                        <a:lnTo>
                          <a:pt x="631" y="31"/>
                        </a:lnTo>
                        <a:lnTo>
                          <a:pt x="642" y="28"/>
                        </a:lnTo>
                        <a:lnTo>
                          <a:pt x="653" y="25"/>
                        </a:lnTo>
                        <a:lnTo>
                          <a:pt x="664" y="22"/>
                        </a:lnTo>
                        <a:lnTo>
                          <a:pt x="674" y="20"/>
                        </a:lnTo>
                        <a:lnTo>
                          <a:pt x="684" y="20"/>
                        </a:lnTo>
                        <a:lnTo>
                          <a:pt x="707" y="21"/>
                        </a:lnTo>
                        <a:lnTo>
                          <a:pt x="723" y="23"/>
                        </a:lnTo>
                        <a:lnTo>
                          <a:pt x="737" y="25"/>
                        </a:lnTo>
                        <a:lnTo>
                          <a:pt x="757" y="26"/>
                        </a:lnTo>
                        <a:lnTo>
                          <a:pt x="764" y="26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71" name="Freeform 418">
                    <a:extLst>
                      <a:ext uri="{FF2B5EF4-FFF2-40B4-BE49-F238E27FC236}">
                        <a16:creationId xmlns:a16="http://schemas.microsoft.com/office/drawing/2014/main" xmlns="" id="{CFF3F49F-3CE1-47DD-88B8-ADC869FA4D6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3" y="1660"/>
                    <a:ext cx="51" cy="38"/>
                  </a:xfrm>
                  <a:custGeom>
                    <a:avLst/>
                    <a:gdLst>
                      <a:gd name="T0" fmla="*/ 0 w 160"/>
                      <a:gd name="T1" fmla="*/ 0 h 117"/>
                      <a:gd name="T2" fmla="*/ 0 w 160"/>
                      <a:gd name="T3" fmla="*/ 0 h 117"/>
                      <a:gd name="T4" fmla="*/ 0 w 160"/>
                      <a:gd name="T5" fmla="*/ 0 h 117"/>
                      <a:gd name="T6" fmla="*/ 0 w 160"/>
                      <a:gd name="T7" fmla="*/ 0 h 117"/>
                      <a:gd name="T8" fmla="*/ 0 w 160"/>
                      <a:gd name="T9" fmla="*/ 0 h 117"/>
                      <a:gd name="T10" fmla="*/ 0 w 160"/>
                      <a:gd name="T11" fmla="*/ 0 h 117"/>
                      <a:gd name="T12" fmla="*/ 0 w 160"/>
                      <a:gd name="T13" fmla="*/ 0 h 117"/>
                      <a:gd name="T14" fmla="*/ 0 w 160"/>
                      <a:gd name="T15" fmla="*/ 0 h 117"/>
                      <a:gd name="T16" fmla="*/ 0 w 160"/>
                      <a:gd name="T17" fmla="*/ 0 h 117"/>
                      <a:gd name="T18" fmla="*/ 0 w 160"/>
                      <a:gd name="T19" fmla="*/ 0 h 117"/>
                      <a:gd name="T20" fmla="*/ 0 w 160"/>
                      <a:gd name="T21" fmla="*/ 0 h 117"/>
                      <a:gd name="T22" fmla="*/ 0 w 160"/>
                      <a:gd name="T23" fmla="*/ 0 h 117"/>
                      <a:gd name="T24" fmla="*/ 0 w 160"/>
                      <a:gd name="T25" fmla="*/ 0 h 117"/>
                      <a:gd name="T26" fmla="*/ 0 w 160"/>
                      <a:gd name="T27" fmla="*/ 0 h 117"/>
                      <a:gd name="T28" fmla="*/ 0 w 160"/>
                      <a:gd name="T29" fmla="*/ 0 h 117"/>
                      <a:gd name="T30" fmla="*/ 0 w 160"/>
                      <a:gd name="T31" fmla="*/ 0 h 117"/>
                      <a:gd name="T32" fmla="*/ 0 w 160"/>
                      <a:gd name="T33" fmla="*/ 0 h 117"/>
                      <a:gd name="T34" fmla="*/ 0 w 160"/>
                      <a:gd name="T35" fmla="*/ 0 h 117"/>
                      <a:gd name="T36" fmla="*/ 1 w 160"/>
                      <a:gd name="T37" fmla="*/ 0 h 117"/>
                      <a:gd name="T38" fmla="*/ 1 w 160"/>
                      <a:gd name="T39" fmla="*/ 0 h 117"/>
                      <a:gd name="T40" fmla="*/ 1 w 160"/>
                      <a:gd name="T41" fmla="*/ 0 h 117"/>
                      <a:gd name="T42" fmla="*/ 1 w 160"/>
                      <a:gd name="T43" fmla="*/ 0 h 117"/>
                      <a:gd name="T44" fmla="*/ 0 w 160"/>
                      <a:gd name="T45" fmla="*/ 0 h 117"/>
                      <a:gd name="T46" fmla="*/ 0 w 160"/>
                      <a:gd name="T47" fmla="*/ 0 h 117"/>
                      <a:gd name="T48" fmla="*/ 0 w 160"/>
                      <a:gd name="T49" fmla="*/ 0 h 117"/>
                      <a:gd name="T50" fmla="*/ 0 w 160"/>
                      <a:gd name="T51" fmla="*/ 0 h 117"/>
                      <a:gd name="T52" fmla="*/ 0 w 160"/>
                      <a:gd name="T53" fmla="*/ 0 h 117"/>
                      <a:gd name="T54" fmla="*/ 0 w 160"/>
                      <a:gd name="T55" fmla="*/ 0 h 117"/>
                      <a:gd name="T56" fmla="*/ 0 w 160"/>
                      <a:gd name="T57" fmla="*/ 0 h 117"/>
                      <a:gd name="T58" fmla="*/ 0 w 160"/>
                      <a:gd name="T59" fmla="*/ 0 h 117"/>
                      <a:gd name="T60" fmla="*/ 0 w 160"/>
                      <a:gd name="T61" fmla="*/ 0 h 117"/>
                      <a:gd name="T62" fmla="*/ 0 w 160"/>
                      <a:gd name="T63" fmla="*/ 0 h 117"/>
                      <a:gd name="T64" fmla="*/ 0 w 160"/>
                      <a:gd name="T65" fmla="*/ 0 h 117"/>
                      <a:gd name="T66" fmla="*/ 0 w 160"/>
                      <a:gd name="T67" fmla="*/ 0 h 117"/>
                      <a:gd name="T68" fmla="*/ 0 w 160"/>
                      <a:gd name="T69" fmla="*/ 0 h 117"/>
                      <a:gd name="T70" fmla="*/ 0 w 160"/>
                      <a:gd name="T71" fmla="*/ 0 h 117"/>
                      <a:gd name="T72" fmla="*/ 0 w 160"/>
                      <a:gd name="T73" fmla="*/ 0 h 117"/>
                      <a:gd name="T74" fmla="*/ 0 w 160"/>
                      <a:gd name="T75" fmla="*/ 0 h 117"/>
                      <a:gd name="T76" fmla="*/ 0 w 160"/>
                      <a:gd name="T77" fmla="*/ 0 h 117"/>
                      <a:gd name="T78" fmla="*/ 0 w 160"/>
                      <a:gd name="T79" fmla="*/ 0 h 117"/>
                      <a:gd name="T80" fmla="*/ 0 w 160"/>
                      <a:gd name="T81" fmla="*/ 0 h 117"/>
                      <a:gd name="T82" fmla="*/ 0 w 160"/>
                      <a:gd name="T83" fmla="*/ 0 h 117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w 160"/>
                      <a:gd name="T127" fmla="*/ 0 h 117"/>
                      <a:gd name="T128" fmla="*/ 160 w 160"/>
                      <a:gd name="T129" fmla="*/ 117 h 117"/>
                    </a:gdLst>
                    <a:ahLst/>
                    <a:cxnLst>
                      <a:cxn ang="T84">
                        <a:pos x="T0" y="T1"/>
                      </a:cxn>
                      <a:cxn ang="T85">
                        <a:pos x="T2" y="T3"/>
                      </a:cxn>
                      <a:cxn ang="T86">
                        <a:pos x="T4" y="T5"/>
                      </a:cxn>
                      <a:cxn ang="T87">
                        <a:pos x="T6" y="T7"/>
                      </a:cxn>
                      <a:cxn ang="T88">
                        <a:pos x="T8" y="T9"/>
                      </a:cxn>
                      <a:cxn ang="T89">
                        <a:pos x="T10" y="T11"/>
                      </a:cxn>
                      <a:cxn ang="T90">
                        <a:pos x="T12" y="T13"/>
                      </a:cxn>
                      <a:cxn ang="T91">
                        <a:pos x="T14" y="T15"/>
                      </a:cxn>
                      <a:cxn ang="T92">
                        <a:pos x="T16" y="T17"/>
                      </a:cxn>
                      <a:cxn ang="T93">
                        <a:pos x="T18" y="T19"/>
                      </a:cxn>
                      <a:cxn ang="T94">
                        <a:pos x="T20" y="T21"/>
                      </a:cxn>
                      <a:cxn ang="T95">
                        <a:pos x="T22" y="T23"/>
                      </a:cxn>
                      <a:cxn ang="T96">
                        <a:pos x="T24" y="T25"/>
                      </a:cxn>
                      <a:cxn ang="T97">
                        <a:pos x="T26" y="T27"/>
                      </a:cxn>
                      <a:cxn ang="T98">
                        <a:pos x="T28" y="T29"/>
                      </a:cxn>
                      <a:cxn ang="T99">
                        <a:pos x="T30" y="T31"/>
                      </a:cxn>
                      <a:cxn ang="T100">
                        <a:pos x="T32" y="T33"/>
                      </a:cxn>
                      <a:cxn ang="T101">
                        <a:pos x="T34" y="T35"/>
                      </a:cxn>
                      <a:cxn ang="T102">
                        <a:pos x="T36" y="T37"/>
                      </a:cxn>
                      <a:cxn ang="T103">
                        <a:pos x="T38" y="T39"/>
                      </a:cxn>
                      <a:cxn ang="T104">
                        <a:pos x="T40" y="T41"/>
                      </a:cxn>
                      <a:cxn ang="T105">
                        <a:pos x="T42" y="T43"/>
                      </a:cxn>
                      <a:cxn ang="T106">
                        <a:pos x="T44" y="T45"/>
                      </a:cxn>
                      <a:cxn ang="T107">
                        <a:pos x="T46" y="T47"/>
                      </a:cxn>
                      <a:cxn ang="T108">
                        <a:pos x="T48" y="T49"/>
                      </a:cxn>
                      <a:cxn ang="T109">
                        <a:pos x="T50" y="T51"/>
                      </a:cxn>
                      <a:cxn ang="T110">
                        <a:pos x="T52" y="T53"/>
                      </a:cxn>
                      <a:cxn ang="T111">
                        <a:pos x="T54" y="T55"/>
                      </a:cxn>
                      <a:cxn ang="T112">
                        <a:pos x="T56" y="T57"/>
                      </a:cxn>
                      <a:cxn ang="T113">
                        <a:pos x="T58" y="T59"/>
                      </a:cxn>
                      <a:cxn ang="T114">
                        <a:pos x="T60" y="T61"/>
                      </a:cxn>
                      <a:cxn ang="T115">
                        <a:pos x="T62" y="T63"/>
                      </a:cxn>
                      <a:cxn ang="T116">
                        <a:pos x="T64" y="T65"/>
                      </a:cxn>
                      <a:cxn ang="T117">
                        <a:pos x="T66" y="T67"/>
                      </a:cxn>
                      <a:cxn ang="T118">
                        <a:pos x="T68" y="T69"/>
                      </a:cxn>
                      <a:cxn ang="T119">
                        <a:pos x="T70" y="T71"/>
                      </a:cxn>
                      <a:cxn ang="T120">
                        <a:pos x="T72" y="T73"/>
                      </a:cxn>
                      <a:cxn ang="T121">
                        <a:pos x="T74" y="T75"/>
                      </a:cxn>
                      <a:cxn ang="T122">
                        <a:pos x="T76" y="T77"/>
                      </a:cxn>
                      <a:cxn ang="T123">
                        <a:pos x="T78" y="T79"/>
                      </a:cxn>
                      <a:cxn ang="T124">
                        <a:pos x="T80" y="T81"/>
                      </a:cxn>
                      <a:cxn ang="T125">
                        <a:pos x="T82" y="T83"/>
                      </a:cxn>
                    </a:cxnLst>
                    <a:rect l="T126" t="T127" r="T128" b="T129"/>
                    <a:pathLst>
                      <a:path w="160" h="117">
                        <a:moveTo>
                          <a:pt x="0" y="0"/>
                        </a:moveTo>
                        <a:lnTo>
                          <a:pt x="1" y="10"/>
                        </a:lnTo>
                        <a:lnTo>
                          <a:pt x="4" y="19"/>
                        </a:lnTo>
                        <a:lnTo>
                          <a:pt x="9" y="29"/>
                        </a:lnTo>
                        <a:lnTo>
                          <a:pt x="15" y="39"/>
                        </a:lnTo>
                        <a:lnTo>
                          <a:pt x="22" y="48"/>
                        </a:lnTo>
                        <a:lnTo>
                          <a:pt x="31" y="59"/>
                        </a:lnTo>
                        <a:lnTo>
                          <a:pt x="41" y="68"/>
                        </a:lnTo>
                        <a:lnTo>
                          <a:pt x="51" y="77"/>
                        </a:lnTo>
                        <a:lnTo>
                          <a:pt x="62" y="85"/>
                        </a:lnTo>
                        <a:lnTo>
                          <a:pt x="73" y="93"/>
                        </a:lnTo>
                        <a:lnTo>
                          <a:pt x="84" y="99"/>
                        </a:lnTo>
                        <a:lnTo>
                          <a:pt x="95" y="105"/>
                        </a:lnTo>
                        <a:lnTo>
                          <a:pt x="106" y="111"/>
                        </a:lnTo>
                        <a:lnTo>
                          <a:pt x="116" y="114"/>
                        </a:lnTo>
                        <a:lnTo>
                          <a:pt x="124" y="117"/>
                        </a:lnTo>
                        <a:lnTo>
                          <a:pt x="133" y="117"/>
                        </a:lnTo>
                        <a:lnTo>
                          <a:pt x="139" y="116"/>
                        </a:lnTo>
                        <a:lnTo>
                          <a:pt x="146" y="113"/>
                        </a:lnTo>
                        <a:lnTo>
                          <a:pt x="153" y="110"/>
                        </a:lnTo>
                        <a:lnTo>
                          <a:pt x="160" y="104"/>
                        </a:lnTo>
                        <a:lnTo>
                          <a:pt x="150" y="91"/>
                        </a:lnTo>
                        <a:lnTo>
                          <a:pt x="141" y="79"/>
                        </a:lnTo>
                        <a:lnTo>
                          <a:pt x="138" y="73"/>
                        </a:lnTo>
                        <a:lnTo>
                          <a:pt x="135" y="66"/>
                        </a:lnTo>
                        <a:lnTo>
                          <a:pt x="133" y="58"/>
                        </a:lnTo>
                        <a:lnTo>
                          <a:pt x="133" y="49"/>
                        </a:lnTo>
                        <a:lnTo>
                          <a:pt x="127" y="48"/>
                        </a:lnTo>
                        <a:lnTo>
                          <a:pt x="118" y="45"/>
                        </a:lnTo>
                        <a:lnTo>
                          <a:pt x="108" y="40"/>
                        </a:lnTo>
                        <a:lnTo>
                          <a:pt x="97" y="34"/>
                        </a:lnTo>
                        <a:lnTo>
                          <a:pt x="87" y="28"/>
                        </a:lnTo>
                        <a:lnTo>
                          <a:pt x="77" y="21"/>
                        </a:lnTo>
                        <a:lnTo>
                          <a:pt x="74" y="17"/>
                        </a:lnTo>
                        <a:lnTo>
                          <a:pt x="71" y="13"/>
                        </a:lnTo>
                        <a:lnTo>
                          <a:pt x="68" y="10"/>
                        </a:lnTo>
                        <a:lnTo>
                          <a:pt x="66" y="6"/>
                        </a:lnTo>
                        <a:lnTo>
                          <a:pt x="60" y="6"/>
                        </a:lnTo>
                        <a:lnTo>
                          <a:pt x="52" y="6"/>
                        </a:lnTo>
                        <a:lnTo>
                          <a:pt x="43" y="4"/>
                        </a:lnTo>
                        <a:lnTo>
                          <a:pt x="33" y="0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72" name="Freeform 419">
                    <a:extLst>
                      <a:ext uri="{FF2B5EF4-FFF2-40B4-BE49-F238E27FC236}">
                        <a16:creationId xmlns:a16="http://schemas.microsoft.com/office/drawing/2014/main" xmlns="" id="{BD54DBD0-948F-42CB-B041-D5FD05A57FF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7" y="1592"/>
                    <a:ext cx="26" cy="46"/>
                  </a:xfrm>
                  <a:custGeom>
                    <a:avLst/>
                    <a:gdLst>
                      <a:gd name="T0" fmla="*/ 0 w 80"/>
                      <a:gd name="T1" fmla="*/ 0 h 141"/>
                      <a:gd name="T2" fmla="*/ 0 w 80"/>
                      <a:gd name="T3" fmla="*/ 0 h 141"/>
                      <a:gd name="T4" fmla="*/ 0 w 80"/>
                      <a:gd name="T5" fmla="*/ 0 h 141"/>
                      <a:gd name="T6" fmla="*/ 0 w 80"/>
                      <a:gd name="T7" fmla="*/ 0 h 141"/>
                      <a:gd name="T8" fmla="*/ 0 w 80"/>
                      <a:gd name="T9" fmla="*/ 0 h 141"/>
                      <a:gd name="T10" fmla="*/ 0 w 80"/>
                      <a:gd name="T11" fmla="*/ 0 h 141"/>
                      <a:gd name="T12" fmla="*/ 0 w 80"/>
                      <a:gd name="T13" fmla="*/ 0 h 141"/>
                      <a:gd name="T14" fmla="*/ 0 w 80"/>
                      <a:gd name="T15" fmla="*/ 0 h 141"/>
                      <a:gd name="T16" fmla="*/ 0 w 80"/>
                      <a:gd name="T17" fmla="*/ 0 h 141"/>
                      <a:gd name="T18" fmla="*/ 0 w 80"/>
                      <a:gd name="T19" fmla="*/ 0 h 141"/>
                      <a:gd name="T20" fmla="*/ 0 w 80"/>
                      <a:gd name="T21" fmla="*/ 0 h 141"/>
                      <a:gd name="T22" fmla="*/ 0 w 80"/>
                      <a:gd name="T23" fmla="*/ 0 h 141"/>
                      <a:gd name="T24" fmla="*/ 0 w 80"/>
                      <a:gd name="T25" fmla="*/ 0 h 141"/>
                      <a:gd name="T26" fmla="*/ 0 w 80"/>
                      <a:gd name="T27" fmla="*/ 0 h 141"/>
                      <a:gd name="T28" fmla="*/ 0 w 80"/>
                      <a:gd name="T29" fmla="*/ 0 h 141"/>
                      <a:gd name="T30" fmla="*/ 0 w 80"/>
                      <a:gd name="T31" fmla="*/ 0 h 141"/>
                      <a:gd name="T32" fmla="*/ 0 w 80"/>
                      <a:gd name="T33" fmla="*/ 0 h 141"/>
                      <a:gd name="T34" fmla="*/ 0 w 80"/>
                      <a:gd name="T35" fmla="*/ 0 h 141"/>
                      <a:gd name="T36" fmla="*/ 0 w 80"/>
                      <a:gd name="T37" fmla="*/ 0 h 141"/>
                      <a:gd name="T38" fmla="*/ 0 w 80"/>
                      <a:gd name="T39" fmla="*/ 0 h 141"/>
                      <a:gd name="T40" fmla="*/ 0 w 80"/>
                      <a:gd name="T41" fmla="*/ 0 h 141"/>
                      <a:gd name="T42" fmla="*/ 0 w 80"/>
                      <a:gd name="T43" fmla="*/ 1 h 141"/>
                      <a:gd name="T44" fmla="*/ 0 w 80"/>
                      <a:gd name="T45" fmla="*/ 1 h 141"/>
                      <a:gd name="T46" fmla="*/ 0 w 80"/>
                      <a:gd name="T47" fmla="*/ 1 h 141"/>
                      <a:gd name="T48" fmla="*/ 0 w 80"/>
                      <a:gd name="T49" fmla="*/ 0 h 141"/>
                      <a:gd name="T50" fmla="*/ 0 w 80"/>
                      <a:gd name="T51" fmla="*/ 0 h 141"/>
                      <a:gd name="T52" fmla="*/ 0 w 80"/>
                      <a:gd name="T53" fmla="*/ 0 h 141"/>
                      <a:gd name="T54" fmla="*/ 0 w 80"/>
                      <a:gd name="T55" fmla="*/ 0 h 141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w 80"/>
                      <a:gd name="T85" fmla="*/ 0 h 141"/>
                      <a:gd name="T86" fmla="*/ 80 w 80"/>
                      <a:gd name="T87" fmla="*/ 141 h 141"/>
                    </a:gdLst>
                    <a:ahLst/>
                    <a:cxnLst>
                      <a:cxn ang="T56">
                        <a:pos x="T0" y="T1"/>
                      </a:cxn>
                      <a:cxn ang="T57">
                        <a:pos x="T2" y="T3"/>
                      </a:cxn>
                      <a:cxn ang="T58">
                        <a:pos x="T4" y="T5"/>
                      </a:cxn>
                      <a:cxn ang="T59">
                        <a:pos x="T6" y="T7"/>
                      </a:cxn>
                      <a:cxn ang="T60">
                        <a:pos x="T8" y="T9"/>
                      </a:cxn>
                      <a:cxn ang="T61">
                        <a:pos x="T10" y="T11"/>
                      </a:cxn>
                      <a:cxn ang="T62">
                        <a:pos x="T12" y="T13"/>
                      </a:cxn>
                      <a:cxn ang="T63">
                        <a:pos x="T14" y="T15"/>
                      </a:cxn>
                      <a:cxn ang="T64">
                        <a:pos x="T16" y="T17"/>
                      </a:cxn>
                      <a:cxn ang="T65">
                        <a:pos x="T18" y="T19"/>
                      </a:cxn>
                      <a:cxn ang="T66">
                        <a:pos x="T20" y="T21"/>
                      </a:cxn>
                      <a:cxn ang="T67">
                        <a:pos x="T22" y="T23"/>
                      </a:cxn>
                      <a:cxn ang="T68">
                        <a:pos x="T24" y="T25"/>
                      </a:cxn>
                      <a:cxn ang="T69">
                        <a:pos x="T26" y="T27"/>
                      </a:cxn>
                      <a:cxn ang="T70">
                        <a:pos x="T28" y="T29"/>
                      </a:cxn>
                      <a:cxn ang="T71">
                        <a:pos x="T30" y="T31"/>
                      </a:cxn>
                      <a:cxn ang="T72">
                        <a:pos x="T32" y="T33"/>
                      </a:cxn>
                      <a:cxn ang="T73">
                        <a:pos x="T34" y="T35"/>
                      </a:cxn>
                      <a:cxn ang="T74">
                        <a:pos x="T36" y="T37"/>
                      </a:cxn>
                      <a:cxn ang="T75">
                        <a:pos x="T38" y="T39"/>
                      </a:cxn>
                      <a:cxn ang="T76">
                        <a:pos x="T40" y="T41"/>
                      </a:cxn>
                      <a:cxn ang="T77">
                        <a:pos x="T42" y="T43"/>
                      </a:cxn>
                      <a:cxn ang="T78">
                        <a:pos x="T44" y="T45"/>
                      </a:cxn>
                      <a:cxn ang="T79">
                        <a:pos x="T46" y="T47"/>
                      </a:cxn>
                      <a:cxn ang="T80">
                        <a:pos x="T48" y="T49"/>
                      </a:cxn>
                      <a:cxn ang="T81">
                        <a:pos x="T50" y="T51"/>
                      </a:cxn>
                      <a:cxn ang="T82">
                        <a:pos x="T52" y="T53"/>
                      </a:cxn>
                      <a:cxn ang="T83">
                        <a:pos x="T54" y="T55"/>
                      </a:cxn>
                    </a:cxnLst>
                    <a:rect l="T84" t="T85" r="T86" b="T87"/>
                    <a:pathLst>
                      <a:path w="80" h="141">
                        <a:moveTo>
                          <a:pt x="40" y="123"/>
                        </a:moveTo>
                        <a:lnTo>
                          <a:pt x="80" y="36"/>
                        </a:lnTo>
                        <a:lnTo>
                          <a:pt x="80" y="18"/>
                        </a:lnTo>
                        <a:lnTo>
                          <a:pt x="68" y="17"/>
                        </a:lnTo>
                        <a:lnTo>
                          <a:pt x="59" y="16"/>
                        </a:lnTo>
                        <a:lnTo>
                          <a:pt x="53" y="14"/>
                        </a:lnTo>
                        <a:lnTo>
                          <a:pt x="47" y="11"/>
                        </a:lnTo>
                        <a:lnTo>
                          <a:pt x="44" y="8"/>
                        </a:lnTo>
                        <a:lnTo>
                          <a:pt x="42" y="5"/>
                        </a:lnTo>
                        <a:lnTo>
                          <a:pt x="41" y="2"/>
                        </a:lnTo>
                        <a:lnTo>
                          <a:pt x="40" y="0"/>
                        </a:lnTo>
                        <a:lnTo>
                          <a:pt x="0" y="0"/>
                        </a:lnTo>
                        <a:lnTo>
                          <a:pt x="0" y="23"/>
                        </a:lnTo>
                        <a:lnTo>
                          <a:pt x="0" y="40"/>
                        </a:lnTo>
                        <a:lnTo>
                          <a:pt x="0" y="52"/>
                        </a:lnTo>
                        <a:lnTo>
                          <a:pt x="0" y="61"/>
                        </a:lnTo>
                        <a:lnTo>
                          <a:pt x="1" y="69"/>
                        </a:lnTo>
                        <a:lnTo>
                          <a:pt x="3" y="78"/>
                        </a:lnTo>
                        <a:lnTo>
                          <a:pt x="7" y="88"/>
                        </a:lnTo>
                        <a:lnTo>
                          <a:pt x="11" y="99"/>
                        </a:lnTo>
                        <a:lnTo>
                          <a:pt x="20" y="121"/>
                        </a:lnTo>
                        <a:lnTo>
                          <a:pt x="27" y="141"/>
                        </a:lnTo>
                        <a:lnTo>
                          <a:pt x="31" y="135"/>
                        </a:lnTo>
                        <a:lnTo>
                          <a:pt x="33" y="129"/>
                        </a:lnTo>
                        <a:lnTo>
                          <a:pt x="34" y="127"/>
                        </a:lnTo>
                        <a:lnTo>
                          <a:pt x="36" y="125"/>
                        </a:lnTo>
                        <a:lnTo>
                          <a:pt x="38" y="123"/>
                        </a:lnTo>
                        <a:lnTo>
                          <a:pt x="40" y="123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73" name="Freeform 420">
                    <a:extLst>
                      <a:ext uri="{FF2B5EF4-FFF2-40B4-BE49-F238E27FC236}">
                        <a16:creationId xmlns:a16="http://schemas.microsoft.com/office/drawing/2014/main" xmlns="" id="{7DBE7FE0-8D57-4E2E-8F4D-4780CDEB70A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79" y="1383"/>
                    <a:ext cx="83" cy="41"/>
                  </a:xfrm>
                  <a:custGeom>
                    <a:avLst/>
                    <a:gdLst>
                      <a:gd name="T0" fmla="*/ 0 w 259"/>
                      <a:gd name="T1" fmla="*/ 0 h 124"/>
                      <a:gd name="T2" fmla="*/ 0 w 259"/>
                      <a:gd name="T3" fmla="*/ 0 h 124"/>
                      <a:gd name="T4" fmla="*/ 0 w 259"/>
                      <a:gd name="T5" fmla="*/ 0 h 124"/>
                      <a:gd name="T6" fmla="*/ 0 w 259"/>
                      <a:gd name="T7" fmla="*/ 0 h 124"/>
                      <a:gd name="T8" fmla="*/ 0 w 259"/>
                      <a:gd name="T9" fmla="*/ 0 h 124"/>
                      <a:gd name="T10" fmla="*/ 0 w 259"/>
                      <a:gd name="T11" fmla="*/ 0 h 124"/>
                      <a:gd name="T12" fmla="*/ 0 w 259"/>
                      <a:gd name="T13" fmla="*/ 0 h 124"/>
                      <a:gd name="T14" fmla="*/ 0 w 259"/>
                      <a:gd name="T15" fmla="*/ 0 h 124"/>
                      <a:gd name="T16" fmla="*/ 0 w 259"/>
                      <a:gd name="T17" fmla="*/ 0 h 124"/>
                      <a:gd name="T18" fmla="*/ 0 w 259"/>
                      <a:gd name="T19" fmla="*/ 1 h 124"/>
                      <a:gd name="T20" fmla="*/ 0 w 259"/>
                      <a:gd name="T21" fmla="*/ 1 h 124"/>
                      <a:gd name="T22" fmla="*/ 0 w 259"/>
                      <a:gd name="T23" fmla="*/ 1 h 124"/>
                      <a:gd name="T24" fmla="*/ 0 w 259"/>
                      <a:gd name="T25" fmla="*/ 1 h 124"/>
                      <a:gd name="T26" fmla="*/ 0 w 259"/>
                      <a:gd name="T27" fmla="*/ 0 h 124"/>
                      <a:gd name="T28" fmla="*/ 0 w 259"/>
                      <a:gd name="T29" fmla="*/ 0 h 124"/>
                      <a:gd name="T30" fmla="*/ 0 w 259"/>
                      <a:gd name="T31" fmla="*/ 0 h 124"/>
                      <a:gd name="T32" fmla="*/ 0 w 259"/>
                      <a:gd name="T33" fmla="*/ 0 h 124"/>
                      <a:gd name="T34" fmla="*/ 0 w 259"/>
                      <a:gd name="T35" fmla="*/ 0 h 124"/>
                      <a:gd name="T36" fmla="*/ 0 w 259"/>
                      <a:gd name="T37" fmla="*/ 0 h 124"/>
                      <a:gd name="T38" fmla="*/ 0 w 259"/>
                      <a:gd name="T39" fmla="*/ 0 h 124"/>
                      <a:gd name="T40" fmla="*/ 0 w 259"/>
                      <a:gd name="T41" fmla="*/ 0 h 124"/>
                      <a:gd name="T42" fmla="*/ 1 w 259"/>
                      <a:gd name="T43" fmla="*/ 0 h 124"/>
                      <a:gd name="T44" fmla="*/ 1 w 259"/>
                      <a:gd name="T45" fmla="*/ 0 h 124"/>
                      <a:gd name="T46" fmla="*/ 1 w 259"/>
                      <a:gd name="T47" fmla="*/ 0 h 124"/>
                      <a:gd name="T48" fmla="*/ 1 w 259"/>
                      <a:gd name="T49" fmla="*/ 0 h 124"/>
                      <a:gd name="T50" fmla="*/ 1 w 259"/>
                      <a:gd name="T51" fmla="*/ 0 h 124"/>
                      <a:gd name="T52" fmla="*/ 1 w 259"/>
                      <a:gd name="T53" fmla="*/ 0 h 124"/>
                      <a:gd name="T54" fmla="*/ 1 w 259"/>
                      <a:gd name="T55" fmla="*/ 0 h 124"/>
                      <a:gd name="T56" fmla="*/ 1 w 259"/>
                      <a:gd name="T57" fmla="*/ 0 h 124"/>
                      <a:gd name="T58" fmla="*/ 1 w 259"/>
                      <a:gd name="T59" fmla="*/ 0 h 124"/>
                      <a:gd name="T60" fmla="*/ 1 w 259"/>
                      <a:gd name="T61" fmla="*/ 0 h 124"/>
                      <a:gd name="T62" fmla="*/ 1 w 259"/>
                      <a:gd name="T63" fmla="*/ 0 h 124"/>
                      <a:gd name="T64" fmla="*/ 1 w 259"/>
                      <a:gd name="T65" fmla="*/ 0 h 124"/>
                      <a:gd name="T66" fmla="*/ 1 w 259"/>
                      <a:gd name="T67" fmla="*/ 0 h 124"/>
                      <a:gd name="T68" fmla="*/ 1 w 259"/>
                      <a:gd name="T69" fmla="*/ 0 h 124"/>
                      <a:gd name="T70" fmla="*/ 1 w 259"/>
                      <a:gd name="T71" fmla="*/ 0 h 124"/>
                      <a:gd name="T72" fmla="*/ 1 w 259"/>
                      <a:gd name="T73" fmla="*/ 0 h 124"/>
                      <a:gd name="T74" fmla="*/ 1 w 259"/>
                      <a:gd name="T75" fmla="*/ 0 h 124"/>
                      <a:gd name="T76" fmla="*/ 1 w 259"/>
                      <a:gd name="T77" fmla="*/ 0 h 124"/>
                      <a:gd name="T78" fmla="*/ 1 w 259"/>
                      <a:gd name="T79" fmla="*/ 0 h 124"/>
                      <a:gd name="T80" fmla="*/ 1 w 259"/>
                      <a:gd name="T81" fmla="*/ 0 h 124"/>
                      <a:gd name="T82" fmla="*/ 1 w 259"/>
                      <a:gd name="T83" fmla="*/ 0 h 124"/>
                      <a:gd name="T84" fmla="*/ 1 w 259"/>
                      <a:gd name="T85" fmla="*/ 0 h 124"/>
                      <a:gd name="T86" fmla="*/ 1 w 259"/>
                      <a:gd name="T87" fmla="*/ 0 h 124"/>
                      <a:gd name="T88" fmla="*/ 1 w 259"/>
                      <a:gd name="T89" fmla="*/ 0 h 124"/>
                      <a:gd name="T90" fmla="*/ 1 w 259"/>
                      <a:gd name="T91" fmla="*/ 0 h 124"/>
                      <a:gd name="T92" fmla="*/ 1 w 259"/>
                      <a:gd name="T93" fmla="*/ 0 h 124"/>
                      <a:gd name="T94" fmla="*/ 1 w 259"/>
                      <a:gd name="T95" fmla="*/ 0 h 124"/>
                      <a:gd name="T96" fmla="*/ 0 w 259"/>
                      <a:gd name="T97" fmla="*/ 0 h 124"/>
                      <a:gd name="T98" fmla="*/ 0 w 259"/>
                      <a:gd name="T99" fmla="*/ 0 h 124"/>
                      <a:gd name="T100" fmla="*/ 0 w 259"/>
                      <a:gd name="T101" fmla="*/ 0 h 124"/>
                      <a:gd name="T102" fmla="*/ 0 w 259"/>
                      <a:gd name="T103" fmla="*/ 0 h 124"/>
                      <a:gd name="T104" fmla="*/ 0 w 259"/>
                      <a:gd name="T105" fmla="*/ 0 h 124"/>
                      <a:gd name="T106" fmla="*/ 0 w 259"/>
                      <a:gd name="T107" fmla="*/ 0 h 124"/>
                      <a:gd name="T108" fmla="*/ 0 w 259"/>
                      <a:gd name="T109" fmla="*/ 0 h 124"/>
                      <a:gd name="T110" fmla="*/ 0 w 259"/>
                      <a:gd name="T111" fmla="*/ 0 h 124"/>
                      <a:gd name="T112" fmla="*/ 0 w 259"/>
                      <a:gd name="T113" fmla="*/ 0 h 124"/>
                      <a:gd name="T114" fmla="*/ 0 w 259"/>
                      <a:gd name="T115" fmla="*/ 0 h 124"/>
                      <a:gd name="T116" fmla="*/ 0 w 259"/>
                      <a:gd name="T117" fmla="*/ 0 h 124"/>
                      <a:gd name="T118" fmla="*/ 0 w 259"/>
                      <a:gd name="T119" fmla="*/ 0 h 124"/>
                      <a:gd name="T120" fmla="*/ 0 w 259"/>
                      <a:gd name="T121" fmla="*/ 0 h 124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w 259"/>
                      <a:gd name="T184" fmla="*/ 0 h 124"/>
                      <a:gd name="T185" fmla="*/ 259 w 259"/>
                      <a:gd name="T186" fmla="*/ 124 h 124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T183" t="T184" r="T185" b="T186"/>
                    <a:pathLst>
                      <a:path w="259" h="124">
                        <a:moveTo>
                          <a:pt x="0" y="93"/>
                        </a:moveTo>
                        <a:lnTo>
                          <a:pt x="0" y="96"/>
                        </a:lnTo>
                        <a:lnTo>
                          <a:pt x="2" y="100"/>
                        </a:lnTo>
                        <a:lnTo>
                          <a:pt x="4" y="103"/>
                        </a:lnTo>
                        <a:lnTo>
                          <a:pt x="6" y="106"/>
                        </a:lnTo>
                        <a:lnTo>
                          <a:pt x="14" y="111"/>
                        </a:lnTo>
                        <a:lnTo>
                          <a:pt x="23" y="115"/>
                        </a:lnTo>
                        <a:lnTo>
                          <a:pt x="31" y="120"/>
                        </a:lnTo>
                        <a:lnTo>
                          <a:pt x="41" y="122"/>
                        </a:lnTo>
                        <a:lnTo>
                          <a:pt x="51" y="124"/>
                        </a:lnTo>
                        <a:lnTo>
                          <a:pt x="60" y="124"/>
                        </a:lnTo>
                        <a:lnTo>
                          <a:pt x="68" y="124"/>
                        </a:lnTo>
                        <a:lnTo>
                          <a:pt x="75" y="123"/>
                        </a:lnTo>
                        <a:lnTo>
                          <a:pt x="81" y="122"/>
                        </a:lnTo>
                        <a:lnTo>
                          <a:pt x="87" y="120"/>
                        </a:lnTo>
                        <a:lnTo>
                          <a:pt x="97" y="114"/>
                        </a:lnTo>
                        <a:lnTo>
                          <a:pt x="106" y="108"/>
                        </a:lnTo>
                        <a:lnTo>
                          <a:pt x="115" y="103"/>
                        </a:lnTo>
                        <a:lnTo>
                          <a:pt x="125" y="98"/>
                        </a:lnTo>
                        <a:lnTo>
                          <a:pt x="130" y="96"/>
                        </a:lnTo>
                        <a:lnTo>
                          <a:pt x="137" y="94"/>
                        </a:lnTo>
                        <a:lnTo>
                          <a:pt x="145" y="93"/>
                        </a:lnTo>
                        <a:lnTo>
                          <a:pt x="152" y="93"/>
                        </a:lnTo>
                        <a:lnTo>
                          <a:pt x="162" y="94"/>
                        </a:lnTo>
                        <a:lnTo>
                          <a:pt x="171" y="96"/>
                        </a:lnTo>
                        <a:lnTo>
                          <a:pt x="180" y="99"/>
                        </a:lnTo>
                        <a:lnTo>
                          <a:pt x="188" y="103"/>
                        </a:lnTo>
                        <a:lnTo>
                          <a:pt x="204" y="111"/>
                        </a:lnTo>
                        <a:lnTo>
                          <a:pt x="219" y="117"/>
                        </a:lnTo>
                        <a:lnTo>
                          <a:pt x="259" y="117"/>
                        </a:lnTo>
                        <a:lnTo>
                          <a:pt x="259" y="99"/>
                        </a:lnTo>
                        <a:lnTo>
                          <a:pt x="252" y="98"/>
                        </a:lnTo>
                        <a:lnTo>
                          <a:pt x="244" y="96"/>
                        </a:lnTo>
                        <a:lnTo>
                          <a:pt x="236" y="94"/>
                        </a:lnTo>
                        <a:lnTo>
                          <a:pt x="226" y="93"/>
                        </a:lnTo>
                        <a:lnTo>
                          <a:pt x="230" y="85"/>
                        </a:lnTo>
                        <a:lnTo>
                          <a:pt x="236" y="79"/>
                        </a:lnTo>
                        <a:lnTo>
                          <a:pt x="240" y="74"/>
                        </a:lnTo>
                        <a:lnTo>
                          <a:pt x="246" y="69"/>
                        </a:lnTo>
                        <a:lnTo>
                          <a:pt x="238" y="61"/>
                        </a:lnTo>
                        <a:lnTo>
                          <a:pt x="230" y="56"/>
                        </a:lnTo>
                        <a:lnTo>
                          <a:pt x="222" y="50"/>
                        </a:lnTo>
                        <a:lnTo>
                          <a:pt x="214" y="46"/>
                        </a:lnTo>
                        <a:lnTo>
                          <a:pt x="197" y="37"/>
                        </a:lnTo>
                        <a:lnTo>
                          <a:pt x="182" y="30"/>
                        </a:lnTo>
                        <a:lnTo>
                          <a:pt x="166" y="23"/>
                        </a:lnTo>
                        <a:lnTo>
                          <a:pt x="153" y="17"/>
                        </a:lnTo>
                        <a:lnTo>
                          <a:pt x="147" y="13"/>
                        </a:lnTo>
                        <a:lnTo>
                          <a:pt x="141" y="10"/>
                        </a:lnTo>
                        <a:lnTo>
                          <a:pt x="137" y="5"/>
                        </a:lnTo>
                        <a:lnTo>
                          <a:pt x="132" y="0"/>
                        </a:lnTo>
                        <a:lnTo>
                          <a:pt x="124" y="3"/>
                        </a:lnTo>
                        <a:lnTo>
                          <a:pt x="114" y="7"/>
                        </a:lnTo>
                        <a:lnTo>
                          <a:pt x="105" y="12"/>
                        </a:lnTo>
                        <a:lnTo>
                          <a:pt x="95" y="17"/>
                        </a:lnTo>
                        <a:lnTo>
                          <a:pt x="75" y="29"/>
                        </a:lnTo>
                        <a:lnTo>
                          <a:pt x="57" y="42"/>
                        </a:lnTo>
                        <a:lnTo>
                          <a:pt x="38" y="56"/>
                        </a:lnTo>
                        <a:lnTo>
                          <a:pt x="23" y="70"/>
                        </a:lnTo>
                        <a:lnTo>
                          <a:pt x="9" y="83"/>
                        </a:lnTo>
                        <a:lnTo>
                          <a:pt x="0" y="93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74" name="Freeform 421">
                    <a:extLst>
                      <a:ext uri="{FF2B5EF4-FFF2-40B4-BE49-F238E27FC236}">
                        <a16:creationId xmlns:a16="http://schemas.microsoft.com/office/drawing/2014/main" xmlns="" id="{BEF9C62F-2ED7-4B74-9250-A71B51898BB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09" y="1389"/>
                    <a:ext cx="38" cy="19"/>
                  </a:xfrm>
                  <a:custGeom>
                    <a:avLst/>
                    <a:gdLst>
                      <a:gd name="T0" fmla="*/ 0 w 119"/>
                      <a:gd name="T1" fmla="*/ 0 h 57"/>
                      <a:gd name="T2" fmla="*/ 0 w 119"/>
                      <a:gd name="T3" fmla="*/ 0 h 57"/>
                      <a:gd name="T4" fmla="*/ 0 w 119"/>
                      <a:gd name="T5" fmla="*/ 0 h 57"/>
                      <a:gd name="T6" fmla="*/ 0 w 119"/>
                      <a:gd name="T7" fmla="*/ 0 h 57"/>
                      <a:gd name="T8" fmla="*/ 0 w 119"/>
                      <a:gd name="T9" fmla="*/ 0 h 57"/>
                      <a:gd name="T10" fmla="*/ 0 w 119"/>
                      <a:gd name="T11" fmla="*/ 0 h 57"/>
                      <a:gd name="T12" fmla="*/ 0 w 119"/>
                      <a:gd name="T13" fmla="*/ 0 h 57"/>
                      <a:gd name="T14" fmla="*/ 0 w 119"/>
                      <a:gd name="T15" fmla="*/ 0 h 57"/>
                      <a:gd name="T16" fmla="*/ 0 w 119"/>
                      <a:gd name="T17" fmla="*/ 0 h 57"/>
                      <a:gd name="T18" fmla="*/ 0 w 119"/>
                      <a:gd name="T19" fmla="*/ 0 h 57"/>
                      <a:gd name="T20" fmla="*/ 0 w 119"/>
                      <a:gd name="T21" fmla="*/ 0 h 57"/>
                      <a:gd name="T22" fmla="*/ 0 w 119"/>
                      <a:gd name="T23" fmla="*/ 0 h 57"/>
                      <a:gd name="T24" fmla="*/ 0 w 119"/>
                      <a:gd name="T25" fmla="*/ 0 h 57"/>
                      <a:gd name="T26" fmla="*/ 0 w 119"/>
                      <a:gd name="T27" fmla="*/ 0 h 57"/>
                      <a:gd name="T28" fmla="*/ 0 w 119"/>
                      <a:gd name="T29" fmla="*/ 0 h 57"/>
                      <a:gd name="T30" fmla="*/ 0 w 119"/>
                      <a:gd name="T31" fmla="*/ 0 h 57"/>
                      <a:gd name="T32" fmla="*/ 0 w 119"/>
                      <a:gd name="T33" fmla="*/ 0 h 57"/>
                      <a:gd name="T34" fmla="*/ 0 w 119"/>
                      <a:gd name="T35" fmla="*/ 0 h 57"/>
                      <a:gd name="T36" fmla="*/ 0 w 119"/>
                      <a:gd name="T37" fmla="*/ 0 h 57"/>
                      <a:gd name="T38" fmla="*/ 0 w 119"/>
                      <a:gd name="T39" fmla="*/ 0 h 57"/>
                      <a:gd name="T40" fmla="*/ 0 w 119"/>
                      <a:gd name="T41" fmla="*/ 0 h 57"/>
                      <a:gd name="T42" fmla="*/ 0 w 119"/>
                      <a:gd name="T43" fmla="*/ 0 h 57"/>
                      <a:gd name="T44" fmla="*/ 0 w 119"/>
                      <a:gd name="T45" fmla="*/ 0 h 57"/>
                      <a:gd name="T46" fmla="*/ 0 w 119"/>
                      <a:gd name="T47" fmla="*/ 0 h 57"/>
                      <a:gd name="T48" fmla="*/ 0 w 119"/>
                      <a:gd name="T49" fmla="*/ 0 h 57"/>
                      <a:gd name="T50" fmla="*/ 0 w 119"/>
                      <a:gd name="T51" fmla="*/ 0 h 57"/>
                      <a:gd name="T52" fmla="*/ 0 w 119"/>
                      <a:gd name="T53" fmla="*/ 0 h 57"/>
                      <a:gd name="T54" fmla="*/ 0 w 119"/>
                      <a:gd name="T55" fmla="*/ 0 h 57"/>
                      <a:gd name="T56" fmla="*/ 0 w 119"/>
                      <a:gd name="T57" fmla="*/ 0 h 57"/>
                      <a:gd name="T58" fmla="*/ 0 w 119"/>
                      <a:gd name="T59" fmla="*/ 0 h 57"/>
                      <a:gd name="T60" fmla="*/ 0 w 119"/>
                      <a:gd name="T61" fmla="*/ 0 h 57"/>
                      <a:gd name="T62" fmla="*/ 0 w 119"/>
                      <a:gd name="T63" fmla="*/ 0 h 57"/>
                      <a:gd name="T64" fmla="*/ 0 w 119"/>
                      <a:gd name="T65" fmla="*/ 0 h 57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19"/>
                      <a:gd name="T100" fmla="*/ 0 h 57"/>
                      <a:gd name="T101" fmla="*/ 119 w 119"/>
                      <a:gd name="T102" fmla="*/ 57 h 57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19" h="57">
                        <a:moveTo>
                          <a:pt x="0" y="32"/>
                        </a:moveTo>
                        <a:lnTo>
                          <a:pt x="7" y="35"/>
                        </a:lnTo>
                        <a:lnTo>
                          <a:pt x="14" y="38"/>
                        </a:lnTo>
                        <a:lnTo>
                          <a:pt x="20" y="42"/>
                        </a:lnTo>
                        <a:lnTo>
                          <a:pt x="26" y="47"/>
                        </a:lnTo>
                        <a:lnTo>
                          <a:pt x="32" y="51"/>
                        </a:lnTo>
                        <a:lnTo>
                          <a:pt x="36" y="54"/>
                        </a:lnTo>
                        <a:lnTo>
                          <a:pt x="41" y="56"/>
                        </a:lnTo>
                        <a:lnTo>
                          <a:pt x="47" y="57"/>
                        </a:lnTo>
                        <a:lnTo>
                          <a:pt x="55" y="57"/>
                        </a:lnTo>
                        <a:lnTo>
                          <a:pt x="62" y="56"/>
                        </a:lnTo>
                        <a:lnTo>
                          <a:pt x="70" y="55"/>
                        </a:lnTo>
                        <a:lnTo>
                          <a:pt x="77" y="53"/>
                        </a:lnTo>
                        <a:lnTo>
                          <a:pt x="83" y="50"/>
                        </a:lnTo>
                        <a:lnTo>
                          <a:pt x="89" y="48"/>
                        </a:lnTo>
                        <a:lnTo>
                          <a:pt x="93" y="44"/>
                        </a:lnTo>
                        <a:lnTo>
                          <a:pt x="97" y="40"/>
                        </a:lnTo>
                        <a:lnTo>
                          <a:pt x="106" y="32"/>
                        </a:lnTo>
                        <a:lnTo>
                          <a:pt x="112" y="23"/>
                        </a:lnTo>
                        <a:lnTo>
                          <a:pt x="116" y="13"/>
                        </a:lnTo>
                        <a:lnTo>
                          <a:pt x="119" y="1"/>
                        </a:lnTo>
                        <a:lnTo>
                          <a:pt x="101" y="0"/>
                        </a:lnTo>
                        <a:lnTo>
                          <a:pt x="82" y="0"/>
                        </a:lnTo>
                        <a:lnTo>
                          <a:pt x="63" y="2"/>
                        </a:lnTo>
                        <a:lnTo>
                          <a:pt x="45" y="5"/>
                        </a:lnTo>
                        <a:lnTo>
                          <a:pt x="36" y="7"/>
                        </a:lnTo>
                        <a:lnTo>
                          <a:pt x="28" y="10"/>
                        </a:lnTo>
                        <a:lnTo>
                          <a:pt x="22" y="13"/>
                        </a:lnTo>
                        <a:lnTo>
                          <a:pt x="15" y="16"/>
                        </a:lnTo>
                        <a:lnTo>
                          <a:pt x="10" y="19"/>
                        </a:lnTo>
                        <a:lnTo>
                          <a:pt x="5" y="23"/>
                        </a:lnTo>
                        <a:lnTo>
                          <a:pt x="2" y="27"/>
                        </a:lnTo>
                        <a:lnTo>
                          <a:pt x="0" y="32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75" name="Freeform 422">
                    <a:extLst>
                      <a:ext uri="{FF2B5EF4-FFF2-40B4-BE49-F238E27FC236}">
                        <a16:creationId xmlns:a16="http://schemas.microsoft.com/office/drawing/2014/main" xmlns="" id="{B917881A-4240-4E0B-A83A-AE9BF443269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54" y="1335"/>
                    <a:ext cx="34" cy="17"/>
                  </a:xfrm>
                  <a:custGeom>
                    <a:avLst/>
                    <a:gdLst>
                      <a:gd name="T0" fmla="*/ 0 w 107"/>
                      <a:gd name="T1" fmla="*/ 0 h 52"/>
                      <a:gd name="T2" fmla="*/ 0 w 107"/>
                      <a:gd name="T3" fmla="*/ 0 h 52"/>
                      <a:gd name="T4" fmla="*/ 0 w 107"/>
                      <a:gd name="T5" fmla="*/ 0 h 52"/>
                      <a:gd name="T6" fmla="*/ 0 w 107"/>
                      <a:gd name="T7" fmla="*/ 0 h 52"/>
                      <a:gd name="T8" fmla="*/ 0 w 107"/>
                      <a:gd name="T9" fmla="*/ 0 h 52"/>
                      <a:gd name="T10" fmla="*/ 0 w 107"/>
                      <a:gd name="T11" fmla="*/ 0 h 52"/>
                      <a:gd name="T12" fmla="*/ 0 w 107"/>
                      <a:gd name="T13" fmla="*/ 0 h 52"/>
                      <a:gd name="T14" fmla="*/ 0 w 107"/>
                      <a:gd name="T15" fmla="*/ 0 h 52"/>
                      <a:gd name="T16" fmla="*/ 0 w 107"/>
                      <a:gd name="T17" fmla="*/ 0 h 52"/>
                      <a:gd name="T18" fmla="*/ 0 w 107"/>
                      <a:gd name="T19" fmla="*/ 0 h 52"/>
                      <a:gd name="T20" fmla="*/ 0 w 107"/>
                      <a:gd name="T21" fmla="*/ 0 h 52"/>
                      <a:gd name="T22" fmla="*/ 0 w 107"/>
                      <a:gd name="T23" fmla="*/ 0 h 52"/>
                      <a:gd name="T24" fmla="*/ 0 w 107"/>
                      <a:gd name="T25" fmla="*/ 0 h 52"/>
                      <a:gd name="T26" fmla="*/ 0 w 107"/>
                      <a:gd name="T27" fmla="*/ 0 h 52"/>
                      <a:gd name="T28" fmla="*/ 0 w 107"/>
                      <a:gd name="T29" fmla="*/ 0 h 52"/>
                      <a:gd name="T30" fmla="*/ 0 w 107"/>
                      <a:gd name="T31" fmla="*/ 0 h 52"/>
                      <a:gd name="T32" fmla="*/ 0 w 107"/>
                      <a:gd name="T33" fmla="*/ 0 h 52"/>
                      <a:gd name="T34" fmla="*/ 0 w 107"/>
                      <a:gd name="T35" fmla="*/ 0 h 52"/>
                      <a:gd name="T36" fmla="*/ 0 w 107"/>
                      <a:gd name="T37" fmla="*/ 0 h 52"/>
                      <a:gd name="T38" fmla="*/ 0 w 107"/>
                      <a:gd name="T39" fmla="*/ 0 h 52"/>
                      <a:gd name="T40" fmla="*/ 0 w 107"/>
                      <a:gd name="T41" fmla="*/ 0 h 52"/>
                      <a:gd name="T42" fmla="*/ 0 w 107"/>
                      <a:gd name="T43" fmla="*/ 0 h 52"/>
                      <a:gd name="T44" fmla="*/ 0 w 107"/>
                      <a:gd name="T45" fmla="*/ 0 h 52"/>
                      <a:gd name="T46" fmla="*/ 0 w 107"/>
                      <a:gd name="T47" fmla="*/ 0 h 52"/>
                      <a:gd name="T48" fmla="*/ 0 w 107"/>
                      <a:gd name="T49" fmla="*/ 0 h 52"/>
                      <a:gd name="T50" fmla="*/ 0 w 107"/>
                      <a:gd name="T51" fmla="*/ 0 h 52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w 107"/>
                      <a:gd name="T79" fmla="*/ 0 h 52"/>
                      <a:gd name="T80" fmla="*/ 107 w 107"/>
                      <a:gd name="T81" fmla="*/ 52 h 52"/>
                    </a:gdLst>
                    <a:ahLst/>
                    <a:cxnLst>
                      <a:cxn ang="T52">
                        <a:pos x="T0" y="T1"/>
                      </a:cxn>
                      <a:cxn ang="T53">
                        <a:pos x="T2" y="T3"/>
                      </a:cxn>
                      <a:cxn ang="T54">
                        <a:pos x="T4" y="T5"/>
                      </a:cxn>
                      <a:cxn ang="T55">
                        <a:pos x="T6" y="T7"/>
                      </a:cxn>
                      <a:cxn ang="T56">
                        <a:pos x="T8" y="T9"/>
                      </a:cxn>
                      <a:cxn ang="T57">
                        <a:pos x="T10" y="T11"/>
                      </a:cxn>
                      <a:cxn ang="T58">
                        <a:pos x="T12" y="T13"/>
                      </a:cxn>
                      <a:cxn ang="T59">
                        <a:pos x="T14" y="T15"/>
                      </a:cxn>
                      <a:cxn ang="T60">
                        <a:pos x="T16" y="T17"/>
                      </a:cxn>
                      <a:cxn ang="T61">
                        <a:pos x="T18" y="T19"/>
                      </a:cxn>
                      <a:cxn ang="T62">
                        <a:pos x="T20" y="T21"/>
                      </a:cxn>
                      <a:cxn ang="T63">
                        <a:pos x="T22" y="T23"/>
                      </a:cxn>
                      <a:cxn ang="T64">
                        <a:pos x="T24" y="T25"/>
                      </a:cxn>
                      <a:cxn ang="T65">
                        <a:pos x="T26" y="T27"/>
                      </a:cxn>
                      <a:cxn ang="T66">
                        <a:pos x="T28" y="T29"/>
                      </a:cxn>
                      <a:cxn ang="T67">
                        <a:pos x="T30" y="T31"/>
                      </a:cxn>
                      <a:cxn ang="T68">
                        <a:pos x="T32" y="T33"/>
                      </a:cxn>
                      <a:cxn ang="T69">
                        <a:pos x="T34" y="T35"/>
                      </a:cxn>
                      <a:cxn ang="T70">
                        <a:pos x="T36" y="T37"/>
                      </a:cxn>
                      <a:cxn ang="T71">
                        <a:pos x="T38" y="T39"/>
                      </a:cxn>
                      <a:cxn ang="T72">
                        <a:pos x="T40" y="T41"/>
                      </a:cxn>
                      <a:cxn ang="T73">
                        <a:pos x="T42" y="T43"/>
                      </a:cxn>
                      <a:cxn ang="T74">
                        <a:pos x="T44" y="T45"/>
                      </a:cxn>
                      <a:cxn ang="T75">
                        <a:pos x="T46" y="T47"/>
                      </a:cxn>
                      <a:cxn ang="T76">
                        <a:pos x="T48" y="T49"/>
                      </a:cxn>
                      <a:cxn ang="T77">
                        <a:pos x="T50" y="T51"/>
                      </a:cxn>
                    </a:cxnLst>
                    <a:rect l="T78" t="T79" r="T80" b="T81"/>
                    <a:pathLst>
                      <a:path w="107" h="52">
                        <a:moveTo>
                          <a:pt x="0" y="50"/>
                        </a:moveTo>
                        <a:lnTo>
                          <a:pt x="6" y="51"/>
                        </a:lnTo>
                        <a:lnTo>
                          <a:pt x="9" y="52"/>
                        </a:lnTo>
                        <a:lnTo>
                          <a:pt x="13" y="52"/>
                        </a:lnTo>
                        <a:lnTo>
                          <a:pt x="17" y="52"/>
                        </a:lnTo>
                        <a:lnTo>
                          <a:pt x="24" y="50"/>
                        </a:lnTo>
                        <a:lnTo>
                          <a:pt x="34" y="50"/>
                        </a:lnTo>
                        <a:lnTo>
                          <a:pt x="43" y="49"/>
                        </a:lnTo>
                        <a:lnTo>
                          <a:pt x="53" y="48"/>
                        </a:lnTo>
                        <a:lnTo>
                          <a:pt x="62" y="47"/>
                        </a:lnTo>
                        <a:lnTo>
                          <a:pt x="70" y="43"/>
                        </a:lnTo>
                        <a:lnTo>
                          <a:pt x="79" y="40"/>
                        </a:lnTo>
                        <a:lnTo>
                          <a:pt x="88" y="36"/>
                        </a:lnTo>
                        <a:lnTo>
                          <a:pt x="97" y="31"/>
                        </a:lnTo>
                        <a:lnTo>
                          <a:pt x="107" y="24"/>
                        </a:lnTo>
                        <a:lnTo>
                          <a:pt x="107" y="0"/>
                        </a:lnTo>
                        <a:lnTo>
                          <a:pt x="98" y="1"/>
                        </a:lnTo>
                        <a:lnTo>
                          <a:pt x="86" y="3"/>
                        </a:lnTo>
                        <a:lnTo>
                          <a:pt x="72" y="7"/>
                        </a:lnTo>
                        <a:lnTo>
                          <a:pt x="56" y="13"/>
                        </a:lnTo>
                        <a:lnTo>
                          <a:pt x="41" y="20"/>
                        </a:lnTo>
                        <a:lnTo>
                          <a:pt x="25" y="28"/>
                        </a:lnTo>
                        <a:lnTo>
                          <a:pt x="19" y="33"/>
                        </a:lnTo>
                        <a:lnTo>
                          <a:pt x="12" y="38"/>
                        </a:lnTo>
                        <a:lnTo>
                          <a:pt x="6" y="43"/>
                        </a:lnTo>
                        <a:lnTo>
                          <a:pt x="0" y="5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76" name="Freeform 423">
                    <a:extLst>
                      <a:ext uri="{FF2B5EF4-FFF2-40B4-BE49-F238E27FC236}">
                        <a16:creationId xmlns:a16="http://schemas.microsoft.com/office/drawing/2014/main" xmlns="" id="{D917AB83-2637-475A-B5F2-7A0B8310FEC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81" y="1244"/>
                    <a:ext cx="79" cy="32"/>
                  </a:xfrm>
                  <a:custGeom>
                    <a:avLst/>
                    <a:gdLst>
                      <a:gd name="T0" fmla="*/ 0 w 246"/>
                      <a:gd name="T1" fmla="*/ 0 h 99"/>
                      <a:gd name="T2" fmla="*/ 0 w 246"/>
                      <a:gd name="T3" fmla="*/ 0 h 99"/>
                      <a:gd name="T4" fmla="*/ 0 w 246"/>
                      <a:gd name="T5" fmla="*/ 0 h 99"/>
                      <a:gd name="T6" fmla="*/ 0 w 246"/>
                      <a:gd name="T7" fmla="*/ 0 h 99"/>
                      <a:gd name="T8" fmla="*/ 0 w 246"/>
                      <a:gd name="T9" fmla="*/ 0 h 99"/>
                      <a:gd name="T10" fmla="*/ 0 w 246"/>
                      <a:gd name="T11" fmla="*/ 0 h 99"/>
                      <a:gd name="T12" fmla="*/ 0 w 246"/>
                      <a:gd name="T13" fmla="*/ 0 h 99"/>
                      <a:gd name="T14" fmla="*/ 0 w 246"/>
                      <a:gd name="T15" fmla="*/ 0 h 99"/>
                      <a:gd name="T16" fmla="*/ 0 w 246"/>
                      <a:gd name="T17" fmla="*/ 0 h 99"/>
                      <a:gd name="T18" fmla="*/ 0 w 246"/>
                      <a:gd name="T19" fmla="*/ 0 h 99"/>
                      <a:gd name="T20" fmla="*/ 0 w 246"/>
                      <a:gd name="T21" fmla="*/ 0 h 99"/>
                      <a:gd name="T22" fmla="*/ 0 w 246"/>
                      <a:gd name="T23" fmla="*/ 0 h 99"/>
                      <a:gd name="T24" fmla="*/ 0 w 246"/>
                      <a:gd name="T25" fmla="*/ 0 h 99"/>
                      <a:gd name="T26" fmla="*/ 0 w 246"/>
                      <a:gd name="T27" fmla="*/ 0 h 99"/>
                      <a:gd name="T28" fmla="*/ 0 w 246"/>
                      <a:gd name="T29" fmla="*/ 0 h 99"/>
                      <a:gd name="T30" fmla="*/ 0 w 246"/>
                      <a:gd name="T31" fmla="*/ 0 h 99"/>
                      <a:gd name="T32" fmla="*/ 0 w 246"/>
                      <a:gd name="T33" fmla="*/ 0 h 99"/>
                      <a:gd name="T34" fmla="*/ 0 w 246"/>
                      <a:gd name="T35" fmla="*/ 0 h 99"/>
                      <a:gd name="T36" fmla="*/ 0 w 246"/>
                      <a:gd name="T37" fmla="*/ 0 h 99"/>
                      <a:gd name="T38" fmla="*/ 0 w 246"/>
                      <a:gd name="T39" fmla="*/ 0 h 99"/>
                      <a:gd name="T40" fmla="*/ 0 w 246"/>
                      <a:gd name="T41" fmla="*/ 0 h 99"/>
                      <a:gd name="T42" fmla="*/ 0 w 246"/>
                      <a:gd name="T43" fmla="*/ 0 h 99"/>
                      <a:gd name="T44" fmla="*/ 0 w 246"/>
                      <a:gd name="T45" fmla="*/ 0 h 99"/>
                      <a:gd name="T46" fmla="*/ 0 w 246"/>
                      <a:gd name="T47" fmla="*/ 0 h 99"/>
                      <a:gd name="T48" fmla="*/ 0 w 246"/>
                      <a:gd name="T49" fmla="*/ 0 h 99"/>
                      <a:gd name="T50" fmla="*/ 1 w 246"/>
                      <a:gd name="T51" fmla="*/ 0 h 99"/>
                      <a:gd name="T52" fmla="*/ 1 w 246"/>
                      <a:gd name="T53" fmla="*/ 0 h 99"/>
                      <a:gd name="T54" fmla="*/ 1 w 246"/>
                      <a:gd name="T55" fmla="*/ 0 h 99"/>
                      <a:gd name="T56" fmla="*/ 1 w 246"/>
                      <a:gd name="T57" fmla="*/ 0 h 99"/>
                      <a:gd name="T58" fmla="*/ 1 w 246"/>
                      <a:gd name="T59" fmla="*/ 0 h 99"/>
                      <a:gd name="T60" fmla="*/ 1 w 246"/>
                      <a:gd name="T61" fmla="*/ 0 h 99"/>
                      <a:gd name="T62" fmla="*/ 1 w 246"/>
                      <a:gd name="T63" fmla="*/ 0 h 99"/>
                      <a:gd name="T64" fmla="*/ 1 w 246"/>
                      <a:gd name="T65" fmla="*/ 0 h 99"/>
                      <a:gd name="T66" fmla="*/ 1 w 246"/>
                      <a:gd name="T67" fmla="*/ 0 h 99"/>
                      <a:gd name="T68" fmla="*/ 1 w 246"/>
                      <a:gd name="T69" fmla="*/ 0 h 99"/>
                      <a:gd name="T70" fmla="*/ 1 w 246"/>
                      <a:gd name="T71" fmla="*/ 0 h 99"/>
                      <a:gd name="T72" fmla="*/ 1 w 246"/>
                      <a:gd name="T73" fmla="*/ 0 h 99"/>
                      <a:gd name="T74" fmla="*/ 1 w 246"/>
                      <a:gd name="T75" fmla="*/ 0 h 99"/>
                      <a:gd name="T76" fmla="*/ 1 w 246"/>
                      <a:gd name="T77" fmla="*/ 0 h 99"/>
                      <a:gd name="T78" fmla="*/ 0 w 246"/>
                      <a:gd name="T79" fmla="*/ 0 h 99"/>
                      <a:gd name="T80" fmla="*/ 0 w 246"/>
                      <a:gd name="T81" fmla="*/ 0 h 99"/>
                      <a:gd name="T82" fmla="*/ 0 w 246"/>
                      <a:gd name="T83" fmla="*/ 0 h 99"/>
                      <a:gd name="T84" fmla="*/ 0 w 246"/>
                      <a:gd name="T85" fmla="*/ 0 h 99"/>
                      <a:gd name="T86" fmla="*/ 0 w 246"/>
                      <a:gd name="T87" fmla="*/ 0 h 99"/>
                      <a:gd name="T88" fmla="*/ 0 w 246"/>
                      <a:gd name="T89" fmla="*/ 0 h 99"/>
                      <a:gd name="T90" fmla="*/ 0 w 246"/>
                      <a:gd name="T91" fmla="*/ 0 h 99"/>
                      <a:gd name="T92" fmla="*/ 0 w 246"/>
                      <a:gd name="T93" fmla="*/ 0 h 99"/>
                      <a:gd name="T94" fmla="*/ 0 w 246"/>
                      <a:gd name="T95" fmla="*/ 0 h 99"/>
                      <a:gd name="T96" fmla="*/ 0 w 246"/>
                      <a:gd name="T97" fmla="*/ 0 h 99"/>
                      <a:gd name="T98" fmla="*/ 0 w 246"/>
                      <a:gd name="T99" fmla="*/ 0 h 99"/>
                      <a:gd name="T100" fmla="*/ 0 w 246"/>
                      <a:gd name="T101" fmla="*/ 0 h 99"/>
                      <a:gd name="T102" fmla="*/ 0 w 246"/>
                      <a:gd name="T103" fmla="*/ 0 h 99"/>
                      <a:gd name="T104" fmla="*/ 0 w 246"/>
                      <a:gd name="T105" fmla="*/ 0 h 99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246"/>
                      <a:gd name="T160" fmla="*/ 0 h 99"/>
                      <a:gd name="T161" fmla="*/ 246 w 246"/>
                      <a:gd name="T162" fmla="*/ 99 h 99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246" h="99">
                        <a:moveTo>
                          <a:pt x="27" y="99"/>
                        </a:moveTo>
                        <a:lnTo>
                          <a:pt x="22" y="97"/>
                        </a:lnTo>
                        <a:lnTo>
                          <a:pt x="17" y="96"/>
                        </a:lnTo>
                        <a:lnTo>
                          <a:pt x="12" y="93"/>
                        </a:lnTo>
                        <a:lnTo>
                          <a:pt x="9" y="90"/>
                        </a:lnTo>
                        <a:lnTo>
                          <a:pt x="6" y="86"/>
                        </a:lnTo>
                        <a:lnTo>
                          <a:pt x="2" y="82"/>
                        </a:lnTo>
                        <a:lnTo>
                          <a:pt x="1" y="78"/>
                        </a:lnTo>
                        <a:lnTo>
                          <a:pt x="0" y="73"/>
                        </a:lnTo>
                        <a:lnTo>
                          <a:pt x="0" y="69"/>
                        </a:lnTo>
                        <a:lnTo>
                          <a:pt x="1" y="65"/>
                        </a:lnTo>
                        <a:lnTo>
                          <a:pt x="3" y="60"/>
                        </a:lnTo>
                        <a:lnTo>
                          <a:pt x="5" y="56"/>
                        </a:lnTo>
                        <a:lnTo>
                          <a:pt x="10" y="49"/>
                        </a:lnTo>
                        <a:lnTo>
                          <a:pt x="18" y="41"/>
                        </a:lnTo>
                        <a:lnTo>
                          <a:pt x="25" y="34"/>
                        </a:lnTo>
                        <a:lnTo>
                          <a:pt x="35" y="28"/>
                        </a:lnTo>
                        <a:lnTo>
                          <a:pt x="46" y="23"/>
                        </a:lnTo>
                        <a:lnTo>
                          <a:pt x="57" y="18"/>
                        </a:lnTo>
                        <a:lnTo>
                          <a:pt x="69" y="14"/>
                        </a:lnTo>
                        <a:lnTo>
                          <a:pt x="81" y="10"/>
                        </a:lnTo>
                        <a:lnTo>
                          <a:pt x="92" y="7"/>
                        </a:lnTo>
                        <a:lnTo>
                          <a:pt x="104" y="4"/>
                        </a:lnTo>
                        <a:lnTo>
                          <a:pt x="124" y="1"/>
                        </a:lnTo>
                        <a:lnTo>
                          <a:pt x="140" y="0"/>
                        </a:lnTo>
                        <a:lnTo>
                          <a:pt x="168" y="0"/>
                        </a:lnTo>
                        <a:lnTo>
                          <a:pt x="193" y="1"/>
                        </a:lnTo>
                        <a:lnTo>
                          <a:pt x="219" y="2"/>
                        </a:lnTo>
                        <a:lnTo>
                          <a:pt x="246" y="6"/>
                        </a:lnTo>
                        <a:lnTo>
                          <a:pt x="244" y="11"/>
                        </a:lnTo>
                        <a:lnTo>
                          <a:pt x="241" y="15"/>
                        </a:lnTo>
                        <a:lnTo>
                          <a:pt x="236" y="20"/>
                        </a:lnTo>
                        <a:lnTo>
                          <a:pt x="231" y="26"/>
                        </a:lnTo>
                        <a:lnTo>
                          <a:pt x="215" y="36"/>
                        </a:lnTo>
                        <a:lnTo>
                          <a:pt x="199" y="46"/>
                        </a:lnTo>
                        <a:lnTo>
                          <a:pt x="180" y="55"/>
                        </a:lnTo>
                        <a:lnTo>
                          <a:pt x="162" y="61"/>
                        </a:lnTo>
                        <a:lnTo>
                          <a:pt x="152" y="64"/>
                        </a:lnTo>
                        <a:lnTo>
                          <a:pt x="143" y="66"/>
                        </a:lnTo>
                        <a:lnTo>
                          <a:pt x="134" y="67"/>
                        </a:lnTo>
                        <a:lnTo>
                          <a:pt x="126" y="67"/>
                        </a:lnTo>
                        <a:lnTo>
                          <a:pt x="120" y="67"/>
                        </a:lnTo>
                        <a:lnTo>
                          <a:pt x="110" y="67"/>
                        </a:lnTo>
                        <a:lnTo>
                          <a:pt x="100" y="67"/>
                        </a:lnTo>
                        <a:lnTo>
                          <a:pt x="93" y="67"/>
                        </a:lnTo>
                        <a:lnTo>
                          <a:pt x="88" y="69"/>
                        </a:lnTo>
                        <a:lnTo>
                          <a:pt x="80" y="72"/>
                        </a:lnTo>
                        <a:lnTo>
                          <a:pt x="72" y="77"/>
                        </a:lnTo>
                        <a:lnTo>
                          <a:pt x="63" y="83"/>
                        </a:lnTo>
                        <a:lnTo>
                          <a:pt x="53" y="88"/>
                        </a:lnTo>
                        <a:lnTo>
                          <a:pt x="44" y="93"/>
                        </a:lnTo>
                        <a:lnTo>
                          <a:pt x="35" y="96"/>
                        </a:lnTo>
                        <a:lnTo>
                          <a:pt x="27" y="99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77" name="Freeform 424">
                    <a:extLst>
                      <a:ext uri="{FF2B5EF4-FFF2-40B4-BE49-F238E27FC236}">
                        <a16:creationId xmlns:a16="http://schemas.microsoft.com/office/drawing/2014/main" xmlns="" id="{96766E97-B671-47C3-A4D1-2B8B5CD857D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94" y="1248"/>
                    <a:ext cx="76" cy="40"/>
                  </a:xfrm>
                  <a:custGeom>
                    <a:avLst/>
                    <a:gdLst>
                      <a:gd name="T0" fmla="*/ 0 w 233"/>
                      <a:gd name="T1" fmla="*/ 0 h 123"/>
                      <a:gd name="T2" fmla="*/ 0 w 233"/>
                      <a:gd name="T3" fmla="*/ 0 h 123"/>
                      <a:gd name="T4" fmla="*/ 0 w 233"/>
                      <a:gd name="T5" fmla="*/ 0 h 123"/>
                      <a:gd name="T6" fmla="*/ 0 w 233"/>
                      <a:gd name="T7" fmla="*/ 0 h 123"/>
                      <a:gd name="T8" fmla="*/ 0 w 233"/>
                      <a:gd name="T9" fmla="*/ 0 h 123"/>
                      <a:gd name="T10" fmla="*/ 0 w 233"/>
                      <a:gd name="T11" fmla="*/ 0 h 123"/>
                      <a:gd name="T12" fmla="*/ 0 w 233"/>
                      <a:gd name="T13" fmla="*/ 0 h 123"/>
                      <a:gd name="T14" fmla="*/ 0 w 233"/>
                      <a:gd name="T15" fmla="*/ 0 h 123"/>
                      <a:gd name="T16" fmla="*/ 0 w 233"/>
                      <a:gd name="T17" fmla="*/ 0 h 123"/>
                      <a:gd name="T18" fmla="*/ 0 w 233"/>
                      <a:gd name="T19" fmla="*/ 0 h 123"/>
                      <a:gd name="T20" fmla="*/ 1 w 233"/>
                      <a:gd name="T21" fmla="*/ 0 h 123"/>
                      <a:gd name="T22" fmla="*/ 1 w 233"/>
                      <a:gd name="T23" fmla="*/ 0 h 123"/>
                      <a:gd name="T24" fmla="*/ 1 w 233"/>
                      <a:gd name="T25" fmla="*/ 0 h 123"/>
                      <a:gd name="T26" fmla="*/ 1 w 233"/>
                      <a:gd name="T27" fmla="*/ 0 h 123"/>
                      <a:gd name="T28" fmla="*/ 1 w 233"/>
                      <a:gd name="T29" fmla="*/ 0 h 123"/>
                      <a:gd name="T30" fmla="*/ 1 w 233"/>
                      <a:gd name="T31" fmla="*/ 0 h 123"/>
                      <a:gd name="T32" fmla="*/ 1 w 233"/>
                      <a:gd name="T33" fmla="*/ 0 h 123"/>
                      <a:gd name="T34" fmla="*/ 1 w 233"/>
                      <a:gd name="T35" fmla="*/ 0 h 123"/>
                      <a:gd name="T36" fmla="*/ 1 w 233"/>
                      <a:gd name="T37" fmla="*/ 0 h 123"/>
                      <a:gd name="T38" fmla="*/ 1 w 233"/>
                      <a:gd name="T39" fmla="*/ 0 h 123"/>
                      <a:gd name="T40" fmla="*/ 1 w 233"/>
                      <a:gd name="T41" fmla="*/ 0 h 123"/>
                      <a:gd name="T42" fmla="*/ 1 w 233"/>
                      <a:gd name="T43" fmla="*/ 0 h 123"/>
                      <a:gd name="T44" fmla="*/ 1 w 233"/>
                      <a:gd name="T45" fmla="*/ 0 h 123"/>
                      <a:gd name="T46" fmla="*/ 1 w 233"/>
                      <a:gd name="T47" fmla="*/ 0 h 123"/>
                      <a:gd name="T48" fmla="*/ 1 w 233"/>
                      <a:gd name="T49" fmla="*/ 0 h 123"/>
                      <a:gd name="T50" fmla="*/ 0 w 233"/>
                      <a:gd name="T51" fmla="*/ 0 h 123"/>
                      <a:gd name="T52" fmla="*/ 0 w 233"/>
                      <a:gd name="T53" fmla="*/ 0 h 123"/>
                      <a:gd name="T54" fmla="*/ 0 w 233"/>
                      <a:gd name="T55" fmla="*/ 0 h 123"/>
                      <a:gd name="T56" fmla="*/ 0 w 233"/>
                      <a:gd name="T57" fmla="*/ 0 h 123"/>
                      <a:gd name="T58" fmla="*/ 0 w 233"/>
                      <a:gd name="T59" fmla="*/ 0 h 123"/>
                      <a:gd name="T60" fmla="*/ 0 w 233"/>
                      <a:gd name="T61" fmla="*/ 0 h 123"/>
                      <a:gd name="T62" fmla="*/ 0 w 233"/>
                      <a:gd name="T63" fmla="*/ 0 h 123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w 233"/>
                      <a:gd name="T97" fmla="*/ 0 h 123"/>
                      <a:gd name="T98" fmla="*/ 233 w 233"/>
                      <a:gd name="T99" fmla="*/ 123 h 123"/>
                    </a:gdLst>
                    <a:ahLst/>
                    <a:cxnLst>
                      <a:cxn ang="T64">
                        <a:pos x="T0" y="T1"/>
                      </a:cxn>
                      <a:cxn ang="T65">
                        <a:pos x="T2" y="T3"/>
                      </a:cxn>
                      <a:cxn ang="T66">
                        <a:pos x="T4" y="T5"/>
                      </a:cxn>
                      <a:cxn ang="T67">
                        <a:pos x="T6" y="T7"/>
                      </a:cxn>
                      <a:cxn ang="T68">
                        <a:pos x="T8" y="T9"/>
                      </a:cxn>
                      <a:cxn ang="T69">
                        <a:pos x="T10" y="T11"/>
                      </a:cxn>
                      <a:cxn ang="T70">
                        <a:pos x="T12" y="T13"/>
                      </a:cxn>
                      <a:cxn ang="T71">
                        <a:pos x="T14" y="T15"/>
                      </a:cxn>
                      <a:cxn ang="T72">
                        <a:pos x="T16" y="T17"/>
                      </a:cxn>
                      <a:cxn ang="T73">
                        <a:pos x="T18" y="T19"/>
                      </a:cxn>
                      <a:cxn ang="T74">
                        <a:pos x="T20" y="T21"/>
                      </a:cxn>
                      <a:cxn ang="T75">
                        <a:pos x="T22" y="T23"/>
                      </a:cxn>
                      <a:cxn ang="T76">
                        <a:pos x="T24" y="T25"/>
                      </a:cxn>
                      <a:cxn ang="T77">
                        <a:pos x="T26" y="T27"/>
                      </a:cxn>
                      <a:cxn ang="T78">
                        <a:pos x="T28" y="T29"/>
                      </a:cxn>
                      <a:cxn ang="T79">
                        <a:pos x="T30" y="T31"/>
                      </a:cxn>
                      <a:cxn ang="T80">
                        <a:pos x="T32" y="T33"/>
                      </a:cxn>
                      <a:cxn ang="T81">
                        <a:pos x="T34" y="T35"/>
                      </a:cxn>
                      <a:cxn ang="T82">
                        <a:pos x="T36" y="T37"/>
                      </a:cxn>
                      <a:cxn ang="T83">
                        <a:pos x="T38" y="T39"/>
                      </a:cxn>
                      <a:cxn ang="T84">
                        <a:pos x="T40" y="T41"/>
                      </a:cxn>
                      <a:cxn ang="T85">
                        <a:pos x="T42" y="T43"/>
                      </a:cxn>
                      <a:cxn ang="T86">
                        <a:pos x="T44" y="T45"/>
                      </a:cxn>
                      <a:cxn ang="T87">
                        <a:pos x="T46" y="T47"/>
                      </a:cxn>
                      <a:cxn ang="T88">
                        <a:pos x="T48" y="T49"/>
                      </a:cxn>
                      <a:cxn ang="T89">
                        <a:pos x="T50" y="T51"/>
                      </a:cxn>
                      <a:cxn ang="T90">
                        <a:pos x="T52" y="T53"/>
                      </a:cxn>
                      <a:cxn ang="T91">
                        <a:pos x="T54" y="T55"/>
                      </a:cxn>
                      <a:cxn ang="T92">
                        <a:pos x="T56" y="T57"/>
                      </a:cxn>
                      <a:cxn ang="T93">
                        <a:pos x="T58" y="T59"/>
                      </a:cxn>
                      <a:cxn ang="T94">
                        <a:pos x="T60" y="T61"/>
                      </a:cxn>
                      <a:cxn ang="T95">
                        <a:pos x="T62" y="T63"/>
                      </a:cxn>
                    </a:cxnLst>
                    <a:rect l="T96" t="T97" r="T98" b="T99"/>
                    <a:pathLst>
                      <a:path w="233" h="123">
                        <a:moveTo>
                          <a:pt x="47" y="93"/>
                        </a:moveTo>
                        <a:lnTo>
                          <a:pt x="33" y="88"/>
                        </a:lnTo>
                        <a:lnTo>
                          <a:pt x="21" y="83"/>
                        </a:lnTo>
                        <a:lnTo>
                          <a:pt x="10" y="78"/>
                        </a:lnTo>
                        <a:lnTo>
                          <a:pt x="0" y="74"/>
                        </a:lnTo>
                        <a:lnTo>
                          <a:pt x="0" y="55"/>
                        </a:lnTo>
                        <a:lnTo>
                          <a:pt x="10" y="46"/>
                        </a:lnTo>
                        <a:lnTo>
                          <a:pt x="20" y="37"/>
                        </a:lnTo>
                        <a:lnTo>
                          <a:pt x="30" y="37"/>
                        </a:lnTo>
                        <a:lnTo>
                          <a:pt x="40" y="37"/>
                        </a:lnTo>
                        <a:lnTo>
                          <a:pt x="51" y="37"/>
                        </a:lnTo>
                        <a:lnTo>
                          <a:pt x="61" y="37"/>
                        </a:lnTo>
                        <a:lnTo>
                          <a:pt x="66" y="37"/>
                        </a:lnTo>
                        <a:lnTo>
                          <a:pt x="72" y="36"/>
                        </a:lnTo>
                        <a:lnTo>
                          <a:pt x="77" y="35"/>
                        </a:lnTo>
                        <a:lnTo>
                          <a:pt x="83" y="33"/>
                        </a:lnTo>
                        <a:lnTo>
                          <a:pt x="94" y="28"/>
                        </a:lnTo>
                        <a:lnTo>
                          <a:pt x="104" y="23"/>
                        </a:lnTo>
                        <a:lnTo>
                          <a:pt x="114" y="17"/>
                        </a:lnTo>
                        <a:lnTo>
                          <a:pt x="123" y="11"/>
                        </a:lnTo>
                        <a:lnTo>
                          <a:pt x="134" y="5"/>
                        </a:lnTo>
                        <a:lnTo>
                          <a:pt x="146" y="0"/>
                        </a:lnTo>
                        <a:lnTo>
                          <a:pt x="153" y="4"/>
                        </a:lnTo>
                        <a:lnTo>
                          <a:pt x="161" y="8"/>
                        </a:lnTo>
                        <a:lnTo>
                          <a:pt x="171" y="11"/>
                        </a:lnTo>
                        <a:lnTo>
                          <a:pt x="181" y="12"/>
                        </a:lnTo>
                        <a:lnTo>
                          <a:pt x="185" y="12"/>
                        </a:lnTo>
                        <a:lnTo>
                          <a:pt x="190" y="10"/>
                        </a:lnTo>
                        <a:lnTo>
                          <a:pt x="196" y="8"/>
                        </a:lnTo>
                        <a:lnTo>
                          <a:pt x="201" y="6"/>
                        </a:lnTo>
                        <a:lnTo>
                          <a:pt x="210" y="2"/>
                        </a:lnTo>
                        <a:lnTo>
                          <a:pt x="213" y="0"/>
                        </a:lnTo>
                        <a:lnTo>
                          <a:pt x="233" y="0"/>
                        </a:lnTo>
                        <a:lnTo>
                          <a:pt x="232" y="6"/>
                        </a:lnTo>
                        <a:lnTo>
                          <a:pt x="231" y="12"/>
                        </a:lnTo>
                        <a:lnTo>
                          <a:pt x="228" y="18"/>
                        </a:lnTo>
                        <a:lnTo>
                          <a:pt x="224" y="22"/>
                        </a:lnTo>
                        <a:lnTo>
                          <a:pt x="219" y="25"/>
                        </a:lnTo>
                        <a:lnTo>
                          <a:pt x="213" y="28"/>
                        </a:lnTo>
                        <a:lnTo>
                          <a:pt x="207" y="30"/>
                        </a:lnTo>
                        <a:lnTo>
                          <a:pt x="200" y="30"/>
                        </a:lnTo>
                        <a:lnTo>
                          <a:pt x="201" y="43"/>
                        </a:lnTo>
                        <a:lnTo>
                          <a:pt x="204" y="52"/>
                        </a:lnTo>
                        <a:lnTo>
                          <a:pt x="206" y="62"/>
                        </a:lnTo>
                        <a:lnTo>
                          <a:pt x="207" y="74"/>
                        </a:lnTo>
                        <a:lnTo>
                          <a:pt x="185" y="85"/>
                        </a:lnTo>
                        <a:lnTo>
                          <a:pt x="166" y="93"/>
                        </a:lnTo>
                        <a:lnTo>
                          <a:pt x="157" y="96"/>
                        </a:lnTo>
                        <a:lnTo>
                          <a:pt x="149" y="98"/>
                        </a:lnTo>
                        <a:lnTo>
                          <a:pt x="139" y="98"/>
                        </a:lnTo>
                        <a:lnTo>
                          <a:pt x="127" y="99"/>
                        </a:lnTo>
                        <a:lnTo>
                          <a:pt x="116" y="100"/>
                        </a:lnTo>
                        <a:lnTo>
                          <a:pt x="105" y="103"/>
                        </a:lnTo>
                        <a:lnTo>
                          <a:pt x="96" y="106"/>
                        </a:lnTo>
                        <a:lnTo>
                          <a:pt x="88" y="111"/>
                        </a:lnTo>
                        <a:lnTo>
                          <a:pt x="82" y="115"/>
                        </a:lnTo>
                        <a:lnTo>
                          <a:pt x="74" y="119"/>
                        </a:lnTo>
                        <a:lnTo>
                          <a:pt x="67" y="122"/>
                        </a:lnTo>
                        <a:lnTo>
                          <a:pt x="61" y="123"/>
                        </a:lnTo>
                        <a:lnTo>
                          <a:pt x="58" y="122"/>
                        </a:lnTo>
                        <a:lnTo>
                          <a:pt x="55" y="119"/>
                        </a:lnTo>
                        <a:lnTo>
                          <a:pt x="53" y="115"/>
                        </a:lnTo>
                        <a:lnTo>
                          <a:pt x="51" y="110"/>
                        </a:lnTo>
                        <a:lnTo>
                          <a:pt x="48" y="100"/>
                        </a:lnTo>
                        <a:lnTo>
                          <a:pt x="47" y="93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78" name="Freeform 425">
                    <a:extLst>
                      <a:ext uri="{FF2B5EF4-FFF2-40B4-BE49-F238E27FC236}">
                        <a16:creationId xmlns:a16="http://schemas.microsoft.com/office/drawing/2014/main" xmlns="" id="{E11EA33A-936C-49D4-A5E6-99EF8C8E1B3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83" y="1236"/>
                    <a:ext cx="157" cy="56"/>
                  </a:xfrm>
                  <a:custGeom>
                    <a:avLst/>
                    <a:gdLst>
                      <a:gd name="T0" fmla="*/ 0 w 484"/>
                      <a:gd name="T1" fmla="*/ 1 h 172"/>
                      <a:gd name="T2" fmla="*/ 0 w 484"/>
                      <a:gd name="T3" fmla="*/ 1 h 172"/>
                      <a:gd name="T4" fmla="*/ 0 w 484"/>
                      <a:gd name="T5" fmla="*/ 1 h 172"/>
                      <a:gd name="T6" fmla="*/ 0 w 484"/>
                      <a:gd name="T7" fmla="*/ 1 h 172"/>
                      <a:gd name="T8" fmla="*/ 0 w 484"/>
                      <a:gd name="T9" fmla="*/ 1 h 172"/>
                      <a:gd name="T10" fmla="*/ 0 w 484"/>
                      <a:gd name="T11" fmla="*/ 1 h 172"/>
                      <a:gd name="T12" fmla="*/ 0 w 484"/>
                      <a:gd name="T13" fmla="*/ 1 h 172"/>
                      <a:gd name="T14" fmla="*/ 0 w 484"/>
                      <a:gd name="T15" fmla="*/ 1 h 172"/>
                      <a:gd name="T16" fmla="*/ 1 w 484"/>
                      <a:gd name="T17" fmla="*/ 1 h 172"/>
                      <a:gd name="T18" fmla="*/ 1 w 484"/>
                      <a:gd name="T19" fmla="*/ 1 h 172"/>
                      <a:gd name="T20" fmla="*/ 1 w 484"/>
                      <a:gd name="T21" fmla="*/ 0 h 172"/>
                      <a:gd name="T22" fmla="*/ 1 w 484"/>
                      <a:gd name="T23" fmla="*/ 0 h 172"/>
                      <a:gd name="T24" fmla="*/ 1 w 484"/>
                      <a:gd name="T25" fmla="*/ 0 h 172"/>
                      <a:gd name="T26" fmla="*/ 2 w 484"/>
                      <a:gd name="T27" fmla="*/ 0 h 172"/>
                      <a:gd name="T28" fmla="*/ 2 w 484"/>
                      <a:gd name="T29" fmla="*/ 0 h 172"/>
                      <a:gd name="T30" fmla="*/ 2 w 484"/>
                      <a:gd name="T31" fmla="*/ 0 h 172"/>
                      <a:gd name="T32" fmla="*/ 2 w 484"/>
                      <a:gd name="T33" fmla="*/ 0 h 172"/>
                      <a:gd name="T34" fmla="*/ 2 w 484"/>
                      <a:gd name="T35" fmla="*/ 0 h 172"/>
                      <a:gd name="T36" fmla="*/ 2 w 484"/>
                      <a:gd name="T37" fmla="*/ 0 h 172"/>
                      <a:gd name="T38" fmla="*/ 1 w 484"/>
                      <a:gd name="T39" fmla="*/ 0 h 172"/>
                      <a:gd name="T40" fmla="*/ 1 w 484"/>
                      <a:gd name="T41" fmla="*/ 0 h 172"/>
                      <a:gd name="T42" fmla="*/ 1 w 484"/>
                      <a:gd name="T43" fmla="*/ 0 h 172"/>
                      <a:gd name="T44" fmla="*/ 1 w 484"/>
                      <a:gd name="T45" fmla="*/ 0 h 172"/>
                      <a:gd name="T46" fmla="*/ 1 w 484"/>
                      <a:gd name="T47" fmla="*/ 0 h 172"/>
                      <a:gd name="T48" fmla="*/ 1 w 484"/>
                      <a:gd name="T49" fmla="*/ 0 h 172"/>
                      <a:gd name="T50" fmla="*/ 1 w 484"/>
                      <a:gd name="T51" fmla="*/ 0 h 172"/>
                      <a:gd name="T52" fmla="*/ 1 w 484"/>
                      <a:gd name="T53" fmla="*/ 0 h 172"/>
                      <a:gd name="T54" fmla="*/ 1 w 484"/>
                      <a:gd name="T55" fmla="*/ 0 h 172"/>
                      <a:gd name="T56" fmla="*/ 1 w 484"/>
                      <a:gd name="T57" fmla="*/ 0 h 172"/>
                      <a:gd name="T58" fmla="*/ 1 w 484"/>
                      <a:gd name="T59" fmla="*/ 0 h 172"/>
                      <a:gd name="T60" fmla="*/ 1 w 484"/>
                      <a:gd name="T61" fmla="*/ 0 h 172"/>
                      <a:gd name="T62" fmla="*/ 0 w 484"/>
                      <a:gd name="T63" fmla="*/ 0 h 172"/>
                      <a:gd name="T64" fmla="*/ 0 w 484"/>
                      <a:gd name="T65" fmla="*/ 0 h 172"/>
                      <a:gd name="T66" fmla="*/ 0 w 484"/>
                      <a:gd name="T67" fmla="*/ 0 h 172"/>
                      <a:gd name="T68" fmla="*/ 0 w 484"/>
                      <a:gd name="T69" fmla="*/ 0 h 172"/>
                      <a:gd name="T70" fmla="*/ 0 w 484"/>
                      <a:gd name="T71" fmla="*/ 0 h 172"/>
                      <a:gd name="T72" fmla="*/ 0 w 484"/>
                      <a:gd name="T73" fmla="*/ 0 h 172"/>
                      <a:gd name="T74" fmla="*/ 0 w 484"/>
                      <a:gd name="T75" fmla="*/ 0 h 172"/>
                      <a:gd name="T76" fmla="*/ 0 w 484"/>
                      <a:gd name="T77" fmla="*/ 1 h 172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484"/>
                      <a:gd name="T118" fmla="*/ 0 h 172"/>
                      <a:gd name="T119" fmla="*/ 484 w 484"/>
                      <a:gd name="T120" fmla="*/ 172 h 172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484" h="172">
                        <a:moveTo>
                          <a:pt x="0" y="142"/>
                        </a:moveTo>
                        <a:lnTo>
                          <a:pt x="0" y="147"/>
                        </a:lnTo>
                        <a:lnTo>
                          <a:pt x="1" y="152"/>
                        </a:lnTo>
                        <a:lnTo>
                          <a:pt x="3" y="156"/>
                        </a:lnTo>
                        <a:lnTo>
                          <a:pt x="6" y="159"/>
                        </a:lnTo>
                        <a:lnTo>
                          <a:pt x="9" y="162"/>
                        </a:lnTo>
                        <a:lnTo>
                          <a:pt x="13" y="165"/>
                        </a:lnTo>
                        <a:lnTo>
                          <a:pt x="17" y="167"/>
                        </a:lnTo>
                        <a:lnTo>
                          <a:pt x="21" y="168"/>
                        </a:lnTo>
                        <a:lnTo>
                          <a:pt x="31" y="170"/>
                        </a:lnTo>
                        <a:lnTo>
                          <a:pt x="41" y="172"/>
                        </a:lnTo>
                        <a:lnTo>
                          <a:pt x="51" y="172"/>
                        </a:lnTo>
                        <a:lnTo>
                          <a:pt x="59" y="172"/>
                        </a:lnTo>
                        <a:lnTo>
                          <a:pt x="73" y="172"/>
                        </a:lnTo>
                        <a:lnTo>
                          <a:pt x="86" y="170"/>
                        </a:lnTo>
                        <a:lnTo>
                          <a:pt x="99" y="167"/>
                        </a:lnTo>
                        <a:lnTo>
                          <a:pt x="113" y="164"/>
                        </a:lnTo>
                        <a:lnTo>
                          <a:pt x="139" y="156"/>
                        </a:lnTo>
                        <a:lnTo>
                          <a:pt x="164" y="146"/>
                        </a:lnTo>
                        <a:lnTo>
                          <a:pt x="189" y="135"/>
                        </a:lnTo>
                        <a:lnTo>
                          <a:pt x="215" y="124"/>
                        </a:lnTo>
                        <a:lnTo>
                          <a:pt x="240" y="113"/>
                        </a:lnTo>
                        <a:lnTo>
                          <a:pt x="265" y="104"/>
                        </a:lnTo>
                        <a:lnTo>
                          <a:pt x="287" y="100"/>
                        </a:lnTo>
                        <a:lnTo>
                          <a:pt x="316" y="94"/>
                        </a:lnTo>
                        <a:lnTo>
                          <a:pt x="350" y="87"/>
                        </a:lnTo>
                        <a:lnTo>
                          <a:pt x="385" y="80"/>
                        </a:lnTo>
                        <a:lnTo>
                          <a:pt x="401" y="75"/>
                        </a:lnTo>
                        <a:lnTo>
                          <a:pt x="418" y="70"/>
                        </a:lnTo>
                        <a:lnTo>
                          <a:pt x="434" y="64"/>
                        </a:lnTo>
                        <a:lnTo>
                          <a:pt x="449" y="58"/>
                        </a:lnTo>
                        <a:lnTo>
                          <a:pt x="461" y="52"/>
                        </a:lnTo>
                        <a:lnTo>
                          <a:pt x="471" y="46"/>
                        </a:lnTo>
                        <a:lnTo>
                          <a:pt x="475" y="42"/>
                        </a:lnTo>
                        <a:lnTo>
                          <a:pt x="479" y="39"/>
                        </a:lnTo>
                        <a:lnTo>
                          <a:pt x="482" y="35"/>
                        </a:lnTo>
                        <a:lnTo>
                          <a:pt x="484" y="31"/>
                        </a:lnTo>
                        <a:lnTo>
                          <a:pt x="449" y="26"/>
                        </a:lnTo>
                        <a:lnTo>
                          <a:pt x="417" y="21"/>
                        </a:lnTo>
                        <a:lnTo>
                          <a:pt x="387" y="16"/>
                        </a:lnTo>
                        <a:lnTo>
                          <a:pt x="359" y="10"/>
                        </a:lnTo>
                        <a:lnTo>
                          <a:pt x="331" y="6"/>
                        </a:lnTo>
                        <a:lnTo>
                          <a:pt x="303" y="3"/>
                        </a:lnTo>
                        <a:lnTo>
                          <a:pt x="272" y="0"/>
                        </a:lnTo>
                        <a:lnTo>
                          <a:pt x="239" y="0"/>
                        </a:lnTo>
                        <a:lnTo>
                          <a:pt x="225" y="0"/>
                        </a:lnTo>
                        <a:lnTo>
                          <a:pt x="213" y="2"/>
                        </a:lnTo>
                        <a:lnTo>
                          <a:pt x="203" y="4"/>
                        </a:lnTo>
                        <a:lnTo>
                          <a:pt x="195" y="6"/>
                        </a:lnTo>
                        <a:lnTo>
                          <a:pt x="186" y="8"/>
                        </a:lnTo>
                        <a:lnTo>
                          <a:pt x="180" y="7"/>
                        </a:lnTo>
                        <a:lnTo>
                          <a:pt x="176" y="6"/>
                        </a:lnTo>
                        <a:lnTo>
                          <a:pt x="173" y="5"/>
                        </a:lnTo>
                        <a:lnTo>
                          <a:pt x="169" y="3"/>
                        </a:lnTo>
                        <a:lnTo>
                          <a:pt x="165" y="0"/>
                        </a:lnTo>
                        <a:lnTo>
                          <a:pt x="165" y="8"/>
                        </a:lnTo>
                        <a:lnTo>
                          <a:pt x="163" y="17"/>
                        </a:lnTo>
                        <a:lnTo>
                          <a:pt x="161" y="24"/>
                        </a:lnTo>
                        <a:lnTo>
                          <a:pt x="159" y="31"/>
                        </a:lnTo>
                        <a:lnTo>
                          <a:pt x="154" y="36"/>
                        </a:lnTo>
                        <a:lnTo>
                          <a:pt x="150" y="42"/>
                        </a:lnTo>
                        <a:lnTo>
                          <a:pt x="144" y="46"/>
                        </a:lnTo>
                        <a:lnTo>
                          <a:pt x="139" y="50"/>
                        </a:lnTo>
                        <a:lnTo>
                          <a:pt x="127" y="58"/>
                        </a:lnTo>
                        <a:lnTo>
                          <a:pt x="113" y="63"/>
                        </a:lnTo>
                        <a:lnTo>
                          <a:pt x="97" y="69"/>
                        </a:lnTo>
                        <a:lnTo>
                          <a:pt x="82" y="73"/>
                        </a:lnTo>
                        <a:lnTo>
                          <a:pt x="66" y="78"/>
                        </a:lnTo>
                        <a:lnTo>
                          <a:pt x="52" y="82"/>
                        </a:lnTo>
                        <a:lnTo>
                          <a:pt x="38" y="88"/>
                        </a:lnTo>
                        <a:lnTo>
                          <a:pt x="25" y="94"/>
                        </a:lnTo>
                        <a:lnTo>
                          <a:pt x="19" y="98"/>
                        </a:lnTo>
                        <a:lnTo>
                          <a:pt x="15" y="103"/>
                        </a:lnTo>
                        <a:lnTo>
                          <a:pt x="10" y="107"/>
                        </a:lnTo>
                        <a:lnTo>
                          <a:pt x="6" y="113"/>
                        </a:lnTo>
                        <a:lnTo>
                          <a:pt x="3" y="119"/>
                        </a:lnTo>
                        <a:lnTo>
                          <a:pt x="1" y="126"/>
                        </a:lnTo>
                        <a:lnTo>
                          <a:pt x="0" y="134"/>
                        </a:lnTo>
                        <a:lnTo>
                          <a:pt x="0" y="142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79" name="Freeform 426">
                    <a:extLst>
                      <a:ext uri="{FF2B5EF4-FFF2-40B4-BE49-F238E27FC236}">
                        <a16:creationId xmlns:a16="http://schemas.microsoft.com/office/drawing/2014/main" xmlns="" id="{600D18FF-E1EC-409B-81C2-83C857308FE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43" y="1255"/>
                    <a:ext cx="221" cy="79"/>
                  </a:xfrm>
                  <a:custGeom>
                    <a:avLst/>
                    <a:gdLst>
                      <a:gd name="T0" fmla="*/ 1 w 684"/>
                      <a:gd name="T1" fmla="*/ 0 h 240"/>
                      <a:gd name="T2" fmla="*/ 1 w 684"/>
                      <a:gd name="T3" fmla="*/ 0 h 240"/>
                      <a:gd name="T4" fmla="*/ 1 w 684"/>
                      <a:gd name="T5" fmla="*/ 0 h 240"/>
                      <a:gd name="T6" fmla="*/ 1 w 684"/>
                      <a:gd name="T7" fmla="*/ 0 h 240"/>
                      <a:gd name="T8" fmla="*/ 1 w 684"/>
                      <a:gd name="T9" fmla="*/ 0 h 240"/>
                      <a:gd name="T10" fmla="*/ 1 w 684"/>
                      <a:gd name="T11" fmla="*/ 0 h 240"/>
                      <a:gd name="T12" fmla="*/ 1 w 684"/>
                      <a:gd name="T13" fmla="*/ 0 h 240"/>
                      <a:gd name="T14" fmla="*/ 1 w 684"/>
                      <a:gd name="T15" fmla="*/ 0 h 240"/>
                      <a:gd name="T16" fmla="*/ 2 w 684"/>
                      <a:gd name="T17" fmla="*/ 0 h 240"/>
                      <a:gd name="T18" fmla="*/ 2 w 684"/>
                      <a:gd name="T19" fmla="*/ 0 h 240"/>
                      <a:gd name="T20" fmla="*/ 2 w 684"/>
                      <a:gd name="T21" fmla="*/ 0 h 240"/>
                      <a:gd name="T22" fmla="*/ 2 w 684"/>
                      <a:gd name="T23" fmla="*/ 0 h 240"/>
                      <a:gd name="T24" fmla="*/ 2 w 684"/>
                      <a:gd name="T25" fmla="*/ 0 h 240"/>
                      <a:gd name="T26" fmla="*/ 2 w 684"/>
                      <a:gd name="T27" fmla="*/ 0 h 240"/>
                      <a:gd name="T28" fmla="*/ 2 w 684"/>
                      <a:gd name="T29" fmla="*/ 0 h 240"/>
                      <a:gd name="T30" fmla="*/ 2 w 684"/>
                      <a:gd name="T31" fmla="*/ 0 h 240"/>
                      <a:gd name="T32" fmla="*/ 2 w 684"/>
                      <a:gd name="T33" fmla="*/ 0 h 240"/>
                      <a:gd name="T34" fmla="*/ 2 w 684"/>
                      <a:gd name="T35" fmla="*/ 0 h 240"/>
                      <a:gd name="T36" fmla="*/ 2 w 684"/>
                      <a:gd name="T37" fmla="*/ 0 h 240"/>
                      <a:gd name="T38" fmla="*/ 2 w 684"/>
                      <a:gd name="T39" fmla="*/ 0 h 240"/>
                      <a:gd name="T40" fmla="*/ 2 w 684"/>
                      <a:gd name="T41" fmla="*/ 0 h 240"/>
                      <a:gd name="T42" fmla="*/ 2 w 684"/>
                      <a:gd name="T43" fmla="*/ 0 h 240"/>
                      <a:gd name="T44" fmla="*/ 2 w 684"/>
                      <a:gd name="T45" fmla="*/ 1 h 240"/>
                      <a:gd name="T46" fmla="*/ 2 w 684"/>
                      <a:gd name="T47" fmla="*/ 1 h 240"/>
                      <a:gd name="T48" fmla="*/ 2 w 684"/>
                      <a:gd name="T49" fmla="*/ 1 h 240"/>
                      <a:gd name="T50" fmla="*/ 2 w 684"/>
                      <a:gd name="T51" fmla="*/ 1 h 240"/>
                      <a:gd name="T52" fmla="*/ 2 w 684"/>
                      <a:gd name="T53" fmla="*/ 1 h 240"/>
                      <a:gd name="T54" fmla="*/ 2 w 684"/>
                      <a:gd name="T55" fmla="*/ 1 h 240"/>
                      <a:gd name="T56" fmla="*/ 2 w 684"/>
                      <a:gd name="T57" fmla="*/ 1 h 240"/>
                      <a:gd name="T58" fmla="*/ 2 w 684"/>
                      <a:gd name="T59" fmla="*/ 1 h 240"/>
                      <a:gd name="T60" fmla="*/ 2 w 684"/>
                      <a:gd name="T61" fmla="*/ 1 h 240"/>
                      <a:gd name="T62" fmla="*/ 2 w 684"/>
                      <a:gd name="T63" fmla="*/ 1 h 240"/>
                      <a:gd name="T64" fmla="*/ 2 w 684"/>
                      <a:gd name="T65" fmla="*/ 1 h 240"/>
                      <a:gd name="T66" fmla="*/ 2 w 684"/>
                      <a:gd name="T67" fmla="*/ 1 h 240"/>
                      <a:gd name="T68" fmla="*/ 1 w 684"/>
                      <a:gd name="T69" fmla="*/ 1 h 240"/>
                      <a:gd name="T70" fmla="*/ 1 w 684"/>
                      <a:gd name="T71" fmla="*/ 1 h 240"/>
                      <a:gd name="T72" fmla="*/ 1 w 684"/>
                      <a:gd name="T73" fmla="*/ 1 h 240"/>
                      <a:gd name="T74" fmla="*/ 0 w 684"/>
                      <a:gd name="T75" fmla="*/ 1 h 240"/>
                      <a:gd name="T76" fmla="*/ 0 w 684"/>
                      <a:gd name="T77" fmla="*/ 1 h 240"/>
                      <a:gd name="T78" fmla="*/ 0 w 684"/>
                      <a:gd name="T79" fmla="*/ 1 h 240"/>
                      <a:gd name="T80" fmla="*/ 0 w 684"/>
                      <a:gd name="T81" fmla="*/ 1 h 240"/>
                      <a:gd name="T82" fmla="*/ 0 w 684"/>
                      <a:gd name="T83" fmla="*/ 1 h 240"/>
                      <a:gd name="T84" fmla="*/ 0 w 684"/>
                      <a:gd name="T85" fmla="*/ 1 h 240"/>
                      <a:gd name="T86" fmla="*/ 0 w 684"/>
                      <a:gd name="T87" fmla="*/ 1 h 240"/>
                      <a:gd name="T88" fmla="*/ 1 w 684"/>
                      <a:gd name="T89" fmla="*/ 1 h 240"/>
                      <a:gd name="T90" fmla="*/ 1 w 684"/>
                      <a:gd name="T91" fmla="*/ 1 h 240"/>
                      <a:gd name="T92" fmla="*/ 1 w 684"/>
                      <a:gd name="T93" fmla="*/ 1 h 240"/>
                      <a:gd name="T94" fmla="*/ 0 w 684"/>
                      <a:gd name="T95" fmla="*/ 1 h 240"/>
                      <a:gd name="T96" fmla="*/ 0 w 684"/>
                      <a:gd name="T97" fmla="*/ 1 h 240"/>
                      <a:gd name="T98" fmla="*/ 0 w 684"/>
                      <a:gd name="T99" fmla="*/ 0 h 240"/>
                      <a:gd name="T100" fmla="*/ 1 w 684"/>
                      <a:gd name="T101" fmla="*/ 0 h 240"/>
                      <a:gd name="T102" fmla="*/ 1 w 684"/>
                      <a:gd name="T103" fmla="*/ 0 h 240"/>
                      <a:gd name="T104" fmla="*/ 1 w 684"/>
                      <a:gd name="T105" fmla="*/ 0 h 240"/>
                      <a:gd name="T106" fmla="*/ 0 w 684"/>
                      <a:gd name="T107" fmla="*/ 0 h 240"/>
                      <a:gd name="T108" fmla="*/ 0 w 684"/>
                      <a:gd name="T109" fmla="*/ 0 h 240"/>
                      <a:gd name="T110" fmla="*/ 0 w 684"/>
                      <a:gd name="T111" fmla="*/ 0 h 240"/>
                      <a:gd name="T112" fmla="*/ 0 w 684"/>
                      <a:gd name="T113" fmla="*/ 0 h 240"/>
                      <a:gd name="T114" fmla="*/ 0 w 684"/>
                      <a:gd name="T115" fmla="*/ 0 h 240"/>
                      <a:gd name="T116" fmla="*/ 0 w 684"/>
                      <a:gd name="T117" fmla="*/ 0 h 240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684"/>
                      <a:gd name="T178" fmla="*/ 0 h 240"/>
                      <a:gd name="T179" fmla="*/ 684 w 684"/>
                      <a:gd name="T180" fmla="*/ 240 h 240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684" h="240">
                        <a:moveTo>
                          <a:pt x="60" y="75"/>
                        </a:moveTo>
                        <a:lnTo>
                          <a:pt x="320" y="0"/>
                        </a:lnTo>
                        <a:lnTo>
                          <a:pt x="317" y="5"/>
                        </a:lnTo>
                        <a:lnTo>
                          <a:pt x="314" y="13"/>
                        </a:lnTo>
                        <a:lnTo>
                          <a:pt x="310" y="20"/>
                        </a:lnTo>
                        <a:lnTo>
                          <a:pt x="304" y="27"/>
                        </a:lnTo>
                        <a:lnTo>
                          <a:pt x="300" y="33"/>
                        </a:lnTo>
                        <a:lnTo>
                          <a:pt x="297" y="39"/>
                        </a:lnTo>
                        <a:lnTo>
                          <a:pt x="297" y="41"/>
                        </a:lnTo>
                        <a:lnTo>
                          <a:pt x="297" y="42"/>
                        </a:lnTo>
                        <a:lnTo>
                          <a:pt x="298" y="43"/>
                        </a:lnTo>
                        <a:lnTo>
                          <a:pt x="299" y="43"/>
                        </a:lnTo>
                        <a:lnTo>
                          <a:pt x="315" y="43"/>
                        </a:lnTo>
                        <a:lnTo>
                          <a:pt x="327" y="41"/>
                        </a:lnTo>
                        <a:lnTo>
                          <a:pt x="337" y="39"/>
                        </a:lnTo>
                        <a:lnTo>
                          <a:pt x="346" y="36"/>
                        </a:lnTo>
                        <a:lnTo>
                          <a:pt x="359" y="28"/>
                        </a:lnTo>
                        <a:lnTo>
                          <a:pt x="372" y="19"/>
                        </a:lnTo>
                        <a:lnTo>
                          <a:pt x="376" y="26"/>
                        </a:lnTo>
                        <a:lnTo>
                          <a:pt x="378" y="32"/>
                        </a:lnTo>
                        <a:lnTo>
                          <a:pt x="379" y="38"/>
                        </a:lnTo>
                        <a:lnTo>
                          <a:pt x="378" y="44"/>
                        </a:lnTo>
                        <a:lnTo>
                          <a:pt x="378" y="49"/>
                        </a:lnTo>
                        <a:lnTo>
                          <a:pt x="377" y="55"/>
                        </a:lnTo>
                        <a:lnTo>
                          <a:pt x="378" y="61"/>
                        </a:lnTo>
                        <a:lnTo>
                          <a:pt x="379" y="69"/>
                        </a:lnTo>
                        <a:lnTo>
                          <a:pt x="405" y="69"/>
                        </a:lnTo>
                        <a:lnTo>
                          <a:pt x="512" y="19"/>
                        </a:lnTo>
                        <a:lnTo>
                          <a:pt x="511" y="36"/>
                        </a:lnTo>
                        <a:lnTo>
                          <a:pt x="511" y="51"/>
                        </a:lnTo>
                        <a:lnTo>
                          <a:pt x="511" y="58"/>
                        </a:lnTo>
                        <a:lnTo>
                          <a:pt x="512" y="65"/>
                        </a:lnTo>
                        <a:lnTo>
                          <a:pt x="514" y="70"/>
                        </a:lnTo>
                        <a:lnTo>
                          <a:pt x="518" y="75"/>
                        </a:lnTo>
                        <a:lnTo>
                          <a:pt x="531" y="68"/>
                        </a:lnTo>
                        <a:lnTo>
                          <a:pt x="541" y="63"/>
                        </a:lnTo>
                        <a:lnTo>
                          <a:pt x="549" y="57"/>
                        </a:lnTo>
                        <a:lnTo>
                          <a:pt x="553" y="51"/>
                        </a:lnTo>
                        <a:lnTo>
                          <a:pt x="557" y="45"/>
                        </a:lnTo>
                        <a:lnTo>
                          <a:pt x="558" y="38"/>
                        </a:lnTo>
                        <a:lnTo>
                          <a:pt x="558" y="30"/>
                        </a:lnTo>
                        <a:lnTo>
                          <a:pt x="558" y="19"/>
                        </a:lnTo>
                        <a:lnTo>
                          <a:pt x="559" y="15"/>
                        </a:lnTo>
                        <a:lnTo>
                          <a:pt x="560" y="11"/>
                        </a:lnTo>
                        <a:lnTo>
                          <a:pt x="563" y="8"/>
                        </a:lnTo>
                        <a:lnTo>
                          <a:pt x="566" y="5"/>
                        </a:lnTo>
                        <a:lnTo>
                          <a:pt x="572" y="1"/>
                        </a:lnTo>
                        <a:lnTo>
                          <a:pt x="579" y="0"/>
                        </a:lnTo>
                        <a:lnTo>
                          <a:pt x="600" y="1"/>
                        </a:lnTo>
                        <a:lnTo>
                          <a:pt x="616" y="2"/>
                        </a:lnTo>
                        <a:lnTo>
                          <a:pt x="624" y="3"/>
                        </a:lnTo>
                        <a:lnTo>
                          <a:pt x="630" y="3"/>
                        </a:lnTo>
                        <a:lnTo>
                          <a:pt x="637" y="2"/>
                        </a:lnTo>
                        <a:lnTo>
                          <a:pt x="645" y="0"/>
                        </a:lnTo>
                        <a:lnTo>
                          <a:pt x="650" y="15"/>
                        </a:lnTo>
                        <a:lnTo>
                          <a:pt x="653" y="28"/>
                        </a:lnTo>
                        <a:lnTo>
                          <a:pt x="657" y="39"/>
                        </a:lnTo>
                        <a:lnTo>
                          <a:pt x="658" y="50"/>
                        </a:lnTo>
                        <a:lnTo>
                          <a:pt x="657" y="59"/>
                        </a:lnTo>
                        <a:lnTo>
                          <a:pt x="653" y="70"/>
                        </a:lnTo>
                        <a:lnTo>
                          <a:pt x="649" y="81"/>
                        </a:lnTo>
                        <a:lnTo>
                          <a:pt x="643" y="91"/>
                        </a:lnTo>
                        <a:lnTo>
                          <a:pt x="637" y="101"/>
                        </a:lnTo>
                        <a:lnTo>
                          <a:pt x="630" y="110"/>
                        </a:lnTo>
                        <a:lnTo>
                          <a:pt x="624" y="119"/>
                        </a:lnTo>
                        <a:lnTo>
                          <a:pt x="618" y="124"/>
                        </a:lnTo>
                        <a:lnTo>
                          <a:pt x="628" y="130"/>
                        </a:lnTo>
                        <a:lnTo>
                          <a:pt x="638" y="134"/>
                        </a:lnTo>
                        <a:lnTo>
                          <a:pt x="648" y="137"/>
                        </a:lnTo>
                        <a:lnTo>
                          <a:pt x="657" y="139"/>
                        </a:lnTo>
                        <a:lnTo>
                          <a:pt x="664" y="142"/>
                        </a:lnTo>
                        <a:lnTo>
                          <a:pt x="672" y="145"/>
                        </a:lnTo>
                        <a:lnTo>
                          <a:pt x="679" y="149"/>
                        </a:lnTo>
                        <a:lnTo>
                          <a:pt x="684" y="154"/>
                        </a:lnTo>
                        <a:lnTo>
                          <a:pt x="684" y="180"/>
                        </a:lnTo>
                        <a:lnTo>
                          <a:pt x="665" y="183"/>
                        </a:lnTo>
                        <a:lnTo>
                          <a:pt x="650" y="185"/>
                        </a:lnTo>
                        <a:lnTo>
                          <a:pt x="639" y="185"/>
                        </a:lnTo>
                        <a:lnTo>
                          <a:pt x="629" y="184"/>
                        </a:lnTo>
                        <a:lnTo>
                          <a:pt x="619" y="183"/>
                        </a:lnTo>
                        <a:lnTo>
                          <a:pt x="608" y="181"/>
                        </a:lnTo>
                        <a:lnTo>
                          <a:pt x="595" y="180"/>
                        </a:lnTo>
                        <a:lnTo>
                          <a:pt x="579" y="180"/>
                        </a:lnTo>
                        <a:lnTo>
                          <a:pt x="574" y="180"/>
                        </a:lnTo>
                        <a:lnTo>
                          <a:pt x="571" y="181"/>
                        </a:lnTo>
                        <a:lnTo>
                          <a:pt x="568" y="182"/>
                        </a:lnTo>
                        <a:lnTo>
                          <a:pt x="564" y="184"/>
                        </a:lnTo>
                        <a:lnTo>
                          <a:pt x="557" y="189"/>
                        </a:lnTo>
                        <a:lnTo>
                          <a:pt x="550" y="195"/>
                        </a:lnTo>
                        <a:lnTo>
                          <a:pt x="542" y="200"/>
                        </a:lnTo>
                        <a:lnTo>
                          <a:pt x="534" y="205"/>
                        </a:lnTo>
                        <a:lnTo>
                          <a:pt x="528" y="207"/>
                        </a:lnTo>
                        <a:lnTo>
                          <a:pt x="524" y="209"/>
                        </a:lnTo>
                        <a:lnTo>
                          <a:pt x="518" y="210"/>
                        </a:lnTo>
                        <a:lnTo>
                          <a:pt x="512" y="210"/>
                        </a:lnTo>
                        <a:lnTo>
                          <a:pt x="493" y="209"/>
                        </a:lnTo>
                        <a:lnTo>
                          <a:pt x="478" y="208"/>
                        </a:lnTo>
                        <a:lnTo>
                          <a:pt x="463" y="206"/>
                        </a:lnTo>
                        <a:lnTo>
                          <a:pt x="452" y="204"/>
                        </a:lnTo>
                        <a:lnTo>
                          <a:pt x="441" y="202"/>
                        </a:lnTo>
                        <a:lnTo>
                          <a:pt x="432" y="200"/>
                        </a:lnTo>
                        <a:lnTo>
                          <a:pt x="422" y="198"/>
                        </a:lnTo>
                        <a:lnTo>
                          <a:pt x="412" y="198"/>
                        </a:lnTo>
                        <a:lnTo>
                          <a:pt x="389" y="202"/>
                        </a:lnTo>
                        <a:lnTo>
                          <a:pt x="337" y="211"/>
                        </a:lnTo>
                        <a:lnTo>
                          <a:pt x="283" y="221"/>
                        </a:lnTo>
                        <a:lnTo>
                          <a:pt x="253" y="228"/>
                        </a:lnTo>
                        <a:lnTo>
                          <a:pt x="231" y="230"/>
                        </a:lnTo>
                        <a:lnTo>
                          <a:pt x="209" y="232"/>
                        </a:lnTo>
                        <a:lnTo>
                          <a:pt x="189" y="235"/>
                        </a:lnTo>
                        <a:lnTo>
                          <a:pt x="169" y="238"/>
                        </a:lnTo>
                        <a:lnTo>
                          <a:pt x="150" y="240"/>
                        </a:lnTo>
                        <a:lnTo>
                          <a:pt x="132" y="239"/>
                        </a:lnTo>
                        <a:lnTo>
                          <a:pt x="124" y="238"/>
                        </a:lnTo>
                        <a:lnTo>
                          <a:pt x="115" y="236"/>
                        </a:lnTo>
                        <a:lnTo>
                          <a:pt x="108" y="233"/>
                        </a:lnTo>
                        <a:lnTo>
                          <a:pt x="100" y="228"/>
                        </a:lnTo>
                        <a:lnTo>
                          <a:pt x="100" y="210"/>
                        </a:lnTo>
                        <a:lnTo>
                          <a:pt x="84" y="209"/>
                        </a:lnTo>
                        <a:lnTo>
                          <a:pt x="67" y="208"/>
                        </a:lnTo>
                        <a:lnTo>
                          <a:pt x="53" y="205"/>
                        </a:lnTo>
                        <a:lnTo>
                          <a:pt x="41" y="201"/>
                        </a:lnTo>
                        <a:lnTo>
                          <a:pt x="29" y="196"/>
                        </a:lnTo>
                        <a:lnTo>
                          <a:pt x="18" y="189"/>
                        </a:lnTo>
                        <a:lnTo>
                          <a:pt x="9" y="182"/>
                        </a:lnTo>
                        <a:lnTo>
                          <a:pt x="0" y="173"/>
                        </a:lnTo>
                        <a:lnTo>
                          <a:pt x="28" y="167"/>
                        </a:lnTo>
                        <a:lnTo>
                          <a:pt x="53" y="161"/>
                        </a:lnTo>
                        <a:lnTo>
                          <a:pt x="64" y="159"/>
                        </a:lnTo>
                        <a:lnTo>
                          <a:pt x="76" y="156"/>
                        </a:lnTo>
                        <a:lnTo>
                          <a:pt x="88" y="155"/>
                        </a:lnTo>
                        <a:lnTo>
                          <a:pt x="100" y="154"/>
                        </a:lnTo>
                        <a:lnTo>
                          <a:pt x="121" y="155"/>
                        </a:lnTo>
                        <a:lnTo>
                          <a:pt x="140" y="157"/>
                        </a:lnTo>
                        <a:lnTo>
                          <a:pt x="156" y="160"/>
                        </a:lnTo>
                        <a:lnTo>
                          <a:pt x="171" y="162"/>
                        </a:lnTo>
                        <a:lnTo>
                          <a:pt x="186" y="164"/>
                        </a:lnTo>
                        <a:lnTo>
                          <a:pt x="201" y="165"/>
                        </a:lnTo>
                        <a:lnTo>
                          <a:pt x="209" y="164"/>
                        </a:lnTo>
                        <a:lnTo>
                          <a:pt x="216" y="164"/>
                        </a:lnTo>
                        <a:lnTo>
                          <a:pt x="224" y="162"/>
                        </a:lnTo>
                        <a:lnTo>
                          <a:pt x="233" y="160"/>
                        </a:lnTo>
                        <a:lnTo>
                          <a:pt x="126" y="142"/>
                        </a:lnTo>
                        <a:lnTo>
                          <a:pt x="26" y="136"/>
                        </a:lnTo>
                        <a:lnTo>
                          <a:pt x="34" y="133"/>
                        </a:lnTo>
                        <a:lnTo>
                          <a:pt x="42" y="130"/>
                        </a:lnTo>
                        <a:lnTo>
                          <a:pt x="52" y="128"/>
                        </a:lnTo>
                        <a:lnTo>
                          <a:pt x="62" y="125"/>
                        </a:lnTo>
                        <a:lnTo>
                          <a:pt x="85" y="122"/>
                        </a:lnTo>
                        <a:lnTo>
                          <a:pt x="109" y="117"/>
                        </a:lnTo>
                        <a:lnTo>
                          <a:pt x="133" y="114"/>
                        </a:lnTo>
                        <a:lnTo>
                          <a:pt x="155" y="110"/>
                        </a:lnTo>
                        <a:lnTo>
                          <a:pt x="165" y="108"/>
                        </a:lnTo>
                        <a:lnTo>
                          <a:pt x="174" y="105"/>
                        </a:lnTo>
                        <a:lnTo>
                          <a:pt x="180" y="102"/>
                        </a:lnTo>
                        <a:lnTo>
                          <a:pt x="187" y="99"/>
                        </a:lnTo>
                        <a:lnTo>
                          <a:pt x="180" y="96"/>
                        </a:lnTo>
                        <a:lnTo>
                          <a:pt x="172" y="94"/>
                        </a:lnTo>
                        <a:lnTo>
                          <a:pt x="166" y="93"/>
                        </a:lnTo>
                        <a:lnTo>
                          <a:pt x="158" y="93"/>
                        </a:lnTo>
                        <a:lnTo>
                          <a:pt x="142" y="95"/>
                        </a:lnTo>
                        <a:lnTo>
                          <a:pt x="125" y="98"/>
                        </a:lnTo>
                        <a:lnTo>
                          <a:pt x="107" y="102"/>
                        </a:lnTo>
                        <a:lnTo>
                          <a:pt x="89" y="107"/>
                        </a:lnTo>
                        <a:lnTo>
                          <a:pt x="71" y="110"/>
                        </a:lnTo>
                        <a:lnTo>
                          <a:pt x="54" y="111"/>
                        </a:lnTo>
                        <a:lnTo>
                          <a:pt x="52" y="110"/>
                        </a:lnTo>
                        <a:lnTo>
                          <a:pt x="52" y="106"/>
                        </a:lnTo>
                        <a:lnTo>
                          <a:pt x="53" y="102"/>
                        </a:lnTo>
                        <a:lnTo>
                          <a:pt x="54" y="96"/>
                        </a:lnTo>
                        <a:lnTo>
                          <a:pt x="55" y="90"/>
                        </a:lnTo>
                        <a:lnTo>
                          <a:pt x="55" y="86"/>
                        </a:lnTo>
                        <a:lnTo>
                          <a:pt x="55" y="82"/>
                        </a:lnTo>
                        <a:lnTo>
                          <a:pt x="54" y="81"/>
                        </a:lnTo>
                        <a:lnTo>
                          <a:pt x="55" y="81"/>
                        </a:lnTo>
                        <a:lnTo>
                          <a:pt x="57" y="80"/>
                        </a:lnTo>
                        <a:lnTo>
                          <a:pt x="59" y="78"/>
                        </a:lnTo>
                        <a:lnTo>
                          <a:pt x="60" y="75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80" name="Freeform 427">
                    <a:extLst>
                      <a:ext uri="{FF2B5EF4-FFF2-40B4-BE49-F238E27FC236}">
                        <a16:creationId xmlns:a16="http://schemas.microsoft.com/office/drawing/2014/main" xmlns="" id="{7610C616-0D50-4246-BE55-9431AD86027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645" y="1643"/>
                    <a:ext cx="108" cy="93"/>
                  </a:xfrm>
                  <a:custGeom>
                    <a:avLst/>
                    <a:gdLst>
                      <a:gd name="T0" fmla="*/ 1 w 332"/>
                      <a:gd name="T1" fmla="*/ 0 h 287"/>
                      <a:gd name="T2" fmla="*/ 1 w 332"/>
                      <a:gd name="T3" fmla="*/ 0 h 287"/>
                      <a:gd name="T4" fmla="*/ 1 w 332"/>
                      <a:gd name="T5" fmla="*/ 0 h 287"/>
                      <a:gd name="T6" fmla="*/ 1 w 332"/>
                      <a:gd name="T7" fmla="*/ 0 h 287"/>
                      <a:gd name="T8" fmla="*/ 1 w 332"/>
                      <a:gd name="T9" fmla="*/ 0 h 287"/>
                      <a:gd name="T10" fmla="*/ 1 w 332"/>
                      <a:gd name="T11" fmla="*/ 0 h 287"/>
                      <a:gd name="T12" fmla="*/ 1 w 332"/>
                      <a:gd name="T13" fmla="*/ 0 h 287"/>
                      <a:gd name="T14" fmla="*/ 1 w 332"/>
                      <a:gd name="T15" fmla="*/ 0 h 287"/>
                      <a:gd name="T16" fmla="*/ 1 w 332"/>
                      <a:gd name="T17" fmla="*/ 0 h 287"/>
                      <a:gd name="T18" fmla="*/ 1 w 332"/>
                      <a:gd name="T19" fmla="*/ 0 h 287"/>
                      <a:gd name="T20" fmla="*/ 1 w 332"/>
                      <a:gd name="T21" fmla="*/ 0 h 287"/>
                      <a:gd name="T22" fmla="*/ 1 w 332"/>
                      <a:gd name="T23" fmla="*/ 0 h 287"/>
                      <a:gd name="T24" fmla="*/ 1 w 332"/>
                      <a:gd name="T25" fmla="*/ 0 h 287"/>
                      <a:gd name="T26" fmla="*/ 1 w 332"/>
                      <a:gd name="T27" fmla="*/ 0 h 287"/>
                      <a:gd name="T28" fmla="*/ 1 w 332"/>
                      <a:gd name="T29" fmla="*/ 0 h 287"/>
                      <a:gd name="T30" fmla="*/ 1 w 332"/>
                      <a:gd name="T31" fmla="*/ 0 h 287"/>
                      <a:gd name="T32" fmla="*/ 1 w 332"/>
                      <a:gd name="T33" fmla="*/ 0 h 287"/>
                      <a:gd name="T34" fmla="*/ 1 w 332"/>
                      <a:gd name="T35" fmla="*/ 0 h 287"/>
                      <a:gd name="T36" fmla="*/ 1 w 332"/>
                      <a:gd name="T37" fmla="*/ 0 h 287"/>
                      <a:gd name="T38" fmla="*/ 1 w 332"/>
                      <a:gd name="T39" fmla="*/ 1 h 287"/>
                      <a:gd name="T40" fmla="*/ 1 w 332"/>
                      <a:gd name="T41" fmla="*/ 1 h 287"/>
                      <a:gd name="T42" fmla="*/ 1 w 332"/>
                      <a:gd name="T43" fmla="*/ 1 h 287"/>
                      <a:gd name="T44" fmla="*/ 1 w 332"/>
                      <a:gd name="T45" fmla="*/ 1 h 287"/>
                      <a:gd name="T46" fmla="*/ 1 w 332"/>
                      <a:gd name="T47" fmla="*/ 1 h 287"/>
                      <a:gd name="T48" fmla="*/ 1 w 332"/>
                      <a:gd name="T49" fmla="*/ 1 h 287"/>
                      <a:gd name="T50" fmla="*/ 1 w 332"/>
                      <a:gd name="T51" fmla="*/ 1 h 287"/>
                      <a:gd name="T52" fmla="*/ 1 w 332"/>
                      <a:gd name="T53" fmla="*/ 1 h 287"/>
                      <a:gd name="T54" fmla="*/ 1 w 332"/>
                      <a:gd name="T55" fmla="*/ 1 h 287"/>
                      <a:gd name="T56" fmla="*/ 1 w 332"/>
                      <a:gd name="T57" fmla="*/ 1 h 287"/>
                      <a:gd name="T58" fmla="*/ 1 w 332"/>
                      <a:gd name="T59" fmla="*/ 1 h 287"/>
                      <a:gd name="T60" fmla="*/ 1 w 332"/>
                      <a:gd name="T61" fmla="*/ 1 h 287"/>
                      <a:gd name="T62" fmla="*/ 1 w 332"/>
                      <a:gd name="T63" fmla="*/ 1 h 287"/>
                      <a:gd name="T64" fmla="*/ 1 w 332"/>
                      <a:gd name="T65" fmla="*/ 1 h 287"/>
                      <a:gd name="T66" fmla="*/ 1 w 332"/>
                      <a:gd name="T67" fmla="*/ 1 h 287"/>
                      <a:gd name="T68" fmla="*/ 1 w 332"/>
                      <a:gd name="T69" fmla="*/ 1 h 287"/>
                      <a:gd name="T70" fmla="*/ 0 w 332"/>
                      <a:gd name="T71" fmla="*/ 1 h 287"/>
                      <a:gd name="T72" fmla="*/ 0 w 332"/>
                      <a:gd name="T73" fmla="*/ 1 h 287"/>
                      <a:gd name="T74" fmla="*/ 0 w 332"/>
                      <a:gd name="T75" fmla="*/ 1 h 287"/>
                      <a:gd name="T76" fmla="*/ 0 w 332"/>
                      <a:gd name="T77" fmla="*/ 1 h 287"/>
                      <a:gd name="T78" fmla="*/ 0 w 332"/>
                      <a:gd name="T79" fmla="*/ 1 h 287"/>
                      <a:gd name="T80" fmla="*/ 0 w 332"/>
                      <a:gd name="T81" fmla="*/ 1 h 287"/>
                      <a:gd name="T82" fmla="*/ 0 w 332"/>
                      <a:gd name="T83" fmla="*/ 1 h 287"/>
                      <a:gd name="T84" fmla="*/ 0 w 332"/>
                      <a:gd name="T85" fmla="*/ 1 h 287"/>
                      <a:gd name="T86" fmla="*/ 0 w 332"/>
                      <a:gd name="T87" fmla="*/ 1 h 287"/>
                      <a:gd name="T88" fmla="*/ 0 w 332"/>
                      <a:gd name="T89" fmla="*/ 1 h 287"/>
                      <a:gd name="T90" fmla="*/ 0 w 332"/>
                      <a:gd name="T91" fmla="*/ 1 h 287"/>
                      <a:gd name="T92" fmla="*/ 0 w 332"/>
                      <a:gd name="T93" fmla="*/ 1 h 287"/>
                      <a:gd name="T94" fmla="*/ 0 w 332"/>
                      <a:gd name="T95" fmla="*/ 1 h 287"/>
                      <a:gd name="T96" fmla="*/ 0 w 332"/>
                      <a:gd name="T97" fmla="*/ 0 h 287"/>
                      <a:gd name="T98" fmla="*/ 1 w 332"/>
                      <a:gd name="T99" fmla="*/ 0 h 287"/>
                      <a:gd name="T100" fmla="*/ 1 w 332"/>
                      <a:gd name="T101" fmla="*/ 0 h 287"/>
                      <a:gd name="T102" fmla="*/ 1 w 332"/>
                      <a:gd name="T103" fmla="*/ 0 h 287"/>
                      <a:gd name="T104" fmla="*/ 1 w 332"/>
                      <a:gd name="T105" fmla="*/ 0 h 287"/>
                      <a:gd name="T106" fmla="*/ 1 w 332"/>
                      <a:gd name="T107" fmla="*/ 0 h 287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332"/>
                      <a:gd name="T163" fmla="*/ 0 h 287"/>
                      <a:gd name="T164" fmla="*/ 332 w 332"/>
                      <a:gd name="T165" fmla="*/ 287 h 287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332" h="287">
                        <a:moveTo>
                          <a:pt x="173" y="40"/>
                        </a:moveTo>
                        <a:lnTo>
                          <a:pt x="180" y="38"/>
                        </a:lnTo>
                        <a:lnTo>
                          <a:pt x="190" y="32"/>
                        </a:lnTo>
                        <a:lnTo>
                          <a:pt x="202" y="24"/>
                        </a:lnTo>
                        <a:lnTo>
                          <a:pt x="215" y="15"/>
                        </a:lnTo>
                        <a:lnTo>
                          <a:pt x="226" y="7"/>
                        </a:lnTo>
                        <a:lnTo>
                          <a:pt x="237" y="2"/>
                        </a:lnTo>
                        <a:lnTo>
                          <a:pt x="240" y="1"/>
                        </a:lnTo>
                        <a:lnTo>
                          <a:pt x="243" y="0"/>
                        </a:lnTo>
                        <a:lnTo>
                          <a:pt x="246" y="1"/>
                        </a:lnTo>
                        <a:lnTo>
                          <a:pt x="246" y="4"/>
                        </a:lnTo>
                        <a:lnTo>
                          <a:pt x="245" y="12"/>
                        </a:lnTo>
                        <a:lnTo>
                          <a:pt x="240" y="22"/>
                        </a:lnTo>
                        <a:lnTo>
                          <a:pt x="234" y="33"/>
                        </a:lnTo>
                        <a:lnTo>
                          <a:pt x="226" y="44"/>
                        </a:lnTo>
                        <a:lnTo>
                          <a:pt x="217" y="55"/>
                        </a:lnTo>
                        <a:lnTo>
                          <a:pt x="207" y="64"/>
                        </a:lnTo>
                        <a:lnTo>
                          <a:pt x="202" y="67"/>
                        </a:lnTo>
                        <a:lnTo>
                          <a:pt x="196" y="69"/>
                        </a:lnTo>
                        <a:lnTo>
                          <a:pt x="191" y="71"/>
                        </a:lnTo>
                        <a:lnTo>
                          <a:pt x="186" y="71"/>
                        </a:lnTo>
                        <a:lnTo>
                          <a:pt x="191" y="73"/>
                        </a:lnTo>
                        <a:lnTo>
                          <a:pt x="196" y="74"/>
                        </a:lnTo>
                        <a:lnTo>
                          <a:pt x="201" y="74"/>
                        </a:lnTo>
                        <a:lnTo>
                          <a:pt x="206" y="74"/>
                        </a:lnTo>
                        <a:lnTo>
                          <a:pt x="216" y="72"/>
                        </a:lnTo>
                        <a:lnTo>
                          <a:pt x="226" y="71"/>
                        </a:lnTo>
                        <a:lnTo>
                          <a:pt x="224" y="77"/>
                        </a:lnTo>
                        <a:lnTo>
                          <a:pt x="219" y="84"/>
                        </a:lnTo>
                        <a:lnTo>
                          <a:pt x="217" y="88"/>
                        </a:lnTo>
                        <a:lnTo>
                          <a:pt x="215" y="93"/>
                        </a:lnTo>
                        <a:lnTo>
                          <a:pt x="214" y="97"/>
                        </a:lnTo>
                        <a:lnTo>
                          <a:pt x="213" y="102"/>
                        </a:lnTo>
                        <a:lnTo>
                          <a:pt x="217" y="105"/>
                        </a:lnTo>
                        <a:lnTo>
                          <a:pt x="230" y="109"/>
                        </a:lnTo>
                        <a:lnTo>
                          <a:pt x="249" y="113"/>
                        </a:lnTo>
                        <a:lnTo>
                          <a:pt x="269" y="117"/>
                        </a:lnTo>
                        <a:lnTo>
                          <a:pt x="308" y="124"/>
                        </a:lnTo>
                        <a:lnTo>
                          <a:pt x="326" y="127"/>
                        </a:lnTo>
                        <a:lnTo>
                          <a:pt x="322" y="131"/>
                        </a:lnTo>
                        <a:lnTo>
                          <a:pt x="319" y="136"/>
                        </a:lnTo>
                        <a:lnTo>
                          <a:pt x="315" y="140"/>
                        </a:lnTo>
                        <a:lnTo>
                          <a:pt x="310" y="144"/>
                        </a:lnTo>
                        <a:lnTo>
                          <a:pt x="303" y="149"/>
                        </a:lnTo>
                        <a:lnTo>
                          <a:pt x="299" y="151"/>
                        </a:lnTo>
                        <a:lnTo>
                          <a:pt x="299" y="154"/>
                        </a:lnTo>
                        <a:lnTo>
                          <a:pt x="301" y="157"/>
                        </a:lnTo>
                        <a:lnTo>
                          <a:pt x="302" y="160"/>
                        </a:lnTo>
                        <a:lnTo>
                          <a:pt x="304" y="164"/>
                        </a:lnTo>
                        <a:lnTo>
                          <a:pt x="308" y="168"/>
                        </a:lnTo>
                        <a:lnTo>
                          <a:pt x="314" y="173"/>
                        </a:lnTo>
                        <a:lnTo>
                          <a:pt x="319" y="176"/>
                        </a:lnTo>
                        <a:lnTo>
                          <a:pt x="325" y="180"/>
                        </a:lnTo>
                        <a:lnTo>
                          <a:pt x="329" y="184"/>
                        </a:lnTo>
                        <a:lnTo>
                          <a:pt x="332" y="188"/>
                        </a:lnTo>
                        <a:lnTo>
                          <a:pt x="290" y="211"/>
                        </a:lnTo>
                        <a:lnTo>
                          <a:pt x="257" y="231"/>
                        </a:lnTo>
                        <a:lnTo>
                          <a:pt x="241" y="241"/>
                        </a:lnTo>
                        <a:lnTo>
                          <a:pt x="225" y="253"/>
                        </a:lnTo>
                        <a:lnTo>
                          <a:pt x="207" y="268"/>
                        </a:lnTo>
                        <a:lnTo>
                          <a:pt x="186" y="287"/>
                        </a:lnTo>
                        <a:lnTo>
                          <a:pt x="173" y="244"/>
                        </a:lnTo>
                        <a:lnTo>
                          <a:pt x="178" y="244"/>
                        </a:lnTo>
                        <a:lnTo>
                          <a:pt x="182" y="243"/>
                        </a:lnTo>
                        <a:lnTo>
                          <a:pt x="185" y="242"/>
                        </a:lnTo>
                        <a:lnTo>
                          <a:pt x="189" y="240"/>
                        </a:lnTo>
                        <a:lnTo>
                          <a:pt x="194" y="236"/>
                        </a:lnTo>
                        <a:lnTo>
                          <a:pt x="200" y="232"/>
                        </a:lnTo>
                        <a:lnTo>
                          <a:pt x="174" y="232"/>
                        </a:lnTo>
                        <a:lnTo>
                          <a:pt x="149" y="232"/>
                        </a:lnTo>
                        <a:lnTo>
                          <a:pt x="125" y="232"/>
                        </a:lnTo>
                        <a:lnTo>
                          <a:pt x="101" y="232"/>
                        </a:lnTo>
                        <a:lnTo>
                          <a:pt x="79" y="232"/>
                        </a:lnTo>
                        <a:lnTo>
                          <a:pt x="58" y="232"/>
                        </a:lnTo>
                        <a:lnTo>
                          <a:pt x="41" y="232"/>
                        </a:lnTo>
                        <a:lnTo>
                          <a:pt x="27" y="232"/>
                        </a:lnTo>
                        <a:lnTo>
                          <a:pt x="19" y="231"/>
                        </a:lnTo>
                        <a:lnTo>
                          <a:pt x="11" y="227"/>
                        </a:lnTo>
                        <a:lnTo>
                          <a:pt x="6" y="225"/>
                        </a:lnTo>
                        <a:lnTo>
                          <a:pt x="3" y="222"/>
                        </a:lnTo>
                        <a:lnTo>
                          <a:pt x="1" y="218"/>
                        </a:lnTo>
                        <a:lnTo>
                          <a:pt x="0" y="213"/>
                        </a:lnTo>
                        <a:lnTo>
                          <a:pt x="1" y="209"/>
                        </a:lnTo>
                        <a:lnTo>
                          <a:pt x="4" y="205"/>
                        </a:lnTo>
                        <a:lnTo>
                          <a:pt x="7" y="201"/>
                        </a:lnTo>
                        <a:lnTo>
                          <a:pt x="13" y="197"/>
                        </a:lnTo>
                        <a:lnTo>
                          <a:pt x="26" y="188"/>
                        </a:lnTo>
                        <a:lnTo>
                          <a:pt x="41" y="179"/>
                        </a:lnTo>
                        <a:lnTo>
                          <a:pt x="58" y="170"/>
                        </a:lnTo>
                        <a:lnTo>
                          <a:pt x="73" y="162"/>
                        </a:lnTo>
                        <a:lnTo>
                          <a:pt x="80" y="156"/>
                        </a:lnTo>
                        <a:lnTo>
                          <a:pt x="85" y="152"/>
                        </a:lnTo>
                        <a:lnTo>
                          <a:pt x="90" y="149"/>
                        </a:lnTo>
                        <a:lnTo>
                          <a:pt x="93" y="145"/>
                        </a:lnTo>
                        <a:lnTo>
                          <a:pt x="100" y="138"/>
                        </a:lnTo>
                        <a:lnTo>
                          <a:pt x="106" y="130"/>
                        </a:lnTo>
                        <a:lnTo>
                          <a:pt x="112" y="122"/>
                        </a:lnTo>
                        <a:lnTo>
                          <a:pt x="116" y="114"/>
                        </a:lnTo>
                        <a:lnTo>
                          <a:pt x="124" y="96"/>
                        </a:lnTo>
                        <a:lnTo>
                          <a:pt x="130" y="79"/>
                        </a:lnTo>
                        <a:lnTo>
                          <a:pt x="134" y="71"/>
                        </a:lnTo>
                        <a:lnTo>
                          <a:pt x="138" y="64"/>
                        </a:lnTo>
                        <a:lnTo>
                          <a:pt x="141" y="58"/>
                        </a:lnTo>
                        <a:lnTo>
                          <a:pt x="147" y="52"/>
                        </a:lnTo>
                        <a:lnTo>
                          <a:pt x="151" y="47"/>
                        </a:lnTo>
                        <a:lnTo>
                          <a:pt x="158" y="43"/>
                        </a:lnTo>
                        <a:lnTo>
                          <a:pt x="164" y="41"/>
                        </a:lnTo>
                        <a:lnTo>
                          <a:pt x="173" y="4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81" name="Freeform 428">
                    <a:extLst>
                      <a:ext uri="{FF2B5EF4-FFF2-40B4-BE49-F238E27FC236}">
                        <a16:creationId xmlns:a16="http://schemas.microsoft.com/office/drawing/2014/main" xmlns="" id="{87F25BBA-5BBA-4554-B292-4A4425A9357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02" y="1190"/>
                    <a:ext cx="111" cy="27"/>
                  </a:xfrm>
                  <a:custGeom>
                    <a:avLst/>
                    <a:gdLst>
                      <a:gd name="T0" fmla="*/ 0 w 345"/>
                      <a:gd name="T1" fmla="*/ 0 h 86"/>
                      <a:gd name="T2" fmla="*/ 0 w 345"/>
                      <a:gd name="T3" fmla="*/ 0 h 86"/>
                      <a:gd name="T4" fmla="*/ 1 w 345"/>
                      <a:gd name="T5" fmla="*/ 0 h 86"/>
                      <a:gd name="T6" fmla="*/ 1 w 345"/>
                      <a:gd name="T7" fmla="*/ 0 h 86"/>
                      <a:gd name="T8" fmla="*/ 1 w 345"/>
                      <a:gd name="T9" fmla="*/ 0 h 86"/>
                      <a:gd name="T10" fmla="*/ 1 w 345"/>
                      <a:gd name="T11" fmla="*/ 0 h 86"/>
                      <a:gd name="T12" fmla="*/ 1 w 345"/>
                      <a:gd name="T13" fmla="*/ 0 h 86"/>
                      <a:gd name="T14" fmla="*/ 1 w 345"/>
                      <a:gd name="T15" fmla="*/ 0 h 86"/>
                      <a:gd name="T16" fmla="*/ 1 w 345"/>
                      <a:gd name="T17" fmla="*/ 0 h 86"/>
                      <a:gd name="T18" fmla="*/ 1 w 345"/>
                      <a:gd name="T19" fmla="*/ 0 h 86"/>
                      <a:gd name="T20" fmla="*/ 1 w 345"/>
                      <a:gd name="T21" fmla="*/ 0 h 86"/>
                      <a:gd name="T22" fmla="*/ 1 w 345"/>
                      <a:gd name="T23" fmla="*/ 0 h 86"/>
                      <a:gd name="T24" fmla="*/ 1 w 345"/>
                      <a:gd name="T25" fmla="*/ 0 h 86"/>
                      <a:gd name="T26" fmla="*/ 1 w 345"/>
                      <a:gd name="T27" fmla="*/ 0 h 86"/>
                      <a:gd name="T28" fmla="*/ 1 w 345"/>
                      <a:gd name="T29" fmla="*/ 0 h 86"/>
                      <a:gd name="T30" fmla="*/ 1 w 345"/>
                      <a:gd name="T31" fmla="*/ 0 h 86"/>
                      <a:gd name="T32" fmla="*/ 1 w 345"/>
                      <a:gd name="T33" fmla="*/ 0 h 86"/>
                      <a:gd name="T34" fmla="*/ 1 w 345"/>
                      <a:gd name="T35" fmla="*/ 0 h 86"/>
                      <a:gd name="T36" fmla="*/ 1 w 345"/>
                      <a:gd name="T37" fmla="*/ 0 h 86"/>
                      <a:gd name="T38" fmla="*/ 1 w 345"/>
                      <a:gd name="T39" fmla="*/ 0 h 86"/>
                      <a:gd name="T40" fmla="*/ 1 w 345"/>
                      <a:gd name="T41" fmla="*/ 0 h 86"/>
                      <a:gd name="T42" fmla="*/ 1 w 345"/>
                      <a:gd name="T43" fmla="*/ 0 h 86"/>
                      <a:gd name="T44" fmla="*/ 1 w 345"/>
                      <a:gd name="T45" fmla="*/ 0 h 86"/>
                      <a:gd name="T46" fmla="*/ 1 w 345"/>
                      <a:gd name="T47" fmla="*/ 0 h 86"/>
                      <a:gd name="T48" fmla="*/ 1 w 345"/>
                      <a:gd name="T49" fmla="*/ 0 h 86"/>
                      <a:gd name="T50" fmla="*/ 1 w 345"/>
                      <a:gd name="T51" fmla="*/ 0 h 86"/>
                      <a:gd name="T52" fmla="*/ 1 w 345"/>
                      <a:gd name="T53" fmla="*/ 0 h 86"/>
                      <a:gd name="T54" fmla="*/ 1 w 345"/>
                      <a:gd name="T55" fmla="*/ 0 h 86"/>
                      <a:gd name="T56" fmla="*/ 0 w 345"/>
                      <a:gd name="T57" fmla="*/ 0 h 86"/>
                      <a:gd name="T58" fmla="*/ 0 w 345"/>
                      <a:gd name="T59" fmla="*/ 0 h 86"/>
                      <a:gd name="T60" fmla="*/ 0 w 345"/>
                      <a:gd name="T61" fmla="*/ 0 h 86"/>
                      <a:gd name="T62" fmla="*/ 0 w 345"/>
                      <a:gd name="T63" fmla="*/ 0 h 86"/>
                      <a:gd name="T64" fmla="*/ 0 w 345"/>
                      <a:gd name="T65" fmla="*/ 0 h 86"/>
                      <a:gd name="T66" fmla="*/ 0 w 345"/>
                      <a:gd name="T67" fmla="*/ 0 h 86"/>
                      <a:gd name="T68" fmla="*/ 0 w 345"/>
                      <a:gd name="T69" fmla="*/ 0 h 86"/>
                      <a:gd name="T70" fmla="*/ 0 w 345"/>
                      <a:gd name="T71" fmla="*/ 0 h 86"/>
                      <a:gd name="T72" fmla="*/ 0 w 345"/>
                      <a:gd name="T73" fmla="*/ 0 h 86"/>
                      <a:gd name="T74" fmla="*/ 0 w 345"/>
                      <a:gd name="T75" fmla="*/ 0 h 8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w 345"/>
                      <a:gd name="T115" fmla="*/ 0 h 86"/>
                      <a:gd name="T116" fmla="*/ 345 w 345"/>
                      <a:gd name="T117" fmla="*/ 86 h 86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T114" t="T115" r="T116" b="T117"/>
                    <a:pathLst>
                      <a:path w="345" h="86">
                        <a:moveTo>
                          <a:pt x="106" y="86"/>
                        </a:moveTo>
                        <a:lnTo>
                          <a:pt x="119" y="81"/>
                        </a:lnTo>
                        <a:lnTo>
                          <a:pt x="133" y="76"/>
                        </a:lnTo>
                        <a:lnTo>
                          <a:pt x="148" y="72"/>
                        </a:lnTo>
                        <a:lnTo>
                          <a:pt x="164" y="69"/>
                        </a:lnTo>
                        <a:lnTo>
                          <a:pt x="197" y="63"/>
                        </a:lnTo>
                        <a:lnTo>
                          <a:pt x="231" y="57"/>
                        </a:lnTo>
                        <a:lnTo>
                          <a:pt x="247" y="53"/>
                        </a:lnTo>
                        <a:lnTo>
                          <a:pt x="264" y="50"/>
                        </a:lnTo>
                        <a:lnTo>
                          <a:pt x="279" y="46"/>
                        </a:lnTo>
                        <a:lnTo>
                          <a:pt x="294" y="40"/>
                        </a:lnTo>
                        <a:lnTo>
                          <a:pt x="309" y="35"/>
                        </a:lnTo>
                        <a:lnTo>
                          <a:pt x="322" y="28"/>
                        </a:lnTo>
                        <a:lnTo>
                          <a:pt x="334" y="21"/>
                        </a:lnTo>
                        <a:lnTo>
                          <a:pt x="345" y="13"/>
                        </a:lnTo>
                        <a:lnTo>
                          <a:pt x="335" y="12"/>
                        </a:lnTo>
                        <a:lnTo>
                          <a:pt x="326" y="11"/>
                        </a:lnTo>
                        <a:lnTo>
                          <a:pt x="317" y="9"/>
                        </a:lnTo>
                        <a:lnTo>
                          <a:pt x="309" y="6"/>
                        </a:lnTo>
                        <a:lnTo>
                          <a:pt x="300" y="4"/>
                        </a:lnTo>
                        <a:lnTo>
                          <a:pt x="291" y="2"/>
                        </a:lnTo>
                        <a:lnTo>
                          <a:pt x="281" y="1"/>
                        </a:lnTo>
                        <a:lnTo>
                          <a:pt x="272" y="0"/>
                        </a:lnTo>
                        <a:lnTo>
                          <a:pt x="259" y="1"/>
                        </a:lnTo>
                        <a:lnTo>
                          <a:pt x="245" y="3"/>
                        </a:lnTo>
                        <a:lnTo>
                          <a:pt x="227" y="5"/>
                        </a:lnTo>
                        <a:lnTo>
                          <a:pt x="209" y="9"/>
                        </a:lnTo>
                        <a:lnTo>
                          <a:pt x="168" y="18"/>
                        </a:lnTo>
                        <a:lnTo>
                          <a:pt x="126" y="29"/>
                        </a:lnTo>
                        <a:lnTo>
                          <a:pt x="104" y="36"/>
                        </a:lnTo>
                        <a:lnTo>
                          <a:pt x="85" y="42"/>
                        </a:lnTo>
                        <a:lnTo>
                          <a:pt x="66" y="50"/>
                        </a:lnTo>
                        <a:lnTo>
                          <a:pt x="47" y="58"/>
                        </a:lnTo>
                        <a:lnTo>
                          <a:pt x="32" y="65"/>
                        </a:lnTo>
                        <a:lnTo>
                          <a:pt x="19" y="72"/>
                        </a:lnTo>
                        <a:lnTo>
                          <a:pt x="8" y="79"/>
                        </a:lnTo>
                        <a:lnTo>
                          <a:pt x="0" y="86"/>
                        </a:lnTo>
                        <a:lnTo>
                          <a:pt x="106" y="86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82" name="Freeform 429">
                    <a:extLst>
                      <a:ext uri="{FF2B5EF4-FFF2-40B4-BE49-F238E27FC236}">
                        <a16:creationId xmlns:a16="http://schemas.microsoft.com/office/drawing/2014/main" xmlns="" id="{EA104FB8-6CD9-41B2-ABD5-17F01E47552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58" y="1199"/>
                    <a:ext cx="149" cy="43"/>
                  </a:xfrm>
                  <a:custGeom>
                    <a:avLst/>
                    <a:gdLst>
                      <a:gd name="T0" fmla="*/ 0 w 464"/>
                      <a:gd name="T1" fmla="*/ 0 h 130"/>
                      <a:gd name="T2" fmla="*/ 0 w 464"/>
                      <a:gd name="T3" fmla="*/ 0 h 130"/>
                      <a:gd name="T4" fmla="*/ 0 w 464"/>
                      <a:gd name="T5" fmla="*/ 0 h 130"/>
                      <a:gd name="T6" fmla="*/ 0 w 464"/>
                      <a:gd name="T7" fmla="*/ 0 h 130"/>
                      <a:gd name="T8" fmla="*/ 0 w 464"/>
                      <a:gd name="T9" fmla="*/ 0 h 130"/>
                      <a:gd name="T10" fmla="*/ 0 w 464"/>
                      <a:gd name="T11" fmla="*/ 0 h 130"/>
                      <a:gd name="T12" fmla="*/ 0 w 464"/>
                      <a:gd name="T13" fmla="*/ 0 h 130"/>
                      <a:gd name="T14" fmla="*/ 0 w 464"/>
                      <a:gd name="T15" fmla="*/ 1 h 130"/>
                      <a:gd name="T16" fmla="*/ 0 w 464"/>
                      <a:gd name="T17" fmla="*/ 1 h 130"/>
                      <a:gd name="T18" fmla="*/ 0 w 464"/>
                      <a:gd name="T19" fmla="*/ 1 h 130"/>
                      <a:gd name="T20" fmla="*/ 0 w 464"/>
                      <a:gd name="T21" fmla="*/ 1 h 130"/>
                      <a:gd name="T22" fmla="*/ 1 w 464"/>
                      <a:gd name="T23" fmla="*/ 0 h 130"/>
                      <a:gd name="T24" fmla="*/ 1 w 464"/>
                      <a:gd name="T25" fmla="*/ 0 h 130"/>
                      <a:gd name="T26" fmla="*/ 1 w 464"/>
                      <a:gd name="T27" fmla="*/ 0 h 130"/>
                      <a:gd name="T28" fmla="*/ 1 w 464"/>
                      <a:gd name="T29" fmla="*/ 0 h 130"/>
                      <a:gd name="T30" fmla="*/ 1 w 464"/>
                      <a:gd name="T31" fmla="*/ 0 h 130"/>
                      <a:gd name="T32" fmla="*/ 1 w 464"/>
                      <a:gd name="T33" fmla="*/ 0 h 130"/>
                      <a:gd name="T34" fmla="*/ 1 w 464"/>
                      <a:gd name="T35" fmla="*/ 0 h 130"/>
                      <a:gd name="T36" fmla="*/ 1 w 464"/>
                      <a:gd name="T37" fmla="*/ 0 h 130"/>
                      <a:gd name="T38" fmla="*/ 1 w 464"/>
                      <a:gd name="T39" fmla="*/ 0 h 130"/>
                      <a:gd name="T40" fmla="*/ 2 w 464"/>
                      <a:gd name="T41" fmla="*/ 0 h 130"/>
                      <a:gd name="T42" fmla="*/ 2 w 464"/>
                      <a:gd name="T43" fmla="*/ 0 h 130"/>
                      <a:gd name="T44" fmla="*/ 1 w 464"/>
                      <a:gd name="T45" fmla="*/ 0 h 130"/>
                      <a:gd name="T46" fmla="*/ 1 w 464"/>
                      <a:gd name="T47" fmla="*/ 0 h 130"/>
                      <a:gd name="T48" fmla="*/ 1 w 464"/>
                      <a:gd name="T49" fmla="*/ 0 h 130"/>
                      <a:gd name="T50" fmla="*/ 1 w 464"/>
                      <a:gd name="T51" fmla="*/ 0 h 130"/>
                      <a:gd name="T52" fmla="*/ 1 w 464"/>
                      <a:gd name="T53" fmla="*/ 0 h 130"/>
                      <a:gd name="T54" fmla="*/ 1 w 464"/>
                      <a:gd name="T55" fmla="*/ 0 h 130"/>
                      <a:gd name="T56" fmla="*/ 1 w 464"/>
                      <a:gd name="T57" fmla="*/ 0 h 130"/>
                      <a:gd name="T58" fmla="*/ 1 w 464"/>
                      <a:gd name="T59" fmla="*/ 0 h 130"/>
                      <a:gd name="T60" fmla="*/ 1 w 464"/>
                      <a:gd name="T61" fmla="*/ 0 h 130"/>
                      <a:gd name="T62" fmla="*/ 1 w 464"/>
                      <a:gd name="T63" fmla="*/ 0 h 130"/>
                      <a:gd name="T64" fmla="*/ 1 w 464"/>
                      <a:gd name="T65" fmla="*/ 0 h 130"/>
                      <a:gd name="T66" fmla="*/ 1 w 464"/>
                      <a:gd name="T67" fmla="*/ 0 h 130"/>
                      <a:gd name="T68" fmla="*/ 1 w 464"/>
                      <a:gd name="T69" fmla="*/ 0 h 130"/>
                      <a:gd name="T70" fmla="*/ 1 w 464"/>
                      <a:gd name="T71" fmla="*/ 0 h 130"/>
                      <a:gd name="T72" fmla="*/ 1 w 464"/>
                      <a:gd name="T73" fmla="*/ 0 h 130"/>
                      <a:gd name="T74" fmla="*/ 1 w 464"/>
                      <a:gd name="T75" fmla="*/ 0 h 130"/>
                      <a:gd name="T76" fmla="*/ 1 w 464"/>
                      <a:gd name="T77" fmla="*/ 0 h 130"/>
                      <a:gd name="T78" fmla="*/ 1 w 464"/>
                      <a:gd name="T79" fmla="*/ 0 h 130"/>
                      <a:gd name="T80" fmla="*/ 0 w 464"/>
                      <a:gd name="T81" fmla="*/ 0 h 130"/>
                      <a:gd name="T82" fmla="*/ 0 w 464"/>
                      <a:gd name="T83" fmla="*/ 0 h 130"/>
                      <a:gd name="T84" fmla="*/ 0 w 464"/>
                      <a:gd name="T85" fmla="*/ 0 h 130"/>
                      <a:gd name="T86" fmla="*/ 0 w 464"/>
                      <a:gd name="T87" fmla="*/ 0 h 130"/>
                      <a:gd name="T88" fmla="*/ 0 w 464"/>
                      <a:gd name="T89" fmla="*/ 0 h 130"/>
                      <a:gd name="T90" fmla="*/ 0 w 464"/>
                      <a:gd name="T91" fmla="*/ 0 h 130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464"/>
                      <a:gd name="T139" fmla="*/ 0 h 130"/>
                      <a:gd name="T140" fmla="*/ 464 w 464"/>
                      <a:gd name="T141" fmla="*/ 130 h 130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464" h="130">
                        <a:moveTo>
                          <a:pt x="0" y="86"/>
                        </a:moveTo>
                        <a:lnTo>
                          <a:pt x="19" y="86"/>
                        </a:lnTo>
                        <a:lnTo>
                          <a:pt x="48" y="83"/>
                        </a:lnTo>
                        <a:lnTo>
                          <a:pt x="77" y="81"/>
                        </a:lnTo>
                        <a:lnTo>
                          <a:pt x="106" y="80"/>
                        </a:lnTo>
                        <a:lnTo>
                          <a:pt x="103" y="81"/>
                        </a:lnTo>
                        <a:lnTo>
                          <a:pt x="97" y="84"/>
                        </a:lnTo>
                        <a:lnTo>
                          <a:pt x="92" y="89"/>
                        </a:lnTo>
                        <a:lnTo>
                          <a:pt x="86" y="94"/>
                        </a:lnTo>
                        <a:lnTo>
                          <a:pt x="81" y="100"/>
                        </a:lnTo>
                        <a:lnTo>
                          <a:pt x="76" y="106"/>
                        </a:lnTo>
                        <a:lnTo>
                          <a:pt x="73" y="112"/>
                        </a:lnTo>
                        <a:lnTo>
                          <a:pt x="72" y="117"/>
                        </a:lnTo>
                        <a:lnTo>
                          <a:pt x="73" y="119"/>
                        </a:lnTo>
                        <a:lnTo>
                          <a:pt x="75" y="121"/>
                        </a:lnTo>
                        <a:lnTo>
                          <a:pt x="79" y="124"/>
                        </a:lnTo>
                        <a:lnTo>
                          <a:pt x="83" y="126"/>
                        </a:lnTo>
                        <a:lnTo>
                          <a:pt x="92" y="129"/>
                        </a:lnTo>
                        <a:lnTo>
                          <a:pt x="99" y="130"/>
                        </a:lnTo>
                        <a:lnTo>
                          <a:pt x="109" y="129"/>
                        </a:lnTo>
                        <a:lnTo>
                          <a:pt x="119" y="129"/>
                        </a:lnTo>
                        <a:lnTo>
                          <a:pt x="128" y="127"/>
                        </a:lnTo>
                        <a:lnTo>
                          <a:pt x="138" y="125"/>
                        </a:lnTo>
                        <a:lnTo>
                          <a:pt x="157" y="119"/>
                        </a:lnTo>
                        <a:lnTo>
                          <a:pt x="176" y="114"/>
                        </a:lnTo>
                        <a:lnTo>
                          <a:pt x="196" y="108"/>
                        </a:lnTo>
                        <a:lnTo>
                          <a:pt x="216" y="103"/>
                        </a:lnTo>
                        <a:lnTo>
                          <a:pt x="226" y="101"/>
                        </a:lnTo>
                        <a:lnTo>
                          <a:pt x="237" y="100"/>
                        </a:lnTo>
                        <a:lnTo>
                          <a:pt x="248" y="99"/>
                        </a:lnTo>
                        <a:lnTo>
                          <a:pt x="259" y="99"/>
                        </a:lnTo>
                        <a:lnTo>
                          <a:pt x="266" y="99"/>
                        </a:lnTo>
                        <a:lnTo>
                          <a:pt x="285" y="99"/>
                        </a:lnTo>
                        <a:lnTo>
                          <a:pt x="304" y="99"/>
                        </a:lnTo>
                        <a:lnTo>
                          <a:pt x="311" y="99"/>
                        </a:lnTo>
                        <a:lnTo>
                          <a:pt x="333" y="98"/>
                        </a:lnTo>
                        <a:lnTo>
                          <a:pt x="355" y="96"/>
                        </a:lnTo>
                        <a:lnTo>
                          <a:pt x="376" y="93"/>
                        </a:lnTo>
                        <a:lnTo>
                          <a:pt x="396" y="89"/>
                        </a:lnTo>
                        <a:lnTo>
                          <a:pt x="415" y="83"/>
                        </a:lnTo>
                        <a:lnTo>
                          <a:pt x="432" y="76"/>
                        </a:lnTo>
                        <a:lnTo>
                          <a:pt x="449" y="66"/>
                        </a:lnTo>
                        <a:lnTo>
                          <a:pt x="464" y="55"/>
                        </a:lnTo>
                        <a:lnTo>
                          <a:pt x="455" y="51"/>
                        </a:lnTo>
                        <a:lnTo>
                          <a:pt x="446" y="49"/>
                        </a:lnTo>
                        <a:lnTo>
                          <a:pt x="439" y="48"/>
                        </a:lnTo>
                        <a:lnTo>
                          <a:pt x="430" y="48"/>
                        </a:lnTo>
                        <a:lnTo>
                          <a:pt x="413" y="48"/>
                        </a:lnTo>
                        <a:lnTo>
                          <a:pt x="392" y="49"/>
                        </a:lnTo>
                        <a:lnTo>
                          <a:pt x="396" y="46"/>
                        </a:lnTo>
                        <a:lnTo>
                          <a:pt x="401" y="42"/>
                        </a:lnTo>
                        <a:lnTo>
                          <a:pt x="406" y="36"/>
                        </a:lnTo>
                        <a:lnTo>
                          <a:pt x="410" y="29"/>
                        </a:lnTo>
                        <a:lnTo>
                          <a:pt x="413" y="22"/>
                        </a:lnTo>
                        <a:lnTo>
                          <a:pt x="416" y="15"/>
                        </a:lnTo>
                        <a:lnTo>
                          <a:pt x="418" y="7"/>
                        </a:lnTo>
                        <a:lnTo>
                          <a:pt x="418" y="0"/>
                        </a:lnTo>
                        <a:lnTo>
                          <a:pt x="378" y="0"/>
                        </a:lnTo>
                        <a:lnTo>
                          <a:pt x="368" y="8"/>
                        </a:lnTo>
                        <a:lnTo>
                          <a:pt x="360" y="19"/>
                        </a:lnTo>
                        <a:lnTo>
                          <a:pt x="352" y="30"/>
                        </a:lnTo>
                        <a:lnTo>
                          <a:pt x="343" y="41"/>
                        </a:lnTo>
                        <a:lnTo>
                          <a:pt x="334" y="51"/>
                        </a:lnTo>
                        <a:lnTo>
                          <a:pt x="323" y="59"/>
                        </a:lnTo>
                        <a:lnTo>
                          <a:pt x="318" y="63"/>
                        </a:lnTo>
                        <a:lnTo>
                          <a:pt x="312" y="65"/>
                        </a:lnTo>
                        <a:lnTo>
                          <a:pt x="306" y="68"/>
                        </a:lnTo>
                        <a:lnTo>
                          <a:pt x="298" y="68"/>
                        </a:lnTo>
                        <a:lnTo>
                          <a:pt x="287" y="68"/>
                        </a:lnTo>
                        <a:lnTo>
                          <a:pt x="278" y="66"/>
                        </a:lnTo>
                        <a:lnTo>
                          <a:pt x="270" y="65"/>
                        </a:lnTo>
                        <a:lnTo>
                          <a:pt x="262" y="63"/>
                        </a:lnTo>
                        <a:lnTo>
                          <a:pt x="250" y="59"/>
                        </a:lnTo>
                        <a:lnTo>
                          <a:pt x="239" y="54"/>
                        </a:lnTo>
                        <a:lnTo>
                          <a:pt x="222" y="42"/>
                        </a:lnTo>
                        <a:lnTo>
                          <a:pt x="205" y="31"/>
                        </a:lnTo>
                        <a:lnTo>
                          <a:pt x="193" y="29"/>
                        </a:lnTo>
                        <a:lnTo>
                          <a:pt x="180" y="29"/>
                        </a:lnTo>
                        <a:lnTo>
                          <a:pt x="165" y="29"/>
                        </a:lnTo>
                        <a:lnTo>
                          <a:pt x="150" y="31"/>
                        </a:lnTo>
                        <a:lnTo>
                          <a:pt x="133" y="33"/>
                        </a:lnTo>
                        <a:lnTo>
                          <a:pt x="117" y="37"/>
                        </a:lnTo>
                        <a:lnTo>
                          <a:pt x="101" y="40"/>
                        </a:lnTo>
                        <a:lnTo>
                          <a:pt x="85" y="45"/>
                        </a:lnTo>
                        <a:lnTo>
                          <a:pt x="70" y="49"/>
                        </a:lnTo>
                        <a:lnTo>
                          <a:pt x="54" y="54"/>
                        </a:lnTo>
                        <a:lnTo>
                          <a:pt x="41" y="60"/>
                        </a:lnTo>
                        <a:lnTo>
                          <a:pt x="29" y="65"/>
                        </a:lnTo>
                        <a:lnTo>
                          <a:pt x="18" y="71"/>
                        </a:lnTo>
                        <a:lnTo>
                          <a:pt x="9" y="77"/>
                        </a:lnTo>
                        <a:lnTo>
                          <a:pt x="3" y="82"/>
                        </a:lnTo>
                        <a:lnTo>
                          <a:pt x="0" y="86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83" name="Freeform 430">
                    <a:extLst>
                      <a:ext uri="{FF2B5EF4-FFF2-40B4-BE49-F238E27FC236}">
                        <a16:creationId xmlns:a16="http://schemas.microsoft.com/office/drawing/2014/main" xmlns="" id="{5E3E90FB-D69D-4539-94AB-B83CC53C6E2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72" y="1205"/>
                    <a:ext cx="153" cy="31"/>
                  </a:xfrm>
                  <a:custGeom>
                    <a:avLst/>
                    <a:gdLst>
                      <a:gd name="T0" fmla="*/ 0 w 472"/>
                      <a:gd name="T1" fmla="*/ 0 h 92"/>
                      <a:gd name="T2" fmla="*/ 0 w 472"/>
                      <a:gd name="T3" fmla="*/ 0 h 92"/>
                      <a:gd name="T4" fmla="*/ 0 w 472"/>
                      <a:gd name="T5" fmla="*/ 0 h 92"/>
                      <a:gd name="T6" fmla="*/ 0 w 472"/>
                      <a:gd name="T7" fmla="*/ 0 h 92"/>
                      <a:gd name="T8" fmla="*/ 0 w 472"/>
                      <a:gd name="T9" fmla="*/ 0 h 92"/>
                      <a:gd name="T10" fmla="*/ 0 w 472"/>
                      <a:gd name="T11" fmla="*/ 0 h 92"/>
                      <a:gd name="T12" fmla="*/ 0 w 472"/>
                      <a:gd name="T13" fmla="*/ 0 h 92"/>
                      <a:gd name="T14" fmla="*/ 0 w 472"/>
                      <a:gd name="T15" fmla="*/ 0 h 92"/>
                      <a:gd name="T16" fmla="*/ 0 w 472"/>
                      <a:gd name="T17" fmla="*/ 0 h 92"/>
                      <a:gd name="T18" fmla="*/ 0 w 472"/>
                      <a:gd name="T19" fmla="*/ 0 h 92"/>
                      <a:gd name="T20" fmla="*/ 0 w 472"/>
                      <a:gd name="T21" fmla="*/ 0 h 92"/>
                      <a:gd name="T22" fmla="*/ 0 w 472"/>
                      <a:gd name="T23" fmla="*/ 0 h 92"/>
                      <a:gd name="T24" fmla="*/ 0 w 472"/>
                      <a:gd name="T25" fmla="*/ 0 h 92"/>
                      <a:gd name="T26" fmla="*/ 0 w 472"/>
                      <a:gd name="T27" fmla="*/ 0 h 92"/>
                      <a:gd name="T28" fmla="*/ 0 w 472"/>
                      <a:gd name="T29" fmla="*/ 0 h 92"/>
                      <a:gd name="T30" fmla="*/ 1 w 472"/>
                      <a:gd name="T31" fmla="*/ 0 h 92"/>
                      <a:gd name="T32" fmla="*/ 1 w 472"/>
                      <a:gd name="T33" fmla="*/ 0 h 92"/>
                      <a:gd name="T34" fmla="*/ 1 w 472"/>
                      <a:gd name="T35" fmla="*/ 0 h 92"/>
                      <a:gd name="T36" fmla="*/ 1 w 472"/>
                      <a:gd name="T37" fmla="*/ 0 h 92"/>
                      <a:gd name="T38" fmla="*/ 2 w 472"/>
                      <a:gd name="T39" fmla="*/ 0 h 92"/>
                      <a:gd name="T40" fmla="*/ 2 w 472"/>
                      <a:gd name="T41" fmla="*/ 0 h 92"/>
                      <a:gd name="T42" fmla="*/ 2 w 472"/>
                      <a:gd name="T43" fmla="*/ 0 h 92"/>
                      <a:gd name="T44" fmla="*/ 2 w 472"/>
                      <a:gd name="T45" fmla="*/ 0 h 92"/>
                      <a:gd name="T46" fmla="*/ 2 w 472"/>
                      <a:gd name="T47" fmla="*/ 0 h 92"/>
                      <a:gd name="T48" fmla="*/ 2 w 472"/>
                      <a:gd name="T49" fmla="*/ 0 h 92"/>
                      <a:gd name="T50" fmla="*/ 2 w 472"/>
                      <a:gd name="T51" fmla="*/ 0 h 92"/>
                      <a:gd name="T52" fmla="*/ 2 w 472"/>
                      <a:gd name="T53" fmla="*/ 0 h 92"/>
                      <a:gd name="T54" fmla="*/ 2 w 472"/>
                      <a:gd name="T55" fmla="*/ 0 h 92"/>
                      <a:gd name="T56" fmla="*/ 2 w 472"/>
                      <a:gd name="T57" fmla="*/ 0 h 92"/>
                      <a:gd name="T58" fmla="*/ 1 w 472"/>
                      <a:gd name="T59" fmla="*/ 0 h 92"/>
                      <a:gd name="T60" fmla="*/ 1 w 472"/>
                      <a:gd name="T61" fmla="*/ 0 h 92"/>
                      <a:gd name="T62" fmla="*/ 1 w 472"/>
                      <a:gd name="T63" fmla="*/ 0 h 92"/>
                      <a:gd name="T64" fmla="*/ 1 w 472"/>
                      <a:gd name="T65" fmla="*/ 0 h 92"/>
                      <a:gd name="T66" fmla="*/ 1 w 472"/>
                      <a:gd name="T67" fmla="*/ 0 h 92"/>
                      <a:gd name="T68" fmla="*/ 1 w 472"/>
                      <a:gd name="T69" fmla="*/ 0 h 92"/>
                      <a:gd name="T70" fmla="*/ 1 w 472"/>
                      <a:gd name="T71" fmla="*/ 0 h 92"/>
                      <a:gd name="T72" fmla="*/ 1 w 472"/>
                      <a:gd name="T73" fmla="*/ 0 h 92"/>
                      <a:gd name="T74" fmla="*/ 0 w 472"/>
                      <a:gd name="T75" fmla="*/ 0 h 92"/>
                      <a:gd name="T76" fmla="*/ 0 w 472"/>
                      <a:gd name="T77" fmla="*/ 0 h 92"/>
                      <a:gd name="T78" fmla="*/ 0 w 472"/>
                      <a:gd name="T79" fmla="*/ 0 h 92"/>
                      <a:gd name="T80" fmla="*/ 0 w 472"/>
                      <a:gd name="T81" fmla="*/ 0 h 92"/>
                      <a:gd name="T82" fmla="*/ 0 w 472"/>
                      <a:gd name="T83" fmla="*/ 0 h 92"/>
                      <a:gd name="T84" fmla="*/ 0 w 472"/>
                      <a:gd name="T85" fmla="*/ 0 h 92"/>
                      <a:gd name="T86" fmla="*/ 0 w 472"/>
                      <a:gd name="T87" fmla="*/ 0 h 92"/>
                      <a:gd name="T88" fmla="*/ 0 w 472"/>
                      <a:gd name="T89" fmla="*/ 0 h 92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w 472"/>
                      <a:gd name="T136" fmla="*/ 0 h 92"/>
                      <a:gd name="T137" fmla="*/ 472 w 472"/>
                      <a:gd name="T138" fmla="*/ 92 h 92"/>
                    </a:gdLst>
                    <a:ahLst/>
                    <a:cxnLst>
                      <a:cxn ang="T90">
                        <a:pos x="T0" y="T1"/>
                      </a:cxn>
                      <a:cxn ang="T91">
                        <a:pos x="T2" y="T3"/>
                      </a:cxn>
                      <a:cxn ang="T92">
                        <a:pos x="T4" y="T5"/>
                      </a:cxn>
                      <a:cxn ang="T93">
                        <a:pos x="T6" y="T7"/>
                      </a:cxn>
                      <a:cxn ang="T94">
                        <a:pos x="T8" y="T9"/>
                      </a:cxn>
                      <a:cxn ang="T95">
                        <a:pos x="T10" y="T11"/>
                      </a:cxn>
                      <a:cxn ang="T96">
                        <a:pos x="T12" y="T13"/>
                      </a:cxn>
                      <a:cxn ang="T97">
                        <a:pos x="T14" y="T15"/>
                      </a:cxn>
                      <a:cxn ang="T98">
                        <a:pos x="T16" y="T17"/>
                      </a:cxn>
                      <a:cxn ang="T99">
                        <a:pos x="T18" y="T19"/>
                      </a:cxn>
                      <a:cxn ang="T100">
                        <a:pos x="T20" y="T21"/>
                      </a:cxn>
                      <a:cxn ang="T101">
                        <a:pos x="T22" y="T23"/>
                      </a:cxn>
                      <a:cxn ang="T102">
                        <a:pos x="T24" y="T25"/>
                      </a:cxn>
                      <a:cxn ang="T103">
                        <a:pos x="T26" y="T27"/>
                      </a:cxn>
                      <a:cxn ang="T104">
                        <a:pos x="T28" y="T29"/>
                      </a:cxn>
                      <a:cxn ang="T105">
                        <a:pos x="T30" y="T31"/>
                      </a:cxn>
                      <a:cxn ang="T106">
                        <a:pos x="T32" y="T33"/>
                      </a:cxn>
                      <a:cxn ang="T107">
                        <a:pos x="T34" y="T35"/>
                      </a:cxn>
                      <a:cxn ang="T108">
                        <a:pos x="T36" y="T37"/>
                      </a:cxn>
                      <a:cxn ang="T109">
                        <a:pos x="T38" y="T39"/>
                      </a:cxn>
                      <a:cxn ang="T110">
                        <a:pos x="T40" y="T41"/>
                      </a:cxn>
                      <a:cxn ang="T111">
                        <a:pos x="T42" y="T43"/>
                      </a:cxn>
                      <a:cxn ang="T112">
                        <a:pos x="T44" y="T45"/>
                      </a:cxn>
                      <a:cxn ang="T113">
                        <a:pos x="T46" y="T47"/>
                      </a:cxn>
                      <a:cxn ang="T114">
                        <a:pos x="T48" y="T49"/>
                      </a:cxn>
                      <a:cxn ang="T115">
                        <a:pos x="T50" y="T51"/>
                      </a:cxn>
                      <a:cxn ang="T116">
                        <a:pos x="T52" y="T53"/>
                      </a:cxn>
                      <a:cxn ang="T117">
                        <a:pos x="T54" y="T55"/>
                      </a:cxn>
                      <a:cxn ang="T118">
                        <a:pos x="T56" y="T57"/>
                      </a:cxn>
                      <a:cxn ang="T119">
                        <a:pos x="T58" y="T59"/>
                      </a:cxn>
                      <a:cxn ang="T120">
                        <a:pos x="T60" y="T61"/>
                      </a:cxn>
                      <a:cxn ang="T121">
                        <a:pos x="T62" y="T63"/>
                      </a:cxn>
                      <a:cxn ang="T122">
                        <a:pos x="T64" y="T65"/>
                      </a:cxn>
                      <a:cxn ang="T123">
                        <a:pos x="T66" y="T67"/>
                      </a:cxn>
                      <a:cxn ang="T124">
                        <a:pos x="T68" y="T69"/>
                      </a:cxn>
                      <a:cxn ang="T125">
                        <a:pos x="T70" y="T71"/>
                      </a:cxn>
                      <a:cxn ang="T126">
                        <a:pos x="T72" y="T73"/>
                      </a:cxn>
                      <a:cxn ang="T127">
                        <a:pos x="T74" y="T75"/>
                      </a:cxn>
                      <a:cxn ang="T128">
                        <a:pos x="T76" y="T77"/>
                      </a:cxn>
                      <a:cxn ang="T129">
                        <a:pos x="T78" y="T79"/>
                      </a:cxn>
                      <a:cxn ang="T130">
                        <a:pos x="T80" y="T81"/>
                      </a:cxn>
                      <a:cxn ang="T131">
                        <a:pos x="T82" y="T83"/>
                      </a:cxn>
                      <a:cxn ang="T132">
                        <a:pos x="T84" y="T85"/>
                      </a:cxn>
                      <a:cxn ang="T133">
                        <a:pos x="T86" y="T87"/>
                      </a:cxn>
                      <a:cxn ang="T134">
                        <a:pos x="T88" y="T89"/>
                      </a:cxn>
                    </a:cxnLst>
                    <a:rect l="T135" t="T136" r="T137" b="T138"/>
                    <a:pathLst>
                      <a:path w="472" h="92">
                        <a:moveTo>
                          <a:pt x="73" y="0"/>
                        </a:moveTo>
                        <a:lnTo>
                          <a:pt x="63" y="0"/>
                        </a:lnTo>
                        <a:lnTo>
                          <a:pt x="53" y="0"/>
                        </a:lnTo>
                        <a:lnTo>
                          <a:pt x="44" y="0"/>
                        </a:lnTo>
                        <a:lnTo>
                          <a:pt x="34" y="0"/>
                        </a:lnTo>
                        <a:lnTo>
                          <a:pt x="24" y="0"/>
                        </a:lnTo>
                        <a:lnTo>
                          <a:pt x="15" y="1"/>
                        </a:lnTo>
                        <a:lnTo>
                          <a:pt x="12" y="3"/>
                        </a:lnTo>
                        <a:lnTo>
                          <a:pt x="8" y="5"/>
                        </a:lnTo>
                        <a:lnTo>
                          <a:pt x="7" y="8"/>
                        </a:lnTo>
                        <a:lnTo>
                          <a:pt x="6" y="12"/>
                        </a:lnTo>
                        <a:lnTo>
                          <a:pt x="7" y="16"/>
                        </a:lnTo>
                        <a:lnTo>
                          <a:pt x="7" y="20"/>
                        </a:lnTo>
                        <a:lnTo>
                          <a:pt x="10" y="23"/>
                        </a:lnTo>
                        <a:lnTo>
                          <a:pt x="11" y="26"/>
                        </a:lnTo>
                        <a:lnTo>
                          <a:pt x="15" y="32"/>
                        </a:lnTo>
                        <a:lnTo>
                          <a:pt x="19" y="36"/>
                        </a:lnTo>
                        <a:lnTo>
                          <a:pt x="14" y="41"/>
                        </a:lnTo>
                        <a:lnTo>
                          <a:pt x="7" y="46"/>
                        </a:lnTo>
                        <a:lnTo>
                          <a:pt x="4" y="50"/>
                        </a:lnTo>
                        <a:lnTo>
                          <a:pt x="2" y="53"/>
                        </a:lnTo>
                        <a:lnTo>
                          <a:pt x="1" y="57"/>
                        </a:lnTo>
                        <a:lnTo>
                          <a:pt x="0" y="61"/>
                        </a:lnTo>
                        <a:lnTo>
                          <a:pt x="2" y="64"/>
                        </a:lnTo>
                        <a:lnTo>
                          <a:pt x="6" y="66"/>
                        </a:lnTo>
                        <a:lnTo>
                          <a:pt x="14" y="69"/>
                        </a:lnTo>
                        <a:lnTo>
                          <a:pt x="24" y="71"/>
                        </a:lnTo>
                        <a:lnTo>
                          <a:pt x="48" y="76"/>
                        </a:lnTo>
                        <a:lnTo>
                          <a:pt x="78" y="81"/>
                        </a:lnTo>
                        <a:lnTo>
                          <a:pt x="109" y="85"/>
                        </a:lnTo>
                        <a:lnTo>
                          <a:pt x="140" y="89"/>
                        </a:lnTo>
                        <a:lnTo>
                          <a:pt x="167" y="91"/>
                        </a:lnTo>
                        <a:lnTo>
                          <a:pt x="186" y="92"/>
                        </a:lnTo>
                        <a:lnTo>
                          <a:pt x="365" y="92"/>
                        </a:lnTo>
                        <a:lnTo>
                          <a:pt x="370" y="86"/>
                        </a:lnTo>
                        <a:lnTo>
                          <a:pt x="374" y="81"/>
                        </a:lnTo>
                        <a:lnTo>
                          <a:pt x="380" y="78"/>
                        </a:lnTo>
                        <a:lnTo>
                          <a:pt x="385" y="75"/>
                        </a:lnTo>
                        <a:lnTo>
                          <a:pt x="391" y="74"/>
                        </a:lnTo>
                        <a:lnTo>
                          <a:pt x="397" y="73"/>
                        </a:lnTo>
                        <a:lnTo>
                          <a:pt x="404" y="73"/>
                        </a:lnTo>
                        <a:lnTo>
                          <a:pt x="411" y="73"/>
                        </a:lnTo>
                        <a:lnTo>
                          <a:pt x="426" y="75"/>
                        </a:lnTo>
                        <a:lnTo>
                          <a:pt x="441" y="76"/>
                        </a:lnTo>
                        <a:lnTo>
                          <a:pt x="449" y="77"/>
                        </a:lnTo>
                        <a:lnTo>
                          <a:pt x="456" y="76"/>
                        </a:lnTo>
                        <a:lnTo>
                          <a:pt x="464" y="75"/>
                        </a:lnTo>
                        <a:lnTo>
                          <a:pt x="472" y="73"/>
                        </a:lnTo>
                        <a:lnTo>
                          <a:pt x="472" y="36"/>
                        </a:lnTo>
                        <a:lnTo>
                          <a:pt x="465" y="33"/>
                        </a:lnTo>
                        <a:lnTo>
                          <a:pt x="459" y="30"/>
                        </a:lnTo>
                        <a:lnTo>
                          <a:pt x="453" y="26"/>
                        </a:lnTo>
                        <a:lnTo>
                          <a:pt x="449" y="22"/>
                        </a:lnTo>
                        <a:lnTo>
                          <a:pt x="443" y="18"/>
                        </a:lnTo>
                        <a:lnTo>
                          <a:pt x="438" y="15"/>
                        </a:lnTo>
                        <a:lnTo>
                          <a:pt x="432" y="13"/>
                        </a:lnTo>
                        <a:lnTo>
                          <a:pt x="426" y="12"/>
                        </a:lnTo>
                        <a:lnTo>
                          <a:pt x="416" y="12"/>
                        </a:lnTo>
                        <a:lnTo>
                          <a:pt x="406" y="13"/>
                        </a:lnTo>
                        <a:lnTo>
                          <a:pt x="396" y="15"/>
                        </a:lnTo>
                        <a:lnTo>
                          <a:pt x="386" y="17"/>
                        </a:lnTo>
                        <a:lnTo>
                          <a:pt x="367" y="22"/>
                        </a:lnTo>
                        <a:lnTo>
                          <a:pt x="348" y="27"/>
                        </a:lnTo>
                        <a:lnTo>
                          <a:pt x="328" y="33"/>
                        </a:lnTo>
                        <a:lnTo>
                          <a:pt x="308" y="38"/>
                        </a:lnTo>
                        <a:lnTo>
                          <a:pt x="298" y="39"/>
                        </a:lnTo>
                        <a:lnTo>
                          <a:pt x="287" y="41"/>
                        </a:lnTo>
                        <a:lnTo>
                          <a:pt x="276" y="42"/>
                        </a:lnTo>
                        <a:lnTo>
                          <a:pt x="265" y="42"/>
                        </a:lnTo>
                        <a:lnTo>
                          <a:pt x="236" y="42"/>
                        </a:lnTo>
                        <a:lnTo>
                          <a:pt x="212" y="42"/>
                        </a:lnTo>
                        <a:lnTo>
                          <a:pt x="191" y="42"/>
                        </a:lnTo>
                        <a:lnTo>
                          <a:pt x="173" y="42"/>
                        </a:lnTo>
                        <a:lnTo>
                          <a:pt x="156" y="42"/>
                        </a:lnTo>
                        <a:lnTo>
                          <a:pt x="139" y="42"/>
                        </a:lnTo>
                        <a:lnTo>
                          <a:pt x="120" y="42"/>
                        </a:lnTo>
                        <a:lnTo>
                          <a:pt x="100" y="42"/>
                        </a:lnTo>
                        <a:lnTo>
                          <a:pt x="91" y="41"/>
                        </a:lnTo>
                        <a:lnTo>
                          <a:pt x="83" y="39"/>
                        </a:lnTo>
                        <a:lnTo>
                          <a:pt x="78" y="36"/>
                        </a:lnTo>
                        <a:lnTo>
                          <a:pt x="73" y="32"/>
                        </a:lnTo>
                        <a:lnTo>
                          <a:pt x="70" y="27"/>
                        </a:lnTo>
                        <a:lnTo>
                          <a:pt x="68" y="22"/>
                        </a:lnTo>
                        <a:lnTo>
                          <a:pt x="67" y="17"/>
                        </a:lnTo>
                        <a:lnTo>
                          <a:pt x="67" y="12"/>
                        </a:lnTo>
                        <a:lnTo>
                          <a:pt x="69" y="8"/>
                        </a:lnTo>
                        <a:lnTo>
                          <a:pt x="72" y="4"/>
                        </a:lnTo>
                        <a:lnTo>
                          <a:pt x="74" y="2"/>
                        </a:lnTo>
                        <a:lnTo>
                          <a:pt x="75" y="1"/>
                        </a:lnTo>
                        <a:lnTo>
                          <a:pt x="74" y="0"/>
                        </a:lnTo>
                        <a:lnTo>
                          <a:pt x="73" y="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84" name="Freeform 431">
                    <a:extLst>
                      <a:ext uri="{FF2B5EF4-FFF2-40B4-BE49-F238E27FC236}">
                        <a16:creationId xmlns:a16="http://schemas.microsoft.com/office/drawing/2014/main" xmlns="" id="{49340E3B-7E27-48B3-BAD4-819F9A435E9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13" y="1136"/>
                    <a:ext cx="106" cy="45"/>
                  </a:xfrm>
                  <a:custGeom>
                    <a:avLst/>
                    <a:gdLst>
                      <a:gd name="T0" fmla="*/ 1 w 326"/>
                      <a:gd name="T1" fmla="*/ 0 h 135"/>
                      <a:gd name="T2" fmla="*/ 1 w 326"/>
                      <a:gd name="T3" fmla="*/ 0 h 135"/>
                      <a:gd name="T4" fmla="*/ 1 w 326"/>
                      <a:gd name="T5" fmla="*/ 0 h 135"/>
                      <a:gd name="T6" fmla="*/ 1 w 326"/>
                      <a:gd name="T7" fmla="*/ 0 h 135"/>
                      <a:gd name="T8" fmla="*/ 1 w 326"/>
                      <a:gd name="T9" fmla="*/ 0 h 135"/>
                      <a:gd name="T10" fmla="*/ 1 w 326"/>
                      <a:gd name="T11" fmla="*/ 0 h 135"/>
                      <a:gd name="T12" fmla="*/ 1 w 326"/>
                      <a:gd name="T13" fmla="*/ 0 h 135"/>
                      <a:gd name="T14" fmla="*/ 1 w 326"/>
                      <a:gd name="T15" fmla="*/ 0 h 135"/>
                      <a:gd name="T16" fmla="*/ 1 w 326"/>
                      <a:gd name="T17" fmla="*/ 0 h 135"/>
                      <a:gd name="T18" fmla="*/ 1 w 326"/>
                      <a:gd name="T19" fmla="*/ 0 h 135"/>
                      <a:gd name="T20" fmla="*/ 1 w 326"/>
                      <a:gd name="T21" fmla="*/ 0 h 135"/>
                      <a:gd name="T22" fmla="*/ 1 w 326"/>
                      <a:gd name="T23" fmla="*/ 0 h 135"/>
                      <a:gd name="T24" fmla="*/ 1 w 326"/>
                      <a:gd name="T25" fmla="*/ 0 h 135"/>
                      <a:gd name="T26" fmla="*/ 1 w 326"/>
                      <a:gd name="T27" fmla="*/ 0 h 135"/>
                      <a:gd name="T28" fmla="*/ 1 w 326"/>
                      <a:gd name="T29" fmla="*/ 0 h 135"/>
                      <a:gd name="T30" fmla="*/ 1 w 326"/>
                      <a:gd name="T31" fmla="*/ 0 h 135"/>
                      <a:gd name="T32" fmla="*/ 1 w 326"/>
                      <a:gd name="T33" fmla="*/ 0 h 135"/>
                      <a:gd name="T34" fmla="*/ 1 w 326"/>
                      <a:gd name="T35" fmla="*/ 0 h 135"/>
                      <a:gd name="T36" fmla="*/ 0 w 326"/>
                      <a:gd name="T37" fmla="*/ 0 h 135"/>
                      <a:gd name="T38" fmla="*/ 0 w 326"/>
                      <a:gd name="T39" fmla="*/ 0 h 135"/>
                      <a:gd name="T40" fmla="*/ 0 w 326"/>
                      <a:gd name="T41" fmla="*/ 0 h 135"/>
                      <a:gd name="T42" fmla="*/ 0 w 326"/>
                      <a:gd name="T43" fmla="*/ 0 h 135"/>
                      <a:gd name="T44" fmla="*/ 0 w 326"/>
                      <a:gd name="T45" fmla="*/ 0 h 135"/>
                      <a:gd name="T46" fmla="*/ 0 w 326"/>
                      <a:gd name="T47" fmla="*/ 0 h 135"/>
                      <a:gd name="T48" fmla="*/ 0 w 326"/>
                      <a:gd name="T49" fmla="*/ 0 h 135"/>
                      <a:gd name="T50" fmla="*/ 0 w 326"/>
                      <a:gd name="T51" fmla="*/ 0 h 135"/>
                      <a:gd name="T52" fmla="*/ 0 w 326"/>
                      <a:gd name="T53" fmla="*/ 0 h 135"/>
                      <a:gd name="T54" fmla="*/ 0 w 326"/>
                      <a:gd name="T55" fmla="*/ 0 h 135"/>
                      <a:gd name="T56" fmla="*/ 0 w 326"/>
                      <a:gd name="T57" fmla="*/ 0 h 135"/>
                      <a:gd name="T58" fmla="*/ 0 w 326"/>
                      <a:gd name="T59" fmla="*/ 1 h 135"/>
                      <a:gd name="T60" fmla="*/ 0 w 326"/>
                      <a:gd name="T61" fmla="*/ 1 h 135"/>
                      <a:gd name="T62" fmla="*/ 0 w 326"/>
                      <a:gd name="T63" fmla="*/ 1 h 135"/>
                      <a:gd name="T64" fmla="*/ 0 w 326"/>
                      <a:gd name="T65" fmla="*/ 1 h 135"/>
                      <a:gd name="T66" fmla="*/ 0 w 326"/>
                      <a:gd name="T67" fmla="*/ 1 h 135"/>
                      <a:gd name="T68" fmla="*/ 0 w 326"/>
                      <a:gd name="T69" fmla="*/ 1 h 135"/>
                      <a:gd name="T70" fmla="*/ 0 w 326"/>
                      <a:gd name="T71" fmla="*/ 0 h 135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w 326"/>
                      <a:gd name="T109" fmla="*/ 0 h 135"/>
                      <a:gd name="T110" fmla="*/ 326 w 326"/>
                      <a:gd name="T111" fmla="*/ 135 h 135"/>
                    </a:gdLst>
                    <a:ahLst/>
                    <a:cxnLst>
                      <a:cxn ang="T72">
                        <a:pos x="T0" y="T1"/>
                      </a:cxn>
                      <a:cxn ang="T73">
                        <a:pos x="T2" y="T3"/>
                      </a:cxn>
                      <a:cxn ang="T74">
                        <a:pos x="T4" y="T5"/>
                      </a:cxn>
                      <a:cxn ang="T75">
                        <a:pos x="T6" y="T7"/>
                      </a:cxn>
                      <a:cxn ang="T76">
                        <a:pos x="T8" y="T9"/>
                      </a:cxn>
                      <a:cxn ang="T77">
                        <a:pos x="T10" y="T11"/>
                      </a:cxn>
                      <a:cxn ang="T78">
                        <a:pos x="T12" y="T13"/>
                      </a:cxn>
                      <a:cxn ang="T79">
                        <a:pos x="T14" y="T15"/>
                      </a:cxn>
                      <a:cxn ang="T80">
                        <a:pos x="T16" y="T17"/>
                      </a:cxn>
                      <a:cxn ang="T81">
                        <a:pos x="T18" y="T19"/>
                      </a:cxn>
                      <a:cxn ang="T82">
                        <a:pos x="T20" y="T21"/>
                      </a:cxn>
                      <a:cxn ang="T83">
                        <a:pos x="T22" y="T23"/>
                      </a:cxn>
                      <a:cxn ang="T84">
                        <a:pos x="T24" y="T25"/>
                      </a:cxn>
                      <a:cxn ang="T85">
                        <a:pos x="T26" y="T27"/>
                      </a:cxn>
                      <a:cxn ang="T86">
                        <a:pos x="T28" y="T29"/>
                      </a:cxn>
                      <a:cxn ang="T87">
                        <a:pos x="T30" y="T31"/>
                      </a:cxn>
                      <a:cxn ang="T88">
                        <a:pos x="T32" y="T33"/>
                      </a:cxn>
                      <a:cxn ang="T89">
                        <a:pos x="T34" y="T35"/>
                      </a:cxn>
                      <a:cxn ang="T90">
                        <a:pos x="T36" y="T37"/>
                      </a:cxn>
                      <a:cxn ang="T91">
                        <a:pos x="T38" y="T39"/>
                      </a:cxn>
                      <a:cxn ang="T92">
                        <a:pos x="T40" y="T41"/>
                      </a:cxn>
                      <a:cxn ang="T93">
                        <a:pos x="T42" y="T43"/>
                      </a:cxn>
                      <a:cxn ang="T94">
                        <a:pos x="T44" y="T45"/>
                      </a:cxn>
                      <a:cxn ang="T95">
                        <a:pos x="T46" y="T47"/>
                      </a:cxn>
                      <a:cxn ang="T96">
                        <a:pos x="T48" y="T49"/>
                      </a:cxn>
                      <a:cxn ang="T97">
                        <a:pos x="T50" y="T51"/>
                      </a:cxn>
                      <a:cxn ang="T98">
                        <a:pos x="T52" y="T53"/>
                      </a:cxn>
                      <a:cxn ang="T99">
                        <a:pos x="T54" y="T55"/>
                      </a:cxn>
                      <a:cxn ang="T100">
                        <a:pos x="T56" y="T57"/>
                      </a:cxn>
                      <a:cxn ang="T101">
                        <a:pos x="T58" y="T59"/>
                      </a:cxn>
                      <a:cxn ang="T102">
                        <a:pos x="T60" y="T61"/>
                      </a:cxn>
                      <a:cxn ang="T103">
                        <a:pos x="T62" y="T63"/>
                      </a:cxn>
                      <a:cxn ang="T104">
                        <a:pos x="T64" y="T65"/>
                      </a:cxn>
                      <a:cxn ang="T105">
                        <a:pos x="T66" y="T67"/>
                      </a:cxn>
                      <a:cxn ang="T106">
                        <a:pos x="T68" y="T69"/>
                      </a:cxn>
                      <a:cxn ang="T107">
                        <a:pos x="T70" y="T71"/>
                      </a:cxn>
                    </a:cxnLst>
                    <a:rect l="T108" t="T109" r="T110" b="T111"/>
                    <a:pathLst>
                      <a:path w="326" h="135">
                        <a:moveTo>
                          <a:pt x="120" y="111"/>
                        </a:moveTo>
                        <a:lnTo>
                          <a:pt x="145" y="107"/>
                        </a:lnTo>
                        <a:lnTo>
                          <a:pt x="172" y="102"/>
                        </a:lnTo>
                        <a:lnTo>
                          <a:pt x="203" y="97"/>
                        </a:lnTo>
                        <a:lnTo>
                          <a:pt x="233" y="90"/>
                        </a:lnTo>
                        <a:lnTo>
                          <a:pt x="262" y="84"/>
                        </a:lnTo>
                        <a:lnTo>
                          <a:pt x="288" y="78"/>
                        </a:lnTo>
                        <a:lnTo>
                          <a:pt x="300" y="74"/>
                        </a:lnTo>
                        <a:lnTo>
                          <a:pt x="310" y="70"/>
                        </a:lnTo>
                        <a:lnTo>
                          <a:pt x="318" y="66"/>
                        </a:lnTo>
                        <a:lnTo>
                          <a:pt x="326" y="62"/>
                        </a:lnTo>
                        <a:lnTo>
                          <a:pt x="322" y="56"/>
                        </a:lnTo>
                        <a:lnTo>
                          <a:pt x="317" y="52"/>
                        </a:lnTo>
                        <a:lnTo>
                          <a:pt x="312" y="48"/>
                        </a:lnTo>
                        <a:lnTo>
                          <a:pt x="306" y="44"/>
                        </a:lnTo>
                        <a:lnTo>
                          <a:pt x="300" y="41"/>
                        </a:lnTo>
                        <a:lnTo>
                          <a:pt x="293" y="39"/>
                        </a:lnTo>
                        <a:lnTo>
                          <a:pt x="286" y="37"/>
                        </a:lnTo>
                        <a:lnTo>
                          <a:pt x="279" y="34"/>
                        </a:lnTo>
                        <a:lnTo>
                          <a:pt x="263" y="32"/>
                        </a:lnTo>
                        <a:lnTo>
                          <a:pt x="247" y="31"/>
                        </a:lnTo>
                        <a:lnTo>
                          <a:pt x="230" y="30"/>
                        </a:lnTo>
                        <a:lnTo>
                          <a:pt x="213" y="30"/>
                        </a:lnTo>
                        <a:lnTo>
                          <a:pt x="209" y="30"/>
                        </a:lnTo>
                        <a:lnTo>
                          <a:pt x="205" y="27"/>
                        </a:lnTo>
                        <a:lnTo>
                          <a:pt x="202" y="24"/>
                        </a:lnTo>
                        <a:lnTo>
                          <a:pt x="200" y="21"/>
                        </a:lnTo>
                        <a:lnTo>
                          <a:pt x="196" y="17"/>
                        </a:lnTo>
                        <a:lnTo>
                          <a:pt x="194" y="13"/>
                        </a:lnTo>
                        <a:lnTo>
                          <a:pt x="191" y="9"/>
                        </a:lnTo>
                        <a:lnTo>
                          <a:pt x="187" y="6"/>
                        </a:lnTo>
                        <a:lnTo>
                          <a:pt x="180" y="5"/>
                        </a:lnTo>
                        <a:lnTo>
                          <a:pt x="172" y="3"/>
                        </a:lnTo>
                        <a:lnTo>
                          <a:pt x="162" y="1"/>
                        </a:lnTo>
                        <a:lnTo>
                          <a:pt x="153" y="0"/>
                        </a:lnTo>
                        <a:lnTo>
                          <a:pt x="135" y="1"/>
                        </a:lnTo>
                        <a:lnTo>
                          <a:pt x="112" y="4"/>
                        </a:lnTo>
                        <a:lnTo>
                          <a:pt x="87" y="8"/>
                        </a:lnTo>
                        <a:lnTo>
                          <a:pt x="61" y="14"/>
                        </a:lnTo>
                        <a:lnTo>
                          <a:pt x="49" y="17"/>
                        </a:lnTo>
                        <a:lnTo>
                          <a:pt x="38" y="21"/>
                        </a:lnTo>
                        <a:lnTo>
                          <a:pt x="27" y="26"/>
                        </a:lnTo>
                        <a:lnTo>
                          <a:pt x="19" y="31"/>
                        </a:lnTo>
                        <a:lnTo>
                          <a:pt x="11" y="37"/>
                        </a:lnTo>
                        <a:lnTo>
                          <a:pt x="5" y="43"/>
                        </a:lnTo>
                        <a:lnTo>
                          <a:pt x="3" y="46"/>
                        </a:lnTo>
                        <a:lnTo>
                          <a:pt x="1" y="49"/>
                        </a:lnTo>
                        <a:lnTo>
                          <a:pt x="1" y="52"/>
                        </a:lnTo>
                        <a:lnTo>
                          <a:pt x="0" y="56"/>
                        </a:lnTo>
                        <a:lnTo>
                          <a:pt x="34" y="74"/>
                        </a:lnTo>
                        <a:lnTo>
                          <a:pt x="73" y="74"/>
                        </a:lnTo>
                        <a:lnTo>
                          <a:pt x="56" y="81"/>
                        </a:lnTo>
                        <a:lnTo>
                          <a:pt x="44" y="87"/>
                        </a:lnTo>
                        <a:lnTo>
                          <a:pt x="41" y="90"/>
                        </a:lnTo>
                        <a:lnTo>
                          <a:pt x="38" y="94"/>
                        </a:lnTo>
                        <a:lnTo>
                          <a:pt x="38" y="99"/>
                        </a:lnTo>
                        <a:lnTo>
                          <a:pt x="41" y="105"/>
                        </a:lnTo>
                        <a:lnTo>
                          <a:pt x="44" y="114"/>
                        </a:lnTo>
                        <a:lnTo>
                          <a:pt x="47" y="123"/>
                        </a:lnTo>
                        <a:lnTo>
                          <a:pt x="48" y="128"/>
                        </a:lnTo>
                        <a:lnTo>
                          <a:pt x="50" y="131"/>
                        </a:lnTo>
                        <a:lnTo>
                          <a:pt x="55" y="134"/>
                        </a:lnTo>
                        <a:lnTo>
                          <a:pt x="60" y="135"/>
                        </a:lnTo>
                        <a:lnTo>
                          <a:pt x="69" y="135"/>
                        </a:lnTo>
                        <a:lnTo>
                          <a:pt x="78" y="133"/>
                        </a:lnTo>
                        <a:lnTo>
                          <a:pt x="86" y="131"/>
                        </a:lnTo>
                        <a:lnTo>
                          <a:pt x="93" y="129"/>
                        </a:lnTo>
                        <a:lnTo>
                          <a:pt x="101" y="127"/>
                        </a:lnTo>
                        <a:lnTo>
                          <a:pt x="109" y="125"/>
                        </a:lnTo>
                        <a:lnTo>
                          <a:pt x="117" y="124"/>
                        </a:lnTo>
                        <a:lnTo>
                          <a:pt x="126" y="123"/>
                        </a:lnTo>
                        <a:lnTo>
                          <a:pt x="120" y="111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85" name="Freeform 432">
                    <a:extLst>
                      <a:ext uri="{FF2B5EF4-FFF2-40B4-BE49-F238E27FC236}">
                        <a16:creationId xmlns:a16="http://schemas.microsoft.com/office/drawing/2014/main" xmlns="" id="{15890C51-9EE6-4E85-8A35-C218C526815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84" y="1245"/>
                    <a:ext cx="51" cy="18"/>
                  </a:xfrm>
                  <a:custGeom>
                    <a:avLst/>
                    <a:gdLst>
                      <a:gd name="T0" fmla="*/ 0 w 159"/>
                      <a:gd name="T1" fmla="*/ 0 h 56"/>
                      <a:gd name="T2" fmla="*/ 0 w 159"/>
                      <a:gd name="T3" fmla="*/ 0 h 56"/>
                      <a:gd name="T4" fmla="*/ 0 w 159"/>
                      <a:gd name="T5" fmla="*/ 0 h 56"/>
                      <a:gd name="T6" fmla="*/ 0 w 159"/>
                      <a:gd name="T7" fmla="*/ 0 h 56"/>
                      <a:gd name="T8" fmla="*/ 0 w 159"/>
                      <a:gd name="T9" fmla="*/ 0 h 56"/>
                      <a:gd name="T10" fmla="*/ 0 w 159"/>
                      <a:gd name="T11" fmla="*/ 0 h 56"/>
                      <a:gd name="T12" fmla="*/ 0 w 159"/>
                      <a:gd name="T13" fmla="*/ 0 h 56"/>
                      <a:gd name="T14" fmla="*/ 0 w 159"/>
                      <a:gd name="T15" fmla="*/ 0 h 56"/>
                      <a:gd name="T16" fmla="*/ 0 w 159"/>
                      <a:gd name="T17" fmla="*/ 0 h 56"/>
                      <a:gd name="T18" fmla="*/ 0 w 159"/>
                      <a:gd name="T19" fmla="*/ 0 h 56"/>
                      <a:gd name="T20" fmla="*/ 0 w 159"/>
                      <a:gd name="T21" fmla="*/ 0 h 56"/>
                      <a:gd name="T22" fmla="*/ 0 w 159"/>
                      <a:gd name="T23" fmla="*/ 0 h 56"/>
                      <a:gd name="T24" fmla="*/ 0 w 159"/>
                      <a:gd name="T25" fmla="*/ 0 h 56"/>
                      <a:gd name="T26" fmla="*/ 0 w 159"/>
                      <a:gd name="T27" fmla="*/ 0 h 56"/>
                      <a:gd name="T28" fmla="*/ 0 w 159"/>
                      <a:gd name="T29" fmla="*/ 0 h 56"/>
                      <a:gd name="T30" fmla="*/ 0 w 159"/>
                      <a:gd name="T31" fmla="*/ 0 h 56"/>
                      <a:gd name="T32" fmla="*/ 0 w 159"/>
                      <a:gd name="T33" fmla="*/ 0 h 56"/>
                      <a:gd name="T34" fmla="*/ 0 w 159"/>
                      <a:gd name="T35" fmla="*/ 0 h 56"/>
                      <a:gd name="T36" fmla="*/ 0 w 159"/>
                      <a:gd name="T37" fmla="*/ 0 h 56"/>
                      <a:gd name="T38" fmla="*/ 0 w 159"/>
                      <a:gd name="T39" fmla="*/ 0 h 56"/>
                      <a:gd name="T40" fmla="*/ 1 w 159"/>
                      <a:gd name="T41" fmla="*/ 0 h 56"/>
                      <a:gd name="T42" fmla="*/ 1 w 159"/>
                      <a:gd name="T43" fmla="*/ 0 h 56"/>
                      <a:gd name="T44" fmla="*/ 1 w 159"/>
                      <a:gd name="T45" fmla="*/ 0 h 56"/>
                      <a:gd name="T46" fmla="*/ 1 w 159"/>
                      <a:gd name="T47" fmla="*/ 0 h 56"/>
                      <a:gd name="T48" fmla="*/ 1 w 159"/>
                      <a:gd name="T49" fmla="*/ 0 h 56"/>
                      <a:gd name="T50" fmla="*/ 1 w 159"/>
                      <a:gd name="T51" fmla="*/ 0 h 56"/>
                      <a:gd name="T52" fmla="*/ 1 w 159"/>
                      <a:gd name="T53" fmla="*/ 0 h 56"/>
                      <a:gd name="T54" fmla="*/ 1 w 159"/>
                      <a:gd name="T55" fmla="*/ 0 h 56"/>
                      <a:gd name="T56" fmla="*/ 1 w 159"/>
                      <a:gd name="T57" fmla="*/ 0 h 56"/>
                      <a:gd name="T58" fmla="*/ 0 w 159"/>
                      <a:gd name="T59" fmla="*/ 0 h 56"/>
                      <a:gd name="T60" fmla="*/ 0 w 159"/>
                      <a:gd name="T61" fmla="*/ 0 h 56"/>
                      <a:gd name="T62" fmla="*/ 0 w 159"/>
                      <a:gd name="T63" fmla="*/ 0 h 56"/>
                      <a:gd name="T64" fmla="*/ 0 w 159"/>
                      <a:gd name="T65" fmla="*/ 0 h 56"/>
                      <a:gd name="T66" fmla="*/ 0 w 159"/>
                      <a:gd name="T67" fmla="*/ 0 h 56"/>
                      <a:gd name="T68" fmla="*/ 0 w 159"/>
                      <a:gd name="T69" fmla="*/ 0 h 5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59"/>
                      <a:gd name="T106" fmla="*/ 0 h 56"/>
                      <a:gd name="T107" fmla="*/ 159 w 159"/>
                      <a:gd name="T108" fmla="*/ 56 h 56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59" h="56">
                        <a:moveTo>
                          <a:pt x="46" y="53"/>
                        </a:moveTo>
                        <a:lnTo>
                          <a:pt x="40" y="52"/>
                        </a:lnTo>
                        <a:lnTo>
                          <a:pt x="34" y="49"/>
                        </a:lnTo>
                        <a:lnTo>
                          <a:pt x="26" y="45"/>
                        </a:lnTo>
                        <a:lnTo>
                          <a:pt x="18" y="38"/>
                        </a:lnTo>
                        <a:lnTo>
                          <a:pt x="10" y="31"/>
                        </a:lnTo>
                        <a:lnTo>
                          <a:pt x="5" y="24"/>
                        </a:lnTo>
                        <a:lnTo>
                          <a:pt x="3" y="21"/>
                        </a:lnTo>
                        <a:lnTo>
                          <a:pt x="1" y="17"/>
                        </a:lnTo>
                        <a:lnTo>
                          <a:pt x="0" y="13"/>
                        </a:lnTo>
                        <a:lnTo>
                          <a:pt x="0" y="10"/>
                        </a:lnTo>
                        <a:lnTo>
                          <a:pt x="21" y="10"/>
                        </a:lnTo>
                        <a:lnTo>
                          <a:pt x="39" y="10"/>
                        </a:lnTo>
                        <a:lnTo>
                          <a:pt x="52" y="10"/>
                        </a:lnTo>
                        <a:lnTo>
                          <a:pt x="59" y="10"/>
                        </a:lnTo>
                        <a:lnTo>
                          <a:pt x="83" y="6"/>
                        </a:lnTo>
                        <a:lnTo>
                          <a:pt x="117" y="0"/>
                        </a:lnTo>
                        <a:lnTo>
                          <a:pt x="125" y="0"/>
                        </a:lnTo>
                        <a:lnTo>
                          <a:pt x="132" y="0"/>
                        </a:lnTo>
                        <a:lnTo>
                          <a:pt x="140" y="0"/>
                        </a:lnTo>
                        <a:lnTo>
                          <a:pt x="147" y="2"/>
                        </a:lnTo>
                        <a:lnTo>
                          <a:pt x="151" y="5"/>
                        </a:lnTo>
                        <a:lnTo>
                          <a:pt x="155" y="9"/>
                        </a:lnTo>
                        <a:lnTo>
                          <a:pt x="158" y="15"/>
                        </a:lnTo>
                        <a:lnTo>
                          <a:pt x="159" y="22"/>
                        </a:lnTo>
                        <a:lnTo>
                          <a:pt x="158" y="30"/>
                        </a:lnTo>
                        <a:lnTo>
                          <a:pt x="155" y="37"/>
                        </a:lnTo>
                        <a:lnTo>
                          <a:pt x="151" y="44"/>
                        </a:lnTo>
                        <a:lnTo>
                          <a:pt x="146" y="48"/>
                        </a:lnTo>
                        <a:lnTo>
                          <a:pt x="139" y="52"/>
                        </a:lnTo>
                        <a:lnTo>
                          <a:pt x="132" y="54"/>
                        </a:lnTo>
                        <a:lnTo>
                          <a:pt x="124" y="55"/>
                        </a:lnTo>
                        <a:lnTo>
                          <a:pt x="115" y="56"/>
                        </a:lnTo>
                        <a:lnTo>
                          <a:pt x="77" y="55"/>
                        </a:lnTo>
                        <a:lnTo>
                          <a:pt x="46" y="53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86" name="Freeform 433">
                    <a:extLst>
                      <a:ext uri="{FF2B5EF4-FFF2-40B4-BE49-F238E27FC236}">
                        <a16:creationId xmlns:a16="http://schemas.microsoft.com/office/drawing/2014/main" xmlns="" id="{7AA4D737-313A-480C-9616-FCFB4BE74F6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4" y="1280"/>
                    <a:ext cx="1205" cy="539"/>
                  </a:xfrm>
                  <a:custGeom>
                    <a:avLst/>
                    <a:gdLst>
                      <a:gd name="T0" fmla="*/ 10 w 3734"/>
                      <a:gd name="T1" fmla="*/ 5 h 1644"/>
                      <a:gd name="T2" fmla="*/ 9 w 3734"/>
                      <a:gd name="T3" fmla="*/ 6 h 1644"/>
                      <a:gd name="T4" fmla="*/ 8 w 3734"/>
                      <a:gd name="T5" fmla="*/ 6 h 1644"/>
                      <a:gd name="T6" fmla="*/ 8 w 3734"/>
                      <a:gd name="T7" fmla="*/ 6 h 1644"/>
                      <a:gd name="T8" fmla="*/ 8 w 3734"/>
                      <a:gd name="T9" fmla="*/ 6 h 1644"/>
                      <a:gd name="T10" fmla="*/ 8 w 3734"/>
                      <a:gd name="T11" fmla="*/ 6 h 1644"/>
                      <a:gd name="T12" fmla="*/ 8 w 3734"/>
                      <a:gd name="T13" fmla="*/ 5 h 1644"/>
                      <a:gd name="T14" fmla="*/ 7 w 3734"/>
                      <a:gd name="T15" fmla="*/ 5 h 1644"/>
                      <a:gd name="T16" fmla="*/ 7 w 3734"/>
                      <a:gd name="T17" fmla="*/ 5 h 1644"/>
                      <a:gd name="T18" fmla="*/ 6 w 3734"/>
                      <a:gd name="T19" fmla="*/ 5 h 1644"/>
                      <a:gd name="T20" fmla="*/ 1 w 3734"/>
                      <a:gd name="T21" fmla="*/ 5 h 1644"/>
                      <a:gd name="T22" fmla="*/ 0 w 3734"/>
                      <a:gd name="T23" fmla="*/ 4 h 1644"/>
                      <a:gd name="T24" fmla="*/ 1 w 3734"/>
                      <a:gd name="T25" fmla="*/ 4 h 1644"/>
                      <a:gd name="T26" fmla="*/ 1 w 3734"/>
                      <a:gd name="T27" fmla="*/ 4 h 1644"/>
                      <a:gd name="T28" fmla="*/ 1 w 3734"/>
                      <a:gd name="T29" fmla="*/ 3 h 1644"/>
                      <a:gd name="T30" fmla="*/ 1 w 3734"/>
                      <a:gd name="T31" fmla="*/ 3 h 1644"/>
                      <a:gd name="T32" fmla="*/ 0 w 3734"/>
                      <a:gd name="T33" fmla="*/ 3 h 1644"/>
                      <a:gd name="T34" fmla="*/ 2 w 3734"/>
                      <a:gd name="T35" fmla="*/ 0 h 1644"/>
                      <a:gd name="T36" fmla="*/ 4 w 3734"/>
                      <a:gd name="T37" fmla="*/ 0 h 1644"/>
                      <a:gd name="T38" fmla="*/ 5 w 3734"/>
                      <a:gd name="T39" fmla="*/ 0 h 1644"/>
                      <a:gd name="T40" fmla="*/ 6 w 3734"/>
                      <a:gd name="T41" fmla="*/ 1 h 1644"/>
                      <a:gd name="T42" fmla="*/ 6 w 3734"/>
                      <a:gd name="T43" fmla="*/ 1 h 1644"/>
                      <a:gd name="T44" fmla="*/ 7 w 3734"/>
                      <a:gd name="T45" fmla="*/ 1 h 1644"/>
                      <a:gd name="T46" fmla="*/ 8 w 3734"/>
                      <a:gd name="T47" fmla="*/ 1 h 1644"/>
                      <a:gd name="T48" fmla="*/ 8 w 3734"/>
                      <a:gd name="T49" fmla="*/ 1 h 1644"/>
                      <a:gd name="T50" fmla="*/ 9 w 3734"/>
                      <a:gd name="T51" fmla="*/ 0 h 1644"/>
                      <a:gd name="T52" fmla="*/ 9 w 3734"/>
                      <a:gd name="T53" fmla="*/ 0 h 1644"/>
                      <a:gd name="T54" fmla="*/ 9 w 3734"/>
                      <a:gd name="T55" fmla="*/ 0 h 1644"/>
                      <a:gd name="T56" fmla="*/ 9 w 3734"/>
                      <a:gd name="T57" fmla="*/ 1 h 1644"/>
                      <a:gd name="T58" fmla="*/ 9 w 3734"/>
                      <a:gd name="T59" fmla="*/ 1 h 1644"/>
                      <a:gd name="T60" fmla="*/ 10 w 3734"/>
                      <a:gd name="T61" fmla="*/ 0 h 1644"/>
                      <a:gd name="T62" fmla="*/ 11 w 3734"/>
                      <a:gd name="T63" fmla="*/ 1 h 1644"/>
                      <a:gd name="T64" fmla="*/ 10 w 3734"/>
                      <a:gd name="T65" fmla="*/ 1 h 1644"/>
                      <a:gd name="T66" fmla="*/ 10 w 3734"/>
                      <a:gd name="T67" fmla="*/ 1 h 1644"/>
                      <a:gd name="T68" fmla="*/ 9 w 3734"/>
                      <a:gd name="T69" fmla="*/ 1 h 1644"/>
                      <a:gd name="T70" fmla="*/ 9 w 3734"/>
                      <a:gd name="T71" fmla="*/ 2 h 1644"/>
                      <a:gd name="T72" fmla="*/ 8 w 3734"/>
                      <a:gd name="T73" fmla="*/ 2 h 1644"/>
                      <a:gd name="T74" fmla="*/ 7 w 3734"/>
                      <a:gd name="T75" fmla="*/ 2 h 1644"/>
                      <a:gd name="T76" fmla="*/ 7 w 3734"/>
                      <a:gd name="T77" fmla="*/ 3 h 1644"/>
                      <a:gd name="T78" fmla="*/ 8 w 3734"/>
                      <a:gd name="T79" fmla="*/ 3 h 1644"/>
                      <a:gd name="T80" fmla="*/ 8 w 3734"/>
                      <a:gd name="T81" fmla="*/ 4 h 1644"/>
                      <a:gd name="T82" fmla="*/ 9 w 3734"/>
                      <a:gd name="T83" fmla="*/ 4 h 1644"/>
                      <a:gd name="T84" fmla="*/ 10 w 3734"/>
                      <a:gd name="T85" fmla="*/ 3 h 1644"/>
                      <a:gd name="T86" fmla="*/ 10 w 3734"/>
                      <a:gd name="T87" fmla="*/ 2 h 1644"/>
                      <a:gd name="T88" fmla="*/ 11 w 3734"/>
                      <a:gd name="T89" fmla="*/ 2 h 1644"/>
                      <a:gd name="T90" fmla="*/ 11 w 3734"/>
                      <a:gd name="T91" fmla="*/ 2 h 1644"/>
                      <a:gd name="T92" fmla="*/ 11 w 3734"/>
                      <a:gd name="T93" fmla="*/ 3 h 1644"/>
                      <a:gd name="T94" fmla="*/ 12 w 3734"/>
                      <a:gd name="T95" fmla="*/ 2 h 1644"/>
                      <a:gd name="T96" fmla="*/ 12 w 3734"/>
                      <a:gd name="T97" fmla="*/ 3 h 1644"/>
                      <a:gd name="T98" fmla="*/ 13 w 3734"/>
                      <a:gd name="T99" fmla="*/ 3 h 1644"/>
                      <a:gd name="T100" fmla="*/ 13 w 3734"/>
                      <a:gd name="T101" fmla="*/ 4 h 1644"/>
                      <a:gd name="T102" fmla="*/ 13 w 3734"/>
                      <a:gd name="T103" fmla="*/ 4 h 1644"/>
                      <a:gd name="T104" fmla="*/ 12 w 3734"/>
                      <a:gd name="T105" fmla="*/ 4 h 1644"/>
                      <a:gd name="T106" fmla="*/ 11 w 3734"/>
                      <a:gd name="T107" fmla="*/ 4 h 1644"/>
                      <a:gd name="T108" fmla="*/ 10 w 3734"/>
                      <a:gd name="T109" fmla="*/ 5 h 1644"/>
                      <a:gd name="T110" fmla="*/ 10 w 3734"/>
                      <a:gd name="T111" fmla="*/ 5 h 1644"/>
                      <a:gd name="T112" fmla="*/ 11 w 3734"/>
                      <a:gd name="T113" fmla="*/ 5 h 1644"/>
                      <a:gd name="T114" fmla="*/ 11 w 3734"/>
                      <a:gd name="T115" fmla="*/ 5 h 1644"/>
                      <a:gd name="T116" fmla="*/ 11 w 3734"/>
                      <a:gd name="T117" fmla="*/ 5 h 1644"/>
                      <a:gd name="T118" fmla="*/ 11 w 3734"/>
                      <a:gd name="T119" fmla="*/ 6 h 1644"/>
                      <a:gd name="T120" fmla="*/ 11 w 3734"/>
                      <a:gd name="T121" fmla="*/ 6 h 1644"/>
                      <a:gd name="T122" fmla="*/ 11 w 3734"/>
                      <a:gd name="T123" fmla="*/ 6 h 1644"/>
                      <a:gd name="T124" fmla="*/ 11 w 3734"/>
                      <a:gd name="T125" fmla="*/ 6 h 1644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3734"/>
                      <a:gd name="T190" fmla="*/ 0 h 1644"/>
                      <a:gd name="T191" fmla="*/ 3734 w 3734"/>
                      <a:gd name="T192" fmla="*/ 1644 h 1644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3734" h="1644">
                        <a:moveTo>
                          <a:pt x="3010" y="1478"/>
                        </a:moveTo>
                        <a:lnTo>
                          <a:pt x="3010" y="1410"/>
                        </a:lnTo>
                        <a:lnTo>
                          <a:pt x="3013" y="1407"/>
                        </a:lnTo>
                        <a:lnTo>
                          <a:pt x="3016" y="1400"/>
                        </a:lnTo>
                        <a:lnTo>
                          <a:pt x="3021" y="1391"/>
                        </a:lnTo>
                        <a:lnTo>
                          <a:pt x="3025" y="1382"/>
                        </a:lnTo>
                        <a:lnTo>
                          <a:pt x="3029" y="1370"/>
                        </a:lnTo>
                        <a:lnTo>
                          <a:pt x="3033" y="1360"/>
                        </a:lnTo>
                        <a:lnTo>
                          <a:pt x="3036" y="1351"/>
                        </a:lnTo>
                        <a:lnTo>
                          <a:pt x="3036" y="1343"/>
                        </a:lnTo>
                        <a:lnTo>
                          <a:pt x="3032" y="1345"/>
                        </a:lnTo>
                        <a:lnTo>
                          <a:pt x="3026" y="1345"/>
                        </a:lnTo>
                        <a:lnTo>
                          <a:pt x="3021" y="1346"/>
                        </a:lnTo>
                        <a:lnTo>
                          <a:pt x="3014" y="1345"/>
                        </a:lnTo>
                        <a:lnTo>
                          <a:pt x="2997" y="1344"/>
                        </a:lnTo>
                        <a:lnTo>
                          <a:pt x="2977" y="1343"/>
                        </a:lnTo>
                        <a:lnTo>
                          <a:pt x="2967" y="1343"/>
                        </a:lnTo>
                        <a:lnTo>
                          <a:pt x="2958" y="1345"/>
                        </a:lnTo>
                        <a:lnTo>
                          <a:pt x="2950" y="1348"/>
                        </a:lnTo>
                        <a:lnTo>
                          <a:pt x="2943" y="1352"/>
                        </a:lnTo>
                        <a:lnTo>
                          <a:pt x="2936" y="1356"/>
                        </a:lnTo>
                        <a:lnTo>
                          <a:pt x="2931" y="1362"/>
                        </a:lnTo>
                        <a:lnTo>
                          <a:pt x="2925" y="1368"/>
                        </a:lnTo>
                        <a:lnTo>
                          <a:pt x="2920" y="1374"/>
                        </a:lnTo>
                        <a:lnTo>
                          <a:pt x="2909" y="1388"/>
                        </a:lnTo>
                        <a:lnTo>
                          <a:pt x="2899" y="1403"/>
                        </a:lnTo>
                        <a:lnTo>
                          <a:pt x="2889" y="1416"/>
                        </a:lnTo>
                        <a:lnTo>
                          <a:pt x="2877" y="1429"/>
                        </a:lnTo>
                        <a:lnTo>
                          <a:pt x="2867" y="1438"/>
                        </a:lnTo>
                        <a:lnTo>
                          <a:pt x="2857" y="1445"/>
                        </a:lnTo>
                        <a:lnTo>
                          <a:pt x="2847" y="1451"/>
                        </a:lnTo>
                        <a:lnTo>
                          <a:pt x="2836" y="1456"/>
                        </a:lnTo>
                        <a:lnTo>
                          <a:pt x="2826" y="1460"/>
                        </a:lnTo>
                        <a:lnTo>
                          <a:pt x="2815" y="1463"/>
                        </a:lnTo>
                        <a:lnTo>
                          <a:pt x="2803" y="1465"/>
                        </a:lnTo>
                        <a:lnTo>
                          <a:pt x="2792" y="1467"/>
                        </a:lnTo>
                        <a:lnTo>
                          <a:pt x="2767" y="1470"/>
                        </a:lnTo>
                        <a:lnTo>
                          <a:pt x="2741" y="1472"/>
                        </a:lnTo>
                        <a:lnTo>
                          <a:pt x="2711" y="1474"/>
                        </a:lnTo>
                        <a:lnTo>
                          <a:pt x="2678" y="1478"/>
                        </a:lnTo>
                        <a:lnTo>
                          <a:pt x="2591" y="1478"/>
                        </a:lnTo>
                        <a:lnTo>
                          <a:pt x="2580" y="1494"/>
                        </a:lnTo>
                        <a:lnTo>
                          <a:pt x="2569" y="1508"/>
                        </a:lnTo>
                        <a:lnTo>
                          <a:pt x="2556" y="1522"/>
                        </a:lnTo>
                        <a:lnTo>
                          <a:pt x="2543" y="1534"/>
                        </a:lnTo>
                        <a:lnTo>
                          <a:pt x="2530" y="1547"/>
                        </a:lnTo>
                        <a:lnTo>
                          <a:pt x="2514" y="1558"/>
                        </a:lnTo>
                        <a:lnTo>
                          <a:pt x="2500" y="1568"/>
                        </a:lnTo>
                        <a:lnTo>
                          <a:pt x="2485" y="1577"/>
                        </a:lnTo>
                        <a:lnTo>
                          <a:pt x="2492" y="1571"/>
                        </a:lnTo>
                        <a:lnTo>
                          <a:pt x="2498" y="1565"/>
                        </a:lnTo>
                        <a:lnTo>
                          <a:pt x="2502" y="1559"/>
                        </a:lnTo>
                        <a:lnTo>
                          <a:pt x="2504" y="1553"/>
                        </a:lnTo>
                        <a:lnTo>
                          <a:pt x="2478" y="1546"/>
                        </a:lnTo>
                        <a:lnTo>
                          <a:pt x="2445" y="1559"/>
                        </a:lnTo>
                        <a:lnTo>
                          <a:pt x="2408" y="1562"/>
                        </a:lnTo>
                        <a:lnTo>
                          <a:pt x="2364" y="1565"/>
                        </a:lnTo>
                        <a:lnTo>
                          <a:pt x="2353" y="1567"/>
                        </a:lnTo>
                        <a:lnTo>
                          <a:pt x="2343" y="1569"/>
                        </a:lnTo>
                        <a:lnTo>
                          <a:pt x="2334" y="1572"/>
                        </a:lnTo>
                        <a:lnTo>
                          <a:pt x="2328" y="1575"/>
                        </a:lnTo>
                        <a:lnTo>
                          <a:pt x="2321" y="1579"/>
                        </a:lnTo>
                        <a:lnTo>
                          <a:pt x="2316" y="1583"/>
                        </a:lnTo>
                        <a:lnTo>
                          <a:pt x="2315" y="1586"/>
                        </a:lnTo>
                        <a:lnTo>
                          <a:pt x="2313" y="1589"/>
                        </a:lnTo>
                        <a:lnTo>
                          <a:pt x="2312" y="1592"/>
                        </a:lnTo>
                        <a:lnTo>
                          <a:pt x="2312" y="1595"/>
                        </a:lnTo>
                        <a:lnTo>
                          <a:pt x="2312" y="1598"/>
                        </a:lnTo>
                        <a:lnTo>
                          <a:pt x="2313" y="1602"/>
                        </a:lnTo>
                        <a:lnTo>
                          <a:pt x="2316" y="1604"/>
                        </a:lnTo>
                        <a:lnTo>
                          <a:pt x="2318" y="1605"/>
                        </a:lnTo>
                        <a:lnTo>
                          <a:pt x="2324" y="1608"/>
                        </a:lnTo>
                        <a:lnTo>
                          <a:pt x="2332" y="1609"/>
                        </a:lnTo>
                        <a:lnTo>
                          <a:pt x="2351" y="1609"/>
                        </a:lnTo>
                        <a:lnTo>
                          <a:pt x="2372" y="1608"/>
                        </a:lnTo>
                        <a:lnTo>
                          <a:pt x="2388" y="1607"/>
                        </a:lnTo>
                        <a:lnTo>
                          <a:pt x="2405" y="1605"/>
                        </a:lnTo>
                        <a:lnTo>
                          <a:pt x="2421" y="1602"/>
                        </a:lnTo>
                        <a:lnTo>
                          <a:pt x="2438" y="1597"/>
                        </a:lnTo>
                        <a:lnTo>
                          <a:pt x="2425" y="1602"/>
                        </a:lnTo>
                        <a:lnTo>
                          <a:pt x="2414" y="1605"/>
                        </a:lnTo>
                        <a:lnTo>
                          <a:pt x="2402" y="1607"/>
                        </a:lnTo>
                        <a:lnTo>
                          <a:pt x="2391" y="1608"/>
                        </a:lnTo>
                        <a:lnTo>
                          <a:pt x="2319" y="1626"/>
                        </a:lnTo>
                        <a:lnTo>
                          <a:pt x="2313" y="1629"/>
                        </a:lnTo>
                        <a:lnTo>
                          <a:pt x="2307" y="1631"/>
                        </a:lnTo>
                        <a:lnTo>
                          <a:pt x="2300" y="1633"/>
                        </a:lnTo>
                        <a:lnTo>
                          <a:pt x="2294" y="1634"/>
                        </a:lnTo>
                        <a:lnTo>
                          <a:pt x="2296" y="1633"/>
                        </a:lnTo>
                        <a:lnTo>
                          <a:pt x="2299" y="1632"/>
                        </a:lnTo>
                        <a:lnTo>
                          <a:pt x="2290" y="1625"/>
                        </a:lnTo>
                        <a:lnTo>
                          <a:pt x="2283" y="1620"/>
                        </a:lnTo>
                        <a:lnTo>
                          <a:pt x="2273" y="1617"/>
                        </a:lnTo>
                        <a:lnTo>
                          <a:pt x="2263" y="1614"/>
                        </a:lnTo>
                        <a:lnTo>
                          <a:pt x="2253" y="1613"/>
                        </a:lnTo>
                        <a:lnTo>
                          <a:pt x="2243" y="1614"/>
                        </a:lnTo>
                        <a:lnTo>
                          <a:pt x="2233" y="1615"/>
                        </a:lnTo>
                        <a:lnTo>
                          <a:pt x="2224" y="1616"/>
                        </a:lnTo>
                        <a:lnTo>
                          <a:pt x="2207" y="1621"/>
                        </a:lnTo>
                        <a:lnTo>
                          <a:pt x="2193" y="1626"/>
                        </a:lnTo>
                        <a:lnTo>
                          <a:pt x="2183" y="1630"/>
                        </a:lnTo>
                        <a:lnTo>
                          <a:pt x="2179" y="1632"/>
                        </a:lnTo>
                        <a:lnTo>
                          <a:pt x="2172" y="1634"/>
                        </a:lnTo>
                        <a:lnTo>
                          <a:pt x="2162" y="1637"/>
                        </a:lnTo>
                        <a:lnTo>
                          <a:pt x="2150" y="1641"/>
                        </a:lnTo>
                        <a:lnTo>
                          <a:pt x="2137" y="1644"/>
                        </a:lnTo>
                        <a:lnTo>
                          <a:pt x="2147" y="1632"/>
                        </a:lnTo>
                        <a:lnTo>
                          <a:pt x="2156" y="1623"/>
                        </a:lnTo>
                        <a:lnTo>
                          <a:pt x="2167" y="1614"/>
                        </a:lnTo>
                        <a:lnTo>
                          <a:pt x="2177" y="1607"/>
                        </a:lnTo>
                        <a:lnTo>
                          <a:pt x="2187" y="1599"/>
                        </a:lnTo>
                        <a:lnTo>
                          <a:pt x="2196" y="1592"/>
                        </a:lnTo>
                        <a:lnTo>
                          <a:pt x="2200" y="1587"/>
                        </a:lnTo>
                        <a:lnTo>
                          <a:pt x="2205" y="1582"/>
                        </a:lnTo>
                        <a:lnTo>
                          <a:pt x="2209" y="1577"/>
                        </a:lnTo>
                        <a:lnTo>
                          <a:pt x="2212" y="1571"/>
                        </a:lnTo>
                        <a:lnTo>
                          <a:pt x="2219" y="1558"/>
                        </a:lnTo>
                        <a:lnTo>
                          <a:pt x="2222" y="1544"/>
                        </a:lnTo>
                        <a:lnTo>
                          <a:pt x="2224" y="1533"/>
                        </a:lnTo>
                        <a:lnTo>
                          <a:pt x="2228" y="1522"/>
                        </a:lnTo>
                        <a:lnTo>
                          <a:pt x="2230" y="1511"/>
                        </a:lnTo>
                        <a:lnTo>
                          <a:pt x="2234" y="1501"/>
                        </a:lnTo>
                        <a:lnTo>
                          <a:pt x="2238" y="1495"/>
                        </a:lnTo>
                        <a:lnTo>
                          <a:pt x="2242" y="1490"/>
                        </a:lnTo>
                        <a:lnTo>
                          <a:pt x="2246" y="1484"/>
                        </a:lnTo>
                        <a:lnTo>
                          <a:pt x="2252" y="1478"/>
                        </a:lnTo>
                        <a:lnTo>
                          <a:pt x="2265" y="1478"/>
                        </a:lnTo>
                        <a:lnTo>
                          <a:pt x="2266" y="1485"/>
                        </a:lnTo>
                        <a:lnTo>
                          <a:pt x="2267" y="1492"/>
                        </a:lnTo>
                        <a:lnTo>
                          <a:pt x="2271" y="1497"/>
                        </a:lnTo>
                        <a:lnTo>
                          <a:pt x="2273" y="1502"/>
                        </a:lnTo>
                        <a:lnTo>
                          <a:pt x="2279" y="1512"/>
                        </a:lnTo>
                        <a:lnTo>
                          <a:pt x="2286" y="1521"/>
                        </a:lnTo>
                        <a:lnTo>
                          <a:pt x="2298" y="1517"/>
                        </a:lnTo>
                        <a:lnTo>
                          <a:pt x="2310" y="1512"/>
                        </a:lnTo>
                        <a:lnTo>
                          <a:pt x="2324" y="1508"/>
                        </a:lnTo>
                        <a:lnTo>
                          <a:pt x="2345" y="1503"/>
                        </a:lnTo>
                        <a:lnTo>
                          <a:pt x="2345" y="1478"/>
                        </a:lnTo>
                        <a:lnTo>
                          <a:pt x="2331" y="1462"/>
                        </a:lnTo>
                        <a:lnTo>
                          <a:pt x="2317" y="1444"/>
                        </a:lnTo>
                        <a:lnTo>
                          <a:pt x="2309" y="1436"/>
                        </a:lnTo>
                        <a:lnTo>
                          <a:pt x="2300" y="1428"/>
                        </a:lnTo>
                        <a:lnTo>
                          <a:pt x="2296" y="1426"/>
                        </a:lnTo>
                        <a:lnTo>
                          <a:pt x="2290" y="1424"/>
                        </a:lnTo>
                        <a:lnTo>
                          <a:pt x="2285" y="1423"/>
                        </a:lnTo>
                        <a:lnTo>
                          <a:pt x="2279" y="1422"/>
                        </a:lnTo>
                        <a:lnTo>
                          <a:pt x="2249" y="1423"/>
                        </a:lnTo>
                        <a:lnTo>
                          <a:pt x="2215" y="1424"/>
                        </a:lnTo>
                        <a:lnTo>
                          <a:pt x="2199" y="1424"/>
                        </a:lnTo>
                        <a:lnTo>
                          <a:pt x="2185" y="1423"/>
                        </a:lnTo>
                        <a:lnTo>
                          <a:pt x="2178" y="1422"/>
                        </a:lnTo>
                        <a:lnTo>
                          <a:pt x="2173" y="1420"/>
                        </a:lnTo>
                        <a:lnTo>
                          <a:pt x="2168" y="1419"/>
                        </a:lnTo>
                        <a:lnTo>
                          <a:pt x="2166" y="1416"/>
                        </a:lnTo>
                        <a:lnTo>
                          <a:pt x="2163" y="1413"/>
                        </a:lnTo>
                        <a:lnTo>
                          <a:pt x="2161" y="1409"/>
                        </a:lnTo>
                        <a:lnTo>
                          <a:pt x="2159" y="1405"/>
                        </a:lnTo>
                        <a:lnTo>
                          <a:pt x="2159" y="1401"/>
                        </a:lnTo>
                        <a:lnTo>
                          <a:pt x="2159" y="1392"/>
                        </a:lnTo>
                        <a:lnTo>
                          <a:pt x="2160" y="1382"/>
                        </a:lnTo>
                        <a:lnTo>
                          <a:pt x="2161" y="1372"/>
                        </a:lnTo>
                        <a:lnTo>
                          <a:pt x="2161" y="1362"/>
                        </a:lnTo>
                        <a:lnTo>
                          <a:pt x="2160" y="1357"/>
                        </a:lnTo>
                        <a:lnTo>
                          <a:pt x="2159" y="1352"/>
                        </a:lnTo>
                        <a:lnTo>
                          <a:pt x="2155" y="1347"/>
                        </a:lnTo>
                        <a:lnTo>
                          <a:pt x="2153" y="1343"/>
                        </a:lnTo>
                        <a:lnTo>
                          <a:pt x="2149" y="1339"/>
                        </a:lnTo>
                        <a:lnTo>
                          <a:pt x="2144" y="1335"/>
                        </a:lnTo>
                        <a:lnTo>
                          <a:pt x="2139" y="1332"/>
                        </a:lnTo>
                        <a:lnTo>
                          <a:pt x="2133" y="1329"/>
                        </a:lnTo>
                        <a:lnTo>
                          <a:pt x="2122" y="1323"/>
                        </a:lnTo>
                        <a:lnTo>
                          <a:pt x="2111" y="1315"/>
                        </a:lnTo>
                        <a:lnTo>
                          <a:pt x="2107" y="1311"/>
                        </a:lnTo>
                        <a:lnTo>
                          <a:pt x="2102" y="1307"/>
                        </a:lnTo>
                        <a:lnTo>
                          <a:pt x="2097" y="1301"/>
                        </a:lnTo>
                        <a:lnTo>
                          <a:pt x="2094" y="1295"/>
                        </a:lnTo>
                        <a:lnTo>
                          <a:pt x="2091" y="1288"/>
                        </a:lnTo>
                        <a:lnTo>
                          <a:pt x="2088" y="1279"/>
                        </a:lnTo>
                        <a:lnTo>
                          <a:pt x="2087" y="1269"/>
                        </a:lnTo>
                        <a:lnTo>
                          <a:pt x="2086" y="1256"/>
                        </a:lnTo>
                        <a:lnTo>
                          <a:pt x="2060" y="1256"/>
                        </a:lnTo>
                        <a:lnTo>
                          <a:pt x="2046" y="1259"/>
                        </a:lnTo>
                        <a:lnTo>
                          <a:pt x="2027" y="1261"/>
                        </a:lnTo>
                        <a:lnTo>
                          <a:pt x="2017" y="1262"/>
                        </a:lnTo>
                        <a:lnTo>
                          <a:pt x="2007" y="1265"/>
                        </a:lnTo>
                        <a:lnTo>
                          <a:pt x="2003" y="1267"/>
                        </a:lnTo>
                        <a:lnTo>
                          <a:pt x="1999" y="1270"/>
                        </a:lnTo>
                        <a:lnTo>
                          <a:pt x="1996" y="1272"/>
                        </a:lnTo>
                        <a:lnTo>
                          <a:pt x="1993" y="1275"/>
                        </a:lnTo>
                        <a:lnTo>
                          <a:pt x="1985" y="1287"/>
                        </a:lnTo>
                        <a:lnTo>
                          <a:pt x="1976" y="1301"/>
                        </a:lnTo>
                        <a:lnTo>
                          <a:pt x="1974" y="1304"/>
                        </a:lnTo>
                        <a:lnTo>
                          <a:pt x="1971" y="1307"/>
                        </a:lnTo>
                        <a:lnTo>
                          <a:pt x="1968" y="1310"/>
                        </a:lnTo>
                        <a:lnTo>
                          <a:pt x="1963" y="1313"/>
                        </a:lnTo>
                        <a:lnTo>
                          <a:pt x="1959" y="1315"/>
                        </a:lnTo>
                        <a:lnTo>
                          <a:pt x="1953" y="1316"/>
                        </a:lnTo>
                        <a:lnTo>
                          <a:pt x="1947" y="1317"/>
                        </a:lnTo>
                        <a:lnTo>
                          <a:pt x="1940" y="1318"/>
                        </a:lnTo>
                        <a:lnTo>
                          <a:pt x="1930" y="1317"/>
                        </a:lnTo>
                        <a:lnTo>
                          <a:pt x="1920" y="1315"/>
                        </a:lnTo>
                        <a:lnTo>
                          <a:pt x="1910" y="1313"/>
                        </a:lnTo>
                        <a:lnTo>
                          <a:pt x="1901" y="1309"/>
                        </a:lnTo>
                        <a:lnTo>
                          <a:pt x="1892" y="1305"/>
                        </a:lnTo>
                        <a:lnTo>
                          <a:pt x="1883" y="1300"/>
                        </a:lnTo>
                        <a:lnTo>
                          <a:pt x="1874" y="1294"/>
                        </a:lnTo>
                        <a:lnTo>
                          <a:pt x="1867" y="1287"/>
                        </a:lnTo>
                        <a:lnTo>
                          <a:pt x="1864" y="1289"/>
                        </a:lnTo>
                        <a:lnTo>
                          <a:pt x="1860" y="1293"/>
                        </a:lnTo>
                        <a:lnTo>
                          <a:pt x="1853" y="1298"/>
                        </a:lnTo>
                        <a:lnTo>
                          <a:pt x="1847" y="1299"/>
                        </a:lnTo>
                        <a:lnTo>
                          <a:pt x="1840" y="1299"/>
                        </a:lnTo>
                        <a:lnTo>
                          <a:pt x="1833" y="1297"/>
                        </a:lnTo>
                        <a:lnTo>
                          <a:pt x="1826" y="1294"/>
                        </a:lnTo>
                        <a:lnTo>
                          <a:pt x="1819" y="1290"/>
                        </a:lnTo>
                        <a:lnTo>
                          <a:pt x="1813" y="1287"/>
                        </a:lnTo>
                        <a:lnTo>
                          <a:pt x="1805" y="1284"/>
                        </a:lnTo>
                        <a:lnTo>
                          <a:pt x="1796" y="1282"/>
                        </a:lnTo>
                        <a:lnTo>
                          <a:pt x="1787" y="1281"/>
                        </a:lnTo>
                        <a:lnTo>
                          <a:pt x="1771" y="1281"/>
                        </a:lnTo>
                        <a:lnTo>
                          <a:pt x="1761" y="1281"/>
                        </a:lnTo>
                        <a:lnTo>
                          <a:pt x="1756" y="1281"/>
                        </a:lnTo>
                        <a:lnTo>
                          <a:pt x="1751" y="1280"/>
                        </a:lnTo>
                        <a:lnTo>
                          <a:pt x="1747" y="1279"/>
                        </a:lnTo>
                        <a:lnTo>
                          <a:pt x="1742" y="1277"/>
                        </a:lnTo>
                        <a:lnTo>
                          <a:pt x="1734" y="1272"/>
                        </a:lnTo>
                        <a:lnTo>
                          <a:pt x="1727" y="1264"/>
                        </a:lnTo>
                        <a:lnTo>
                          <a:pt x="1722" y="1256"/>
                        </a:lnTo>
                        <a:lnTo>
                          <a:pt x="1717" y="1247"/>
                        </a:lnTo>
                        <a:lnTo>
                          <a:pt x="1715" y="1237"/>
                        </a:lnTo>
                        <a:lnTo>
                          <a:pt x="1714" y="1226"/>
                        </a:lnTo>
                        <a:lnTo>
                          <a:pt x="1681" y="1226"/>
                        </a:lnTo>
                        <a:lnTo>
                          <a:pt x="1682" y="1231"/>
                        </a:lnTo>
                        <a:lnTo>
                          <a:pt x="1684" y="1239"/>
                        </a:lnTo>
                        <a:lnTo>
                          <a:pt x="1686" y="1247"/>
                        </a:lnTo>
                        <a:lnTo>
                          <a:pt x="1688" y="1256"/>
                        </a:lnTo>
                        <a:lnTo>
                          <a:pt x="259" y="1256"/>
                        </a:lnTo>
                        <a:lnTo>
                          <a:pt x="263" y="1245"/>
                        </a:lnTo>
                        <a:lnTo>
                          <a:pt x="265" y="1239"/>
                        </a:lnTo>
                        <a:lnTo>
                          <a:pt x="265" y="1237"/>
                        </a:lnTo>
                        <a:lnTo>
                          <a:pt x="263" y="1236"/>
                        </a:lnTo>
                        <a:lnTo>
                          <a:pt x="261" y="1235"/>
                        </a:lnTo>
                        <a:lnTo>
                          <a:pt x="258" y="1233"/>
                        </a:lnTo>
                        <a:lnTo>
                          <a:pt x="256" y="1229"/>
                        </a:lnTo>
                        <a:lnTo>
                          <a:pt x="252" y="1220"/>
                        </a:lnTo>
                        <a:lnTo>
                          <a:pt x="247" y="1214"/>
                        </a:lnTo>
                        <a:lnTo>
                          <a:pt x="240" y="1207"/>
                        </a:lnTo>
                        <a:lnTo>
                          <a:pt x="235" y="1200"/>
                        </a:lnTo>
                        <a:lnTo>
                          <a:pt x="233" y="1195"/>
                        </a:lnTo>
                        <a:lnTo>
                          <a:pt x="226" y="1194"/>
                        </a:lnTo>
                        <a:lnTo>
                          <a:pt x="217" y="1190"/>
                        </a:lnTo>
                        <a:lnTo>
                          <a:pt x="213" y="1188"/>
                        </a:lnTo>
                        <a:lnTo>
                          <a:pt x="210" y="1184"/>
                        </a:lnTo>
                        <a:lnTo>
                          <a:pt x="206" y="1181"/>
                        </a:lnTo>
                        <a:lnTo>
                          <a:pt x="206" y="1176"/>
                        </a:lnTo>
                        <a:lnTo>
                          <a:pt x="195" y="1173"/>
                        </a:lnTo>
                        <a:lnTo>
                          <a:pt x="182" y="1168"/>
                        </a:lnTo>
                        <a:lnTo>
                          <a:pt x="169" y="1161"/>
                        </a:lnTo>
                        <a:lnTo>
                          <a:pt x="156" y="1153"/>
                        </a:lnTo>
                        <a:lnTo>
                          <a:pt x="145" y="1145"/>
                        </a:lnTo>
                        <a:lnTo>
                          <a:pt x="135" y="1136"/>
                        </a:lnTo>
                        <a:lnTo>
                          <a:pt x="132" y="1132"/>
                        </a:lnTo>
                        <a:lnTo>
                          <a:pt x="128" y="1128"/>
                        </a:lnTo>
                        <a:lnTo>
                          <a:pt x="127" y="1125"/>
                        </a:lnTo>
                        <a:lnTo>
                          <a:pt x="126" y="1121"/>
                        </a:lnTo>
                        <a:lnTo>
                          <a:pt x="127" y="1116"/>
                        </a:lnTo>
                        <a:lnTo>
                          <a:pt x="128" y="1111"/>
                        </a:lnTo>
                        <a:lnTo>
                          <a:pt x="132" y="1106"/>
                        </a:lnTo>
                        <a:lnTo>
                          <a:pt x="136" y="1102"/>
                        </a:lnTo>
                        <a:lnTo>
                          <a:pt x="146" y="1094"/>
                        </a:lnTo>
                        <a:lnTo>
                          <a:pt x="157" y="1088"/>
                        </a:lnTo>
                        <a:lnTo>
                          <a:pt x="169" y="1083"/>
                        </a:lnTo>
                        <a:lnTo>
                          <a:pt x="180" y="1077"/>
                        </a:lnTo>
                        <a:lnTo>
                          <a:pt x="184" y="1075"/>
                        </a:lnTo>
                        <a:lnTo>
                          <a:pt x="188" y="1072"/>
                        </a:lnTo>
                        <a:lnTo>
                          <a:pt x="191" y="1069"/>
                        </a:lnTo>
                        <a:lnTo>
                          <a:pt x="193" y="1066"/>
                        </a:lnTo>
                        <a:lnTo>
                          <a:pt x="183" y="1065"/>
                        </a:lnTo>
                        <a:lnTo>
                          <a:pt x="170" y="1064"/>
                        </a:lnTo>
                        <a:lnTo>
                          <a:pt x="164" y="1063"/>
                        </a:lnTo>
                        <a:lnTo>
                          <a:pt x="158" y="1060"/>
                        </a:lnTo>
                        <a:lnTo>
                          <a:pt x="156" y="1059"/>
                        </a:lnTo>
                        <a:lnTo>
                          <a:pt x="155" y="1057"/>
                        </a:lnTo>
                        <a:lnTo>
                          <a:pt x="154" y="1056"/>
                        </a:lnTo>
                        <a:lnTo>
                          <a:pt x="153" y="1053"/>
                        </a:lnTo>
                        <a:lnTo>
                          <a:pt x="151" y="1040"/>
                        </a:lnTo>
                        <a:lnTo>
                          <a:pt x="148" y="1029"/>
                        </a:lnTo>
                        <a:lnTo>
                          <a:pt x="147" y="1024"/>
                        </a:lnTo>
                        <a:lnTo>
                          <a:pt x="147" y="1019"/>
                        </a:lnTo>
                        <a:lnTo>
                          <a:pt x="149" y="1015"/>
                        </a:lnTo>
                        <a:lnTo>
                          <a:pt x="153" y="1010"/>
                        </a:lnTo>
                        <a:lnTo>
                          <a:pt x="126" y="1010"/>
                        </a:lnTo>
                        <a:lnTo>
                          <a:pt x="133" y="992"/>
                        </a:lnTo>
                        <a:lnTo>
                          <a:pt x="120" y="989"/>
                        </a:lnTo>
                        <a:lnTo>
                          <a:pt x="106" y="985"/>
                        </a:lnTo>
                        <a:lnTo>
                          <a:pt x="108" y="979"/>
                        </a:lnTo>
                        <a:lnTo>
                          <a:pt x="110" y="973"/>
                        </a:lnTo>
                        <a:lnTo>
                          <a:pt x="112" y="969"/>
                        </a:lnTo>
                        <a:lnTo>
                          <a:pt x="114" y="965"/>
                        </a:lnTo>
                        <a:lnTo>
                          <a:pt x="121" y="958"/>
                        </a:lnTo>
                        <a:lnTo>
                          <a:pt x="127" y="954"/>
                        </a:lnTo>
                        <a:lnTo>
                          <a:pt x="134" y="950"/>
                        </a:lnTo>
                        <a:lnTo>
                          <a:pt x="140" y="947"/>
                        </a:lnTo>
                        <a:lnTo>
                          <a:pt x="147" y="942"/>
                        </a:lnTo>
                        <a:lnTo>
                          <a:pt x="153" y="936"/>
                        </a:lnTo>
                        <a:lnTo>
                          <a:pt x="149" y="932"/>
                        </a:lnTo>
                        <a:lnTo>
                          <a:pt x="148" y="929"/>
                        </a:lnTo>
                        <a:lnTo>
                          <a:pt x="147" y="927"/>
                        </a:lnTo>
                        <a:lnTo>
                          <a:pt x="147" y="925"/>
                        </a:lnTo>
                        <a:lnTo>
                          <a:pt x="148" y="923"/>
                        </a:lnTo>
                        <a:lnTo>
                          <a:pt x="149" y="921"/>
                        </a:lnTo>
                        <a:lnTo>
                          <a:pt x="151" y="919"/>
                        </a:lnTo>
                        <a:lnTo>
                          <a:pt x="155" y="917"/>
                        </a:lnTo>
                        <a:lnTo>
                          <a:pt x="161" y="914"/>
                        </a:lnTo>
                        <a:lnTo>
                          <a:pt x="170" y="910"/>
                        </a:lnTo>
                        <a:lnTo>
                          <a:pt x="178" y="905"/>
                        </a:lnTo>
                        <a:lnTo>
                          <a:pt x="187" y="899"/>
                        </a:lnTo>
                        <a:lnTo>
                          <a:pt x="191" y="901"/>
                        </a:lnTo>
                        <a:lnTo>
                          <a:pt x="196" y="902"/>
                        </a:lnTo>
                        <a:lnTo>
                          <a:pt x="203" y="901"/>
                        </a:lnTo>
                        <a:lnTo>
                          <a:pt x="209" y="900"/>
                        </a:lnTo>
                        <a:lnTo>
                          <a:pt x="215" y="898"/>
                        </a:lnTo>
                        <a:lnTo>
                          <a:pt x="221" y="896"/>
                        </a:lnTo>
                        <a:lnTo>
                          <a:pt x="227" y="893"/>
                        </a:lnTo>
                        <a:lnTo>
                          <a:pt x="233" y="889"/>
                        </a:lnTo>
                        <a:lnTo>
                          <a:pt x="243" y="881"/>
                        </a:lnTo>
                        <a:lnTo>
                          <a:pt x="251" y="872"/>
                        </a:lnTo>
                        <a:lnTo>
                          <a:pt x="255" y="868"/>
                        </a:lnTo>
                        <a:lnTo>
                          <a:pt x="257" y="863"/>
                        </a:lnTo>
                        <a:lnTo>
                          <a:pt x="259" y="859"/>
                        </a:lnTo>
                        <a:lnTo>
                          <a:pt x="259" y="856"/>
                        </a:lnTo>
                        <a:lnTo>
                          <a:pt x="259" y="851"/>
                        </a:lnTo>
                        <a:lnTo>
                          <a:pt x="258" y="847"/>
                        </a:lnTo>
                        <a:lnTo>
                          <a:pt x="256" y="843"/>
                        </a:lnTo>
                        <a:lnTo>
                          <a:pt x="254" y="840"/>
                        </a:lnTo>
                        <a:lnTo>
                          <a:pt x="248" y="832"/>
                        </a:lnTo>
                        <a:lnTo>
                          <a:pt x="243" y="826"/>
                        </a:lnTo>
                        <a:lnTo>
                          <a:pt x="236" y="818"/>
                        </a:lnTo>
                        <a:lnTo>
                          <a:pt x="232" y="811"/>
                        </a:lnTo>
                        <a:lnTo>
                          <a:pt x="229" y="807"/>
                        </a:lnTo>
                        <a:lnTo>
                          <a:pt x="227" y="803"/>
                        </a:lnTo>
                        <a:lnTo>
                          <a:pt x="226" y="799"/>
                        </a:lnTo>
                        <a:lnTo>
                          <a:pt x="226" y="794"/>
                        </a:lnTo>
                        <a:lnTo>
                          <a:pt x="226" y="789"/>
                        </a:lnTo>
                        <a:lnTo>
                          <a:pt x="227" y="784"/>
                        </a:lnTo>
                        <a:lnTo>
                          <a:pt x="228" y="780"/>
                        </a:lnTo>
                        <a:lnTo>
                          <a:pt x="231" y="776"/>
                        </a:lnTo>
                        <a:lnTo>
                          <a:pt x="234" y="770"/>
                        </a:lnTo>
                        <a:lnTo>
                          <a:pt x="239" y="763"/>
                        </a:lnTo>
                        <a:lnTo>
                          <a:pt x="244" y="757"/>
                        </a:lnTo>
                        <a:lnTo>
                          <a:pt x="248" y="751"/>
                        </a:lnTo>
                        <a:lnTo>
                          <a:pt x="250" y="747"/>
                        </a:lnTo>
                        <a:lnTo>
                          <a:pt x="251" y="743"/>
                        </a:lnTo>
                        <a:lnTo>
                          <a:pt x="252" y="738"/>
                        </a:lnTo>
                        <a:lnTo>
                          <a:pt x="252" y="733"/>
                        </a:lnTo>
                        <a:lnTo>
                          <a:pt x="252" y="724"/>
                        </a:lnTo>
                        <a:lnTo>
                          <a:pt x="251" y="716"/>
                        </a:lnTo>
                        <a:lnTo>
                          <a:pt x="249" y="707"/>
                        </a:lnTo>
                        <a:lnTo>
                          <a:pt x="247" y="700"/>
                        </a:lnTo>
                        <a:lnTo>
                          <a:pt x="242" y="686"/>
                        </a:lnTo>
                        <a:lnTo>
                          <a:pt x="234" y="674"/>
                        </a:lnTo>
                        <a:lnTo>
                          <a:pt x="218" y="653"/>
                        </a:lnTo>
                        <a:lnTo>
                          <a:pt x="206" y="634"/>
                        </a:lnTo>
                        <a:lnTo>
                          <a:pt x="200" y="634"/>
                        </a:lnTo>
                        <a:lnTo>
                          <a:pt x="194" y="635"/>
                        </a:lnTo>
                        <a:lnTo>
                          <a:pt x="190" y="637"/>
                        </a:lnTo>
                        <a:lnTo>
                          <a:pt x="186" y="639"/>
                        </a:lnTo>
                        <a:lnTo>
                          <a:pt x="177" y="644"/>
                        </a:lnTo>
                        <a:lnTo>
                          <a:pt x="168" y="649"/>
                        </a:lnTo>
                        <a:lnTo>
                          <a:pt x="159" y="656"/>
                        </a:lnTo>
                        <a:lnTo>
                          <a:pt x="148" y="661"/>
                        </a:lnTo>
                        <a:lnTo>
                          <a:pt x="142" y="662"/>
                        </a:lnTo>
                        <a:lnTo>
                          <a:pt x="135" y="664"/>
                        </a:lnTo>
                        <a:lnTo>
                          <a:pt x="128" y="665"/>
                        </a:lnTo>
                        <a:lnTo>
                          <a:pt x="120" y="665"/>
                        </a:lnTo>
                        <a:lnTo>
                          <a:pt x="113" y="663"/>
                        </a:lnTo>
                        <a:lnTo>
                          <a:pt x="104" y="658"/>
                        </a:lnTo>
                        <a:lnTo>
                          <a:pt x="100" y="656"/>
                        </a:lnTo>
                        <a:lnTo>
                          <a:pt x="97" y="652"/>
                        </a:lnTo>
                        <a:lnTo>
                          <a:pt x="94" y="649"/>
                        </a:lnTo>
                        <a:lnTo>
                          <a:pt x="93" y="646"/>
                        </a:lnTo>
                        <a:lnTo>
                          <a:pt x="93" y="640"/>
                        </a:lnTo>
                        <a:lnTo>
                          <a:pt x="95" y="633"/>
                        </a:lnTo>
                        <a:lnTo>
                          <a:pt x="98" y="628"/>
                        </a:lnTo>
                        <a:lnTo>
                          <a:pt x="100" y="622"/>
                        </a:lnTo>
                        <a:lnTo>
                          <a:pt x="102" y="616"/>
                        </a:lnTo>
                        <a:lnTo>
                          <a:pt x="104" y="610"/>
                        </a:lnTo>
                        <a:lnTo>
                          <a:pt x="105" y="604"/>
                        </a:lnTo>
                        <a:lnTo>
                          <a:pt x="106" y="597"/>
                        </a:lnTo>
                        <a:lnTo>
                          <a:pt x="86" y="597"/>
                        </a:lnTo>
                        <a:lnTo>
                          <a:pt x="64" y="597"/>
                        </a:lnTo>
                        <a:lnTo>
                          <a:pt x="35" y="597"/>
                        </a:lnTo>
                        <a:lnTo>
                          <a:pt x="0" y="597"/>
                        </a:lnTo>
                        <a:lnTo>
                          <a:pt x="585" y="117"/>
                        </a:lnTo>
                        <a:lnTo>
                          <a:pt x="594" y="116"/>
                        </a:lnTo>
                        <a:lnTo>
                          <a:pt x="602" y="114"/>
                        </a:lnTo>
                        <a:lnTo>
                          <a:pt x="612" y="112"/>
                        </a:lnTo>
                        <a:lnTo>
                          <a:pt x="625" y="111"/>
                        </a:lnTo>
                        <a:lnTo>
                          <a:pt x="635" y="111"/>
                        </a:lnTo>
                        <a:lnTo>
                          <a:pt x="643" y="113"/>
                        </a:lnTo>
                        <a:lnTo>
                          <a:pt x="651" y="116"/>
                        </a:lnTo>
                        <a:lnTo>
                          <a:pt x="659" y="119"/>
                        </a:lnTo>
                        <a:lnTo>
                          <a:pt x="674" y="128"/>
                        </a:lnTo>
                        <a:lnTo>
                          <a:pt x="687" y="138"/>
                        </a:lnTo>
                        <a:lnTo>
                          <a:pt x="702" y="148"/>
                        </a:lnTo>
                        <a:lnTo>
                          <a:pt x="716" y="158"/>
                        </a:lnTo>
                        <a:lnTo>
                          <a:pt x="724" y="161"/>
                        </a:lnTo>
                        <a:lnTo>
                          <a:pt x="732" y="164"/>
                        </a:lnTo>
                        <a:lnTo>
                          <a:pt x="741" y="166"/>
                        </a:lnTo>
                        <a:lnTo>
                          <a:pt x="751" y="166"/>
                        </a:lnTo>
                        <a:lnTo>
                          <a:pt x="943" y="111"/>
                        </a:lnTo>
                        <a:lnTo>
                          <a:pt x="1096" y="111"/>
                        </a:lnTo>
                        <a:lnTo>
                          <a:pt x="1103" y="112"/>
                        </a:lnTo>
                        <a:lnTo>
                          <a:pt x="1110" y="113"/>
                        </a:lnTo>
                        <a:lnTo>
                          <a:pt x="1117" y="113"/>
                        </a:lnTo>
                        <a:lnTo>
                          <a:pt x="1123" y="113"/>
                        </a:lnTo>
                        <a:lnTo>
                          <a:pt x="1135" y="110"/>
                        </a:lnTo>
                        <a:lnTo>
                          <a:pt x="1146" y="105"/>
                        </a:lnTo>
                        <a:lnTo>
                          <a:pt x="1157" y="100"/>
                        </a:lnTo>
                        <a:lnTo>
                          <a:pt x="1169" y="93"/>
                        </a:lnTo>
                        <a:lnTo>
                          <a:pt x="1181" y="89"/>
                        </a:lnTo>
                        <a:lnTo>
                          <a:pt x="1196" y="85"/>
                        </a:lnTo>
                        <a:lnTo>
                          <a:pt x="1195" y="90"/>
                        </a:lnTo>
                        <a:lnTo>
                          <a:pt x="1195" y="94"/>
                        </a:lnTo>
                        <a:lnTo>
                          <a:pt x="1195" y="100"/>
                        </a:lnTo>
                        <a:lnTo>
                          <a:pt x="1196" y="104"/>
                        </a:lnTo>
                        <a:lnTo>
                          <a:pt x="1198" y="112"/>
                        </a:lnTo>
                        <a:lnTo>
                          <a:pt x="1202" y="120"/>
                        </a:lnTo>
                        <a:lnTo>
                          <a:pt x="1208" y="126"/>
                        </a:lnTo>
                        <a:lnTo>
                          <a:pt x="1214" y="131"/>
                        </a:lnTo>
                        <a:lnTo>
                          <a:pt x="1218" y="132"/>
                        </a:lnTo>
                        <a:lnTo>
                          <a:pt x="1222" y="134"/>
                        </a:lnTo>
                        <a:lnTo>
                          <a:pt x="1225" y="135"/>
                        </a:lnTo>
                        <a:lnTo>
                          <a:pt x="1230" y="135"/>
                        </a:lnTo>
                        <a:lnTo>
                          <a:pt x="1238" y="134"/>
                        </a:lnTo>
                        <a:lnTo>
                          <a:pt x="1247" y="133"/>
                        </a:lnTo>
                        <a:lnTo>
                          <a:pt x="1255" y="131"/>
                        </a:lnTo>
                        <a:lnTo>
                          <a:pt x="1263" y="128"/>
                        </a:lnTo>
                        <a:lnTo>
                          <a:pt x="1278" y="122"/>
                        </a:lnTo>
                        <a:lnTo>
                          <a:pt x="1296" y="117"/>
                        </a:lnTo>
                        <a:lnTo>
                          <a:pt x="1298" y="119"/>
                        </a:lnTo>
                        <a:lnTo>
                          <a:pt x="1300" y="120"/>
                        </a:lnTo>
                        <a:lnTo>
                          <a:pt x="1303" y="122"/>
                        </a:lnTo>
                        <a:lnTo>
                          <a:pt x="1308" y="123"/>
                        </a:lnTo>
                        <a:lnTo>
                          <a:pt x="1319" y="124"/>
                        </a:lnTo>
                        <a:lnTo>
                          <a:pt x="1331" y="124"/>
                        </a:lnTo>
                        <a:lnTo>
                          <a:pt x="1343" y="123"/>
                        </a:lnTo>
                        <a:lnTo>
                          <a:pt x="1355" y="121"/>
                        </a:lnTo>
                        <a:lnTo>
                          <a:pt x="1367" y="119"/>
                        </a:lnTo>
                        <a:lnTo>
                          <a:pt x="1376" y="117"/>
                        </a:lnTo>
                        <a:lnTo>
                          <a:pt x="1386" y="116"/>
                        </a:lnTo>
                        <a:lnTo>
                          <a:pt x="1397" y="114"/>
                        </a:lnTo>
                        <a:lnTo>
                          <a:pt x="1405" y="112"/>
                        </a:lnTo>
                        <a:lnTo>
                          <a:pt x="1409" y="111"/>
                        </a:lnTo>
                        <a:lnTo>
                          <a:pt x="1424" y="112"/>
                        </a:lnTo>
                        <a:lnTo>
                          <a:pt x="1450" y="117"/>
                        </a:lnTo>
                        <a:lnTo>
                          <a:pt x="1483" y="123"/>
                        </a:lnTo>
                        <a:lnTo>
                          <a:pt x="1520" y="131"/>
                        </a:lnTo>
                        <a:lnTo>
                          <a:pt x="1557" y="140"/>
                        </a:lnTo>
                        <a:lnTo>
                          <a:pt x="1592" y="149"/>
                        </a:lnTo>
                        <a:lnTo>
                          <a:pt x="1621" y="159"/>
                        </a:lnTo>
                        <a:lnTo>
                          <a:pt x="1641" y="166"/>
                        </a:lnTo>
                        <a:lnTo>
                          <a:pt x="1632" y="174"/>
                        </a:lnTo>
                        <a:lnTo>
                          <a:pt x="1623" y="179"/>
                        </a:lnTo>
                        <a:lnTo>
                          <a:pt x="1615" y="183"/>
                        </a:lnTo>
                        <a:lnTo>
                          <a:pt x="1607" y="187"/>
                        </a:lnTo>
                        <a:lnTo>
                          <a:pt x="1601" y="189"/>
                        </a:lnTo>
                        <a:lnTo>
                          <a:pt x="1592" y="193"/>
                        </a:lnTo>
                        <a:lnTo>
                          <a:pt x="1584" y="197"/>
                        </a:lnTo>
                        <a:lnTo>
                          <a:pt x="1574" y="202"/>
                        </a:lnTo>
                        <a:lnTo>
                          <a:pt x="1591" y="209"/>
                        </a:lnTo>
                        <a:lnTo>
                          <a:pt x="1606" y="215"/>
                        </a:lnTo>
                        <a:lnTo>
                          <a:pt x="1621" y="219"/>
                        </a:lnTo>
                        <a:lnTo>
                          <a:pt x="1635" y="222"/>
                        </a:lnTo>
                        <a:lnTo>
                          <a:pt x="1648" y="225"/>
                        </a:lnTo>
                        <a:lnTo>
                          <a:pt x="1662" y="226"/>
                        </a:lnTo>
                        <a:lnTo>
                          <a:pt x="1678" y="227"/>
                        </a:lnTo>
                        <a:lnTo>
                          <a:pt x="1694" y="228"/>
                        </a:lnTo>
                        <a:lnTo>
                          <a:pt x="1711" y="227"/>
                        </a:lnTo>
                        <a:lnTo>
                          <a:pt x="1725" y="224"/>
                        </a:lnTo>
                        <a:lnTo>
                          <a:pt x="1737" y="220"/>
                        </a:lnTo>
                        <a:lnTo>
                          <a:pt x="1749" y="216"/>
                        </a:lnTo>
                        <a:lnTo>
                          <a:pt x="1760" y="211"/>
                        </a:lnTo>
                        <a:lnTo>
                          <a:pt x="1771" y="206"/>
                        </a:lnTo>
                        <a:lnTo>
                          <a:pt x="1782" y="203"/>
                        </a:lnTo>
                        <a:lnTo>
                          <a:pt x="1794" y="202"/>
                        </a:lnTo>
                        <a:lnTo>
                          <a:pt x="1800" y="203"/>
                        </a:lnTo>
                        <a:lnTo>
                          <a:pt x="1805" y="204"/>
                        </a:lnTo>
                        <a:lnTo>
                          <a:pt x="1811" y="206"/>
                        </a:lnTo>
                        <a:lnTo>
                          <a:pt x="1816" y="209"/>
                        </a:lnTo>
                        <a:lnTo>
                          <a:pt x="1825" y="217"/>
                        </a:lnTo>
                        <a:lnTo>
                          <a:pt x="1833" y="225"/>
                        </a:lnTo>
                        <a:lnTo>
                          <a:pt x="1841" y="232"/>
                        </a:lnTo>
                        <a:lnTo>
                          <a:pt x="1849" y="239"/>
                        </a:lnTo>
                        <a:lnTo>
                          <a:pt x="1853" y="242"/>
                        </a:lnTo>
                        <a:lnTo>
                          <a:pt x="1858" y="244"/>
                        </a:lnTo>
                        <a:lnTo>
                          <a:pt x="1862" y="245"/>
                        </a:lnTo>
                        <a:lnTo>
                          <a:pt x="1867" y="246"/>
                        </a:lnTo>
                        <a:lnTo>
                          <a:pt x="1880" y="202"/>
                        </a:lnTo>
                        <a:lnTo>
                          <a:pt x="2006" y="178"/>
                        </a:lnTo>
                        <a:lnTo>
                          <a:pt x="2016" y="179"/>
                        </a:lnTo>
                        <a:lnTo>
                          <a:pt x="2026" y="180"/>
                        </a:lnTo>
                        <a:lnTo>
                          <a:pt x="2035" y="181"/>
                        </a:lnTo>
                        <a:lnTo>
                          <a:pt x="2043" y="183"/>
                        </a:lnTo>
                        <a:lnTo>
                          <a:pt x="2060" y="188"/>
                        </a:lnTo>
                        <a:lnTo>
                          <a:pt x="2076" y="193"/>
                        </a:lnTo>
                        <a:lnTo>
                          <a:pt x="2093" y="199"/>
                        </a:lnTo>
                        <a:lnTo>
                          <a:pt x="2109" y="204"/>
                        </a:lnTo>
                        <a:lnTo>
                          <a:pt x="2118" y="206"/>
                        </a:lnTo>
                        <a:lnTo>
                          <a:pt x="2127" y="207"/>
                        </a:lnTo>
                        <a:lnTo>
                          <a:pt x="2137" y="208"/>
                        </a:lnTo>
                        <a:lnTo>
                          <a:pt x="2147" y="208"/>
                        </a:lnTo>
                        <a:lnTo>
                          <a:pt x="2162" y="208"/>
                        </a:lnTo>
                        <a:lnTo>
                          <a:pt x="2173" y="207"/>
                        </a:lnTo>
                        <a:lnTo>
                          <a:pt x="2183" y="205"/>
                        </a:lnTo>
                        <a:lnTo>
                          <a:pt x="2190" y="202"/>
                        </a:lnTo>
                        <a:lnTo>
                          <a:pt x="2198" y="200"/>
                        </a:lnTo>
                        <a:lnTo>
                          <a:pt x="2206" y="198"/>
                        </a:lnTo>
                        <a:lnTo>
                          <a:pt x="2215" y="197"/>
                        </a:lnTo>
                        <a:lnTo>
                          <a:pt x="2226" y="196"/>
                        </a:lnTo>
                        <a:lnTo>
                          <a:pt x="2235" y="197"/>
                        </a:lnTo>
                        <a:lnTo>
                          <a:pt x="2244" y="199"/>
                        </a:lnTo>
                        <a:lnTo>
                          <a:pt x="2253" y="202"/>
                        </a:lnTo>
                        <a:lnTo>
                          <a:pt x="2261" y="205"/>
                        </a:lnTo>
                        <a:lnTo>
                          <a:pt x="2267" y="209"/>
                        </a:lnTo>
                        <a:lnTo>
                          <a:pt x="2274" y="213"/>
                        </a:lnTo>
                        <a:lnTo>
                          <a:pt x="2280" y="215"/>
                        </a:lnTo>
                        <a:lnTo>
                          <a:pt x="2286" y="216"/>
                        </a:lnTo>
                        <a:lnTo>
                          <a:pt x="2290" y="215"/>
                        </a:lnTo>
                        <a:lnTo>
                          <a:pt x="2296" y="213"/>
                        </a:lnTo>
                        <a:lnTo>
                          <a:pt x="2300" y="211"/>
                        </a:lnTo>
                        <a:lnTo>
                          <a:pt x="2305" y="206"/>
                        </a:lnTo>
                        <a:lnTo>
                          <a:pt x="2309" y="202"/>
                        </a:lnTo>
                        <a:lnTo>
                          <a:pt x="2312" y="197"/>
                        </a:lnTo>
                        <a:lnTo>
                          <a:pt x="2316" y="191"/>
                        </a:lnTo>
                        <a:lnTo>
                          <a:pt x="2319" y="184"/>
                        </a:lnTo>
                        <a:lnTo>
                          <a:pt x="2326" y="183"/>
                        </a:lnTo>
                        <a:lnTo>
                          <a:pt x="2334" y="180"/>
                        </a:lnTo>
                        <a:lnTo>
                          <a:pt x="2339" y="179"/>
                        </a:lnTo>
                        <a:lnTo>
                          <a:pt x="2342" y="177"/>
                        </a:lnTo>
                        <a:lnTo>
                          <a:pt x="2344" y="174"/>
                        </a:lnTo>
                        <a:lnTo>
                          <a:pt x="2345" y="172"/>
                        </a:lnTo>
                        <a:lnTo>
                          <a:pt x="2378" y="172"/>
                        </a:lnTo>
                        <a:lnTo>
                          <a:pt x="2376" y="178"/>
                        </a:lnTo>
                        <a:lnTo>
                          <a:pt x="2372" y="185"/>
                        </a:lnTo>
                        <a:lnTo>
                          <a:pt x="2369" y="189"/>
                        </a:lnTo>
                        <a:lnTo>
                          <a:pt x="2367" y="193"/>
                        </a:lnTo>
                        <a:lnTo>
                          <a:pt x="2366" y="198"/>
                        </a:lnTo>
                        <a:lnTo>
                          <a:pt x="2365" y="202"/>
                        </a:lnTo>
                        <a:lnTo>
                          <a:pt x="2365" y="216"/>
                        </a:lnTo>
                        <a:lnTo>
                          <a:pt x="2365" y="228"/>
                        </a:lnTo>
                        <a:lnTo>
                          <a:pt x="2405" y="228"/>
                        </a:lnTo>
                        <a:lnTo>
                          <a:pt x="2401" y="213"/>
                        </a:lnTo>
                        <a:lnTo>
                          <a:pt x="2400" y="203"/>
                        </a:lnTo>
                        <a:lnTo>
                          <a:pt x="2401" y="195"/>
                        </a:lnTo>
                        <a:lnTo>
                          <a:pt x="2405" y="184"/>
                        </a:lnTo>
                        <a:lnTo>
                          <a:pt x="2430" y="184"/>
                        </a:lnTo>
                        <a:lnTo>
                          <a:pt x="2454" y="182"/>
                        </a:lnTo>
                        <a:lnTo>
                          <a:pt x="2465" y="180"/>
                        </a:lnTo>
                        <a:lnTo>
                          <a:pt x="2476" y="178"/>
                        </a:lnTo>
                        <a:lnTo>
                          <a:pt x="2487" y="175"/>
                        </a:lnTo>
                        <a:lnTo>
                          <a:pt x="2497" y="172"/>
                        </a:lnTo>
                        <a:lnTo>
                          <a:pt x="2506" y="168"/>
                        </a:lnTo>
                        <a:lnTo>
                          <a:pt x="2513" y="164"/>
                        </a:lnTo>
                        <a:lnTo>
                          <a:pt x="2521" y="159"/>
                        </a:lnTo>
                        <a:lnTo>
                          <a:pt x="2526" y="153"/>
                        </a:lnTo>
                        <a:lnTo>
                          <a:pt x="2532" y="146"/>
                        </a:lnTo>
                        <a:lnTo>
                          <a:pt x="2535" y="139"/>
                        </a:lnTo>
                        <a:lnTo>
                          <a:pt x="2537" y="131"/>
                        </a:lnTo>
                        <a:lnTo>
                          <a:pt x="2539" y="123"/>
                        </a:lnTo>
                        <a:lnTo>
                          <a:pt x="2532" y="123"/>
                        </a:lnTo>
                        <a:lnTo>
                          <a:pt x="2518" y="123"/>
                        </a:lnTo>
                        <a:lnTo>
                          <a:pt x="2501" y="123"/>
                        </a:lnTo>
                        <a:lnTo>
                          <a:pt x="2491" y="123"/>
                        </a:lnTo>
                        <a:lnTo>
                          <a:pt x="2487" y="120"/>
                        </a:lnTo>
                        <a:lnTo>
                          <a:pt x="2483" y="115"/>
                        </a:lnTo>
                        <a:lnTo>
                          <a:pt x="2479" y="110"/>
                        </a:lnTo>
                        <a:lnTo>
                          <a:pt x="2477" y="105"/>
                        </a:lnTo>
                        <a:lnTo>
                          <a:pt x="2473" y="93"/>
                        </a:lnTo>
                        <a:lnTo>
                          <a:pt x="2472" y="85"/>
                        </a:lnTo>
                        <a:lnTo>
                          <a:pt x="2473" y="81"/>
                        </a:lnTo>
                        <a:lnTo>
                          <a:pt x="2476" y="75"/>
                        </a:lnTo>
                        <a:lnTo>
                          <a:pt x="2480" y="69"/>
                        </a:lnTo>
                        <a:lnTo>
                          <a:pt x="2487" y="62"/>
                        </a:lnTo>
                        <a:lnTo>
                          <a:pt x="2495" y="55"/>
                        </a:lnTo>
                        <a:lnTo>
                          <a:pt x="2503" y="48"/>
                        </a:lnTo>
                        <a:lnTo>
                          <a:pt x="2512" y="40"/>
                        </a:lnTo>
                        <a:lnTo>
                          <a:pt x="2523" y="33"/>
                        </a:lnTo>
                        <a:lnTo>
                          <a:pt x="2534" y="26"/>
                        </a:lnTo>
                        <a:lnTo>
                          <a:pt x="2545" y="20"/>
                        </a:lnTo>
                        <a:lnTo>
                          <a:pt x="2556" y="15"/>
                        </a:lnTo>
                        <a:lnTo>
                          <a:pt x="2567" y="10"/>
                        </a:lnTo>
                        <a:lnTo>
                          <a:pt x="2577" y="6"/>
                        </a:lnTo>
                        <a:lnTo>
                          <a:pt x="2587" y="2"/>
                        </a:lnTo>
                        <a:lnTo>
                          <a:pt x="2597" y="0"/>
                        </a:lnTo>
                        <a:lnTo>
                          <a:pt x="2604" y="0"/>
                        </a:lnTo>
                        <a:lnTo>
                          <a:pt x="2611" y="0"/>
                        </a:lnTo>
                        <a:lnTo>
                          <a:pt x="2621" y="0"/>
                        </a:lnTo>
                        <a:lnTo>
                          <a:pt x="2631" y="0"/>
                        </a:lnTo>
                        <a:lnTo>
                          <a:pt x="2637" y="0"/>
                        </a:lnTo>
                        <a:lnTo>
                          <a:pt x="2638" y="8"/>
                        </a:lnTo>
                        <a:lnTo>
                          <a:pt x="2638" y="16"/>
                        </a:lnTo>
                        <a:lnTo>
                          <a:pt x="2640" y="24"/>
                        </a:lnTo>
                        <a:lnTo>
                          <a:pt x="2642" y="30"/>
                        </a:lnTo>
                        <a:lnTo>
                          <a:pt x="2646" y="42"/>
                        </a:lnTo>
                        <a:lnTo>
                          <a:pt x="2651" y="53"/>
                        </a:lnTo>
                        <a:lnTo>
                          <a:pt x="2656" y="62"/>
                        </a:lnTo>
                        <a:lnTo>
                          <a:pt x="2660" y="71"/>
                        </a:lnTo>
                        <a:lnTo>
                          <a:pt x="2663" y="81"/>
                        </a:lnTo>
                        <a:lnTo>
                          <a:pt x="2664" y="91"/>
                        </a:lnTo>
                        <a:lnTo>
                          <a:pt x="2664" y="95"/>
                        </a:lnTo>
                        <a:lnTo>
                          <a:pt x="2663" y="97"/>
                        </a:lnTo>
                        <a:lnTo>
                          <a:pt x="2660" y="100"/>
                        </a:lnTo>
                        <a:lnTo>
                          <a:pt x="2658" y="101"/>
                        </a:lnTo>
                        <a:lnTo>
                          <a:pt x="2652" y="103"/>
                        </a:lnTo>
                        <a:lnTo>
                          <a:pt x="2644" y="105"/>
                        </a:lnTo>
                        <a:lnTo>
                          <a:pt x="2635" y="106"/>
                        </a:lnTo>
                        <a:lnTo>
                          <a:pt x="2627" y="108"/>
                        </a:lnTo>
                        <a:lnTo>
                          <a:pt x="2624" y="109"/>
                        </a:lnTo>
                        <a:lnTo>
                          <a:pt x="2622" y="111"/>
                        </a:lnTo>
                        <a:lnTo>
                          <a:pt x="2620" y="114"/>
                        </a:lnTo>
                        <a:lnTo>
                          <a:pt x="2618" y="117"/>
                        </a:lnTo>
                        <a:lnTo>
                          <a:pt x="2627" y="118"/>
                        </a:lnTo>
                        <a:lnTo>
                          <a:pt x="2637" y="120"/>
                        </a:lnTo>
                        <a:lnTo>
                          <a:pt x="2647" y="122"/>
                        </a:lnTo>
                        <a:lnTo>
                          <a:pt x="2657" y="123"/>
                        </a:lnTo>
                        <a:lnTo>
                          <a:pt x="2653" y="127"/>
                        </a:lnTo>
                        <a:lnTo>
                          <a:pt x="2649" y="132"/>
                        </a:lnTo>
                        <a:lnTo>
                          <a:pt x="2647" y="137"/>
                        </a:lnTo>
                        <a:lnTo>
                          <a:pt x="2646" y="142"/>
                        </a:lnTo>
                        <a:lnTo>
                          <a:pt x="2644" y="153"/>
                        </a:lnTo>
                        <a:lnTo>
                          <a:pt x="2644" y="166"/>
                        </a:lnTo>
                        <a:lnTo>
                          <a:pt x="2645" y="168"/>
                        </a:lnTo>
                        <a:lnTo>
                          <a:pt x="2646" y="169"/>
                        </a:lnTo>
                        <a:lnTo>
                          <a:pt x="2648" y="169"/>
                        </a:lnTo>
                        <a:lnTo>
                          <a:pt x="2652" y="168"/>
                        </a:lnTo>
                        <a:lnTo>
                          <a:pt x="2658" y="167"/>
                        </a:lnTo>
                        <a:lnTo>
                          <a:pt x="2664" y="166"/>
                        </a:lnTo>
                        <a:lnTo>
                          <a:pt x="2664" y="160"/>
                        </a:lnTo>
                        <a:lnTo>
                          <a:pt x="2664" y="153"/>
                        </a:lnTo>
                        <a:lnTo>
                          <a:pt x="2672" y="151"/>
                        </a:lnTo>
                        <a:lnTo>
                          <a:pt x="2680" y="148"/>
                        </a:lnTo>
                        <a:lnTo>
                          <a:pt x="2685" y="145"/>
                        </a:lnTo>
                        <a:lnTo>
                          <a:pt x="2689" y="142"/>
                        </a:lnTo>
                        <a:lnTo>
                          <a:pt x="2692" y="139"/>
                        </a:lnTo>
                        <a:lnTo>
                          <a:pt x="2696" y="137"/>
                        </a:lnTo>
                        <a:lnTo>
                          <a:pt x="2700" y="135"/>
                        </a:lnTo>
                        <a:lnTo>
                          <a:pt x="2704" y="135"/>
                        </a:lnTo>
                        <a:lnTo>
                          <a:pt x="2709" y="137"/>
                        </a:lnTo>
                        <a:lnTo>
                          <a:pt x="2715" y="138"/>
                        </a:lnTo>
                        <a:lnTo>
                          <a:pt x="2724" y="139"/>
                        </a:lnTo>
                        <a:lnTo>
                          <a:pt x="2733" y="140"/>
                        </a:lnTo>
                        <a:lnTo>
                          <a:pt x="2749" y="141"/>
                        </a:lnTo>
                        <a:lnTo>
                          <a:pt x="2757" y="141"/>
                        </a:lnTo>
                        <a:lnTo>
                          <a:pt x="2752" y="153"/>
                        </a:lnTo>
                        <a:lnTo>
                          <a:pt x="2745" y="164"/>
                        </a:lnTo>
                        <a:lnTo>
                          <a:pt x="2738" y="173"/>
                        </a:lnTo>
                        <a:lnTo>
                          <a:pt x="2731" y="180"/>
                        </a:lnTo>
                        <a:lnTo>
                          <a:pt x="2723" y="188"/>
                        </a:lnTo>
                        <a:lnTo>
                          <a:pt x="2716" y="196"/>
                        </a:lnTo>
                        <a:lnTo>
                          <a:pt x="2710" y="204"/>
                        </a:lnTo>
                        <a:lnTo>
                          <a:pt x="2704" y="216"/>
                        </a:lnTo>
                        <a:lnTo>
                          <a:pt x="2712" y="217"/>
                        </a:lnTo>
                        <a:lnTo>
                          <a:pt x="2719" y="218"/>
                        </a:lnTo>
                        <a:lnTo>
                          <a:pt x="2725" y="218"/>
                        </a:lnTo>
                        <a:lnTo>
                          <a:pt x="2732" y="218"/>
                        </a:lnTo>
                        <a:lnTo>
                          <a:pt x="2744" y="216"/>
                        </a:lnTo>
                        <a:lnTo>
                          <a:pt x="2750" y="216"/>
                        </a:lnTo>
                        <a:lnTo>
                          <a:pt x="2780" y="194"/>
                        </a:lnTo>
                        <a:lnTo>
                          <a:pt x="2810" y="172"/>
                        </a:lnTo>
                        <a:lnTo>
                          <a:pt x="2817" y="167"/>
                        </a:lnTo>
                        <a:lnTo>
                          <a:pt x="2825" y="163"/>
                        </a:lnTo>
                        <a:lnTo>
                          <a:pt x="2834" y="159"/>
                        </a:lnTo>
                        <a:lnTo>
                          <a:pt x="2843" y="155"/>
                        </a:lnTo>
                        <a:lnTo>
                          <a:pt x="2853" y="151"/>
                        </a:lnTo>
                        <a:lnTo>
                          <a:pt x="2862" y="149"/>
                        </a:lnTo>
                        <a:lnTo>
                          <a:pt x="2872" y="147"/>
                        </a:lnTo>
                        <a:lnTo>
                          <a:pt x="2883" y="147"/>
                        </a:lnTo>
                        <a:lnTo>
                          <a:pt x="2884" y="139"/>
                        </a:lnTo>
                        <a:lnTo>
                          <a:pt x="2885" y="132"/>
                        </a:lnTo>
                        <a:lnTo>
                          <a:pt x="2888" y="126"/>
                        </a:lnTo>
                        <a:lnTo>
                          <a:pt x="2891" y="121"/>
                        </a:lnTo>
                        <a:lnTo>
                          <a:pt x="2895" y="116"/>
                        </a:lnTo>
                        <a:lnTo>
                          <a:pt x="2900" y="111"/>
                        </a:lnTo>
                        <a:lnTo>
                          <a:pt x="2905" y="107"/>
                        </a:lnTo>
                        <a:lnTo>
                          <a:pt x="2912" y="104"/>
                        </a:lnTo>
                        <a:lnTo>
                          <a:pt x="2918" y="101"/>
                        </a:lnTo>
                        <a:lnTo>
                          <a:pt x="2925" y="98"/>
                        </a:lnTo>
                        <a:lnTo>
                          <a:pt x="2932" y="96"/>
                        </a:lnTo>
                        <a:lnTo>
                          <a:pt x="2939" y="94"/>
                        </a:lnTo>
                        <a:lnTo>
                          <a:pt x="2955" y="92"/>
                        </a:lnTo>
                        <a:lnTo>
                          <a:pt x="2970" y="91"/>
                        </a:lnTo>
                        <a:lnTo>
                          <a:pt x="2978" y="92"/>
                        </a:lnTo>
                        <a:lnTo>
                          <a:pt x="2984" y="93"/>
                        </a:lnTo>
                        <a:lnTo>
                          <a:pt x="2993" y="95"/>
                        </a:lnTo>
                        <a:lnTo>
                          <a:pt x="3001" y="98"/>
                        </a:lnTo>
                        <a:lnTo>
                          <a:pt x="3008" y="101"/>
                        </a:lnTo>
                        <a:lnTo>
                          <a:pt x="3017" y="103"/>
                        </a:lnTo>
                        <a:lnTo>
                          <a:pt x="3026" y="104"/>
                        </a:lnTo>
                        <a:lnTo>
                          <a:pt x="3036" y="105"/>
                        </a:lnTo>
                        <a:lnTo>
                          <a:pt x="3036" y="110"/>
                        </a:lnTo>
                        <a:lnTo>
                          <a:pt x="3036" y="117"/>
                        </a:lnTo>
                        <a:lnTo>
                          <a:pt x="3036" y="126"/>
                        </a:lnTo>
                        <a:lnTo>
                          <a:pt x="3036" y="135"/>
                        </a:lnTo>
                        <a:lnTo>
                          <a:pt x="3036" y="139"/>
                        </a:lnTo>
                        <a:lnTo>
                          <a:pt x="3035" y="143"/>
                        </a:lnTo>
                        <a:lnTo>
                          <a:pt x="3033" y="147"/>
                        </a:lnTo>
                        <a:lnTo>
                          <a:pt x="3030" y="150"/>
                        </a:lnTo>
                        <a:lnTo>
                          <a:pt x="3025" y="157"/>
                        </a:lnTo>
                        <a:lnTo>
                          <a:pt x="3018" y="162"/>
                        </a:lnTo>
                        <a:lnTo>
                          <a:pt x="3003" y="170"/>
                        </a:lnTo>
                        <a:lnTo>
                          <a:pt x="2990" y="178"/>
                        </a:lnTo>
                        <a:lnTo>
                          <a:pt x="2982" y="196"/>
                        </a:lnTo>
                        <a:lnTo>
                          <a:pt x="2973" y="214"/>
                        </a:lnTo>
                        <a:lnTo>
                          <a:pt x="2968" y="222"/>
                        </a:lnTo>
                        <a:lnTo>
                          <a:pt x="2963" y="229"/>
                        </a:lnTo>
                        <a:lnTo>
                          <a:pt x="2958" y="236"/>
                        </a:lnTo>
                        <a:lnTo>
                          <a:pt x="2951" y="243"/>
                        </a:lnTo>
                        <a:lnTo>
                          <a:pt x="2945" y="249"/>
                        </a:lnTo>
                        <a:lnTo>
                          <a:pt x="2938" y="254"/>
                        </a:lnTo>
                        <a:lnTo>
                          <a:pt x="2931" y="259"/>
                        </a:lnTo>
                        <a:lnTo>
                          <a:pt x="2923" y="263"/>
                        </a:lnTo>
                        <a:lnTo>
                          <a:pt x="2914" y="267"/>
                        </a:lnTo>
                        <a:lnTo>
                          <a:pt x="2904" y="269"/>
                        </a:lnTo>
                        <a:lnTo>
                          <a:pt x="2894" y="271"/>
                        </a:lnTo>
                        <a:lnTo>
                          <a:pt x="2883" y="271"/>
                        </a:lnTo>
                        <a:lnTo>
                          <a:pt x="2878" y="271"/>
                        </a:lnTo>
                        <a:lnTo>
                          <a:pt x="2872" y="270"/>
                        </a:lnTo>
                        <a:lnTo>
                          <a:pt x="2867" y="268"/>
                        </a:lnTo>
                        <a:lnTo>
                          <a:pt x="2861" y="266"/>
                        </a:lnTo>
                        <a:lnTo>
                          <a:pt x="2856" y="263"/>
                        </a:lnTo>
                        <a:lnTo>
                          <a:pt x="2850" y="260"/>
                        </a:lnTo>
                        <a:lnTo>
                          <a:pt x="2847" y="256"/>
                        </a:lnTo>
                        <a:lnTo>
                          <a:pt x="2844" y="252"/>
                        </a:lnTo>
                        <a:lnTo>
                          <a:pt x="2838" y="257"/>
                        </a:lnTo>
                        <a:lnTo>
                          <a:pt x="2835" y="264"/>
                        </a:lnTo>
                        <a:lnTo>
                          <a:pt x="2834" y="268"/>
                        </a:lnTo>
                        <a:lnTo>
                          <a:pt x="2834" y="272"/>
                        </a:lnTo>
                        <a:lnTo>
                          <a:pt x="2835" y="275"/>
                        </a:lnTo>
                        <a:lnTo>
                          <a:pt x="2837" y="277"/>
                        </a:lnTo>
                        <a:lnTo>
                          <a:pt x="2829" y="278"/>
                        </a:lnTo>
                        <a:lnTo>
                          <a:pt x="2823" y="279"/>
                        </a:lnTo>
                        <a:lnTo>
                          <a:pt x="2817" y="281"/>
                        </a:lnTo>
                        <a:lnTo>
                          <a:pt x="2811" y="283"/>
                        </a:lnTo>
                        <a:lnTo>
                          <a:pt x="2805" y="285"/>
                        </a:lnTo>
                        <a:lnTo>
                          <a:pt x="2801" y="287"/>
                        </a:lnTo>
                        <a:lnTo>
                          <a:pt x="2795" y="289"/>
                        </a:lnTo>
                        <a:lnTo>
                          <a:pt x="2790" y="289"/>
                        </a:lnTo>
                        <a:lnTo>
                          <a:pt x="2783" y="288"/>
                        </a:lnTo>
                        <a:lnTo>
                          <a:pt x="2777" y="286"/>
                        </a:lnTo>
                        <a:lnTo>
                          <a:pt x="2770" y="283"/>
                        </a:lnTo>
                        <a:lnTo>
                          <a:pt x="2765" y="279"/>
                        </a:lnTo>
                        <a:lnTo>
                          <a:pt x="2754" y="271"/>
                        </a:lnTo>
                        <a:lnTo>
                          <a:pt x="2744" y="264"/>
                        </a:lnTo>
                        <a:lnTo>
                          <a:pt x="2730" y="272"/>
                        </a:lnTo>
                        <a:lnTo>
                          <a:pt x="2717" y="281"/>
                        </a:lnTo>
                        <a:lnTo>
                          <a:pt x="2707" y="290"/>
                        </a:lnTo>
                        <a:lnTo>
                          <a:pt x="2696" y="299"/>
                        </a:lnTo>
                        <a:lnTo>
                          <a:pt x="2685" y="307"/>
                        </a:lnTo>
                        <a:lnTo>
                          <a:pt x="2671" y="313"/>
                        </a:lnTo>
                        <a:lnTo>
                          <a:pt x="2664" y="316"/>
                        </a:lnTo>
                        <a:lnTo>
                          <a:pt x="2656" y="318"/>
                        </a:lnTo>
                        <a:lnTo>
                          <a:pt x="2647" y="319"/>
                        </a:lnTo>
                        <a:lnTo>
                          <a:pt x="2637" y="319"/>
                        </a:lnTo>
                        <a:lnTo>
                          <a:pt x="2626" y="319"/>
                        </a:lnTo>
                        <a:lnTo>
                          <a:pt x="2615" y="317"/>
                        </a:lnTo>
                        <a:lnTo>
                          <a:pt x="2602" y="315"/>
                        </a:lnTo>
                        <a:lnTo>
                          <a:pt x="2590" y="312"/>
                        </a:lnTo>
                        <a:lnTo>
                          <a:pt x="2579" y="308"/>
                        </a:lnTo>
                        <a:lnTo>
                          <a:pt x="2569" y="304"/>
                        </a:lnTo>
                        <a:lnTo>
                          <a:pt x="2562" y="300"/>
                        </a:lnTo>
                        <a:lnTo>
                          <a:pt x="2558" y="295"/>
                        </a:lnTo>
                        <a:lnTo>
                          <a:pt x="2518" y="295"/>
                        </a:lnTo>
                        <a:lnTo>
                          <a:pt x="2521" y="303"/>
                        </a:lnTo>
                        <a:lnTo>
                          <a:pt x="2525" y="309"/>
                        </a:lnTo>
                        <a:lnTo>
                          <a:pt x="2530" y="314"/>
                        </a:lnTo>
                        <a:lnTo>
                          <a:pt x="2536" y="318"/>
                        </a:lnTo>
                        <a:lnTo>
                          <a:pt x="2542" y="322"/>
                        </a:lnTo>
                        <a:lnTo>
                          <a:pt x="2550" y="324"/>
                        </a:lnTo>
                        <a:lnTo>
                          <a:pt x="2557" y="326"/>
                        </a:lnTo>
                        <a:lnTo>
                          <a:pt x="2565" y="327"/>
                        </a:lnTo>
                        <a:lnTo>
                          <a:pt x="2601" y="328"/>
                        </a:lnTo>
                        <a:lnTo>
                          <a:pt x="2637" y="326"/>
                        </a:lnTo>
                        <a:lnTo>
                          <a:pt x="2637" y="335"/>
                        </a:lnTo>
                        <a:lnTo>
                          <a:pt x="2638" y="342"/>
                        </a:lnTo>
                        <a:lnTo>
                          <a:pt x="2641" y="349"/>
                        </a:lnTo>
                        <a:lnTo>
                          <a:pt x="2644" y="357"/>
                        </a:lnTo>
                        <a:lnTo>
                          <a:pt x="2619" y="363"/>
                        </a:lnTo>
                        <a:lnTo>
                          <a:pt x="2590" y="371"/>
                        </a:lnTo>
                        <a:lnTo>
                          <a:pt x="2562" y="382"/>
                        </a:lnTo>
                        <a:lnTo>
                          <a:pt x="2531" y="392"/>
                        </a:lnTo>
                        <a:lnTo>
                          <a:pt x="2501" y="402"/>
                        </a:lnTo>
                        <a:lnTo>
                          <a:pt x="2473" y="410"/>
                        </a:lnTo>
                        <a:lnTo>
                          <a:pt x="2458" y="414"/>
                        </a:lnTo>
                        <a:lnTo>
                          <a:pt x="2444" y="416"/>
                        </a:lnTo>
                        <a:lnTo>
                          <a:pt x="2431" y="418"/>
                        </a:lnTo>
                        <a:lnTo>
                          <a:pt x="2419" y="418"/>
                        </a:lnTo>
                        <a:lnTo>
                          <a:pt x="2339" y="400"/>
                        </a:lnTo>
                        <a:lnTo>
                          <a:pt x="2319" y="400"/>
                        </a:lnTo>
                        <a:lnTo>
                          <a:pt x="2340" y="408"/>
                        </a:lnTo>
                        <a:lnTo>
                          <a:pt x="2361" y="416"/>
                        </a:lnTo>
                        <a:lnTo>
                          <a:pt x="2372" y="420"/>
                        </a:lnTo>
                        <a:lnTo>
                          <a:pt x="2382" y="425"/>
                        </a:lnTo>
                        <a:lnTo>
                          <a:pt x="2390" y="430"/>
                        </a:lnTo>
                        <a:lnTo>
                          <a:pt x="2398" y="437"/>
                        </a:lnTo>
                        <a:lnTo>
                          <a:pt x="2394" y="444"/>
                        </a:lnTo>
                        <a:lnTo>
                          <a:pt x="2388" y="449"/>
                        </a:lnTo>
                        <a:lnTo>
                          <a:pt x="2384" y="454"/>
                        </a:lnTo>
                        <a:lnTo>
                          <a:pt x="2378" y="457"/>
                        </a:lnTo>
                        <a:lnTo>
                          <a:pt x="2373" y="461"/>
                        </a:lnTo>
                        <a:lnTo>
                          <a:pt x="2368" y="463"/>
                        </a:lnTo>
                        <a:lnTo>
                          <a:pt x="2363" y="465"/>
                        </a:lnTo>
                        <a:lnTo>
                          <a:pt x="2357" y="467"/>
                        </a:lnTo>
                        <a:lnTo>
                          <a:pt x="2333" y="471"/>
                        </a:lnTo>
                        <a:lnTo>
                          <a:pt x="2306" y="474"/>
                        </a:lnTo>
                        <a:lnTo>
                          <a:pt x="2296" y="477"/>
                        </a:lnTo>
                        <a:lnTo>
                          <a:pt x="2286" y="481"/>
                        </a:lnTo>
                        <a:lnTo>
                          <a:pt x="2277" y="486"/>
                        </a:lnTo>
                        <a:lnTo>
                          <a:pt x="2268" y="492"/>
                        </a:lnTo>
                        <a:lnTo>
                          <a:pt x="2260" y="497"/>
                        </a:lnTo>
                        <a:lnTo>
                          <a:pt x="2251" y="501"/>
                        </a:lnTo>
                        <a:lnTo>
                          <a:pt x="2242" y="504"/>
                        </a:lnTo>
                        <a:lnTo>
                          <a:pt x="2232" y="505"/>
                        </a:lnTo>
                        <a:lnTo>
                          <a:pt x="2232" y="517"/>
                        </a:lnTo>
                        <a:lnTo>
                          <a:pt x="2232" y="529"/>
                        </a:lnTo>
                        <a:lnTo>
                          <a:pt x="2220" y="532"/>
                        </a:lnTo>
                        <a:lnTo>
                          <a:pt x="2208" y="537"/>
                        </a:lnTo>
                        <a:lnTo>
                          <a:pt x="2194" y="542"/>
                        </a:lnTo>
                        <a:lnTo>
                          <a:pt x="2181" y="550"/>
                        </a:lnTo>
                        <a:lnTo>
                          <a:pt x="2166" y="559"/>
                        </a:lnTo>
                        <a:lnTo>
                          <a:pt x="2151" y="568"/>
                        </a:lnTo>
                        <a:lnTo>
                          <a:pt x="2138" y="578"/>
                        </a:lnTo>
                        <a:lnTo>
                          <a:pt x="2123" y="588"/>
                        </a:lnTo>
                        <a:lnTo>
                          <a:pt x="2110" y="601"/>
                        </a:lnTo>
                        <a:lnTo>
                          <a:pt x="2098" y="613"/>
                        </a:lnTo>
                        <a:lnTo>
                          <a:pt x="2087" y="625"/>
                        </a:lnTo>
                        <a:lnTo>
                          <a:pt x="2078" y="637"/>
                        </a:lnTo>
                        <a:lnTo>
                          <a:pt x="2071" y="650"/>
                        </a:lnTo>
                        <a:lnTo>
                          <a:pt x="2064" y="664"/>
                        </a:lnTo>
                        <a:lnTo>
                          <a:pt x="2062" y="670"/>
                        </a:lnTo>
                        <a:lnTo>
                          <a:pt x="2061" y="677"/>
                        </a:lnTo>
                        <a:lnTo>
                          <a:pt x="2060" y="683"/>
                        </a:lnTo>
                        <a:lnTo>
                          <a:pt x="2060" y="689"/>
                        </a:lnTo>
                        <a:lnTo>
                          <a:pt x="2106" y="689"/>
                        </a:lnTo>
                        <a:lnTo>
                          <a:pt x="2104" y="714"/>
                        </a:lnTo>
                        <a:lnTo>
                          <a:pt x="2102" y="736"/>
                        </a:lnTo>
                        <a:lnTo>
                          <a:pt x="2100" y="745"/>
                        </a:lnTo>
                        <a:lnTo>
                          <a:pt x="2100" y="753"/>
                        </a:lnTo>
                        <a:lnTo>
                          <a:pt x="2102" y="757"/>
                        </a:lnTo>
                        <a:lnTo>
                          <a:pt x="2103" y="759"/>
                        </a:lnTo>
                        <a:lnTo>
                          <a:pt x="2104" y="762"/>
                        </a:lnTo>
                        <a:lnTo>
                          <a:pt x="2106" y="763"/>
                        </a:lnTo>
                        <a:lnTo>
                          <a:pt x="2086" y="776"/>
                        </a:lnTo>
                        <a:lnTo>
                          <a:pt x="2087" y="780"/>
                        </a:lnTo>
                        <a:lnTo>
                          <a:pt x="2089" y="784"/>
                        </a:lnTo>
                        <a:lnTo>
                          <a:pt x="2093" y="787"/>
                        </a:lnTo>
                        <a:lnTo>
                          <a:pt x="2097" y="790"/>
                        </a:lnTo>
                        <a:lnTo>
                          <a:pt x="2106" y="793"/>
                        </a:lnTo>
                        <a:lnTo>
                          <a:pt x="2112" y="794"/>
                        </a:lnTo>
                        <a:lnTo>
                          <a:pt x="2193" y="776"/>
                        </a:lnTo>
                        <a:lnTo>
                          <a:pt x="2204" y="782"/>
                        </a:lnTo>
                        <a:lnTo>
                          <a:pt x="2214" y="789"/>
                        </a:lnTo>
                        <a:lnTo>
                          <a:pt x="2223" y="796"/>
                        </a:lnTo>
                        <a:lnTo>
                          <a:pt x="2232" y="803"/>
                        </a:lnTo>
                        <a:lnTo>
                          <a:pt x="2250" y="819"/>
                        </a:lnTo>
                        <a:lnTo>
                          <a:pt x="2266" y="836"/>
                        </a:lnTo>
                        <a:lnTo>
                          <a:pt x="2284" y="852"/>
                        </a:lnTo>
                        <a:lnTo>
                          <a:pt x="2301" y="866"/>
                        </a:lnTo>
                        <a:lnTo>
                          <a:pt x="2311" y="872"/>
                        </a:lnTo>
                        <a:lnTo>
                          <a:pt x="2322" y="878"/>
                        </a:lnTo>
                        <a:lnTo>
                          <a:pt x="2333" y="883"/>
                        </a:lnTo>
                        <a:lnTo>
                          <a:pt x="2345" y="887"/>
                        </a:lnTo>
                        <a:lnTo>
                          <a:pt x="2345" y="891"/>
                        </a:lnTo>
                        <a:lnTo>
                          <a:pt x="2346" y="895"/>
                        </a:lnTo>
                        <a:lnTo>
                          <a:pt x="2347" y="898"/>
                        </a:lnTo>
                        <a:lnTo>
                          <a:pt x="2350" y="901"/>
                        </a:lnTo>
                        <a:lnTo>
                          <a:pt x="2352" y="903"/>
                        </a:lnTo>
                        <a:lnTo>
                          <a:pt x="2354" y="905"/>
                        </a:lnTo>
                        <a:lnTo>
                          <a:pt x="2356" y="906"/>
                        </a:lnTo>
                        <a:lnTo>
                          <a:pt x="2360" y="907"/>
                        </a:lnTo>
                        <a:lnTo>
                          <a:pt x="2367" y="909"/>
                        </a:lnTo>
                        <a:lnTo>
                          <a:pt x="2375" y="908"/>
                        </a:lnTo>
                        <a:lnTo>
                          <a:pt x="2383" y="907"/>
                        </a:lnTo>
                        <a:lnTo>
                          <a:pt x="2391" y="905"/>
                        </a:lnTo>
                        <a:lnTo>
                          <a:pt x="2409" y="900"/>
                        </a:lnTo>
                        <a:lnTo>
                          <a:pt x="2423" y="894"/>
                        </a:lnTo>
                        <a:lnTo>
                          <a:pt x="2434" y="889"/>
                        </a:lnTo>
                        <a:lnTo>
                          <a:pt x="2439" y="887"/>
                        </a:lnTo>
                        <a:lnTo>
                          <a:pt x="2485" y="905"/>
                        </a:lnTo>
                        <a:lnTo>
                          <a:pt x="2479" y="917"/>
                        </a:lnTo>
                        <a:lnTo>
                          <a:pt x="2474" y="925"/>
                        </a:lnTo>
                        <a:lnTo>
                          <a:pt x="2467" y="931"/>
                        </a:lnTo>
                        <a:lnTo>
                          <a:pt x="2458" y="936"/>
                        </a:lnTo>
                        <a:lnTo>
                          <a:pt x="2472" y="949"/>
                        </a:lnTo>
                        <a:lnTo>
                          <a:pt x="2461" y="971"/>
                        </a:lnTo>
                        <a:lnTo>
                          <a:pt x="2450" y="995"/>
                        </a:lnTo>
                        <a:lnTo>
                          <a:pt x="2445" y="1006"/>
                        </a:lnTo>
                        <a:lnTo>
                          <a:pt x="2442" y="1018"/>
                        </a:lnTo>
                        <a:lnTo>
                          <a:pt x="2440" y="1029"/>
                        </a:lnTo>
                        <a:lnTo>
                          <a:pt x="2439" y="1040"/>
                        </a:lnTo>
                        <a:lnTo>
                          <a:pt x="2440" y="1049"/>
                        </a:lnTo>
                        <a:lnTo>
                          <a:pt x="2443" y="1059"/>
                        </a:lnTo>
                        <a:lnTo>
                          <a:pt x="2447" y="1070"/>
                        </a:lnTo>
                        <a:lnTo>
                          <a:pt x="2454" y="1081"/>
                        </a:lnTo>
                        <a:lnTo>
                          <a:pt x="2462" y="1092"/>
                        </a:lnTo>
                        <a:lnTo>
                          <a:pt x="2469" y="1101"/>
                        </a:lnTo>
                        <a:lnTo>
                          <a:pt x="2473" y="1104"/>
                        </a:lnTo>
                        <a:lnTo>
                          <a:pt x="2477" y="1107"/>
                        </a:lnTo>
                        <a:lnTo>
                          <a:pt x="2481" y="1108"/>
                        </a:lnTo>
                        <a:lnTo>
                          <a:pt x="2485" y="1109"/>
                        </a:lnTo>
                        <a:lnTo>
                          <a:pt x="2487" y="1114"/>
                        </a:lnTo>
                        <a:lnTo>
                          <a:pt x="2492" y="1121"/>
                        </a:lnTo>
                        <a:lnTo>
                          <a:pt x="2499" y="1128"/>
                        </a:lnTo>
                        <a:lnTo>
                          <a:pt x="2504" y="1133"/>
                        </a:lnTo>
                        <a:lnTo>
                          <a:pt x="2528" y="1113"/>
                        </a:lnTo>
                        <a:lnTo>
                          <a:pt x="2548" y="1091"/>
                        </a:lnTo>
                        <a:lnTo>
                          <a:pt x="2559" y="1080"/>
                        </a:lnTo>
                        <a:lnTo>
                          <a:pt x="2569" y="1068"/>
                        </a:lnTo>
                        <a:lnTo>
                          <a:pt x="2578" y="1057"/>
                        </a:lnTo>
                        <a:lnTo>
                          <a:pt x="2587" y="1043"/>
                        </a:lnTo>
                        <a:lnTo>
                          <a:pt x="2595" y="1031"/>
                        </a:lnTo>
                        <a:lnTo>
                          <a:pt x="2602" y="1017"/>
                        </a:lnTo>
                        <a:lnTo>
                          <a:pt x="2609" y="1003"/>
                        </a:lnTo>
                        <a:lnTo>
                          <a:pt x="2614" y="987"/>
                        </a:lnTo>
                        <a:lnTo>
                          <a:pt x="2619" y="971"/>
                        </a:lnTo>
                        <a:lnTo>
                          <a:pt x="2622" y="955"/>
                        </a:lnTo>
                        <a:lnTo>
                          <a:pt x="2624" y="937"/>
                        </a:lnTo>
                        <a:lnTo>
                          <a:pt x="2624" y="917"/>
                        </a:lnTo>
                        <a:lnTo>
                          <a:pt x="2638" y="917"/>
                        </a:lnTo>
                        <a:lnTo>
                          <a:pt x="2655" y="914"/>
                        </a:lnTo>
                        <a:lnTo>
                          <a:pt x="2672" y="911"/>
                        </a:lnTo>
                        <a:lnTo>
                          <a:pt x="2690" y="906"/>
                        </a:lnTo>
                        <a:lnTo>
                          <a:pt x="2709" y="900"/>
                        </a:lnTo>
                        <a:lnTo>
                          <a:pt x="2727" y="892"/>
                        </a:lnTo>
                        <a:lnTo>
                          <a:pt x="2746" y="884"/>
                        </a:lnTo>
                        <a:lnTo>
                          <a:pt x="2765" y="873"/>
                        </a:lnTo>
                        <a:lnTo>
                          <a:pt x="2782" y="863"/>
                        </a:lnTo>
                        <a:lnTo>
                          <a:pt x="2798" y="852"/>
                        </a:lnTo>
                        <a:lnTo>
                          <a:pt x="2813" y="840"/>
                        </a:lnTo>
                        <a:lnTo>
                          <a:pt x="2825" y="827"/>
                        </a:lnTo>
                        <a:lnTo>
                          <a:pt x="2831" y="819"/>
                        </a:lnTo>
                        <a:lnTo>
                          <a:pt x="2836" y="813"/>
                        </a:lnTo>
                        <a:lnTo>
                          <a:pt x="2839" y="806"/>
                        </a:lnTo>
                        <a:lnTo>
                          <a:pt x="2844" y="799"/>
                        </a:lnTo>
                        <a:lnTo>
                          <a:pt x="2846" y="792"/>
                        </a:lnTo>
                        <a:lnTo>
                          <a:pt x="2848" y="785"/>
                        </a:lnTo>
                        <a:lnTo>
                          <a:pt x="2849" y="777"/>
                        </a:lnTo>
                        <a:lnTo>
                          <a:pt x="2850" y="770"/>
                        </a:lnTo>
                        <a:lnTo>
                          <a:pt x="2849" y="763"/>
                        </a:lnTo>
                        <a:lnTo>
                          <a:pt x="2848" y="757"/>
                        </a:lnTo>
                        <a:lnTo>
                          <a:pt x="2846" y="752"/>
                        </a:lnTo>
                        <a:lnTo>
                          <a:pt x="2843" y="747"/>
                        </a:lnTo>
                        <a:lnTo>
                          <a:pt x="2835" y="738"/>
                        </a:lnTo>
                        <a:lnTo>
                          <a:pt x="2827" y="731"/>
                        </a:lnTo>
                        <a:lnTo>
                          <a:pt x="2819" y="725"/>
                        </a:lnTo>
                        <a:lnTo>
                          <a:pt x="2811" y="718"/>
                        </a:lnTo>
                        <a:lnTo>
                          <a:pt x="2808" y="715"/>
                        </a:lnTo>
                        <a:lnTo>
                          <a:pt x="2805" y="711"/>
                        </a:lnTo>
                        <a:lnTo>
                          <a:pt x="2804" y="706"/>
                        </a:lnTo>
                        <a:lnTo>
                          <a:pt x="2804" y="702"/>
                        </a:lnTo>
                        <a:lnTo>
                          <a:pt x="2804" y="698"/>
                        </a:lnTo>
                        <a:lnTo>
                          <a:pt x="2808" y="694"/>
                        </a:lnTo>
                        <a:lnTo>
                          <a:pt x="2812" y="688"/>
                        </a:lnTo>
                        <a:lnTo>
                          <a:pt x="2819" y="680"/>
                        </a:lnTo>
                        <a:lnTo>
                          <a:pt x="2833" y="664"/>
                        </a:lnTo>
                        <a:lnTo>
                          <a:pt x="2850" y="645"/>
                        </a:lnTo>
                        <a:lnTo>
                          <a:pt x="2882" y="612"/>
                        </a:lnTo>
                        <a:lnTo>
                          <a:pt x="2896" y="597"/>
                        </a:lnTo>
                        <a:lnTo>
                          <a:pt x="2894" y="593"/>
                        </a:lnTo>
                        <a:lnTo>
                          <a:pt x="2892" y="589"/>
                        </a:lnTo>
                        <a:lnTo>
                          <a:pt x="2891" y="585"/>
                        </a:lnTo>
                        <a:lnTo>
                          <a:pt x="2890" y="581"/>
                        </a:lnTo>
                        <a:lnTo>
                          <a:pt x="2890" y="573"/>
                        </a:lnTo>
                        <a:lnTo>
                          <a:pt x="2892" y="566"/>
                        </a:lnTo>
                        <a:lnTo>
                          <a:pt x="2896" y="558"/>
                        </a:lnTo>
                        <a:lnTo>
                          <a:pt x="2902" y="551"/>
                        </a:lnTo>
                        <a:lnTo>
                          <a:pt x="2909" y="544"/>
                        </a:lnTo>
                        <a:lnTo>
                          <a:pt x="2916" y="535"/>
                        </a:lnTo>
                        <a:lnTo>
                          <a:pt x="2934" y="520"/>
                        </a:lnTo>
                        <a:lnTo>
                          <a:pt x="2951" y="505"/>
                        </a:lnTo>
                        <a:lnTo>
                          <a:pt x="2959" y="498"/>
                        </a:lnTo>
                        <a:lnTo>
                          <a:pt x="2966" y="490"/>
                        </a:lnTo>
                        <a:lnTo>
                          <a:pt x="2972" y="482"/>
                        </a:lnTo>
                        <a:lnTo>
                          <a:pt x="2977" y="474"/>
                        </a:lnTo>
                        <a:lnTo>
                          <a:pt x="3149" y="480"/>
                        </a:lnTo>
                        <a:lnTo>
                          <a:pt x="3149" y="485"/>
                        </a:lnTo>
                        <a:lnTo>
                          <a:pt x="3150" y="490"/>
                        </a:lnTo>
                        <a:lnTo>
                          <a:pt x="3151" y="494"/>
                        </a:lnTo>
                        <a:lnTo>
                          <a:pt x="3153" y="497"/>
                        </a:lnTo>
                        <a:lnTo>
                          <a:pt x="3156" y="500"/>
                        </a:lnTo>
                        <a:lnTo>
                          <a:pt x="3159" y="502"/>
                        </a:lnTo>
                        <a:lnTo>
                          <a:pt x="3161" y="503"/>
                        </a:lnTo>
                        <a:lnTo>
                          <a:pt x="3165" y="504"/>
                        </a:lnTo>
                        <a:lnTo>
                          <a:pt x="3180" y="505"/>
                        </a:lnTo>
                        <a:lnTo>
                          <a:pt x="3196" y="505"/>
                        </a:lnTo>
                        <a:lnTo>
                          <a:pt x="3201" y="509"/>
                        </a:lnTo>
                        <a:lnTo>
                          <a:pt x="3204" y="514"/>
                        </a:lnTo>
                        <a:lnTo>
                          <a:pt x="3208" y="521"/>
                        </a:lnTo>
                        <a:lnTo>
                          <a:pt x="3210" y="529"/>
                        </a:lnTo>
                        <a:lnTo>
                          <a:pt x="3215" y="545"/>
                        </a:lnTo>
                        <a:lnTo>
                          <a:pt x="3216" y="554"/>
                        </a:lnTo>
                        <a:lnTo>
                          <a:pt x="3221" y="556"/>
                        </a:lnTo>
                        <a:lnTo>
                          <a:pt x="3229" y="557"/>
                        </a:lnTo>
                        <a:lnTo>
                          <a:pt x="3238" y="557"/>
                        </a:lnTo>
                        <a:lnTo>
                          <a:pt x="3247" y="557"/>
                        </a:lnTo>
                        <a:lnTo>
                          <a:pt x="3268" y="555"/>
                        </a:lnTo>
                        <a:lnTo>
                          <a:pt x="3288" y="554"/>
                        </a:lnTo>
                        <a:lnTo>
                          <a:pt x="3292" y="566"/>
                        </a:lnTo>
                        <a:lnTo>
                          <a:pt x="3295" y="572"/>
                        </a:lnTo>
                        <a:lnTo>
                          <a:pt x="3288" y="579"/>
                        </a:lnTo>
                        <a:lnTo>
                          <a:pt x="3282" y="585"/>
                        </a:lnTo>
                        <a:lnTo>
                          <a:pt x="3276" y="592"/>
                        </a:lnTo>
                        <a:lnTo>
                          <a:pt x="3272" y="601"/>
                        </a:lnTo>
                        <a:lnTo>
                          <a:pt x="3264" y="616"/>
                        </a:lnTo>
                        <a:lnTo>
                          <a:pt x="3257" y="632"/>
                        </a:lnTo>
                        <a:lnTo>
                          <a:pt x="3251" y="646"/>
                        </a:lnTo>
                        <a:lnTo>
                          <a:pt x="3245" y="660"/>
                        </a:lnTo>
                        <a:lnTo>
                          <a:pt x="3241" y="666"/>
                        </a:lnTo>
                        <a:lnTo>
                          <a:pt x="3238" y="671"/>
                        </a:lnTo>
                        <a:lnTo>
                          <a:pt x="3234" y="675"/>
                        </a:lnTo>
                        <a:lnTo>
                          <a:pt x="3229" y="677"/>
                        </a:lnTo>
                        <a:lnTo>
                          <a:pt x="3238" y="677"/>
                        </a:lnTo>
                        <a:lnTo>
                          <a:pt x="3246" y="677"/>
                        </a:lnTo>
                        <a:lnTo>
                          <a:pt x="3253" y="677"/>
                        </a:lnTo>
                        <a:lnTo>
                          <a:pt x="3262" y="677"/>
                        </a:lnTo>
                        <a:lnTo>
                          <a:pt x="3262" y="683"/>
                        </a:lnTo>
                        <a:lnTo>
                          <a:pt x="3261" y="688"/>
                        </a:lnTo>
                        <a:lnTo>
                          <a:pt x="3259" y="693"/>
                        </a:lnTo>
                        <a:lnTo>
                          <a:pt x="3257" y="697"/>
                        </a:lnTo>
                        <a:lnTo>
                          <a:pt x="3251" y="705"/>
                        </a:lnTo>
                        <a:lnTo>
                          <a:pt x="3245" y="714"/>
                        </a:lnTo>
                        <a:lnTo>
                          <a:pt x="3238" y="721"/>
                        </a:lnTo>
                        <a:lnTo>
                          <a:pt x="3231" y="729"/>
                        </a:lnTo>
                        <a:lnTo>
                          <a:pt x="3226" y="736"/>
                        </a:lnTo>
                        <a:lnTo>
                          <a:pt x="3223" y="745"/>
                        </a:lnTo>
                        <a:lnTo>
                          <a:pt x="3229" y="742"/>
                        </a:lnTo>
                        <a:lnTo>
                          <a:pt x="3237" y="738"/>
                        </a:lnTo>
                        <a:lnTo>
                          <a:pt x="3245" y="734"/>
                        </a:lnTo>
                        <a:lnTo>
                          <a:pt x="3251" y="730"/>
                        </a:lnTo>
                        <a:lnTo>
                          <a:pt x="3264" y="721"/>
                        </a:lnTo>
                        <a:lnTo>
                          <a:pt x="3275" y="715"/>
                        </a:lnTo>
                        <a:lnTo>
                          <a:pt x="3280" y="717"/>
                        </a:lnTo>
                        <a:lnTo>
                          <a:pt x="3284" y="718"/>
                        </a:lnTo>
                        <a:lnTo>
                          <a:pt x="3290" y="718"/>
                        </a:lnTo>
                        <a:lnTo>
                          <a:pt x="3295" y="718"/>
                        </a:lnTo>
                        <a:lnTo>
                          <a:pt x="3307" y="715"/>
                        </a:lnTo>
                        <a:lnTo>
                          <a:pt x="3320" y="709"/>
                        </a:lnTo>
                        <a:lnTo>
                          <a:pt x="3336" y="703"/>
                        </a:lnTo>
                        <a:lnTo>
                          <a:pt x="3351" y="695"/>
                        </a:lnTo>
                        <a:lnTo>
                          <a:pt x="3368" y="685"/>
                        </a:lnTo>
                        <a:lnTo>
                          <a:pt x="3384" y="675"/>
                        </a:lnTo>
                        <a:lnTo>
                          <a:pt x="3417" y="653"/>
                        </a:lnTo>
                        <a:lnTo>
                          <a:pt x="3447" y="632"/>
                        </a:lnTo>
                        <a:lnTo>
                          <a:pt x="3471" y="615"/>
                        </a:lnTo>
                        <a:lnTo>
                          <a:pt x="3488" y="604"/>
                        </a:lnTo>
                        <a:lnTo>
                          <a:pt x="3492" y="613"/>
                        </a:lnTo>
                        <a:lnTo>
                          <a:pt x="3495" y="621"/>
                        </a:lnTo>
                        <a:lnTo>
                          <a:pt x="3496" y="629"/>
                        </a:lnTo>
                        <a:lnTo>
                          <a:pt x="3496" y="637"/>
                        </a:lnTo>
                        <a:lnTo>
                          <a:pt x="3496" y="653"/>
                        </a:lnTo>
                        <a:lnTo>
                          <a:pt x="3495" y="671"/>
                        </a:lnTo>
                        <a:lnTo>
                          <a:pt x="3521" y="671"/>
                        </a:lnTo>
                        <a:lnTo>
                          <a:pt x="3522" y="680"/>
                        </a:lnTo>
                        <a:lnTo>
                          <a:pt x="3523" y="687"/>
                        </a:lnTo>
                        <a:lnTo>
                          <a:pt x="3521" y="692"/>
                        </a:lnTo>
                        <a:lnTo>
                          <a:pt x="3519" y="698"/>
                        </a:lnTo>
                        <a:lnTo>
                          <a:pt x="3514" y="708"/>
                        </a:lnTo>
                        <a:lnTo>
                          <a:pt x="3508" y="721"/>
                        </a:lnTo>
                        <a:lnTo>
                          <a:pt x="3521" y="721"/>
                        </a:lnTo>
                        <a:lnTo>
                          <a:pt x="3534" y="721"/>
                        </a:lnTo>
                        <a:lnTo>
                          <a:pt x="3534" y="732"/>
                        </a:lnTo>
                        <a:lnTo>
                          <a:pt x="3534" y="741"/>
                        </a:lnTo>
                        <a:lnTo>
                          <a:pt x="3534" y="749"/>
                        </a:lnTo>
                        <a:lnTo>
                          <a:pt x="3534" y="757"/>
                        </a:lnTo>
                        <a:lnTo>
                          <a:pt x="3536" y="762"/>
                        </a:lnTo>
                        <a:lnTo>
                          <a:pt x="3540" y="769"/>
                        </a:lnTo>
                        <a:lnTo>
                          <a:pt x="3542" y="772"/>
                        </a:lnTo>
                        <a:lnTo>
                          <a:pt x="3545" y="774"/>
                        </a:lnTo>
                        <a:lnTo>
                          <a:pt x="3550" y="776"/>
                        </a:lnTo>
                        <a:lnTo>
                          <a:pt x="3554" y="776"/>
                        </a:lnTo>
                        <a:lnTo>
                          <a:pt x="3551" y="786"/>
                        </a:lnTo>
                        <a:lnTo>
                          <a:pt x="3548" y="794"/>
                        </a:lnTo>
                        <a:lnTo>
                          <a:pt x="3542" y="800"/>
                        </a:lnTo>
                        <a:lnTo>
                          <a:pt x="3537" y="804"/>
                        </a:lnTo>
                        <a:lnTo>
                          <a:pt x="3526" y="811"/>
                        </a:lnTo>
                        <a:lnTo>
                          <a:pt x="3515" y="818"/>
                        </a:lnTo>
                        <a:lnTo>
                          <a:pt x="3522" y="828"/>
                        </a:lnTo>
                        <a:lnTo>
                          <a:pt x="3530" y="836"/>
                        </a:lnTo>
                        <a:lnTo>
                          <a:pt x="3539" y="844"/>
                        </a:lnTo>
                        <a:lnTo>
                          <a:pt x="3546" y="851"/>
                        </a:lnTo>
                        <a:lnTo>
                          <a:pt x="3556" y="857"/>
                        </a:lnTo>
                        <a:lnTo>
                          <a:pt x="3565" y="863"/>
                        </a:lnTo>
                        <a:lnTo>
                          <a:pt x="3575" y="869"/>
                        </a:lnTo>
                        <a:lnTo>
                          <a:pt x="3584" y="874"/>
                        </a:lnTo>
                        <a:lnTo>
                          <a:pt x="3605" y="885"/>
                        </a:lnTo>
                        <a:lnTo>
                          <a:pt x="3627" y="894"/>
                        </a:lnTo>
                        <a:lnTo>
                          <a:pt x="3650" y="902"/>
                        </a:lnTo>
                        <a:lnTo>
                          <a:pt x="3674" y="911"/>
                        </a:lnTo>
                        <a:lnTo>
                          <a:pt x="3668" y="918"/>
                        </a:lnTo>
                        <a:lnTo>
                          <a:pt x="3662" y="924"/>
                        </a:lnTo>
                        <a:lnTo>
                          <a:pt x="3652" y="930"/>
                        </a:lnTo>
                        <a:lnTo>
                          <a:pt x="3640" y="936"/>
                        </a:lnTo>
                        <a:lnTo>
                          <a:pt x="3615" y="946"/>
                        </a:lnTo>
                        <a:lnTo>
                          <a:pt x="3588" y="954"/>
                        </a:lnTo>
                        <a:lnTo>
                          <a:pt x="3563" y="961"/>
                        </a:lnTo>
                        <a:lnTo>
                          <a:pt x="3545" y="966"/>
                        </a:lnTo>
                        <a:lnTo>
                          <a:pt x="3540" y="968"/>
                        </a:lnTo>
                        <a:lnTo>
                          <a:pt x="3537" y="970"/>
                        </a:lnTo>
                        <a:lnTo>
                          <a:pt x="3537" y="971"/>
                        </a:lnTo>
                        <a:lnTo>
                          <a:pt x="3537" y="972"/>
                        </a:lnTo>
                        <a:lnTo>
                          <a:pt x="3539" y="972"/>
                        </a:lnTo>
                        <a:lnTo>
                          <a:pt x="3541" y="973"/>
                        </a:lnTo>
                        <a:lnTo>
                          <a:pt x="3548" y="974"/>
                        </a:lnTo>
                        <a:lnTo>
                          <a:pt x="3554" y="974"/>
                        </a:lnTo>
                        <a:lnTo>
                          <a:pt x="3560" y="974"/>
                        </a:lnTo>
                        <a:lnTo>
                          <a:pt x="3564" y="972"/>
                        </a:lnTo>
                        <a:lnTo>
                          <a:pt x="3570" y="970"/>
                        </a:lnTo>
                        <a:lnTo>
                          <a:pt x="3575" y="969"/>
                        </a:lnTo>
                        <a:lnTo>
                          <a:pt x="3581" y="967"/>
                        </a:lnTo>
                        <a:lnTo>
                          <a:pt x="3588" y="967"/>
                        </a:lnTo>
                        <a:lnTo>
                          <a:pt x="3598" y="965"/>
                        </a:lnTo>
                        <a:lnTo>
                          <a:pt x="3616" y="961"/>
                        </a:lnTo>
                        <a:lnTo>
                          <a:pt x="3637" y="957"/>
                        </a:lnTo>
                        <a:lnTo>
                          <a:pt x="3654" y="955"/>
                        </a:lnTo>
                        <a:lnTo>
                          <a:pt x="3673" y="955"/>
                        </a:lnTo>
                        <a:lnTo>
                          <a:pt x="3686" y="956"/>
                        </a:lnTo>
                        <a:lnTo>
                          <a:pt x="3695" y="958"/>
                        </a:lnTo>
                        <a:lnTo>
                          <a:pt x="3701" y="959"/>
                        </a:lnTo>
                        <a:lnTo>
                          <a:pt x="3707" y="960"/>
                        </a:lnTo>
                        <a:lnTo>
                          <a:pt x="3713" y="960"/>
                        </a:lnTo>
                        <a:lnTo>
                          <a:pt x="3721" y="958"/>
                        </a:lnTo>
                        <a:lnTo>
                          <a:pt x="3734" y="955"/>
                        </a:lnTo>
                        <a:lnTo>
                          <a:pt x="3734" y="964"/>
                        </a:lnTo>
                        <a:lnTo>
                          <a:pt x="3734" y="972"/>
                        </a:lnTo>
                        <a:lnTo>
                          <a:pt x="3734" y="979"/>
                        </a:lnTo>
                        <a:lnTo>
                          <a:pt x="3734" y="985"/>
                        </a:lnTo>
                        <a:lnTo>
                          <a:pt x="3734" y="998"/>
                        </a:lnTo>
                        <a:lnTo>
                          <a:pt x="3733" y="1007"/>
                        </a:lnTo>
                        <a:lnTo>
                          <a:pt x="3732" y="1014"/>
                        </a:lnTo>
                        <a:lnTo>
                          <a:pt x="3729" y="1018"/>
                        </a:lnTo>
                        <a:lnTo>
                          <a:pt x="3724" y="1022"/>
                        </a:lnTo>
                        <a:lnTo>
                          <a:pt x="3717" y="1024"/>
                        </a:lnTo>
                        <a:lnTo>
                          <a:pt x="3707" y="1026"/>
                        </a:lnTo>
                        <a:lnTo>
                          <a:pt x="3694" y="1028"/>
                        </a:lnTo>
                        <a:lnTo>
                          <a:pt x="3699" y="1037"/>
                        </a:lnTo>
                        <a:lnTo>
                          <a:pt x="3704" y="1047"/>
                        </a:lnTo>
                        <a:lnTo>
                          <a:pt x="3709" y="1054"/>
                        </a:lnTo>
                        <a:lnTo>
                          <a:pt x="3713" y="1059"/>
                        </a:lnTo>
                        <a:lnTo>
                          <a:pt x="3706" y="1068"/>
                        </a:lnTo>
                        <a:lnTo>
                          <a:pt x="3697" y="1076"/>
                        </a:lnTo>
                        <a:lnTo>
                          <a:pt x="3687" y="1083"/>
                        </a:lnTo>
                        <a:lnTo>
                          <a:pt x="3676" y="1087"/>
                        </a:lnTo>
                        <a:lnTo>
                          <a:pt x="3672" y="1089"/>
                        </a:lnTo>
                        <a:lnTo>
                          <a:pt x="3666" y="1090"/>
                        </a:lnTo>
                        <a:lnTo>
                          <a:pt x="3661" y="1091"/>
                        </a:lnTo>
                        <a:lnTo>
                          <a:pt x="3655" y="1091"/>
                        </a:lnTo>
                        <a:lnTo>
                          <a:pt x="3650" y="1090"/>
                        </a:lnTo>
                        <a:lnTo>
                          <a:pt x="3644" y="1089"/>
                        </a:lnTo>
                        <a:lnTo>
                          <a:pt x="3639" y="1087"/>
                        </a:lnTo>
                        <a:lnTo>
                          <a:pt x="3634" y="1084"/>
                        </a:lnTo>
                        <a:lnTo>
                          <a:pt x="3627" y="1089"/>
                        </a:lnTo>
                        <a:lnTo>
                          <a:pt x="3617" y="1093"/>
                        </a:lnTo>
                        <a:lnTo>
                          <a:pt x="3608" y="1096"/>
                        </a:lnTo>
                        <a:lnTo>
                          <a:pt x="3598" y="1099"/>
                        </a:lnTo>
                        <a:lnTo>
                          <a:pt x="3577" y="1104"/>
                        </a:lnTo>
                        <a:lnTo>
                          <a:pt x="3556" y="1108"/>
                        </a:lnTo>
                        <a:lnTo>
                          <a:pt x="3546" y="1110"/>
                        </a:lnTo>
                        <a:lnTo>
                          <a:pt x="3538" y="1113"/>
                        </a:lnTo>
                        <a:lnTo>
                          <a:pt x="3529" y="1116"/>
                        </a:lnTo>
                        <a:lnTo>
                          <a:pt x="3522" y="1120"/>
                        </a:lnTo>
                        <a:lnTo>
                          <a:pt x="3516" y="1124"/>
                        </a:lnTo>
                        <a:lnTo>
                          <a:pt x="3511" y="1130"/>
                        </a:lnTo>
                        <a:lnTo>
                          <a:pt x="3509" y="1137"/>
                        </a:lnTo>
                        <a:lnTo>
                          <a:pt x="3508" y="1145"/>
                        </a:lnTo>
                        <a:lnTo>
                          <a:pt x="3501" y="1145"/>
                        </a:lnTo>
                        <a:lnTo>
                          <a:pt x="3489" y="1159"/>
                        </a:lnTo>
                        <a:lnTo>
                          <a:pt x="3480" y="1168"/>
                        </a:lnTo>
                        <a:lnTo>
                          <a:pt x="3474" y="1172"/>
                        </a:lnTo>
                        <a:lnTo>
                          <a:pt x="3467" y="1174"/>
                        </a:lnTo>
                        <a:lnTo>
                          <a:pt x="3459" y="1176"/>
                        </a:lnTo>
                        <a:lnTo>
                          <a:pt x="3448" y="1176"/>
                        </a:lnTo>
                        <a:lnTo>
                          <a:pt x="3336" y="1164"/>
                        </a:lnTo>
                        <a:lnTo>
                          <a:pt x="3301" y="1164"/>
                        </a:lnTo>
                        <a:lnTo>
                          <a:pt x="3264" y="1164"/>
                        </a:lnTo>
                        <a:lnTo>
                          <a:pt x="3228" y="1164"/>
                        </a:lnTo>
                        <a:lnTo>
                          <a:pt x="3189" y="1164"/>
                        </a:lnTo>
                        <a:lnTo>
                          <a:pt x="3169" y="1165"/>
                        </a:lnTo>
                        <a:lnTo>
                          <a:pt x="3151" y="1168"/>
                        </a:lnTo>
                        <a:lnTo>
                          <a:pt x="3135" y="1172"/>
                        </a:lnTo>
                        <a:lnTo>
                          <a:pt x="3119" y="1177"/>
                        </a:lnTo>
                        <a:lnTo>
                          <a:pt x="3105" y="1183"/>
                        </a:lnTo>
                        <a:lnTo>
                          <a:pt x="3093" y="1191"/>
                        </a:lnTo>
                        <a:lnTo>
                          <a:pt x="3081" y="1198"/>
                        </a:lnTo>
                        <a:lnTo>
                          <a:pt x="3070" y="1207"/>
                        </a:lnTo>
                        <a:lnTo>
                          <a:pt x="3047" y="1225"/>
                        </a:lnTo>
                        <a:lnTo>
                          <a:pt x="3025" y="1242"/>
                        </a:lnTo>
                        <a:lnTo>
                          <a:pt x="3013" y="1250"/>
                        </a:lnTo>
                        <a:lnTo>
                          <a:pt x="3000" y="1257"/>
                        </a:lnTo>
                        <a:lnTo>
                          <a:pt x="2985" y="1263"/>
                        </a:lnTo>
                        <a:lnTo>
                          <a:pt x="2970" y="1269"/>
                        </a:lnTo>
                        <a:lnTo>
                          <a:pt x="2959" y="1272"/>
                        </a:lnTo>
                        <a:lnTo>
                          <a:pt x="2948" y="1276"/>
                        </a:lnTo>
                        <a:lnTo>
                          <a:pt x="2936" y="1281"/>
                        </a:lnTo>
                        <a:lnTo>
                          <a:pt x="2924" y="1286"/>
                        </a:lnTo>
                        <a:lnTo>
                          <a:pt x="2912" y="1293"/>
                        </a:lnTo>
                        <a:lnTo>
                          <a:pt x="2900" y="1300"/>
                        </a:lnTo>
                        <a:lnTo>
                          <a:pt x="2887" y="1308"/>
                        </a:lnTo>
                        <a:lnTo>
                          <a:pt x="2876" y="1316"/>
                        </a:lnTo>
                        <a:lnTo>
                          <a:pt x="2864" y="1326"/>
                        </a:lnTo>
                        <a:lnTo>
                          <a:pt x="2853" y="1335"/>
                        </a:lnTo>
                        <a:lnTo>
                          <a:pt x="2843" y="1344"/>
                        </a:lnTo>
                        <a:lnTo>
                          <a:pt x="2834" y="1354"/>
                        </a:lnTo>
                        <a:lnTo>
                          <a:pt x="2825" y="1363"/>
                        </a:lnTo>
                        <a:lnTo>
                          <a:pt x="2819" y="1373"/>
                        </a:lnTo>
                        <a:lnTo>
                          <a:pt x="2814" y="1383"/>
                        </a:lnTo>
                        <a:lnTo>
                          <a:pt x="2811" y="1392"/>
                        </a:lnTo>
                        <a:lnTo>
                          <a:pt x="2819" y="1392"/>
                        </a:lnTo>
                        <a:lnTo>
                          <a:pt x="2825" y="1391"/>
                        </a:lnTo>
                        <a:lnTo>
                          <a:pt x="2832" y="1389"/>
                        </a:lnTo>
                        <a:lnTo>
                          <a:pt x="2836" y="1387"/>
                        </a:lnTo>
                        <a:lnTo>
                          <a:pt x="2840" y="1385"/>
                        </a:lnTo>
                        <a:lnTo>
                          <a:pt x="2845" y="1382"/>
                        </a:lnTo>
                        <a:lnTo>
                          <a:pt x="2847" y="1379"/>
                        </a:lnTo>
                        <a:lnTo>
                          <a:pt x="2850" y="1375"/>
                        </a:lnTo>
                        <a:lnTo>
                          <a:pt x="2855" y="1369"/>
                        </a:lnTo>
                        <a:lnTo>
                          <a:pt x="2859" y="1363"/>
                        </a:lnTo>
                        <a:lnTo>
                          <a:pt x="2861" y="1361"/>
                        </a:lnTo>
                        <a:lnTo>
                          <a:pt x="2864" y="1358"/>
                        </a:lnTo>
                        <a:lnTo>
                          <a:pt x="2867" y="1356"/>
                        </a:lnTo>
                        <a:lnTo>
                          <a:pt x="2870" y="1355"/>
                        </a:lnTo>
                        <a:lnTo>
                          <a:pt x="2888" y="1346"/>
                        </a:lnTo>
                        <a:lnTo>
                          <a:pt x="2905" y="1337"/>
                        </a:lnTo>
                        <a:lnTo>
                          <a:pt x="2923" y="1327"/>
                        </a:lnTo>
                        <a:lnTo>
                          <a:pt x="2940" y="1315"/>
                        </a:lnTo>
                        <a:lnTo>
                          <a:pt x="2976" y="1293"/>
                        </a:lnTo>
                        <a:lnTo>
                          <a:pt x="3012" y="1271"/>
                        </a:lnTo>
                        <a:lnTo>
                          <a:pt x="3029" y="1260"/>
                        </a:lnTo>
                        <a:lnTo>
                          <a:pt x="3048" y="1251"/>
                        </a:lnTo>
                        <a:lnTo>
                          <a:pt x="3067" y="1242"/>
                        </a:lnTo>
                        <a:lnTo>
                          <a:pt x="3085" y="1235"/>
                        </a:lnTo>
                        <a:lnTo>
                          <a:pt x="3104" y="1228"/>
                        </a:lnTo>
                        <a:lnTo>
                          <a:pt x="3123" y="1224"/>
                        </a:lnTo>
                        <a:lnTo>
                          <a:pt x="3142" y="1221"/>
                        </a:lnTo>
                        <a:lnTo>
                          <a:pt x="3162" y="1220"/>
                        </a:lnTo>
                        <a:lnTo>
                          <a:pt x="3171" y="1220"/>
                        </a:lnTo>
                        <a:lnTo>
                          <a:pt x="3179" y="1222"/>
                        </a:lnTo>
                        <a:lnTo>
                          <a:pt x="3189" y="1225"/>
                        </a:lnTo>
                        <a:lnTo>
                          <a:pt x="3196" y="1229"/>
                        </a:lnTo>
                        <a:lnTo>
                          <a:pt x="3204" y="1234"/>
                        </a:lnTo>
                        <a:lnTo>
                          <a:pt x="3210" y="1240"/>
                        </a:lnTo>
                        <a:lnTo>
                          <a:pt x="3213" y="1244"/>
                        </a:lnTo>
                        <a:lnTo>
                          <a:pt x="3214" y="1248"/>
                        </a:lnTo>
                        <a:lnTo>
                          <a:pt x="3215" y="1252"/>
                        </a:lnTo>
                        <a:lnTo>
                          <a:pt x="3216" y="1256"/>
                        </a:lnTo>
                        <a:lnTo>
                          <a:pt x="3215" y="1265"/>
                        </a:lnTo>
                        <a:lnTo>
                          <a:pt x="3213" y="1274"/>
                        </a:lnTo>
                        <a:lnTo>
                          <a:pt x="3208" y="1281"/>
                        </a:lnTo>
                        <a:lnTo>
                          <a:pt x="3203" y="1287"/>
                        </a:lnTo>
                        <a:lnTo>
                          <a:pt x="3197" y="1293"/>
                        </a:lnTo>
                        <a:lnTo>
                          <a:pt x="3191" y="1296"/>
                        </a:lnTo>
                        <a:lnTo>
                          <a:pt x="3183" y="1299"/>
                        </a:lnTo>
                        <a:lnTo>
                          <a:pt x="3175" y="1299"/>
                        </a:lnTo>
                        <a:lnTo>
                          <a:pt x="3165" y="1299"/>
                        </a:lnTo>
                        <a:lnTo>
                          <a:pt x="3156" y="1298"/>
                        </a:lnTo>
                        <a:lnTo>
                          <a:pt x="3146" y="1296"/>
                        </a:lnTo>
                        <a:lnTo>
                          <a:pt x="3136" y="1293"/>
                        </a:lnTo>
                        <a:lnTo>
                          <a:pt x="3126" y="1291"/>
                        </a:lnTo>
                        <a:lnTo>
                          <a:pt x="3116" y="1289"/>
                        </a:lnTo>
                        <a:lnTo>
                          <a:pt x="3106" y="1288"/>
                        </a:lnTo>
                        <a:lnTo>
                          <a:pt x="3096" y="1287"/>
                        </a:lnTo>
                        <a:lnTo>
                          <a:pt x="3089" y="1288"/>
                        </a:lnTo>
                        <a:lnTo>
                          <a:pt x="3082" y="1289"/>
                        </a:lnTo>
                        <a:lnTo>
                          <a:pt x="3077" y="1290"/>
                        </a:lnTo>
                        <a:lnTo>
                          <a:pt x="3072" y="1292"/>
                        </a:lnTo>
                        <a:lnTo>
                          <a:pt x="3068" y="1294"/>
                        </a:lnTo>
                        <a:lnTo>
                          <a:pt x="3066" y="1298"/>
                        </a:lnTo>
                        <a:lnTo>
                          <a:pt x="3063" y="1301"/>
                        </a:lnTo>
                        <a:lnTo>
                          <a:pt x="3063" y="1306"/>
                        </a:lnTo>
                        <a:lnTo>
                          <a:pt x="3129" y="1331"/>
                        </a:lnTo>
                        <a:lnTo>
                          <a:pt x="3140" y="1329"/>
                        </a:lnTo>
                        <a:lnTo>
                          <a:pt x="3152" y="1325"/>
                        </a:lnTo>
                        <a:lnTo>
                          <a:pt x="3159" y="1324"/>
                        </a:lnTo>
                        <a:lnTo>
                          <a:pt x="3164" y="1323"/>
                        </a:lnTo>
                        <a:lnTo>
                          <a:pt x="3171" y="1323"/>
                        </a:lnTo>
                        <a:lnTo>
                          <a:pt x="3175" y="1325"/>
                        </a:lnTo>
                        <a:lnTo>
                          <a:pt x="3170" y="1333"/>
                        </a:lnTo>
                        <a:lnTo>
                          <a:pt x="3164" y="1340"/>
                        </a:lnTo>
                        <a:lnTo>
                          <a:pt x="3158" y="1346"/>
                        </a:lnTo>
                        <a:lnTo>
                          <a:pt x="3151" y="1351"/>
                        </a:lnTo>
                        <a:lnTo>
                          <a:pt x="3145" y="1356"/>
                        </a:lnTo>
                        <a:lnTo>
                          <a:pt x="3140" y="1361"/>
                        </a:lnTo>
                        <a:lnTo>
                          <a:pt x="3138" y="1364"/>
                        </a:lnTo>
                        <a:lnTo>
                          <a:pt x="3137" y="1367"/>
                        </a:lnTo>
                        <a:lnTo>
                          <a:pt x="3136" y="1370"/>
                        </a:lnTo>
                        <a:lnTo>
                          <a:pt x="3136" y="1373"/>
                        </a:lnTo>
                        <a:lnTo>
                          <a:pt x="3136" y="1380"/>
                        </a:lnTo>
                        <a:lnTo>
                          <a:pt x="3137" y="1386"/>
                        </a:lnTo>
                        <a:lnTo>
                          <a:pt x="3138" y="1391"/>
                        </a:lnTo>
                        <a:lnTo>
                          <a:pt x="3140" y="1396"/>
                        </a:lnTo>
                        <a:lnTo>
                          <a:pt x="3144" y="1401"/>
                        </a:lnTo>
                        <a:lnTo>
                          <a:pt x="3146" y="1405"/>
                        </a:lnTo>
                        <a:lnTo>
                          <a:pt x="3149" y="1410"/>
                        </a:lnTo>
                        <a:lnTo>
                          <a:pt x="3153" y="1413"/>
                        </a:lnTo>
                        <a:lnTo>
                          <a:pt x="3162" y="1420"/>
                        </a:lnTo>
                        <a:lnTo>
                          <a:pt x="3173" y="1426"/>
                        </a:lnTo>
                        <a:lnTo>
                          <a:pt x="3184" y="1431"/>
                        </a:lnTo>
                        <a:lnTo>
                          <a:pt x="3196" y="1436"/>
                        </a:lnTo>
                        <a:lnTo>
                          <a:pt x="3209" y="1439"/>
                        </a:lnTo>
                        <a:lnTo>
                          <a:pt x="3224" y="1441"/>
                        </a:lnTo>
                        <a:lnTo>
                          <a:pt x="3237" y="1442"/>
                        </a:lnTo>
                        <a:lnTo>
                          <a:pt x="3251" y="1443"/>
                        </a:lnTo>
                        <a:lnTo>
                          <a:pt x="3277" y="1443"/>
                        </a:lnTo>
                        <a:lnTo>
                          <a:pt x="3302" y="1442"/>
                        </a:lnTo>
                        <a:lnTo>
                          <a:pt x="3302" y="1466"/>
                        </a:lnTo>
                        <a:lnTo>
                          <a:pt x="3292" y="1469"/>
                        </a:lnTo>
                        <a:lnTo>
                          <a:pt x="3283" y="1471"/>
                        </a:lnTo>
                        <a:lnTo>
                          <a:pt x="3274" y="1472"/>
                        </a:lnTo>
                        <a:lnTo>
                          <a:pt x="3265" y="1472"/>
                        </a:lnTo>
                        <a:lnTo>
                          <a:pt x="3257" y="1472"/>
                        </a:lnTo>
                        <a:lnTo>
                          <a:pt x="3248" y="1473"/>
                        </a:lnTo>
                        <a:lnTo>
                          <a:pt x="3239" y="1474"/>
                        </a:lnTo>
                        <a:lnTo>
                          <a:pt x="3229" y="1478"/>
                        </a:lnTo>
                        <a:lnTo>
                          <a:pt x="3213" y="1485"/>
                        </a:lnTo>
                        <a:lnTo>
                          <a:pt x="3198" y="1494"/>
                        </a:lnTo>
                        <a:lnTo>
                          <a:pt x="3184" y="1502"/>
                        </a:lnTo>
                        <a:lnTo>
                          <a:pt x="3172" y="1510"/>
                        </a:lnTo>
                        <a:lnTo>
                          <a:pt x="3158" y="1519"/>
                        </a:lnTo>
                        <a:lnTo>
                          <a:pt x="3144" y="1527"/>
                        </a:lnTo>
                        <a:lnTo>
                          <a:pt x="3128" y="1536"/>
                        </a:lnTo>
                        <a:lnTo>
                          <a:pt x="3109" y="1546"/>
                        </a:lnTo>
                        <a:lnTo>
                          <a:pt x="3099" y="1550"/>
                        </a:lnTo>
                        <a:lnTo>
                          <a:pt x="3088" y="1553"/>
                        </a:lnTo>
                        <a:lnTo>
                          <a:pt x="3077" y="1555"/>
                        </a:lnTo>
                        <a:lnTo>
                          <a:pt x="3066" y="1556"/>
                        </a:lnTo>
                        <a:lnTo>
                          <a:pt x="3056" y="1558"/>
                        </a:lnTo>
                        <a:lnTo>
                          <a:pt x="3047" y="1561"/>
                        </a:lnTo>
                        <a:lnTo>
                          <a:pt x="3044" y="1563"/>
                        </a:lnTo>
                        <a:lnTo>
                          <a:pt x="3040" y="1565"/>
                        </a:lnTo>
                        <a:lnTo>
                          <a:pt x="3038" y="1568"/>
                        </a:lnTo>
                        <a:lnTo>
                          <a:pt x="3036" y="1571"/>
                        </a:lnTo>
                        <a:lnTo>
                          <a:pt x="3026" y="1567"/>
                        </a:lnTo>
                        <a:lnTo>
                          <a:pt x="3018" y="1564"/>
                        </a:lnTo>
                        <a:lnTo>
                          <a:pt x="3015" y="1562"/>
                        </a:lnTo>
                        <a:lnTo>
                          <a:pt x="3012" y="1560"/>
                        </a:lnTo>
                        <a:lnTo>
                          <a:pt x="3011" y="1557"/>
                        </a:lnTo>
                        <a:lnTo>
                          <a:pt x="3010" y="1553"/>
                        </a:lnTo>
                        <a:lnTo>
                          <a:pt x="3010" y="1546"/>
                        </a:lnTo>
                        <a:lnTo>
                          <a:pt x="3012" y="1539"/>
                        </a:lnTo>
                        <a:lnTo>
                          <a:pt x="3013" y="1533"/>
                        </a:lnTo>
                        <a:lnTo>
                          <a:pt x="3016" y="1528"/>
                        </a:lnTo>
                        <a:lnTo>
                          <a:pt x="3019" y="1524"/>
                        </a:lnTo>
                        <a:lnTo>
                          <a:pt x="3024" y="1519"/>
                        </a:lnTo>
                        <a:lnTo>
                          <a:pt x="3028" y="1516"/>
                        </a:lnTo>
                        <a:lnTo>
                          <a:pt x="3033" y="1512"/>
                        </a:lnTo>
                        <a:lnTo>
                          <a:pt x="3045" y="1506"/>
                        </a:lnTo>
                        <a:lnTo>
                          <a:pt x="3058" y="1501"/>
                        </a:lnTo>
                        <a:lnTo>
                          <a:pt x="3072" y="1497"/>
                        </a:lnTo>
                        <a:lnTo>
                          <a:pt x="3086" y="1493"/>
                        </a:lnTo>
                        <a:lnTo>
                          <a:pt x="3117" y="1487"/>
                        </a:lnTo>
                        <a:lnTo>
                          <a:pt x="3147" y="1482"/>
                        </a:lnTo>
                        <a:lnTo>
                          <a:pt x="3160" y="1479"/>
                        </a:lnTo>
                        <a:lnTo>
                          <a:pt x="3172" y="1475"/>
                        </a:lnTo>
                        <a:lnTo>
                          <a:pt x="3182" y="1471"/>
                        </a:lnTo>
                        <a:lnTo>
                          <a:pt x="3189" y="1466"/>
                        </a:lnTo>
                        <a:lnTo>
                          <a:pt x="3178" y="1463"/>
                        </a:lnTo>
                        <a:lnTo>
                          <a:pt x="3169" y="1460"/>
                        </a:lnTo>
                        <a:lnTo>
                          <a:pt x="3160" y="1456"/>
                        </a:lnTo>
                        <a:lnTo>
                          <a:pt x="3153" y="1451"/>
                        </a:lnTo>
                        <a:lnTo>
                          <a:pt x="3147" y="1448"/>
                        </a:lnTo>
                        <a:lnTo>
                          <a:pt x="3139" y="1445"/>
                        </a:lnTo>
                        <a:lnTo>
                          <a:pt x="3131" y="1442"/>
                        </a:lnTo>
                        <a:lnTo>
                          <a:pt x="3123" y="1442"/>
                        </a:lnTo>
                        <a:lnTo>
                          <a:pt x="3117" y="1442"/>
                        </a:lnTo>
                        <a:lnTo>
                          <a:pt x="3113" y="1443"/>
                        </a:lnTo>
                        <a:lnTo>
                          <a:pt x="3107" y="1445"/>
                        </a:lnTo>
                        <a:lnTo>
                          <a:pt x="3103" y="1446"/>
                        </a:lnTo>
                        <a:lnTo>
                          <a:pt x="3093" y="1452"/>
                        </a:lnTo>
                        <a:lnTo>
                          <a:pt x="3083" y="1458"/>
                        </a:lnTo>
                        <a:lnTo>
                          <a:pt x="3074" y="1464"/>
                        </a:lnTo>
                        <a:lnTo>
                          <a:pt x="3066" y="1470"/>
                        </a:lnTo>
                        <a:lnTo>
                          <a:pt x="3057" y="1475"/>
                        </a:lnTo>
                        <a:lnTo>
                          <a:pt x="3049" y="1478"/>
                        </a:lnTo>
                        <a:lnTo>
                          <a:pt x="3044" y="1479"/>
                        </a:lnTo>
                        <a:lnTo>
                          <a:pt x="3036" y="1481"/>
                        </a:lnTo>
                        <a:lnTo>
                          <a:pt x="3026" y="1483"/>
                        </a:lnTo>
                        <a:lnTo>
                          <a:pt x="3016" y="1484"/>
                        </a:lnTo>
                        <a:lnTo>
                          <a:pt x="3010" y="1478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328" name="Freeform 434">
                  <a:extLst>
                    <a:ext uri="{FF2B5EF4-FFF2-40B4-BE49-F238E27FC236}">
                      <a16:creationId xmlns:a16="http://schemas.microsoft.com/office/drawing/2014/main" xmlns="" id="{52E3F00C-70C2-4352-B760-7FEED2FC651A}"/>
                    </a:ext>
                  </a:extLst>
                </p:cNvPr>
                <p:cNvSpPr>
                  <a:spLocks/>
                </p:cNvSpPr>
                <p:nvPr>
                  <p:custDataLst>
                    <p:tags r:id="rId275"/>
                  </p:custDataLst>
                </p:nvPr>
              </p:nvSpPr>
              <p:spPr bwMode="auto">
                <a:xfrm>
                  <a:off x="4757738" y="3541713"/>
                  <a:ext cx="127000" cy="158750"/>
                </a:xfrm>
                <a:custGeom>
                  <a:avLst/>
                  <a:gdLst>
                    <a:gd name="T0" fmla="*/ 2147483646 w 292"/>
                    <a:gd name="T1" fmla="*/ 2147483646 h 308"/>
                    <a:gd name="T2" fmla="*/ 2147483646 w 292"/>
                    <a:gd name="T3" fmla="*/ 2147483646 h 308"/>
                    <a:gd name="T4" fmla="*/ 2147483646 w 292"/>
                    <a:gd name="T5" fmla="*/ 2147483646 h 308"/>
                    <a:gd name="T6" fmla="*/ 2147483646 w 292"/>
                    <a:gd name="T7" fmla="*/ 2147483646 h 308"/>
                    <a:gd name="T8" fmla="*/ 2147483646 w 292"/>
                    <a:gd name="T9" fmla="*/ 2147483646 h 308"/>
                    <a:gd name="T10" fmla="*/ 2147483646 w 292"/>
                    <a:gd name="T11" fmla="*/ 2147483646 h 308"/>
                    <a:gd name="T12" fmla="*/ 2147483646 w 292"/>
                    <a:gd name="T13" fmla="*/ 2147483646 h 308"/>
                    <a:gd name="T14" fmla="*/ 2147483646 w 292"/>
                    <a:gd name="T15" fmla="*/ 2147483646 h 308"/>
                    <a:gd name="T16" fmla="*/ 2147483646 w 292"/>
                    <a:gd name="T17" fmla="*/ 2147483646 h 308"/>
                    <a:gd name="T18" fmla="*/ 2147483646 w 292"/>
                    <a:gd name="T19" fmla="*/ 2147483646 h 308"/>
                    <a:gd name="T20" fmla="*/ 2147483646 w 292"/>
                    <a:gd name="T21" fmla="*/ 2147483646 h 308"/>
                    <a:gd name="T22" fmla="*/ 2147483646 w 292"/>
                    <a:gd name="T23" fmla="*/ 2147483646 h 308"/>
                    <a:gd name="T24" fmla="*/ 2147483646 w 292"/>
                    <a:gd name="T25" fmla="*/ 2147483646 h 308"/>
                    <a:gd name="T26" fmla="*/ 2147483646 w 292"/>
                    <a:gd name="T27" fmla="*/ 2147483646 h 308"/>
                    <a:gd name="T28" fmla="*/ 2147483646 w 292"/>
                    <a:gd name="T29" fmla="*/ 2147483646 h 308"/>
                    <a:gd name="T30" fmla="*/ 2147483646 w 292"/>
                    <a:gd name="T31" fmla="*/ 2147483646 h 308"/>
                    <a:gd name="T32" fmla="*/ 2147483646 w 292"/>
                    <a:gd name="T33" fmla="*/ 2147483646 h 308"/>
                    <a:gd name="T34" fmla="*/ 0 w 292"/>
                    <a:gd name="T35" fmla="*/ 2147483646 h 308"/>
                    <a:gd name="T36" fmla="*/ 2147483646 w 292"/>
                    <a:gd name="T37" fmla="*/ 2147483646 h 308"/>
                    <a:gd name="T38" fmla="*/ 2147483646 w 292"/>
                    <a:gd name="T39" fmla="*/ 2147483646 h 308"/>
                    <a:gd name="T40" fmla="*/ 2147483646 w 292"/>
                    <a:gd name="T41" fmla="*/ 2147483646 h 308"/>
                    <a:gd name="T42" fmla="*/ 2147483646 w 292"/>
                    <a:gd name="T43" fmla="*/ 2147483646 h 308"/>
                    <a:gd name="T44" fmla="*/ 2147483646 w 292"/>
                    <a:gd name="T45" fmla="*/ 2147483646 h 308"/>
                    <a:gd name="T46" fmla="*/ 2147483646 w 292"/>
                    <a:gd name="T47" fmla="*/ 2147483646 h 308"/>
                    <a:gd name="T48" fmla="*/ 2147483646 w 292"/>
                    <a:gd name="T49" fmla="*/ 2147483646 h 308"/>
                    <a:gd name="T50" fmla="*/ 2147483646 w 292"/>
                    <a:gd name="T51" fmla="*/ 2147483646 h 308"/>
                    <a:gd name="T52" fmla="*/ 2147483646 w 292"/>
                    <a:gd name="T53" fmla="*/ 2147483646 h 308"/>
                    <a:gd name="T54" fmla="*/ 2147483646 w 292"/>
                    <a:gd name="T55" fmla="*/ 2147483646 h 308"/>
                    <a:gd name="T56" fmla="*/ 2147483646 w 292"/>
                    <a:gd name="T57" fmla="*/ 2147483646 h 308"/>
                    <a:gd name="T58" fmla="*/ 2147483646 w 292"/>
                    <a:gd name="T59" fmla="*/ 2147483646 h 308"/>
                    <a:gd name="T60" fmla="*/ 2147483646 w 292"/>
                    <a:gd name="T61" fmla="*/ 2147483646 h 308"/>
                    <a:gd name="T62" fmla="*/ 2147483646 w 292"/>
                    <a:gd name="T63" fmla="*/ 2147483646 h 308"/>
                    <a:gd name="T64" fmla="*/ 2147483646 w 292"/>
                    <a:gd name="T65" fmla="*/ 2147483646 h 308"/>
                    <a:gd name="T66" fmla="*/ 2147483646 w 292"/>
                    <a:gd name="T67" fmla="*/ 2147483646 h 308"/>
                    <a:gd name="T68" fmla="*/ 2147483646 w 292"/>
                    <a:gd name="T69" fmla="*/ 2147483646 h 308"/>
                    <a:gd name="T70" fmla="*/ 2147483646 w 292"/>
                    <a:gd name="T71" fmla="*/ 0 h 308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92"/>
                    <a:gd name="T109" fmla="*/ 0 h 308"/>
                    <a:gd name="T110" fmla="*/ 292 w 292"/>
                    <a:gd name="T111" fmla="*/ 308 h 308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92" h="308">
                      <a:moveTo>
                        <a:pt x="259" y="0"/>
                      </a:moveTo>
                      <a:lnTo>
                        <a:pt x="265" y="10"/>
                      </a:lnTo>
                      <a:lnTo>
                        <a:pt x="271" y="23"/>
                      </a:lnTo>
                      <a:lnTo>
                        <a:pt x="276" y="37"/>
                      </a:lnTo>
                      <a:lnTo>
                        <a:pt x="280" y="54"/>
                      </a:lnTo>
                      <a:lnTo>
                        <a:pt x="286" y="91"/>
                      </a:lnTo>
                      <a:lnTo>
                        <a:pt x="292" y="135"/>
                      </a:lnTo>
                      <a:lnTo>
                        <a:pt x="292" y="144"/>
                      </a:lnTo>
                      <a:lnTo>
                        <a:pt x="292" y="153"/>
                      </a:lnTo>
                      <a:lnTo>
                        <a:pt x="291" y="161"/>
                      </a:lnTo>
                      <a:lnTo>
                        <a:pt x="289" y="168"/>
                      </a:lnTo>
                      <a:lnTo>
                        <a:pt x="286" y="179"/>
                      </a:lnTo>
                      <a:lnTo>
                        <a:pt x="281" y="189"/>
                      </a:lnTo>
                      <a:lnTo>
                        <a:pt x="269" y="206"/>
                      </a:lnTo>
                      <a:lnTo>
                        <a:pt x="258" y="225"/>
                      </a:lnTo>
                      <a:lnTo>
                        <a:pt x="231" y="185"/>
                      </a:lnTo>
                      <a:lnTo>
                        <a:pt x="192" y="222"/>
                      </a:lnTo>
                      <a:lnTo>
                        <a:pt x="165" y="258"/>
                      </a:lnTo>
                      <a:lnTo>
                        <a:pt x="152" y="246"/>
                      </a:lnTo>
                      <a:lnTo>
                        <a:pt x="132" y="278"/>
                      </a:lnTo>
                      <a:lnTo>
                        <a:pt x="132" y="296"/>
                      </a:lnTo>
                      <a:lnTo>
                        <a:pt x="59" y="296"/>
                      </a:lnTo>
                      <a:lnTo>
                        <a:pt x="46" y="302"/>
                      </a:lnTo>
                      <a:lnTo>
                        <a:pt x="32" y="308"/>
                      </a:lnTo>
                      <a:lnTo>
                        <a:pt x="19" y="308"/>
                      </a:lnTo>
                      <a:lnTo>
                        <a:pt x="6" y="308"/>
                      </a:lnTo>
                      <a:lnTo>
                        <a:pt x="8" y="302"/>
                      </a:lnTo>
                      <a:lnTo>
                        <a:pt x="9" y="297"/>
                      </a:lnTo>
                      <a:lnTo>
                        <a:pt x="11" y="291"/>
                      </a:lnTo>
                      <a:lnTo>
                        <a:pt x="11" y="286"/>
                      </a:lnTo>
                      <a:lnTo>
                        <a:pt x="9" y="276"/>
                      </a:lnTo>
                      <a:lnTo>
                        <a:pt x="7" y="265"/>
                      </a:lnTo>
                      <a:lnTo>
                        <a:pt x="5" y="256"/>
                      </a:lnTo>
                      <a:lnTo>
                        <a:pt x="2" y="246"/>
                      </a:lnTo>
                      <a:lnTo>
                        <a:pt x="0" y="237"/>
                      </a:lnTo>
                      <a:lnTo>
                        <a:pt x="0" y="228"/>
                      </a:lnTo>
                      <a:lnTo>
                        <a:pt x="0" y="216"/>
                      </a:lnTo>
                      <a:lnTo>
                        <a:pt x="3" y="205"/>
                      </a:lnTo>
                      <a:lnTo>
                        <a:pt x="6" y="196"/>
                      </a:lnTo>
                      <a:lnTo>
                        <a:pt x="12" y="188"/>
                      </a:lnTo>
                      <a:lnTo>
                        <a:pt x="18" y="180"/>
                      </a:lnTo>
                      <a:lnTo>
                        <a:pt x="26" y="174"/>
                      </a:lnTo>
                      <a:lnTo>
                        <a:pt x="34" y="167"/>
                      </a:lnTo>
                      <a:lnTo>
                        <a:pt x="42" y="161"/>
                      </a:lnTo>
                      <a:lnTo>
                        <a:pt x="60" y="148"/>
                      </a:lnTo>
                      <a:lnTo>
                        <a:pt x="77" y="135"/>
                      </a:lnTo>
                      <a:lnTo>
                        <a:pt x="85" y="128"/>
                      </a:lnTo>
                      <a:lnTo>
                        <a:pt x="93" y="119"/>
                      </a:lnTo>
                      <a:lnTo>
                        <a:pt x="99" y="110"/>
                      </a:lnTo>
                      <a:lnTo>
                        <a:pt x="105" y="98"/>
                      </a:lnTo>
                      <a:lnTo>
                        <a:pt x="102" y="98"/>
                      </a:lnTo>
                      <a:lnTo>
                        <a:pt x="98" y="96"/>
                      </a:lnTo>
                      <a:lnTo>
                        <a:pt x="95" y="94"/>
                      </a:lnTo>
                      <a:lnTo>
                        <a:pt x="92" y="91"/>
                      </a:lnTo>
                      <a:lnTo>
                        <a:pt x="86" y="83"/>
                      </a:lnTo>
                      <a:lnTo>
                        <a:pt x="82" y="73"/>
                      </a:lnTo>
                      <a:lnTo>
                        <a:pt x="77" y="62"/>
                      </a:lnTo>
                      <a:lnTo>
                        <a:pt x="74" y="50"/>
                      </a:lnTo>
                      <a:lnTo>
                        <a:pt x="73" y="36"/>
                      </a:lnTo>
                      <a:lnTo>
                        <a:pt x="72" y="24"/>
                      </a:lnTo>
                      <a:lnTo>
                        <a:pt x="82" y="21"/>
                      </a:lnTo>
                      <a:lnTo>
                        <a:pt x="90" y="19"/>
                      </a:lnTo>
                      <a:lnTo>
                        <a:pt x="97" y="19"/>
                      </a:lnTo>
                      <a:lnTo>
                        <a:pt x="105" y="20"/>
                      </a:lnTo>
                      <a:lnTo>
                        <a:pt x="118" y="23"/>
                      </a:lnTo>
                      <a:lnTo>
                        <a:pt x="132" y="24"/>
                      </a:lnTo>
                      <a:lnTo>
                        <a:pt x="149" y="23"/>
                      </a:lnTo>
                      <a:lnTo>
                        <a:pt x="169" y="21"/>
                      </a:lnTo>
                      <a:lnTo>
                        <a:pt x="189" y="17"/>
                      </a:lnTo>
                      <a:lnTo>
                        <a:pt x="210" y="12"/>
                      </a:lnTo>
                      <a:lnTo>
                        <a:pt x="244" y="4"/>
                      </a:lnTo>
                      <a:lnTo>
                        <a:pt x="259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29" name="Freeform 435">
                  <a:extLst>
                    <a:ext uri="{FF2B5EF4-FFF2-40B4-BE49-F238E27FC236}">
                      <a16:creationId xmlns:a16="http://schemas.microsoft.com/office/drawing/2014/main" xmlns="" id="{149305C3-C74E-447A-9D69-E8655B9126D7}"/>
                    </a:ext>
                  </a:extLst>
                </p:cNvPr>
                <p:cNvSpPr>
                  <a:spLocks/>
                </p:cNvSpPr>
                <p:nvPr>
                  <p:custDataLst>
                    <p:tags r:id="rId276"/>
                  </p:custDataLst>
                </p:nvPr>
              </p:nvSpPr>
              <p:spPr bwMode="auto">
                <a:xfrm>
                  <a:off x="4864100" y="3692525"/>
                  <a:ext cx="6350" cy="57150"/>
                </a:xfrm>
                <a:custGeom>
                  <a:avLst/>
                  <a:gdLst>
                    <a:gd name="T0" fmla="*/ 2147483646 w 14"/>
                    <a:gd name="T1" fmla="*/ 0 h 7"/>
                    <a:gd name="T2" fmla="*/ 2147483646 w 14"/>
                    <a:gd name="T3" fmla="*/ 2147483646 h 7"/>
                    <a:gd name="T4" fmla="*/ 2147483646 w 14"/>
                    <a:gd name="T5" fmla="*/ 2147483646 h 7"/>
                    <a:gd name="T6" fmla="*/ 0 w 14"/>
                    <a:gd name="T7" fmla="*/ 2147483646 h 7"/>
                    <a:gd name="T8" fmla="*/ 2147483646 w 14"/>
                    <a:gd name="T9" fmla="*/ 0 h 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4"/>
                    <a:gd name="T16" fmla="*/ 0 h 7"/>
                    <a:gd name="T17" fmla="*/ 14 w 14"/>
                    <a:gd name="T18" fmla="*/ 7 h 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4" h="7">
                      <a:moveTo>
                        <a:pt x="11" y="0"/>
                      </a:moveTo>
                      <a:lnTo>
                        <a:pt x="13" y="3"/>
                      </a:lnTo>
                      <a:lnTo>
                        <a:pt x="14" y="7"/>
                      </a:lnTo>
                      <a:lnTo>
                        <a:pt x="0" y="7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30" name="Freeform 436">
                  <a:extLst>
                    <a:ext uri="{FF2B5EF4-FFF2-40B4-BE49-F238E27FC236}">
                      <a16:creationId xmlns:a16="http://schemas.microsoft.com/office/drawing/2014/main" xmlns="" id="{4F306045-7DBA-434F-ABE2-86E0AD463EA7}"/>
                    </a:ext>
                  </a:extLst>
                </p:cNvPr>
                <p:cNvSpPr>
                  <a:spLocks/>
                </p:cNvSpPr>
                <p:nvPr>
                  <p:custDataLst>
                    <p:tags r:id="rId277"/>
                  </p:custDataLst>
                </p:nvPr>
              </p:nvSpPr>
              <p:spPr bwMode="auto">
                <a:xfrm>
                  <a:off x="4354513" y="2928938"/>
                  <a:ext cx="249237" cy="500062"/>
                </a:xfrm>
                <a:custGeom>
                  <a:avLst/>
                  <a:gdLst>
                    <a:gd name="T0" fmla="*/ 2147483646 w 581"/>
                    <a:gd name="T1" fmla="*/ 2147483646 h 955"/>
                    <a:gd name="T2" fmla="*/ 2147483646 w 581"/>
                    <a:gd name="T3" fmla="*/ 2147483646 h 955"/>
                    <a:gd name="T4" fmla="*/ 2147483646 w 581"/>
                    <a:gd name="T5" fmla="*/ 2147483646 h 955"/>
                    <a:gd name="T6" fmla="*/ 2147483646 w 581"/>
                    <a:gd name="T7" fmla="*/ 2147483646 h 955"/>
                    <a:gd name="T8" fmla="*/ 2147483646 w 581"/>
                    <a:gd name="T9" fmla="*/ 2147483646 h 955"/>
                    <a:gd name="T10" fmla="*/ 2147483646 w 581"/>
                    <a:gd name="T11" fmla="*/ 2147483646 h 955"/>
                    <a:gd name="T12" fmla="*/ 2147483646 w 581"/>
                    <a:gd name="T13" fmla="*/ 2147483646 h 955"/>
                    <a:gd name="T14" fmla="*/ 2147483646 w 581"/>
                    <a:gd name="T15" fmla="*/ 2147483646 h 955"/>
                    <a:gd name="T16" fmla="*/ 2147483646 w 581"/>
                    <a:gd name="T17" fmla="*/ 2147483646 h 955"/>
                    <a:gd name="T18" fmla="*/ 2147483646 w 581"/>
                    <a:gd name="T19" fmla="*/ 2147483646 h 955"/>
                    <a:gd name="T20" fmla="*/ 2147483646 w 581"/>
                    <a:gd name="T21" fmla="*/ 2147483646 h 955"/>
                    <a:gd name="T22" fmla="*/ 2147483646 w 581"/>
                    <a:gd name="T23" fmla="*/ 2147483646 h 955"/>
                    <a:gd name="T24" fmla="*/ 2147483646 w 581"/>
                    <a:gd name="T25" fmla="*/ 2147483646 h 955"/>
                    <a:gd name="T26" fmla="*/ 2147483646 w 581"/>
                    <a:gd name="T27" fmla="*/ 2147483646 h 955"/>
                    <a:gd name="T28" fmla="*/ 2147483646 w 581"/>
                    <a:gd name="T29" fmla="*/ 2147483646 h 955"/>
                    <a:gd name="T30" fmla="*/ 2147483646 w 581"/>
                    <a:gd name="T31" fmla="*/ 2147483646 h 955"/>
                    <a:gd name="T32" fmla="*/ 2147483646 w 581"/>
                    <a:gd name="T33" fmla="*/ 2147483646 h 955"/>
                    <a:gd name="T34" fmla="*/ 2147483646 w 581"/>
                    <a:gd name="T35" fmla="*/ 2147483646 h 955"/>
                    <a:gd name="T36" fmla="*/ 2147483646 w 581"/>
                    <a:gd name="T37" fmla="*/ 2147483646 h 955"/>
                    <a:gd name="T38" fmla="*/ 2147483646 w 581"/>
                    <a:gd name="T39" fmla="*/ 2147483646 h 955"/>
                    <a:gd name="T40" fmla="*/ 2147483646 w 581"/>
                    <a:gd name="T41" fmla="*/ 2147483646 h 955"/>
                    <a:gd name="T42" fmla="*/ 2147483646 w 581"/>
                    <a:gd name="T43" fmla="*/ 2147483646 h 955"/>
                    <a:gd name="T44" fmla="*/ 2147483646 w 581"/>
                    <a:gd name="T45" fmla="*/ 2147483646 h 955"/>
                    <a:gd name="T46" fmla="*/ 2147483646 w 581"/>
                    <a:gd name="T47" fmla="*/ 2147483646 h 955"/>
                    <a:gd name="T48" fmla="*/ 2147483646 w 581"/>
                    <a:gd name="T49" fmla="*/ 2147483646 h 955"/>
                    <a:gd name="T50" fmla="*/ 2147483646 w 581"/>
                    <a:gd name="T51" fmla="*/ 2147483646 h 955"/>
                    <a:gd name="T52" fmla="*/ 2147483646 w 581"/>
                    <a:gd name="T53" fmla="*/ 2147483646 h 955"/>
                    <a:gd name="T54" fmla="*/ 2147483646 w 581"/>
                    <a:gd name="T55" fmla="*/ 2147483646 h 955"/>
                    <a:gd name="T56" fmla="*/ 2147483646 w 581"/>
                    <a:gd name="T57" fmla="*/ 2147483646 h 955"/>
                    <a:gd name="T58" fmla="*/ 2147483646 w 581"/>
                    <a:gd name="T59" fmla="*/ 2147483646 h 955"/>
                    <a:gd name="T60" fmla="*/ 2147483646 w 581"/>
                    <a:gd name="T61" fmla="*/ 2147483646 h 955"/>
                    <a:gd name="T62" fmla="*/ 2147483646 w 581"/>
                    <a:gd name="T63" fmla="*/ 2147483646 h 955"/>
                    <a:gd name="T64" fmla="*/ 2147483646 w 581"/>
                    <a:gd name="T65" fmla="*/ 2147483646 h 955"/>
                    <a:gd name="T66" fmla="*/ 2147483646 w 581"/>
                    <a:gd name="T67" fmla="*/ 2147483646 h 955"/>
                    <a:gd name="T68" fmla="*/ 2147483646 w 581"/>
                    <a:gd name="T69" fmla="*/ 2147483646 h 955"/>
                    <a:gd name="T70" fmla="*/ 2147483646 w 581"/>
                    <a:gd name="T71" fmla="*/ 2147483646 h 955"/>
                    <a:gd name="T72" fmla="*/ 2147483646 w 581"/>
                    <a:gd name="T73" fmla="*/ 2147483646 h 955"/>
                    <a:gd name="T74" fmla="*/ 2147483646 w 581"/>
                    <a:gd name="T75" fmla="*/ 2147483646 h 955"/>
                    <a:gd name="T76" fmla="*/ 2147483646 w 581"/>
                    <a:gd name="T77" fmla="*/ 2147483646 h 955"/>
                    <a:gd name="T78" fmla="*/ 2147483646 w 581"/>
                    <a:gd name="T79" fmla="*/ 2147483646 h 955"/>
                    <a:gd name="T80" fmla="*/ 2147483646 w 581"/>
                    <a:gd name="T81" fmla="*/ 2147483646 h 955"/>
                    <a:gd name="T82" fmla="*/ 2147483646 w 581"/>
                    <a:gd name="T83" fmla="*/ 2147483646 h 955"/>
                    <a:gd name="T84" fmla="*/ 2147483646 w 581"/>
                    <a:gd name="T85" fmla="*/ 2147483646 h 955"/>
                    <a:gd name="T86" fmla="*/ 2147483646 w 581"/>
                    <a:gd name="T87" fmla="*/ 2147483646 h 955"/>
                    <a:gd name="T88" fmla="*/ 2147483646 w 581"/>
                    <a:gd name="T89" fmla="*/ 2147483646 h 955"/>
                    <a:gd name="T90" fmla="*/ 2147483646 w 581"/>
                    <a:gd name="T91" fmla="*/ 2147483646 h 955"/>
                    <a:gd name="T92" fmla="*/ 2147483646 w 581"/>
                    <a:gd name="T93" fmla="*/ 2147483646 h 955"/>
                    <a:gd name="T94" fmla="*/ 2147483646 w 581"/>
                    <a:gd name="T95" fmla="*/ 2147483646 h 955"/>
                    <a:gd name="T96" fmla="*/ 2147483646 w 581"/>
                    <a:gd name="T97" fmla="*/ 2147483646 h 955"/>
                    <a:gd name="T98" fmla="*/ 2147483646 w 581"/>
                    <a:gd name="T99" fmla="*/ 2147483646 h 955"/>
                    <a:gd name="T100" fmla="*/ 2147483646 w 581"/>
                    <a:gd name="T101" fmla="*/ 0 h 955"/>
                    <a:gd name="T102" fmla="*/ 2147483646 w 581"/>
                    <a:gd name="T103" fmla="*/ 2147483646 h 955"/>
                    <a:gd name="T104" fmla="*/ 2147483646 w 581"/>
                    <a:gd name="T105" fmla="*/ 2147483646 h 955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81"/>
                    <a:gd name="T160" fmla="*/ 0 h 955"/>
                    <a:gd name="T161" fmla="*/ 581 w 581"/>
                    <a:gd name="T162" fmla="*/ 955 h 955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81" h="955">
                      <a:moveTo>
                        <a:pt x="69" y="24"/>
                      </a:moveTo>
                      <a:lnTo>
                        <a:pt x="69" y="97"/>
                      </a:lnTo>
                      <a:lnTo>
                        <a:pt x="81" y="115"/>
                      </a:lnTo>
                      <a:lnTo>
                        <a:pt x="91" y="129"/>
                      </a:lnTo>
                      <a:lnTo>
                        <a:pt x="99" y="141"/>
                      </a:lnTo>
                      <a:lnTo>
                        <a:pt x="104" y="152"/>
                      </a:lnTo>
                      <a:lnTo>
                        <a:pt x="107" y="163"/>
                      </a:lnTo>
                      <a:lnTo>
                        <a:pt x="110" y="172"/>
                      </a:lnTo>
                      <a:lnTo>
                        <a:pt x="111" y="180"/>
                      </a:lnTo>
                      <a:lnTo>
                        <a:pt x="110" y="186"/>
                      </a:lnTo>
                      <a:lnTo>
                        <a:pt x="102" y="209"/>
                      </a:lnTo>
                      <a:lnTo>
                        <a:pt x="95" y="234"/>
                      </a:lnTo>
                      <a:lnTo>
                        <a:pt x="96" y="276"/>
                      </a:lnTo>
                      <a:lnTo>
                        <a:pt x="96" y="309"/>
                      </a:lnTo>
                      <a:lnTo>
                        <a:pt x="96" y="325"/>
                      </a:lnTo>
                      <a:lnTo>
                        <a:pt x="96" y="339"/>
                      </a:lnTo>
                      <a:lnTo>
                        <a:pt x="95" y="351"/>
                      </a:lnTo>
                      <a:lnTo>
                        <a:pt x="93" y="363"/>
                      </a:lnTo>
                      <a:lnTo>
                        <a:pt x="91" y="374"/>
                      </a:lnTo>
                      <a:lnTo>
                        <a:pt x="87" y="386"/>
                      </a:lnTo>
                      <a:lnTo>
                        <a:pt x="82" y="396"/>
                      </a:lnTo>
                      <a:lnTo>
                        <a:pt x="76" y="407"/>
                      </a:lnTo>
                      <a:lnTo>
                        <a:pt x="69" y="418"/>
                      </a:lnTo>
                      <a:lnTo>
                        <a:pt x="59" y="429"/>
                      </a:lnTo>
                      <a:lnTo>
                        <a:pt x="48" y="442"/>
                      </a:lnTo>
                      <a:lnTo>
                        <a:pt x="36" y="455"/>
                      </a:lnTo>
                      <a:lnTo>
                        <a:pt x="31" y="461"/>
                      </a:lnTo>
                      <a:lnTo>
                        <a:pt x="26" y="467"/>
                      </a:lnTo>
                      <a:lnTo>
                        <a:pt x="22" y="474"/>
                      </a:lnTo>
                      <a:lnTo>
                        <a:pt x="17" y="481"/>
                      </a:lnTo>
                      <a:lnTo>
                        <a:pt x="12" y="496"/>
                      </a:lnTo>
                      <a:lnTo>
                        <a:pt x="8" y="512"/>
                      </a:lnTo>
                      <a:lnTo>
                        <a:pt x="2" y="542"/>
                      </a:lnTo>
                      <a:lnTo>
                        <a:pt x="0" y="568"/>
                      </a:lnTo>
                      <a:lnTo>
                        <a:pt x="29" y="578"/>
                      </a:lnTo>
                      <a:lnTo>
                        <a:pt x="69" y="616"/>
                      </a:lnTo>
                      <a:lnTo>
                        <a:pt x="51" y="632"/>
                      </a:lnTo>
                      <a:lnTo>
                        <a:pt x="60" y="633"/>
                      </a:lnTo>
                      <a:lnTo>
                        <a:pt x="69" y="634"/>
                      </a:lnTo>
                      <a:lnTo>
                        <a:pt x="70" y="643"/>
                      </a:lnTo>
                      <a:lnTo>
                        <a:pt x="72" y="653"/>
                      </a:lnTo>
                      <a:lnTo>
                        <a:pt x="74" y="665"/>
                      </a:lnTo>
                      <a:lnTo>
                        <a:pt x="76" y="677"/>
                      </a:lnTo>
                      <a:lnTo>
                        <a:pt x="74" y="686"/>
                      </a:lnTo>
                      <a:lnTo>
                        <a:pt x="74" y="696"/>
                      </a:lnTo>
                      <a:lnTo>
                        <a:pt x="74" y="705"/>
                      </a:lnTo>
                      <a:lnTo>
                        <a:pt x="76" y="715"/>
                      </a:lnTo>
                      <a:lnTo>
                        <a:pt x="78" y="733"/>
                      </a:lnTo>
                      <a:lnTo>
                        <a:pt x="82" y="749"/>
                      </a:lnTo>
                      <a:lnTo>
                        <a:pt x="88" y="764"/>
                      </a:lnTo>
                      <a:lnTo>
                        <a:pt x="94" y="778"/>
                      </a:lnTo>
                      <a:lnTo>
                        <a:pt x="98" y="783"/>
                      </a:lnTo>
                      <a:lnTo>
                        <a:pt x="102" y="788"/>
                      </a:lnTo>
                      <a:lnTo>
                        <a:pt x="105" y="792"/>
                      </a:lnTo>
                      <a:lnTo>
                        <a:pt x="109" y="794"/>
                      </a:lnTo>
                      <a:lnTo>
                        <a:pt x="92" y="794"/>
                      </a:lnTo>
                      <a:lnTo>
                        <a:pt x="68" y="794"/>
                      </a:lnTo>
                      <a:lnTo>
                        <a:pt x="56" y="796"/>
                      </a:lnTo>
                      <a:lnTo>
                        <a:pt x="46" y="799"/>
                      </a:lnTo>
                      <a:lnTo>
                        <a:pt x="42" y="802"/>
                      </a:lnTo>
                      <a:lnTo>
                        <a:pt x="38" y="805"/>
                      </a:lnTo>
                      <a:lnTo>
                        <a:pt x="36" y="808"/>
                      </a:lnTo>
                      <a:lnTo>
                        <a:pt x="36" y="812"/>
                      </a:lnTo>
                      <a:lnTo>
                        <a:pt x="36" y="824"/>
                      </a:lnTo>
                      <a:lnTo>
                        <a:pt x="38" y="834"/>
                      </a:lnTo>
                      <a:lnTo>
                        <a:pt x="42" y="842"/>
                      </a:lnTo>
                      <a:lnTo>
                        <a:pt x="46" y="850"/>
                      </a:lnTo>
                      <a:lnTo>
                        <a:pt x="57" y="863"/>
                      </a:lnTo>
                      <a:lnTo>
                        <a:pt x="69" y="876"/>
                      </a:lnTo>
                      <a:lnTo>
                        <a:pt x="76" y="884"/>
                      </a:lnTo>
                      <a:lnTo>
                        <a:pt x="81" y="891"/>
                      </a:lnTo>
                      <a:lnTo>
                        <a:pt x="87" y="899"/>
                      </a:lnTo>
                      <a:lnTo>
                        <a:pt x="92" y="907"/>
                      </a:lnTo>
                      <a:lnTo>
                        <a:pt x="96" y="917"/>
                      </a:lnTo>
                      <a:lnTo>
                        <a:pt x="100" y="927"/>
                      </a:lnTo>
                      <a:lnTo>
                        <a:pt x="102" y="941"/>
                      </a:lnTo>
                      <a:lnTo>
                        <a:pt x="102" y="955"/>
                      </a:lnTo>
                      <a:lnTo>
                        <a:pt x="156" y="955"/>
                      </a:lnTo>
                      <a:lnTo>
                        <a:pt x="166" y="949"/>
                      </a:lnTo>
                      <a:lnTo>
                        <a:pt x="177" y="945"/>
                      </a:lnTo>
                      <a:lnTo>
                        <a:pt x="189" y="942"/>
                      </a:lnTo>
                      <a:lnTo>
                        <a:pt x="201" y="939"/>
                      </a:lnTo>
                      <a:lnTo>
                        <a:pt x="225" y="935"/>
                      </a:lnTo>
                      <a:lnTo>
                        <a:pt x="248" y="929"/>
                      </a:lnTo>
                      <a:lnTo>
                        <a:pt x="259" y="927"/>
                      </a:lnTo>
                      <a:lnTo>
                        <a:pt x="270" y="924"/>
                      </a:lnTo>
                      <a:lnTo>
                        <a:pt x="279" y="921"/>
                      </a:lnTo>
                      <a:lnTo>
                        <a:pt x="286" y="916"/>
                      </a:lnTo>
                      <a:lnTo>
                        <a:pt x="293" y="911"/>
                      </a:lnTo>
                      <a:lnTo>
                        <a:pt x="297" y="904"/>
                      </a:lnTo>
                      <a:lnTo>
                        <a:pt x="300" y="901"/>
                      </a:lnTo>
                      <a:lnTo>
                        <a:pt x="301" y="896"/>
                      </a:lnTo>
                      <a:lnTo>
                        <a:pt x="302" y="892"/>
                      </a:lnTo>
                      <a:lnTo>
                        <a:pt x="302" y="887"/>
                      </a:lnTo>
                      <a:lnTo>
                        <a:pt x="302" y="877"/>
                      </a:lnTo>
                      <a:lnTo>
                        <a:pt x="302" y="868"/>
                      </a:lnTo>
                      <a:lnTo>
                        <a:pt x="315" y="870"/>
                      </a:lnTo>
                      <a:lnTo>
                        <a:pt x="327" y="871"/>
                      </a:lnTo>
                      <a:lnTo>
                        <a:pt x="338" y="871"/>
                      </a:lnTo>
                      <a:lnTo>
                        <a:pt x="348" y="870"/>
                      </a:lnTo>
                      <a:lnTo>
                        <a:pt x="358" y="868"/>
                      </a:lnTo>
                      <a:lnTo>
                        <a:pt x="367" y="866"/>
                      </a:lnTo>
                      <a:lnTo>
                        <a:pt x="374" y="863"/>
                      </a:lnTo>
                      <a:lnTo>
                        <a:pt x="382" y="860"/>
                      </a:lnTo>
                      <a:lnTo>
                        <a:pt x="389" y="856"/>
                      </a:lnTo>
                      <a:lnTo>
                        <a:pt x="394" y="852"/>
                      </a:lnTo>
                      <a:lnTo>
                        <a:pt x="401" y="847"/>
                      </a:lnTo>
                      <a:lnTo>
                        <a:pt x="405" y="842"/>
                      </a:lnTo>
                      <a:lnTo>
                        <a:pt x="415" y="831"/>
                      </a:lnTo>
                      <a:lnTo>
                        <a:pt x="424" y="818"/>
                      </a:lnTo>
                      <a:lnTo>
                        <a:pt x="432" y="807"/>
                      </a:lnTo>
                      <a:lnTo>
                        <a:pt x="440" y="795"/>
                      </a:lnTo>
                      <a:lnTo>
                        <a:pt x="449" y="783"/>
                      </a:lnTo>
                      <a:lnTo>
                        <a:pt x="460" y="773"/>
                      </a:lnTo>
                      <a:lnTo>
                        <a:pt x="465" y="769"/>
                      </a:lnTo>
                      <a:lnTo>
                        <a:pt x="471" y="764"/>
                      </a:lnTo>
                      <a:lnTo>
                        <a:pt x="477" y="760"/>
                      </a:lnTo>
                      <a:lnTo>
                        <a:pt x="485" y="757"/>
                      </a:lnTo>
                      <a:lnTo>
                        <a:pt x="493" y="754"/>
                      </a:lnTo>
                      <a:lnTo>
                        <a:pt x="502" y="752"/>
                      </a:lnTo>
                      <a:lnTo>
                        <a:pt x="510" y="751"/>
                      </a:lnTo>
                      <a:lnTo>
                        <a:pt x="521" y="751"/>
                      </a:lnTo>
                      <a:lnTo>
                        <a:pt x="521" y="745"/>
                      </a:lnTo>
                      <a:lnTo>
                        <a:pt x="511" y="729"/>
                      </a:lnTo>
                      <a:lnTo>
                        <a:pt x="505" y="713"/>
                      </a:lnTo>
                      <a:lnTo>
                        <a:pt x="499" y="697"/>
                      </a:lnTo>
                      <a:lnTo>
                        <a:pt x="494" y="682"/>
                      </a:lnTo>
                      <a:lnTo>
                        <a:pt x="490" y="667"/>
                      </a:lnTo>
                      <a:lnTo>
                        <a:pt x="484" y="653"/>
                      </a:lnTo>
                      <a:lnTo>
                        <a:pt x="476" y="640"/>
                      </a:lnTo>
                      <a:lnTo>
                        <a:pt x="468" y="628"/>
                      </a:lnTo>
                      <a:lnTo>
                        <a:pt x="472" y="623"/>
                      </a:lnTo>
                      <a:lnTo>
                        <a:pt x="476" y="619"/>
                      </a:lnTo>
                      <a:lnTo>
                        <a:pt x="479" y="614"/>
                      </a:lnTo>
                      <a:lnTo>
                        <a:pt x="481" y="610"/>
                      </a:lnTo>
                      <a:lnTo>
                        <a:pt x="484" y="599"/>
                      </a:lnTo>
                      <a:lnTo>
                        <a:pt x="486" y="589"/>
                      </a:lnTo>
                      <a:lnTo>
                        <a:pt x="487" y="579"/>
                      </a:lnTo>
                      <a:lnTo>
                        <a:pt x="488" y="567"/>
                      </a:lnTo>
                      <a:lnTo>
                        <a:pt x="491" y="555"/>
                      </a:lnTo>
                      <a:lnTo>
                        <a:pt x="494" y="541"/>
                      </a:lnTo>
                      <a:lnTo>
                        <a:pt x="497" y="533"/>
                      </a:lnTo>
                      <a:lnTo>
                        <a:pt x="501" y="526"/>
                      </a:lnTo>
                      <a:lnTo>
                        <a:pt x="505" y="519"/>
                      </a:lnTo>
                      <a:lnTo>
                        <a:pt x="509" y="512"/>
                      </a:lnTo>
                      <a:lnTo>
                        <a:pt x="520" y="499"/>
                      </a:lnTo>
                      <a:lnTo>
                        <a:pt x="532" y="486"/>
                      </a:lnTo>
                      <a:lnTo>
                        <a:pt x="546" y="476"/>
                      </a:lnTo>
                      <a:lnTo>
                        <a:pt x="558" y="468"/>
                      </a:lnTo>
                      <a:lnTo>
                        <a:pt x="570" y="461"/>
                      </a:lnTo>
                      <a:lnTo>
                        <a:pt x="581" y="455"/>
                      </a:lnTo>
                      <a:lnTo>
                        <a:pt x="581" y="234"/>
                      </a:lnTo>
                      <a:lnTo>
                        <a:pt x="129" y="0"/>
                      </a:lnTo>
                      <a:lnTo>
                        <a:pt x="116" y="1"/>
                      </a:lnTo>
                      <a:lnTo>
                        <a:pt x="106" y="3"/>
                      </a:lnTo>
                      <a:lnTo>
                        <a:pt x="98" y="5"/>
                      </a:lnTo>
                      <a:lnTo>
                        <a:pt x="89" y="6"/>
                      </a:lnTo>
                      <a:lnTo>
                        <a:pt x="79" y="15"/>
                      </a:lnTo>
                      <a:lnTo>
                        <a:pt x="69" y="2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31" name="Freeform 437">
                  <a:extLst>
                    <a:ext uri="{FF2B5EF4-FFF2-40B4-BE49-F238E27FC236}">
                      <a16:creationId xmlns:a16="http://schemas.microsoft.com/office/drawing/2014/main" xmlns="" id="{6546CA59-7058-432C-A86E-9C070B8DC112}"/>
                    </a:ext>
                  </a:extLst>
                </p:cNvPr>
                <p:cNvSpPr>
                  <a:spLocks/>
                </p:cNvSpPr>
                <p:nvPr>
                  <p:custDataLst>
                    <p:tags r:id="rId278"/>
                  </p:custDataLst>
                </p:nvPr>
              </p:nvSpPr>
              <p:spPr bwMode="auto">
                <a:xfrm>
                  <a:off x="4030663" y="2311400"/>
                  <a:ext cx="15875" cy="57150"/>
                </a:xfrm>
                <a:custGeom>
                  <a:avLst/>
                  <a:gdLst>
                    <a:gd name="T0" fmla="*/ 2147483646 w 45"/>
                    <a:gd name="T1" fmla="*/ 0 h 36"/>
                    <a:gd name="T2" fmla="*/ 0 w 45"/>
                    <a:gd name="T3" fmla="*/ 2147483646 h 36"/>
                    <a:gd name="T4" fmla="*/ 2147483646 w 45"/>
                    <a:gd name="T5" fmla="*/ 2147483646 h 36"/>
                    <a:gd name="T6" fmla="*/ 2147483646 w 45"/>
                    <a:gd name="T7" fmla="*/ 2147483646 h 36"/>
                    <a:gd name="T8" fmla="*/ 2147483646 w 45"/>
                    <a:gd name="T9" fmla="*/ 0 h 3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5"/>
                    <a:gd name="T16" fmla="*/ 0 h 36"/>
                    <a:gd name="T17" fmla="*/ 45 w 45"/>
                    <a:gd name="T18" fmla="*/ 36 h 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5" h="36">
                      <a:moveTo>
                        <a:pt x="26" y="0"/>
                      </a:moveTo>
                      <a:lnTo>
                        <a:pt x="0" y="18"/>
                      </a:lnTo>
                      <a:lnTo>
                        <a:pt x="23" y="36"/>
                      </a:lnTo>
                      <a:lnTo>
                        <a:pt x="45" y="15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332" name="Group 438">
                  <a:extLst>
                    <a:ext uri="{FF2B5EF4-FFF2-40B4-BE49-F238E27FC236}">
                      <a16:creationId xmlns:a16="http://schemas.microsoft.com/office/drawing/2014/main" xmlns="" id="{6C9FC340-7E15-485B-9B4C-842C6380B4D6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279"/>
                  </p:custDataLst>
                </p:nvPr>
              </p:nvGrpSpPr>
              <p:grpSpPr bwMode="auto">
                <a:xfrm>
                  <a:off x="2330450" y="4371975"/>
                  <a:ext cx="384175" cy="1031875"/>
                  <a:chOff x="1589" y="3126"/>
                  <a:chExt cx="290" cy="657"/>
                </a:xfrm>
                <a:solidFill>
                  <a:srgbClr val="00B0F0"/>
                </a:solidFill>
              </p:grpSpPr>
              <p:sp>
                <p:nvSpPr>
                  <p:cNvPr id="442" name="Freeform 439">
                    <a:extLst>
                      <a:ext uri="{FF2B5EF4-FFF2-40B4-BE49-F238E27FC236}">
                        <a16:creationId xmlns:a16="http://schemas.microsoft.com/office/drawing/2014/main" xmlns="" id="{7923B23D-8349-4A56-A96D-CFB06EB8B11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48" y="3531"/>
                    <a:ext cx="15" cy="17"/>
                  </a:xfrm>
                  <a:custGeom>
                    <a:avLst/>
                    <a:gdLst>
                      <a:gd name="T0" fmla="*/ 0 w 46"/>
                      <a:gd name="T1" fmla="*/ 0 h 51"/>
                      <a:gd name="T2" fmla="*/ 0 w 46"/>
                      <a:gd name="T3" fmla="*/ 0 h 51"/>
                      <a:gd name="T4" fmla="*/ 0 w 46"/>
                      <a:gd name="T5" fmla="*/ 0 h 51"/>
                      <a:gd name="T6" fmla="*/ 0 w 46"/>
                      <a:gd name="T7" fmla="*/ 0 h 51"/>
                      <a:gd name="T8" fmla="*/ 0 w 46"/>
                      <a:gd name="T9" fmla="*/ 0 h 51"/>
                      <a:gd name="T10" fmla="*/ 0 w 46"/>
                      <a:gd name="T11" fmla="*/ 0 h 51"/>
                      <a:gd name="T12" fmla="*/ 0 w 46"/>
                      <a:gd name="T13" fmla="*/ 0 h 51"/>
                      <a:gd name="T14" fmla="*/ 0 w 46"/>
                      <a:gd name="T15" fmla="*/ 0 h 51"/>
                      <a:gd name="T16" fmla="*/ 0 w 46"/>
                      <a:gd name="T17" fmla="*/ 0 h 51"/>
                      <a:gd name="T18" fmla="*/ 0 w 46"/>
                      <a:gd name="T19" fmla="*/ 0 h 51"/>
                      <a:gd name="T20" fmla="*/ 0 w 46"/>
                      <a:gd name="T21" fmla="*/ 0 h 51"/>
                      <a:gd name="T22" fmla="*/ 0 w 46"/>
                      <a:gd name="T23" fmla="*/ 0 h 51"/>
                      <a:gd name="T24" fmla="*/ 0 w 46"/>
                      <a:gd name="T25" fmla="*/ 0 h 51"/>
                      <a:gd name="T26" fmla="*/ 0 w 46"/>
                      <a:gd name="T27" fmla="*/ 0 h 51"/>
                      <a:gd name="T28" fmla="*/ 0 w 46"/>
                      <a:gd name="T29" fmla="*/ 0 h 51"/>
                      <a:gd name="T30" fmla="*/ 0 w 46"/>
                      <a:gd name="T31" fmla="*/ 0 h 51"/>
                      <a:gd name="T32" fmla="*/ 0 w 46"/>
                      <a:gd name="T33" fmla="*/ 0 h 51"/>
                      <a:gd name="T34" fmla="*/ 0 w 46"/>
                      <a:gd name="T35" fmla="*/ 0 h 51"/>
                      <a:gd name="T36" fmla="*/ 0 w 46"/>
                      <a:gd name="T37" fmla="*/ 0 h 51"/>
                      <a:gd name="T38" fmla="*/ 0 w 46"/>
                      <a:gd name="T39" fmla="*/ 0 h 51"/>
                      <a:gd name="T40" fmla="*/ 0 w 46"/>
                      <a:gd name="T41" fmla="*/ 0 h 51"/>
                      <a:gd name="T42" fmla="*/ 0 w 46"/>
                      <a:gd name="T43" fmla="*/ 0 h 51"/>
                      <a:gd name="T44" fmla="*/ 0 w 46"/>
                      <a:gd name="T45" fmla="*/ 0 h 51"/>
                      <a:gd name="T46" fmla="*/ 0 w 46"/>
                      <a:gd name="T47" fmla="*/ 0 h 51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46"/>
                      <a:gd name="T73" fmla="*/ 0 h 51"/>
                      <a:gd name="T74" fmla="*/ 46 w 46"/>
                      <a:gd name="T75" fmla="*/ 51 h 51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46" h="51">
                        <a:moveTo>
                          <a:pt x="46" y="12"/>
                        </a:moveTo>
                        <a:lnTo>
                          <a:pt x="19" y="0"/>
                        </a:lnTo>
                        <a:lnTo>
                          <a:pt x="13" y="5"/>
                        </a:lnTo>
                        <a:lnTo>
                          <a:pt x="7" y="9"/>
                        </a:lnTo>
                        <a:lnTo>
                          <a:pt x="4" y="12"/>
                        </a:lnTo>
                        <a:lnTo>
                          <a:pt x="2" y="14"/>
                        </a:lnTo>
                        <a:lnTo>
                          <a:pt x="0" y="16"/>
                        </a:lnTo>
                        <a:lnTo>
                          <a:pt x="0" y="19"/>
                        </a:lnTo>
                        <a:lnTo>
                          <a:pt x="0" y="24"/>
                        </a:lnTo>
                        <a:lnTo>
                          <a:pt x="2" y="29"/>
                        </a:lnTo>
                        <a:lnTo>
                          <a:pt x="4" y="36"/>
                        </a:lnTo>
                        <a:lnTo>
                          <a:pt x="7" y="41"/>
                        </a:lnTo>
                        <a:lnTo>
                          <a:pt x="10" y="46"/>
                        </a:lnTo>
                        <a:lnTo>
                          <a:pt x="13" y="49"/>
                        </a:lnTo>
                        <a:lnTo>
                          <a:pt x="15" y="50"/>
                        </a:lnTo>
                        <a:lnTo>
                          <a:pt x="16" y="51"/>
                        </a:lnTo>
                        <a:lnTo>
                          <a:pt x="18" y="51"/>
                        </a:lnTo>
                        <a:lnTo>
                          <a:pt x="19" y="50"/>
                        </a:lnTo>
                        <a:lnTo>
                          <a:pt x="35" y="50"/>
                        </a:lnTo>
                        <a:lnTo>
                          <a:pt x="46" y="50"/>
                        </a:lnTo>
                        <a:lnTo>
                          <a:pt x="46" y="37"/>
                        </a:lnTo>
                        <a:lnTo>
                          <a:pt x="46" y="26"/>
                        </a:lnTo>
                        <a:lnTo>
                          <a:pt x="46" y="18"/>
                        </a:lnTo>
                        <a:lnTo>
                          <a:pt x="46" y="12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s-ES" sz="1800"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43" name="Freeform 440">
                    <a:extLst>
                      <a:ext uri="{FF2B5EF4-FFF2-40B4-BE49-F238E27FC236}">
                        <a16:creationId xmlns:a16="http://schemas.microsoft.com/office/drawing/2014/main" xmlns="" id="{6051A66C-AF34-41CE-BD09-3F61C442B6B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59" y="3730"/>
                    <a:ext cx="63" cy="53"/>
                  </a:xfrm>
                  <a:custGeom>
                    <a:avLst/>
                    <a:gdLst>
                      <a:gd name="T0" fmla="*/ 0 w 192"/>
                      <a:gd name="T1" fmla="*/ 0 h 158"/>
                      <a:gd name="T2" fmla="*/ 0 w 192"/>
                      <a:gd name="T3" fmla="*/ 0 h 158"/>
                      <a:gd name="T4" fmla="*/ 0 w 192"/>
                      <a:gd name="T5" fmla="*/ 0 h 158"/>
                      <a:gd name="T6" fmla="*/ 0 w 192"/>
                      <a:gd name="T7" fmla="*/ 0 h 158"/>
                      <a:gd name="T8" fmla="*/ 0 w 192"/>
                      <a:gd name="T9" fmla="*/ 0 h 158"/>
                      <a:gd name="T10" fmla="*/ 0 w 192"/>
                      <a:gd name="T11" fmla="*/ 0 h 158"/>
                      <a:gd name="T12" fmla="*/ 0 w 192"/>
                      <a:gd name="T13" fmla="*/ 0 h 158"/>
                      <a:gd name="T14" fmla="*/ 0 w 192"/>
                      <a:gd name="T15" fmla="*/ 0 h 158"/>
                      <a:gd name="T16" fmla="*/ 0 w 192"/>
                      <a:gd name="T17" fmla="*/ 0 h 158"/>
                      <a:gd name="T18" fmla="*/ 0 w 192"/>
                      <a:gd name="T19" fmla="*/ 1 h 158"/>
                      <a:gd name="T20" fmla="*/ 0 w 192"/>
                      <a:gd name="T21" fmla="*/ 1 h 158"/>
                      <a:gd name="T22" fmla="*/ 0 w 192"/>
                      <a:gd name="T23" fmla="*/ 1 h 158"/>
                      <a:gd name="T24" fmla="*/ 0 w 192"/>
                      <a:gd name="T25" fmla="*/ 1 h 158"/>
                      <a:gd name="T26" fmla="*/ 0 w 192"/>
                      <a:gd name="T27" fmla="*/ 1 h 158"/>
                      <a:gd name="T28" fmla="*/ 0 w 192"/>
                      <a:gd name="T29" fmla="*/ 1 h 158"/>
                      <a:gd name="T30" fmla="*/ 0 w 192"/>
                      <a:gd name="T31" fmla="*/ 1 h 158"/>
                      <a:gd name="T32" fmla="*/ 0 w 192"/>
                      <a:gd name="T33" fmla="*/ 1 h 158"/>
                      <a:gd name="T34" fmla="*/ 1 w 192"/>
                      <a:gd name="T35" fmla="*/ 1 h 158"/>
                      <a:gd name="T36" fmla="*/ 1 w 192"/>
                      <a:gd name="T37" fmla="*/ 1 h 158"/>
                      <a:gd name="T38" fmla="*/ 1 w 192"/>
                      <a:gd name="T39" fmla="*/ 1 h 158"/>
                      <a:gd name="T40" fmla="*/ 1 w 192"/>
                      <a:gd name="T41" fmla="*/ 1 h 158"/>
                      <a:gd name="T42" fmla="*/ 1 w 192"/>
                      <a:gd name="T43" fmla="*/ 1 h 158"/>
                      <a:gd name="T44" fmla="*/ 1 w 192"/>
                      <a:gd name="T45" fmla="*/ 1 h 158"/>
                      <a:gd name="T46" fmla="*/ 1 w 192"/>
                      <a:gd name="T47" fmla="*/ 1 h 158"/>
                      <a:gd name="T48" fmla="*/ 1 w 192"/>
                      <a:gd name="T49" fmla="*/ 1 h 158"/>
                      <a:gd name="T50" fmla="*/ 0 w 192"/>
                      <a:gd name="T51" fmla="*/ 1 h 158"/>
                      <a:gd name="T52" fmla="*/ 0 w 192"/>
                      <a:gd name="T53" fmla="*/ 0 h 158"/>
                      <a:gd name="T54" fmla="*/ 0 w 192"/>
                      <a:gd name="T55" fmla="*/ 0 h 158"/>
                      <a:gd name="T56" fmla="*/ 0 w 192"/>
                      <a:gd name="T57" fmla="*/ 0 h 158"/>
                      <a:gd name="T58" fmla="*/ 0 w 192"/>
                      <a:gd name="T59" fmla="*/ 0 h 158"/>
                      <a:gd name="T60" fmla="*/ 0 w 192"/>
                      <a:gd name="T61" fmla="*/ 0 h 158"/>
                      <a:gd name="T62" fmla="*/ 0 w 192"/>
                      <a:gd name="T63" fmla="*/ 0 h 158"/>
                      <a:gd name="T64" fmla="*/ 0 w 192"/>
                      <a:gd name="T65" fmla="*/ 0 h 158"/>
                      <a:gd name="T66" fmla="*/ 0 w 192"/>
                      <a:gd name="T67" fmla="*/ 0 h 158"/>
                      <a:gd name="T68" fmla="*/ 0 w 192"/>
                      <a:gd name="T69" fmla="*/ 0 h 158"/>
                      <a:gd name="T70" fmla="*/ 0 w 192"/>
                      <a:gd name="T71" fmla="*/ 0 h 158"/>
                      <a:gd name="T72" fmla="*/ 0 w 192"/>
                      <a:gd name="T73" fmla="*/ 0 h 158"/>
                      <a:gd name="T74" fmla="*/ 0 w 192"/>
                      <a:gd name="T75" fmla="*/ 0 h 158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w 192"/>
                      <a:gd name="T115" fmla="*/ 0 h 158"/>
                      <a:gd name="T116" fmla="*/ 192 w 192"/>
                      <a:gd name="T117" fmla="*/ 158 h 158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T114" t="T115" r="T116" b="T117"/>
                    <a:pathLst>
                      <a:path w="192" h="158">
                        <a:moveTo>
                          <a:pt x="0" y="0"/>
                        </a:moveTo>
                        <a:lnTo>
                          <a:pt x="0" y="14"/>
                        </a:lnTo>
                        <a:lnTo>
                          <a:pt x="2" y="26"/>
                        </a:lnTo>
                        <a:lnTo>
                          <a:pt x="4" y="38"/>
                        </a:lnTo>
                        <a:lnTo>
                          <a:pt x="7" y="50"/>
                        </a:lnTo>
                        <a:lnTo>
                          <a:pt x="11" y="61"/>
                        </a:lnTo>
                        <a:lnTo>
                          <a:pt x="15" y="71"/>
                        </a:lnTo>
                        <a:lnTo>
                          <a:pt x="21" y="81"/>
                        </a:lnTo>
                        <a:lnTo>
                          <a:pt x="25" y="90"/>
                        </a:lnTo>
                        <a:lnTo>
                          <a:pt x="47" y="122"/>
                        </a:lnTo>
                        <a:lnTo>
                          <a:pt x="66" y="148"/>
                        </a:lnTo>
                        <a:lnTo>
                          <a:pt x="72" y="151"/>
                        </a:lnTo>
                        <a:lnTo>
                          <a:pt x="79" y="153"/>
                        </a:lnTo>
                        <a:lnTo>
                          <a:pt x="85" y="155"/>
                        </a:lnTo>
                        <a:lnTo>
                          <a:pt x="92" y="156"/>
                        </a:lnTo>
                        <a:lnTo>
                          <a:pt x="105" y="158"/>
                        </a:lnTo>
                        <a:lnTo>
                          <a:pt x="119" y="158"/>
                        </a:lnTo>
                        <a:lnTo>
                          <a:pt x="152" y="155"/>
                        </a:lnTo>
                        <a:lnTo>
                          <a:pt x="192" y="154"/>
                        </a:lnTo>
                        <a:lnTo>
                          <a:pt x="184" y="153"/>
                        </a:lnTo>
                        <a:lnTo>
                          <a:pt x="176" y="152"/>
                        </a:lnTo>
                        <a:lnTo>
                          <a:pt x="168" y="151"/>
                        </a:lnTo>
                        <a:lnTo>
                          <a:pt x="160" y="149"/>
                        </a:lnTo>
                        <a:lnTo>
                          <a:pt x="145" y="144"/>
                        </a:lnTo>
                        <a:lnTo>
                          <a:pt x="129" y="138"/>
                        </a:lnTo>
                        <a:lnTo>
                          <a:pt x="115" y="130"/>
                        </a:lnTo>
                        <a:lnTo>
                          <a:pt x="101" y="120"/>
                        </a:lnTo>
                        <a:lnTo>
                          <a:pt x="87" y="110"/>
                        </a:lnTo>
                        <a:lnTo>
                          <a:pt x="75" y="98"/>
                        </a:lnTo>
                        <a:lnTo>
                          <a:pt x="63" y="87"/>
                        </a:lnTo>
                        <a:lnTo>
                          <a:pt x="52" y="75"/>
                        </a:lnTo>
                        <a:lnTo>
                          <a:pt x="42" y="63"/>
                        </a:lnTo>
                        <a:lnTo>
                          <a:pt x="35" y="50"/>
                        </a:lnTo>
                        <a:lnTo>
                          <a:pt x="27" y="38"/>
                        </a:lnTo>
                        <a:lnTo>
                          <a:pt x="21" y="26"/>
                        </a:lnTo>
                        <a:lnTo>
                          <a:pt x="16" y="16"/>
                        </a:lnTo>
                        <a:lnTo>
                          <a:pt x="13" y="6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s-ES" sz="1800"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44" name="Freeform 441">
                    <a:extLst>
                      <a:ext uri="{FF2B5EF4-FFF2-40B4-BE49-F238E27FC236}">
                        <a16:creationId xmlns:a16="http://schemas.microsoft.com/office/drawing/2014/main" xmlns="" id="{12203D7A-A7F3-41AA-843E-093BDDC8105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89" y="3126"/>
                    <a:ext cx="290" cy="606"/>
                  </a:xfrm>
                  <a:custGeom>
                    <a:avLst/>
                    <a:gdLst>
                      <a:gd name="T0" fmla="*/ 3 w 884"/>
                      <a:gd name="T1" fmla="*/ 2 h 1818"/>
                      <a:gd name="T2" fmla="*/ 3 w 884"/>
                      <a:gd name="T3" fmla="*/ 1 h 1818"/>
                      <a:gd name="T4" fmla="*/ 3 w 884"/>
                      <a:gd name="T5" fmla="*/ 1 h 1818"/>
                      <a:gd name="T6" fmla="*/ 3 w 884"/>
                      <a:gd name="T7" fmla="*/ 1 h 1818"/>
                      <a:gd name="T8" fmla="*/ 3 w 884"/>
                      <a:gd name="T9" fmla="*/ 1 h 1818"/>
                      <a:gd name="T10" fmla="*/ 3 w 884"/>
                      <a:gd name="T11" fmla="*/ 1 h 1818"/>
                      <a:gd name="T12" fmla="*/ 3 w 884"/>
                      <a:gd name="T13" fmla="*/ 1 h 1818"/>
                      <a:gd name="T14" fmla="*/ 2 w 884"/>
                      <a:gd name="T15" fmla="*/ 1 h 1818"/>
                      <a:gd name="T16" fmla="*/ 3 w 884"/>
                      <a:gd name="T17" fmla="*/ 1 h 1818"/>
                      <a:gd name="T18" fmla="*/ 2 w 884"/>
                      <a:gd name="T19" fmla="*/ 1 h 1818"/>
                      <a:gd name="T20" fmla="*/ 2 w 884"/>
                      <a:gd name="T21" fmla="*/ 0 h 1818"/>
                      <a:gd name="T22" fmla="*/ 1 w 884"/>
                      <a:gd name="T23" fmla="*/ 0 h 1818"/>
                      <a:gd name="T24" fmla="*/ 1 w 884"/>
                      <a:gd name="T25" fmla="*/ 0 h 1818"/>
                      <a:gd name="T26" fmla="*/ 1 w 884"/>
                      <a:gd name="T27" fmla="*/ 0 h 1818"/>
                      <a:gd name="T28" fmla="*/ 1 w 884"/>
                      <a:gd name="T29" fmla="*/ 0 h 1818"/>
                      <a:gd name="T30" fmla="*/ 0 w 884"/>
                      <a:gd name="T31" fmla="*/ 0 h 1818"/>
                      <a:gd name="T32" fmla="*/ 0 w 884"/>
                      <a:gd name="T33" fmla="*/ 0 h 1818"/>
                      <a:gd name="T34" fmla="*/ 0 w 884"/>
                      <a:gd name="T35" fmla="*/ 1 h 1818"/>
                      <a:gd name="T36" fmla="*/ 0 w 884"/>
                      <a:gd name="T37" fmla="*/ 1 h 1818"/>
                      <a:gd name="T38" fmla="*/ 0 w 884"/>
                      <a:gd name="T39" fmla="*/ 1 h 1818"/>
                      <a:gd name="T40" fmla="*/ 0 w 884"/>
                      <a:gd name="T41" fmla="*/ 2 h 1818"/>
                      <a:gd name="T42" fmla="*/ 0 w 884"/>
                      <a:gd name="T43" fmla="*/ 3 h 1818"/>
                      <a:gd name="T44" fmla="*/ 0 w 884"/>
                      <a:gd name="T45" fmla="*/ 3 h 1818"/>
                      <a:gd name="T46" fmla="*/ 0 w 884"/>
                      <a:gd name="T47" fmla="*/ 3 h 1818"/>
                      <a:gd name="T48" fmla="*/ 0 w 884"/>
                      <a:gd name="T49" fmla="*/ 3 h 1818"/>
                      <a:gd name="T50" fmla="*/ 0 w 884"/>
                      <a:gd name="T51" fmla="*/ 3 h 1818"/>
                      <a:gd name="T52" fmla="*/ 0 w 884"/>
                      <a:gd name="T53" fmla="*/ 4 h 1818"/>
                      <a:gd name="T54" fmla="*/ 0 w 884"/>
                      <a:gd name="T55" fmla="*/ 4 h 1818"/>
                      <a:gd name="T56" fmla="*/ 0 w 884"/>
                      <a:gd name="T57" fmla="*/ 4 h 1818"/>
                      <a:gd name="T58" fmla="*/ 0 w 884"/>
                      <a:gd name="T59" fmla="*/ 5 h 1818"/>
                      <a:gd name="T60" fmla="*/ 1 w 884"/>
                      <a:gd name="T61" fmla="*/ 5 h 1818"/>
                      <a:gd name="T62" fmla="*/ 1 w 884"/>
                      <a:gd name="T63" fmla="*/ 6 h 1818"/>
                      <a:gd name="T64" fmla="*/ 1 w 884"/>
                      <a:gd name="T65" fmla="*/ 6 h 1818"/>
                      <a:gd name="T66" fmla="*/ 1 w 884"/>
                      <a:gd name="T67" fmla="*/ 6 h 1818"/>
                      <a:gd name="T68" fmla="*/ 1 w 884"/>
                      <a:gd name="T69" fmla="*/ 7 h 1818"/>
                      <a:gd name="T70" fmla="*/ 1 w 884"/>
                      <a:gd name="T71" fmla="*/ 7 h 1818"/>
                      <a:gd name="T72" fmla="*/ 1 w 884"/>
                      <a:gd name="T73" fmla="*/ 7 h 1818"/>
                      <a:gd name="T74" fmla="*/ 1 w 884"/>
                      <a:gd name="T75" fmla="*/ 7 h 1818"/>
                      <a:gd name="T76" fmla="*/ 2 w 884"/>
                      <a:gd name="T77" fmla="*/ 7 h 1818"/>
                      <a:gd name="T78" fmla="*/ 2 w 884"/>
                      <a:gd name="T79" fmla="*/ 7 h 1818"/>
                      <a:gd name="T80" fmla="*/ 2 w 884"/>
                      <a:gd name="T81" fmla="*/ 7 h 1818"/>
                      <a:gd name="T82" fmla="*/ 2 w 884"/>
                      <a:gd name="T83" fmla="*/ 7 h 1818"/>
                      <a:gd name="T84" fmla="*/ 2 w 884"/>
                      <a:gd name="T85" fmla="*/ 6 h 1818"/>
                      <a:gd name="T86" fmla="*/ 2 w 884"/>
                      <a:gd name="T87" fmla="*/ 6 h 1818"/>
                      <a:gd name="T88" fmla="*/ 2 w 884"/>
                      <a:gd name="T89" fmla="*/ 6 h 1818"/>
                      <a:gd name="T90" fmla="*/ 2 w 884"/>
                      <a:gd name="T91" fmla="*/ 6 h 1818"/>
                      <a:gd name="T92" fmla="*/ 2 w 884"/>
                      <a:gd name="T93" fmla="*/ 5 h 1818"/>
                      <a:gd name="T94" fmla="*/ 2 w 884"/>
                      <a:gd name="T95" fmla="*/ 5 h 1818"/>
                      <a:gd name="T96" fmla="*/ 2 w 884"/>
                      <a:gd name="T97" fmla="*/ 5 h 1818"/>
                      <a:gd name="T98" fmla="*/ 2 w 884"/>
                      <a:gd name="T99" fmla="*/ 5 h 1818"/>
                      <a:gd name="T100" fmla="*/ 2 w 884"/>
                      <a:gd name="T101" fmla="*/ 5 h 1818"/>
                      <a:gd name="T102" fmla="*/ 2 w 884"/>
                      <a:gd name="T103" fmla="*/ 4 h 1818"/>
                      <a:gd name="T104" fmla="*/ 2 w 884"/>
                      <a:gd name="T105" fmla="*/ 4 h 1818"/>
                      <a:gd name="T106" fmla="*/ 3 w 884"/>
                      <a:gd name="T107" fmla="*/ 4 h 1818"/>
                      <a:gd name="T108" fmla="*/ 3 w 884"/>
                      <a:gd name="T109" fmla="*/ 4 h 1818"/>
                      <a:gd name="T110" fmla="*/ 3 w 884"/>
                      <a:gd name="T111" fmla="*/ 4 h 1818"/>
                      <a:gd name="T112" fmla="*/ 3 w 884"/>
                      <a:gd name="T113" fmla="*/ 4 h 1818"/>
                      <a:gd name="T114" fmla="*/ 3 w 884"/>
                      <a:gd name="T115" fmla="*/ 3 h 1818"/>
                      <a:gd name="T116" fmla="*/ 3 w 884"/>
                      <a:gd name="T117" fmla="*/ 3 h 1818"/>
                      <a:gd name="T118" fmla="*/ 3 w 884"/>
                      <a:gd name="T119" fmla="*/ 2 h 1818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w 884"/>
                      <a:gd name="T181" fmla="*/ 0 h 1818"/>
                      <a:gd name="T182" fmla="*/ 884 w 884"/>
                      <a:gd name="T183" fmla="*/ 1818 h 1818"/>
                    </a:gdLst>
                    <a:ahLst/>
                    <a:cxnLst>
                      <a:cxn ang="T120">
                        <a:pos x="T0" y="T1"/>
                      </a:cxn>
                      <a:cxn ang="T121">
                        <a:pos x="T2" y="T3"/>
                      </a:cxn>
                      <a:cxn ang="T122">
                        <a:pos x="T4" y="T5"/>
                      </a:cxn>
                      <a:cxn ang="T123">
                        <a:pos x="T6" y="T7"/>
                      </a:cxn>
                      <a:cxn ang="T124">
                        <a:pos x="T8" y="T9"/>
                      </a:cxn>
                      <a:cxn ang="T125">
                        <a:pos x="T10" y="T11"/>
                      </a:cxn>
                      <a:cxn ang="T126">
                        <a:pos x="T12" y="T13"/>
                      </a:cxn>
                      <a:cxn ang="T127">
                        <a:pos x="T14" y="T15"/>
                      </a:cxn>
                      <a:cxn ang="T128">
                        <a:pos x="T16" y="T17"/>
                      </a:cxn>
                      <a:cxn ang="T129">
                        <a:pos x="T18" y="T19"/>
                      </a:cxn>
                      <a:cxn ang="T130">
                        <a:pos x="T20" y="T21"/>
                      </a:cxn>
                      <a:cxn ang="T131">
                        <a:pos x="T22" y="T23"/>
                      </a:cxn>
                      <a:cxn ang="T132">
                        <a:pos x="T24" y="T25"/>
                      </a:cxn>
                      <a:cxn ang="T133">
                        <a:pos x="T26" y="T27"/>
                      </a:cxn>
                      <a:cxn ang="T134">
                        <a:pos x="T28" y="T29"/>
                      </a:cxn>
                      <a:cxn ang="T135">
                        <a:pos x="T30" y="T31"/>
                      </a:cxn>
                      <a:cxn ang="T136">
                        <a:pos x="T32" y="T33"/>
                      </a:cxn>
                      <a:cxn ang="T137">
                        <a:pos x="T34" y="T35"/>
                      </a:cxn>
                      <a:cxn ang="T138">
                        <a:pos x="T36" y="T37"/>
                      </a:cxn>
                      <a:cxn ang="T139">
                        <a:pos x="T38" y="T39"/>
                      </a:cxn>
                      <a:cxn ang="T140">
                        <a:pos x="T40" y="T41"/>
                      </a:cxn>
                      <a:cxn ang="T141">
                        <a:pos x="T42" y="T43"/>
                      </a:cxn>
                      <a:cxn ang="T142">
                        <a:pos x="T44" y="T45"/>
                      </a:cxn>
                      <a:cxn ang="T143">
                        <a:pos x="T46" y="T47"/>
                      </a:cxn>
                      <a:cxn ang="T144">
                        <a:pos x="T48" y="T49"/>
                      </a:cxn>
                      <a:cxn ang="T145">
                        <a:pos x="T50" y="T51"/>
                      </a:cxn>
                      <a:cxn ang="T146">
                        <a:pos x="T52" y="T53"/>
                      </a:cxn>
                      <a:cxn ang="T147">
                        <a:pos x="T54" y="T55"/>
                      </a:cxn>
                      <a:cxn ang="T148">
                        <a:pos x="T56" y="T57"/>
                      </a:cxn>
                      <a:cxn ang="T149">
                        <a:pos x="T58" y="T59"/>
                      </a:cxn>
                      <a:cxn ang="T150">
                        <a:pos x="T60" y="T61"/>
                      </a:cxn>
                      <a:cxn ang="T151">
                        <a:pos x="T62" y="T63"/>
                      </a:cxn>
                      <a:cxn ang="T152">
                        <a:pos x="T64" y="T65"/>
                      </a:cxn>
                      <a:cxn ang="T153">
                        <a:pos x="T66" y="T67"/>
                      </a:cxn>
                      <a:cxn ang="T154">
                        <a:pos x="T68" y="T69"/>
                      </a:cxn>
                      <a:cxn ang="T155">
                        <a:pos x="T70" y="T71"/>
                      </a:cxn>
                      <a:cxn ang="T156">
                        <a:pos x="T72" y="T73"/>
                      </a:cxn>
                      <a:cxn ang="T157">
                        <a:pos x="T74" y="T75"/>
                      </a:cxn>
                      <a:cxn ang="T158">
                        <a:pos x="T76" y="T77"/>
                      </a:cxn>
                      <a:cxn ang="T159">
                        <a:pos x="T78" y="T79"/>
                      </a:cxn>
                      <a:cxn ang="T160">
                        <a:pos x="T80" y="T81"/>
                      </a:cxn>
                      <a:cxn ang="T161">
                        <a:pos x="T82" y="T83"/>
                      </a:cxn>
                      <a:cxn ang="T162">
                        <a:pos x="T84" y="T85"/>
                      </a:cxn>
                      <a:cxn ang="T163">
                        <a:pos x="T86" y="T87"/>
                      </a:cxn>
                      <a:cxn ang="T164">
                        <a:pos x="T88" y="T89"/>
                      </a:cxn>
                      <a:cxn ang="T165">
                        <a:pos x="T90" y="T91"/>
                      </a:cxn>
                      <a:cxn ang="T166">
                        <a:pos x="T92" y="T93"/>
                      </a:cxn>
                      <a:cxn ang="T167">
                        <a:pos x="T94" y="T95"/>
                      </a:cxn>
                      <a:cxn ang="T168">
                        <a:pos x="T96" y="T97"/>
                      </a:cxn>
                      <a:cxn ang="T169">
                        <a:pos x="T98" y="T99"/>
                      </a:cxn>
                      <a:cxn ang="T170">
                        <a:pos x="T100" y="T101"/>
                      </a:cxn>
                      <a:cxn ang="T171">
                        <a:pos x="T102" y="T103"/>
                      </a:cxn>
                      <a:cxn ang="T172">
                        <a:pos x="T104" y="T105"/>
                      </a:cxn>
                      <a:cxn ang="T173">
                        <a:pos x="T106" y="T107"/>
                      </a:cxn>
                      <a:cxn ang="T174">
                        <a:pos x="T108" y="T109"/>
                      </a:cxn>
                      <a:cxn ang="T175">
                        <a:pos x="T110" y="T111"/>
                      </a:cxn>
                      <a:cxn ang="T176">
                        <a:pos x="T112" y="T113"/>
                      </a:cxn>
                      <a:cxn ang="T177">
                        <a:pos x="T114" y="T115"/>
                      </a:cxn>
                      <a:cxn ang="T178">
                        <a:pos x="T116" y="T117"/>
                      </a:cxn>
                      <a:cxn ang="T179">
                        <a:pos x="T118" y="T119"/>
                      </a:cxn>
                    </a:cxnLst>
                    <a:rect l="T180" t="T181" r="T182" b="T183"/>
                    <a:pathLst>
                      <a:path w="884" h="1818">
                        <a:moveTo>
                          <a:pt x="725" y="493"/>
                        </a:moveTo>
                        <a:lnTo>
                          <a:pt x="726" y="484"/>
                        </a:lnTo>
                        <a:lnTo>
                          <a:pt x="729" y="474"/>
                        </a:lnTo>
                        <a:lnTo>
                          <a:pt x="735" y="462"/>
                        </a:lnTo>
                        <a:lnTo>
                          <a:pt x="742" y="450"/>
                        </a:lnTo>
                        <a:lnTo>
                          <a:pt x="750" y="438"/>
                        </a:lnTo>
                        <a:lnTo>
                          <a:pt x="761" y="427"/>
                        </a:lnTo>
                        <a:lnTo>
                          <a:pt x="772" y="415"/>
                        </a:lnTo>
                        <a:lnTo>
                          <a:pt x="784" y="402"/>
                        </a:lnTo>
                        <a:lnTo>
                          <a:pt x="798" y="391"/>
                        </a:lnTo>
                        <a:lnTo>
                          <a:pt x="811" y="381"/>
                        </a:lnTo>
                        <a:lnTo>
                          <a:pt x="824" y="371"/>
                        </a:lnTo>
                        <a:lnTo>
                          <a:pt x="837" y="362"/>
                        </a:lnTo>
                        <a:lnTo>
                          <a:pt x="849" y="353"/>
                        </a:lnTo>
                        <a:lnTo>
                          <a:pt x="862" y="347"/>
                        </a:lnTo>
                        <a:lnTo>
                          <a:pt x="873" y="342"/>
                        </a:lnTo>
                        <a:lnTo>
                          <a:pt x="884" y="339"/>
                        </a:lnTo>
                        <a:lnTo>
                          <a:pt x="884" y="329"/>
                        </a:lnTo>
                        <a:lnTo>
                          <a:pt x="884" y="310"/>
                        </a:lnTo>
                        <a:lnTo>
                          <a:pt x="884" y="289"/>
                        </a:lnTo>
                        <a:lnTo>
                          <a:pt x="884" y="272"/>
                        </a:lnTo>
                        <a:lnTo>
                          <a:pt x="884" y="259"/>
                        </a:lnTo>
                        <a:lnTo>
                          <a:pt x="884" y="247"/>
                        </a:lnTo>
                        <a:lnTo>
                          <a:pt x="884" y="232"/>
                        </a:lnTo>
                        <a:lnTo>
                          <a:pt x="884" y="216"/>
                        </a:lnTo>
                        <a:lnTo>
                          <a:pt x="874" y="216"/>
                        </a:lnTo>
                        <a:lnTo>
                          <a:pt x="867" y="214"/>
                        </a:lnTo>
                        <a:lnTo>
                          <a:pt x="859" y="211"/>
                        </a:lnTo>
                        <a:lnTo>
                          <a:pt x="854" y="208"/>
                        </a:lnTo>
                        <a:lnTo>
                          <a:pt x="848" y="203"/>
                        </a:lnTo>
                        <a:lnTo>
                          <a:pt x="844" y="198"/>
                        </a:lnTo>
                        <a:lnTo>
                          <a:pt x="840" y="192"/>
                        </a:lnTo>
                        <a:lnTo>
                          <a:pt x="837" y="185"/>
                        </a:lnTo>
                        <a:lnTo>
                          <a:pt x="837" y="222"/>
                        </a:lnTo>
                        <a:lnTo>
                          <a:pt x="840" y="227"/>
                        </a:lnTo>
                        <a:lnTo>
                          <a:pt x="843" y="231"/>
                        </a:lnTo>
                        <a:lnTo>
                          <a:pt x="844" y="236"/>
                        </a:lnTo>
                        <a:lnTo>
                          <a:pt x="845" y="241"/>
                        </a:lnTo>
                        <a:lnTo>
                          <a:pt x="844" y="252"/>
                        </a:lnTo>
                        <a:lnTo>
                          <a:pt x="841" y="262"/>
                        </a:lnTo>
                        <a:lnTo>
                          <a:pt x="837" y="271"/>
                        </a:lnTo>
                        <a:lnTo>
                          <a:pt x="832" y="281"/>
                        </a:lnTo>
                        <a:lnTo>
                          <a:pt x="824" y="290"/>
                        </a:lnTo>
                        <a:lnTo>
                          <a:pt x="815" y="299"/>
                        </a:lnTo>
                        <a:lnTo>
                          <a:pt x="805" y="308"/>
                        </a:lnTo>
                        <a:lnTo>
                          <a:pt x="795" y="316"/>
                        </a:lnTo>
                        <a:lnTo>
                          <a:pt x="785" y="322"/>
                        </a:lnTo>
                        <a:lnTo>
                          <a:pt x="774" y="328"/>
                        </a:lnTo>
                        <a:lnTo>
                          <a:pt x="765" y="333"/>
                        </a:lnTo>
                        <a:lnTo>
                          <a:pt x="755" y="336"/>
                        </a:lnTo>
                        <a:lnTo>
                          <a:pt x="746" y="338"/>
                        </a:lnTo>
                        <a:lnTo>
                          <a:pt x="738" y="339"/>
                        </a:lnTo>
                        <a:lnTo>
                          <a:pt x="722" y="339"/>
                        </a:lnTo>
                        <a:lnTo>
                          <a:pt x="703" y="338"/>
                        </a:lnTo>
                        <a:lnTo>
                          <a:pt x="684" y="335"/>
                        </a:lnTo>
                        <a:lnTo>
                          <a:pt x="667" y="331"/>
                        </a:lnTo>
                        <a:lnTo>
                          <a:pt x="658" y="328"/>
                        </a:lnTo>
                        <a:lnTo>
                          <a:pt x="650" y="325"/>
                        </a:lnTo>
                        <a:lnTo>
                          <a:pt x="643" y="321"/>
                        </a:lnTo>
                        <a:lnTo>
                          <a:pt x="637" y="316"/>
                        </a:lnTo>
                        <a:lnTo>
                          <a:pt x="632" y="311"/>
                        </a:lnTo>
                        <a:lnTo>
                          <a:pt x="628" y="305"/>
                        </a:lnTo>
                        <a:lnTo>
                          <a:pt x="625" y="297"/>
                        </a:lnTo>
                        <a:lnTo>
                          <a:pt x="625" y="290"/>
                        </a:lnTo>
                        <a:lnTo>
                          <a:pt x="625" y="283"/>
                        </a:lnTo>
                        <a:lnTo>
                          <a:pt x="626" y="277"/>
                        </a:lnTo>
                        <a:lnTo>
                          <a:pt x="628" y="270"/>
                        </a:lnTo>
                        <a:lnTo>
                          <a:pt x="631" y="264"/>
                        </a:lnTo>
                        <a:lnTo>
                          <a:pt x="636" y="252"/>
                        </a:lnTo>
                        <a:lnTo>
                          <a:pt x="643" y="240"/>
                        </a:lnTo>
                        <a:lnTo>
                          <a:pt x="650" y="228"/>
                        </a:lnTo>
                        <a:lnTo>
                          <a:pt x="658" y="215"/>
                        </a:lnTo>
                        <a:lnTo>
                          <a:pt x="666" y="201"/>
                        </a:lnTo>
                        <a:lnTo>
                          <a:pt x="671" y="185"/>
                        </a:lnTo>
                        <a:lnTo>
                          <a:pt x="654" y="178"/>
                        </a:lnTo>
                        <a:lnTo>
                          <a:pt x="637" y="172"/>
                        </a:lnTo>
                        <a:lnTo>
                          <a:pt x="621" y="166"/>
                        </a:lnTo>
                        <a:lnTo>
                          <a:pt x="605" y="162"/>
                        </a:lnTo>
                        <a:lnTo>
                          <a:pt x="574" y="155"/>
                        </a:lnTo>
                        <a:lnTo>
                          <a:pt x="544" y="148"/>
                        </a:lnTo>
                        <a:lnTo>
                          <a:pt x="529" y="144"/>
                        </a:lnTo>
                        <a:lnTo>
                          <a:pt x="514" y="139"/>
                        </a:lnTo>
                        <a:lnTo>
                          <a:pt x="499" y="133"/>
                        </a:lnTo>
                        <a:lnTo>
                          <a:pt x="485" y="127"/>
                        </a:lnTo>
                        <a:lnTo>
                          <a:pt x="470" y="119"/>
                        </a:lnTo>
                        <a:lnTo>
                          <a:pt x="455" y="110"/>
                        </a:lnTo>
                        <a:lnTo>
                          <a:pt x="441" y="100"/>
                        </a:lnTo>
                        <a:lnTo>
                          <a:pt x="425" y="87"/>
                        </a:lnTo>
                        <a:lnTo>
                          <a:pt x="417" y="76"/>
                        </a:lnTo>
                        <a:lnTo>
                          <a:pt x="410" y="66"/>
                        </a:lnTo>
                        <a:lnTo>
                          <a:pt x="403" y="55"/>
                        </a:lnTo>
                        <a:lnTo>
                          <a:pt x="398" y="44"/>
                        </a:lnTo>
                        <a:lnTo>
                          <a:pt x="390" y="32"/>
                        </a:lnTo>
                        <a:lnTo>
                          <a:pt x="383" y="20"/>
                        </a:lnTo>
                        <a:lnTo>
                          <a:pt x="378" y="15"/>
                        </a:lnTo>
                        <a:lnTo>
                          <a:pt x="373" y="10"/>
                        </a:lnTo>
                        <a:lnTo>
                          <a:pt x="366" y="5"/>
                        </a:lnTo>
                        <a:lnTo>
                          <a:pt x="359" y="0"/>
                        </a:lnTo>
                        <a:lnTo>
                          <a:pt x="332" y="6"/>
                        </a:lnTo>
                        <a:lnTo>
                          <a:pt x="308" y="11"/>
                        </a:lnTo>
                        <a:lnTo>
                          <a:pt x="302" y="13"/>
                        </a:lnTo>
                        <a:lnTo>
                          <a:pt x="297" y="15"/>
                        </a:lnTo>
                        <a:lnTo>
                          <a:pt x="291" y="19"/>
                        </a:lnTo>
                        <a:lnTo>
                          <a:pt x="286" y="22"/>
                        </a:lnTo>
                        <a:lnTo>
                          <a:pt x="281" y="28"/>
                        </a:lnTo>
                        <a:lnTo>
                          <a:pt x="276" y="34"/>
                        </a:lnTo>
                        <a:lnTo>
                          <a:pt x="272" y="41"/>
                        </a:lnTo>
                        <a:lnTo>
                          <a:pt x="266" y="50"/>
                        </a:lnTo>
                        <a:lnTo>
                          <a:pt x="257" y="44"/>
                        </a:lnTo>
                        <a:lnTo>
                          <a:pt x="249" y="38"/>
                        </a:lnTo>
                        <a:lnTo>
                          <a:pt x="242" y="31"/>
                        </a:lnTo>
                        <a:lnTo>
                          <a:pt x="234" y="24"/>
                        </a:lnTo>
                        <a:lnTo>
                          <a:pt x="225" y="17"/>
                        </a:lnTo>
                        <a:lnTo>
                          <a:pt x="215" y="11"/>
                        </a:lnTo>
                        <a:lnTo>
                          <a:pt x="209" y="9"/>
                        </a:lnTo>
                        <a:lnTo>
                          <a:pt x="202" y="8"/>
                        </a:lnTo>
                        <a:lnTo>
                          <a:pt x="195" y="7"/>
                        </a:lnTo>
                        <a:lnTo>
                          <a:pt x="186" y="6"/>
                        </a:lnTo>
                        <a:lnTo>
                          <a:pt x="178" y="7"/>
                        </a:lnTo>
                        <a:lnTo>
                          <a:pt x="171" y="8"/>
                        </a:lnTo>
                        <a:lnTo>
                          <a:pt x="163" y="11"/>
                        </a:lnTo>
                        <a:lnTo>
                          <a:pt x="156" y="14"/>
                        </a:lnTo>
                        <a:lnTo>
                          <a:pt x="143" y="22"/>
                        </a:lnTo>
                        <a:lnTo>
                          <a:pt x="132" y="32"/>
                        </a:lnTo>
                        <a:lnTo>
                          <a:pt x="120" y="41"/>
                        </a:lnTo>
                        <a:lnTo>
                          <a:pt x="110" y="48"/>
                        </a:lnTo>
                        <a:lnTo>
                          <a:pt x="105" y="51"/>
                        </a:lnTo>
                        <a:lnTo>
                          <a:pt x="98" y="54"/>
                        </a:lnTo>
                        <a:lnTo>
                          <a:pt x="93" y="55"/>
                        </a:lnTo>
                        <a:lnTo>
                          <a:pt x="87" y="56"/>
                        </a:lnTo>
                        <a:lnTo>
                          <a:pt x="86" y="69"/>
                        </a:lnTo>
                        <a:lnTo>
                          <a:pt x="84" y="81"/>
                        </a:lnTo>
                        <a:lnTo>
                          <a:pt x="82" y="91"/>
                        </a:lnTo>
                        <a:lnTo>
                          <a:pt x="77" y="100"/>
                        </a:lnTo>
                        <a:lnTo>
                          <a:pt x="73" y="109"/>
                        </a:lnTo>
                        <a:lnTo>
                          <a:pt x="67" y="116"/>
                        </a:lnTo>
                        <a:lnTo>
                          <a:pt x="62" y="123"/>
                        </a:lnTo>
                        <a:lnTo>
                          <a:pt x="56" y="129"/>
                        </a:lnTo>
                        <a:lnTo>
                          <a:pt x="45" y="141"/>
                        </a:lnTo>
                        <a:lnTo>
                          <a:pt x="37" y="152"/>
                        </a:lnTo>
                        <a:lnTo>
                          <a:pt x="32" y="158"/>
                        </a:lnTo>
                        <a:lnTo>
                          <a:pt x="30" y="164"/>
                        </a:lnTo>
                        <a:lnTo>
                          <a:pt x="28" y="171"/>
                        </a:lnTo>
                        <a:lnTo>
                          <a:pt x="27" y="179"/>
                        </a:lnTo>
                        <a:lnTo>
                          <a:pt x="28" y="186"/>
                        </a:lnTo>
                        <a:lnTo>
                          <a:pt x="28" y="194"/>
                        </a:lnTo>
                        <a:lnTo>
                          <a:pt x="30" y="201"/>
                        </a:lnTo>
                        <a:lnTo>
                          <a:pt x="32" y="207"/>
                        </a:lnTo>
                        <a:lnTo>
                          <a:pt x="38" y="218"/>
                        </a:lnTo>
                        <a:lnTo>
                          <a:pt x="43" y="228"/>
                        </a:lnTo>
                        <a:lnTo>
                          <a:pt x="50" y="239"/>
                        </a:lnTo>
                        <a:lnTo>
                          <a:pt x="55" y="251"/>
                        </a:lnTo>
                        <a:lnTo>
                          <a:pt x="57" y="257"/>
                        </a:lnTo>
                        <a:lnTo>
                          <a:pt x="59" y="263"/>
                        </a:lnTo>
                        <a:lnTo>
                          <a:pt x="60" y="270"/>
                        </a:lnTo>
                        <a:lnTo>
                          <a:pt x="60" y="278"/>
                        </a:lnTo>
                        <a:lnTo>
                          <a:pt x="60" y="289"/>
                        </a:lnTo>
                        <a:lnTo>
                          <a:pt x="57" y="299"/>
                        </a:lnTo>
                        <a:lnTo>
                          <a:pt x="54" y="310"/>
                        </a:lnTo>
                        <a:lnTo>
                          <a:pt x="51" y="319"/>
                        </a:lnTo>
                        <a:lnTo>
                          <a:pt x="41" y="337"/>
                        </a:lnTo>
                        <a:lnTo>
                          <a:pt x="30" y="354"/>
                        </a:lnTo>
                        <a:lnTo>
                          <a:pt x="19" y="372"/>
                        </a:lnTo>
                        <a:lnTo>
                          <a:pt x="9" y="390"/>
                        </a:lnTo>
                        <a:lnTo>
                          <a:pt x="6" y="400"/>
                        </a:lnTo>
                        <a:lnTo>
                          <a:pt x="3" y="410"/>
                        </a:lnTo>
                        <a:lnTo>
                          <a:pt x="2" y="421"/>
                        </a:lnTo>
                        <a:lnTo>
                          <a:pt x="0" y="432"/>
                        </a:lnTo>
                        <a:lnTo>
                          <a:pt x="0" y="471"/>
                        </a:lnTo>
                        <a:lnTo>
                          <a:pt x="0" y="501"/>
                        </a:lnTo>
                        <a:lnTo>
                          <a:pt x="0" y="529"/>
                        </a:lnTo>
                        <a:lnTo>
                          <a:pt x="0" y="561"/>
                        </a:lnTo>
                        <a:lnTo>
                          <a:pt x="2" y="574"/>
                        </a:lnTo>
                        <a:lnTo>
                          <a:pt x="4" y="587"/>
                        </a:lnTo>
                        <a:lnTo>
                          <a:pt x="8" y="598"/>
                        </a:lnTo>
                        <a:lnTo>
                          <a:pt x="12" y="609"/>
                        </a:lnTo>
                        <a:lnTo>
                          <a:pt x="19" y="618"/>
                        </a:lnTo>
                        <a:lnTo>
                          <a:pt x="26" y="627"/>
                        </a:lnTo>
                        <a:lnTo>
                          <a:pt x="33" y="637"/>
                        </a:lnTo>
                        <a:lnTo>
                          <a:pt x="40" y="645"/>
                        </a:lnTo>
                        <a:lnTo>
                          <a:pt x="55" y="662"/>
                        </a:lnTo>
                        <a:lnTo>
                          <a:pt x="67" y="678"/>
                        </a:lnTo>
                        <a:lnTo>
                          <a:pt x="73" y="686"/>
                        </a:lnTo>
                        <a:lnTo>
                          <a:pt x="76" y="696"/>
                        </a:lnTo>
                        <a:lnTo>
                          <a:pt x="79" y="705"/>
                        </a:lnTo>
                        <a:lnTo>
                          <a:pt x="81" y="715"/>
                        </a:lnTo>
                        <a:lnTo>
                          <a:pt x="79" y="722"/>
                        </a:lnTo>
                        <a:lnTo>
                          <a:pt x="78" y="728"/>
                        </a:lnTo>
                        <a:lnTo>
                          <a:pt x="75" y="733"/>
                        </a:lnTo>
                        <a:lnTo>
                          <a:pt x="73" y="738"/>
                        </a:lnTo>
                        <a:lnTo>
                          <a:pt x="66" y="747"/>
                        </a:lnTo>
                        <a:lnTo>
                          <a:pt x="60" y="753"/>
                        </a:lnTo>
                        <a:lnTo>
                          <a:pt x="71" y="753"/>
                        </a:lnTo>
                        <a:lnTo>
                          <a:pt x="81" y="753"/>
                        </a:lnTo>
                        <a:lnTo>
                          <a:pt x="79" y="760"/>
                        </a:lnTo>
                        <a:lnTo>
                          <a:pt x="77" y="768"/>
                        </a:lnTo>
                        <a:lnTo>
                          <a:pt x="74" y="776"/>
                        </a:lnTo>
                        <a:lnTo>
                          <a:pt x="71" y="784"/>
                        </a:lnTo>
                        <a:lnTo>
                          <a:pt x="63" y="799"/>
                        </a:lnTo>
                        <a:lnTo>
                          <a:pt x="60" y="808"/>
                        </a:lnTo>
                        <a:lnTo>
                          <a:pt x="61" y="813"/>
                        </a:lnTo>
                        <a:lnTo>
                          <a:pt x="63" y="817"/>
                        </a:lnTo>
                        <a:lnTo>
                          <a:pt x="66" y="822"/>
                        </a:lnTo>
                        <a:lnTo>
                          <a:pt x="71" y="827"/>
                        </a:lnTo>
                        <a:lnTo>
                          <a:pt x="74" y="832"/>
                        </a:lnTo>
                        <a:lnTo>
                          <a:pt x="77" y="838"/>
                        </a:lnTo>
                        <a:lnTo>
                          <a:pt x="79" y="844"/>
                        </a:lnTo>
                        <a:lnTo>
                          <a:pt x="81" y="850"/>
                        </a:lnTo>
                        <a:lnTo>
                          <a:pt x="79" y="858"/>
                        </a:lnTo>
                        <a:lnTo>
                          <a:pt x="76" y="864"/>
                        </a:lnTo>
                        <a:lnTo>
                          <a:pt x="72" y="870"/>
                        </a:lnTo>
                        <a:lnTo>
                          <a:pt x="67" y="876"/>
                        </a:lnTo>
                        <a:lnTo>
                          <a:pt x="62" y="881"/>
                        </a:lnTo>
                        <a:lnTo>
                          <a:pt x="57" y="887"/>
                        </a:lnTo>
                        <a:lnTo>
                          <a:pt x="54" y="893"/>
                        </a:lnTo>
                        <a:lnTo>
                          <a:pt x="53" y="900"/>
                        </a:lnTo>
                        <a:lnTo>
                          <a:pt x="54" y="909"/>
                        </a:lnTo>
                        <a:lnTo>
                          <a:pt x="55" y="918"/>
                        </a:lnTo>
                        <a:lnTo>
                          <a:pt x="56" y="925"/>
                        </a:lnTo>
                        <a:lnTo>
                          <a:pt x="59" y="932"/>
                        </a:lnTo>
                        <a:lnTo>
                          <a:pt x="64" y="945"/>
                        </a:lnTo>
                        <a:lnTo>
                          <a:pt x="71" y="958"/>
                        </a:lnTo>
                        <a:lnTo>
                          <a:pt x="76" y="970"/>
                        </a:lnTo>
                        <a:lnTo>
                          <a:pt x="82" y="983"/>
                        </a:lnTo>
                        <a:lnTo>
                          <a:pt x="84" y="989"/>
                        </a:lnTo>
                        <a:lnTo>
                          <a:pt x="85" y="996"/>
                        </a:lnTo>
                        <a:lnTo>
                          <a:pt x="86" y="1003"/>
                        </a:lnTo>
                        <a:lnTo>
                          <a:pt x="87" y="1011"/>
                        </a:lnTo>
                        <a:lnTo>
                          <a:pt x="86" y="1022"/>
                        </a:lnTo>
                        <a:lnTo>
                          <a:pt x="85" y="1034"/>
                        </a:lnTo>
                        <a:lnTo>
                          <a:pt x="83" y="1044"/>
                        </a:lnTo>
                        <a:lnTo>
                          <a:pt x="81" y="1055"/>
                        </a:lnTo>
                        <a:lnTo>
                          <a:pt x="77" y="1066"/>
                        </a:lnTo>
                        <a:lnTo>
                          <a:pt x="75" y="1077"/>
                        </a:lnTo>
                        <a:lnTo>
                          <a:pt x="74" y="1090"/>
                        </a:lnTo>
                        <a:lnTo>
                          <a:pt x="74" y="1103"/>
                        </a:lnTo>
                        <a:lnTo>
                          <a:pt x="74" y="1116"/>
                        </a:lnTo>
                        <a:lnTo>
                          <a:pt x="75" y="1128"/>
                        </a:lnTo>
                        <a:lnTo>
                          <a:pt x="76" y="1141"/>
                        </a:lnTo>
                        <a:lnTo>
                          <a:pt x="78" y="1152"/>
                        </a:lnTo>
                        <a:lnTo>
                          <a:pt x="82" y="1163"/>
                        </a:lnTo>
                        <a:lnTo>
                          <a:pt x="85" y="1174"/>
                        </a:lnTo>
                        <a:lnTo>
                          <a:pt x="89" y="1184"/>
                        </a:lnTo>
                        <a:lnTo>
                          <a:pt x="94" y="1195"/>
                        </a:lnTo>
                        <a:lnTo>
                          <a:pt x="103" y="1213"/>
                        </a:lnTo>
                        <a:lnTo>
                          <a:pt x="113" y="1231"/>
                        </a:lnTo>
                        <a:lnTo>
                          <a:pt x="124" y="1249"/>
                        </a:lnTo>
                        <a:lnTo>
                          <a:pt x="137" y="1265"/>
                        </a:lnTo>
                        <a:lnTo>
                          <a:pt x="149" y="1282"/>
                        </a:lnTo>
                        <a:lnTo>
                          <a:pt x="160" y="1298"/>
                        </a:lnTo>
                        <a:lnTo>
                          <a:pt x="171" y="1316"/>
                        </a:lnTo>
                        <a:lnTo>
                          <a:pt x="180" y="1334"/>
                        </a:lnTo>
                        <a:lnTo>
                          <a:pt x="188" y="1352"/>
                        </a:lnTo>
                        <a:lnTo>
                          <a:pt x="195" y="1373"/>
                        </a:lnTo>
                        <a:lnTo>
                          <a:pt x="197" y="1383"/>
                        </a:lnTo>
                        <a:lnTo>
                          <a:pt x="198" y="1394"/>
                        </a:lnTo>
                        <a:lnTo>
                          <a:pt x="199" y="1405"/>
                        </a:lnTo>
                        <a:lnTo>
                          <a:pt x="200" y="1418"/>
                        </a:lnTo>
                        <a:lnTo>
                          <a:pt x="200" y="1425"/>
                        </a:lnTo>
                        <a:lnTo>
                          <a:pt x="201" y="1431"/>
                        </a:lnTo>
                        <a:lnTo>
                          <a:pt x="202" y="1437"/>
                        </a:lnTo>
                        <a:lnTo>
                          <a:pt x="205" y="1442"/>
                        </a:lnTo>
                        <a:lnTo>
                          <a:pt x="210" y="1453"/>
                        </a:lnTo>
                        <a:lnTo>
                          <a:pt x="217" y="1463"/>
                        </a:lnTo>
                        <a:lnTo>
                          <a:pt x="222" y="1475"/>
                        </a:lnTo>
                        <a:lnTo>
                          <a:pt x="228" y="1485"/>
                        </a:lnTo>
                        <a:lnTo>
                          <a:pt x="230" y="1491"/>
                        </a:lnTo>
                        <a:lnTo>
                          <a:pt x="231" y="1497"/>
                        </a:lnTo>
                        <a:lnTo>
                          <a:pt x="232" y="1503"/>
                        </a:lnTo>
                        <a:lnTo>
                          <a:pt x="233" y="1510"/>
                        </a:lnTo>
                        <a:lnTo>
                          <a:pt x="232" y="1518"/>
                        </a:lnTo>
                        <a:lnTo>
                          <a:pt x="230" y="1526"/>
                        </a:lnTo>
                        <a:lnTo>
                          <a:pt x="227" y="1532"/>
                        </a:lnTo>
                        <a:lnTo>
                          <a:pt x="223" y="1537"/>
                        </a:lnTo>
                        <a:lnTo>
                          <a:pt x="219" y="1542"/>
                        </a:lnTo>
                        <a:lnTo>
                          <a:pt x="216" y="1547"/>
                        </a:lnTo>
                        <a:lnTo>
                          <a:pt x="213" y="1553"/>
                        </a:lnTo>
                        <a:lnTo>
                          <a:pt x="213" y="1559"/>
                        </a:lnTo>
                        <a:lnTo>
                          <a:pt x="213" y="1578"/>
                        </a:lnTo>
                        <a:lnTo>
                          <a:pt x="213" y="1590"/>
                        </a:lnTo>
                        <a:lnTo>
                          <a:pt x="213" y="1598"/>
                        </a:lnTo>
                        <a:lnTo>
                          <a:pt x="213" y="1603"/>
                        </a:lnTo>
                        <a:lnTo>
                          <a:pt x="212" y="1609"/>
                        </a:lnTo>
                        <a:lnTo>
                          <a:pt x="211" y="1615"/>
                        </a:lnTo>
                        <a:lnTo>
                          <a:pt x="209" y="1622"/>
                        </a:lnTo>
                        <a:lnTo>
                          <a:pt x="207" y="1628"/>
                        </a:lnTo>
                        <a:lnTo>
                          <a:pt x="204" y="1635"/>
                        </a:lnTo>
                        <a:lnTo>
                          <a:pt x="201" y="1644"/>
                        </a:lnTo>
                        <a:lnTo>
                          <a:pt x="200" y="1654"/>
                        </a:lnTo>
                        <a:lnTo>
                          <a:pt x="200" y="1664"/>
                        </a:lnTo>
                        <a:lnTo>
                          <a:pt x="200" y="1672"/>
                        </a:lnTo>
                        <a:lnTo>
                          <a:pt x="204" y="1681"/>
                        </a:lnTo>
                        <a:lnTo>
                          <a:pt x="207" y="1690"/>
                        </a:lnTo>
                        <a:lnTo>
                          <a:pt x="213" y="1700"/>
                        </a:lnTo>
                        <a:lnTo>
                          <a:pt x="220" y="1709"/>
                        </a:lnTo>
                        <a:lnTo>
                          <a:pt x="228" y="1718"/>
                        </a:lnTo>
                        <a:lnTo>
                          <a:pt x="236" y="1727"/>
                        </a:lnTo>
                        <a:lnTo>
                          <a:pt x="246" y="1735"/>
                        </a:lnTo>
                        <a:lnTo>
                          <a:pt x="256" y="1743"/>
                        </a:lnTo>
                        <a:lnTo>
                          <a:pt x="267" y="1752"/>
                        </a:lnTo>
                        <a:lnTo>
                          <a:pt x="278" y="1758"/>
                        </a:lnTo>
                        <a:lnTo>
                          <a:pt x="289" y="1764"/>
                        </a:lnTo>
                        <a:lnTo>
                          <a:pt x="300" y="1769"/>
                        </a:lnTo>
                        <a:lnTo>
                          <a:pt x="311" y="1772"/>
                        </a:lnTo>
                        <a:lnTo>
                          <a:pt x="322" y="1774"/>
                        </a:lnTo>
                        <a:lnTo>
                          <a:pt x="333" y="1775"/>
                        </a:lnTo>
                        <a:lnTo>
                          <a:pt x="342" y="1776"/>
                        </a:lnTo>
                        <a:lnTo>
                          <a:pt x="351" y="1779"/>
                        </a:lnTo>
                        <a:lnTo>
                          <a:pt x="358" y="1781"/>
                        </a:lnTo>
                        <a:lnTo>
                          <a:pt x="366" y="1784"/>
                        </a:lnTo>
                        <a:lnTo>
                          <a:pt x="380" y="1791"/>
                        </a:lnTo>
                        <a:lnTo>
                          <a:pt x="392" y="1798"/>
                        </a:lnTo>
                        <a:lnTo>
                          <a:pt x="404" y="1807"/>
                        </a:lnTo>
                        <a:lnTo>
                          <a:pt x="419" y="1813"/>
                        </a:lnTo>
                        <a:lnTo>
                          <a:pt x="426" y="1815"/>
                        </a:lnTo>
                        <a:lnTo>
                          <a:pt x="434" y="1817"/>
                        </a:lnTo>
                        <a:lnTo>
                          <a:pt x="443" y="1818"/>
                        </a:lnTo>
                        <a:lnTo>
                          <a:pt x="452" y="1818"/>
                        </a:lnTo>
                        <a:lnTo>
                          <a:pt x="452" y="1803"/>
                        </a:lnTo>
                        <a:lnTo>
                          <a:pt x="451" y="1786"/>
                        </a:lnTo>
                        <a:lnTo>
                          <a:pt x="448" y="1772"/>
                        </a:lnTo>
                        <a:lnTo>
                          <a:pt x="445" y="1758"/>
                        </a:lnTo>
                        <a:lnTo>
                          <a:pt x="441" y="1736"/>
                        </a:lnTo>
                        <a:lnTo>
                          <a:pt x="439" y="1726"/>
                        </a:lnTo>
                        <a:lnTo>
                          <a:pt x="440" y="1721"/>
                        </a:lnTo>
                        <a:lnTo>
                          <a:pt x="443" y="1715"/>
                        </a:lnTo>
                        <a:lnTo>
                          <a:pt x="448" y="1709"/>
                        </a:lnTo>
                        <a:lnTo>
                          <a:pt x="454" y="1703"/>
                        </a:lnTo>
                        <a:lnTo>
                          <a:pt x="460" y="1698"/>
                        </a:lnTo>
                        <a:lnTo>
                          <a:pt x="467" y="1693"/>
                        </a:lnTo>
                        <a:lnTo>
                          <a:pt x="474" y="1689"/>
                        </a:lnTo>
                        <a:lnTo>
                          <a:pt x="479" y="1688"/>
                        </a:lnTo>
                        <a:lnTo>
                          <a:pt x="466" y="1633"/>
                        </a:lnTo>
                        <a:lnTo>
                          <a:pt x="459" y="1633"/>
                        </a:lnTo>
                        <a:lnTo>
                          <a:pt x="459" y="1615"/>
                        </a:lnTo>
                        <a:lnTo>
                          <a:pt x="470" y="1612"/>
                        </a:lnTo>
                        <a:lnTo>
                          <a:pt x="479" y="1610"/>
                        </a:lnTo>
                        <a:lnTo>
                          <a:pt x="487" y="1608"/>
                        </a:lnTo>
                        <a:lnTo>
                          <a:pt x="493" y="1605"/>
                        </a:lnTo>
                        <a:lnTo>
                          <a:pt x="505" y="1599"/>
                        </a:lnTo>
                        <a:lnTo>
                          <a:pt x="519" y="1590"/>
                        </a:lnTo>
                        <a:lnTo>
                          <a:pt x="519" y="1510"/>
                        </a:lnTo>
                        <a:lnTo>
                          <a:pt x="507" y="1510"/>
                        </a:lnTo>
                        <a:lnTo>
                          <a:pt x="495" y="1509"/>
                        </a:lnTo>
                        <a:lnTo>
                          <a:pt x="482" y="1508"/>
                        </a:lnTo>
                        <a:lnTo>
                          <a:pt x="471" y="1506"/>
                        </a:lnTo>
                        <a:lnTo>
                          <a:pt x="462" y="1504"/>
                        </a:lnTo>
                        <a:lnTo>
                          <a:pt x="452" y="1502"/>
                        </a:lnTo>
                        <a:lnTo>
                          <a:pt x="443" y="1498"/>
                        </a:lnTo>
                        <a:lnTo>
                          <a:pt x="434" y="1495"/>
                        </a:lnTo>
                        <a:lnTo>
                          <a:pt x="426" y="1490"/>
                        </a:lnTo>
                        <a:lnTo>
                          <a:pt x="420" y="1486"/>
                        </a:lnTo>
                        <a:lnTo>
                          <a:pt x="413" y="1480"/>
                        </a:lnTo>
                        <a:lnTo>
                          <a:pt x="409" y="1474"/>
                        </a:lnTo>
                        <a:lnTo>
                          <a:pt x="404" y="1466"/>
                        </a:lnTo>
                        <a:lnTo>
                          <a:pt x="401" y="1459"/>
                        </a:lnTo>
                        <a:lnTo>
                          <a:pt x="400" y="1451"/>
                        </a:lnTo>
                        <a:lnTo>
                          <a:pt x="399" y="1442"/>
                        </a:lnTo>
                        <a:lnTo>
                          <a:pt x="400" y="1436"/>
                        </a:lnTo>
                        <a:lnTo>
                          <a:pt x="401" y="1430"/>
                        </a:lnTo>
                        <a:lnTo>
                          <a:pt x="404" y="1424"/>
                        </a:lnTo>
                        <a:lnTo>
                          <a:pt x="408" y="1419"/>
                        </a:lnTo>
                        <a:lnTo>
                          <a:pt x="412" y="1415"/>
                        </a:lnTo>
                        <a:lnTo>
                          <a:pt x="417" y="1410"/>
                        </a:lnTo>
                        <a:lnTo>
                          <a:pt x="422" y="1407"/>
                        </a:lnTo>
                        <a:lnTo>
                          <a:pt x="429" y="1403"/>
                        </a:lnTo>
                        <a:lnTo>
                          <a:pt x="441" y="1399"/>
                        </a:lnTo>
                        <a:lnTo>
                          <a:pt x="453" y="1395"/>
                        </a:lnTo>
                        <a:lnTo>
                          <a:pt x="464" y="1393"/>
                        </a:lnTo>
                        <a:lnTo>
                          <a:pt x="473" y="1393"/>
                        </a:lnTo>
                        <a:lnTo>
                          <a:pt x="473" y="1384"/>
                        </a:lnTo>
                        <a:lnTo>
                          <a:pt x="474" y="1374"/>
                        </a:lnTo>
                        <a:lnTo>
                          <a:pt x="476" y="1364"/>
                        </a:lnTo>
                        <a:lnTo>
                          <a:pt x="479" y="1353"/>
                        </a:lnTo>
                        <a:lnTo>
                          <a:pt x="481" y="1342"/>
                        </a:lnTo>
                        <a:lnTo>
                          <a:pt x="484" y="1332"/>
                        </a:lnTo>
                        <a:lnTo>
                          <a:pt x="485" y="1323"/>
                        </a:lnTo>
                        <a:lnTo>
                          <a:pt x="486" y="1313"/>
                        </a:lnTo>
                        <a:lnTo>
                          <a:pt x="485" y="1301"/>
                        </a:lnTo>
                        <a:lnTo>
                          <a:pt x="482" y="1290"/>
                        </a:lnTo>
                        <a:lnTo>
                          <a:pt x="480" y="1278"/>
                        </a:lnTo>
                        <a:lnTo>
                          <a:pt x="476" y="1267"/>
                        </a:lnTo>
                        <a:lnTo>
                          <a:pt x="466" y="1245"/>
                        </a:lnTo>
                        <a:lnTo>
                          <a:pt x="455" y="1224"/>
                        </a:lnTo>
                        <a:lnTo>
                          <a:pt x="444" y="1205"/>
                        </a:lnTo>
                        <a:lnTo>
                          <a:pt x="435" y="1187"/>
                        </a:lnTo>
                        <a:lnTo>
                          <a:pt x="431" y="1179"/>
                        </a:lnTo>
                        <a:lnTo>
                          <a:pt x="429" y="1172"/>
                        </a:lnTo>
                        <a:lnTo>
                          <a:pt x="426" y="1165"/>
                        </a:lnTo>
                        <a:lnTo>
                          <a:pt x="425" y="1159"/>
                        </a:lnTo>
                        <a:lnTo>
                          <a:pt x="425" y="1148"/>
                        </a:lnTo>
                        <a:lnTo>
                          <a:pt x="425" y="1141"/>
                        </a:lnTo>
                        <a:lnTo>
                          <a:pt x="433" y="1141"/>
                        </a:lnTo>
                        <a:lnTo>
                          <a:pt x="441" y="1142"/>
                        </a:lnTo>
                        <a:lnTo>
                          <a:pt x="448" y="1144"/>
                        </a:lnTo>
                        <a:lnTo>
                          <a:pt x="456" y="1145"/>
                        </a:lnTo>
                        <a:lnTo>
                          <a:pt x="473" y="1150"/>
                        </a:lnTo>
                        <a:lnTo>
                          <a:pt x="488" y="1156"/>
                        </a:lnTo>
                        <a:lnTo>
                          <a:pt x="503" y="1161"/>
                        </a:lnTo>
                        <a:lnTo>
                          <a:pt x="518" y="1166"/>
                        </a:lnTo>
                        <a:lnTo>
                          <a:pt x="532" y="1170"/>
                        </a:lnTo>
                        <a:lnTo>
                          <a:pt x="545" y="1171"/>
                        </a:lnTo>
                        <a:lnTo>
                          <a:pt x="549" y="1171"/>
                        </a:lnTo>
                        <a:lnTo>
                          <a:pt x="554" y="1169"/>
                        </a:lnTo>
                        <a:lnTo>
                          <a:pt x="557" y="1168"/>
                        </a:lnTo>
                        <a:lnTo>
                          <a:pt x="560" y="1165"/>
                        </a:lnTo>
                        <a:lnTo>
                          <a:pt x="565" y="1159"/>
                        </a:lnTo>
                        <a:lnTo>
                          <a:pt x="568" y="1151"/>
                        </a:lnTo>
                        <a:lnTo>
                          <a:pt x="570" y="1142"/>
                        </a:lnTo>
                        <a:lnTo>
                          <a:pt x="571" y="1132"/>
                        </a:lnTo>
                        <a:lnTo>
                          <a:pt x="571" y="1123"/>
                        </a:lnTo>
                        <a:lnTo>
                          <a:pt x="571" y="1116"/>
                        </a:lnTo>
                        <a:lnTo>
                          <a:pt x="569" y="1112"/>
                        </a:lnTo>
                        <a:lnTo>
                          <a:pt x="565" y="1102"/>
                        </a:lnTo>
                        <a:lnTo>
                          <a:pt x="560" y="1090"/>
                        </a:lnTo>
                        <a:lnTo>
                          <a:pt x="558" y="1078"/>
                        </a:lnTo>
                        <a:lnTo>
                          <a:pt x="552" y="1066"/>
                        </a:lnTo>
                        <a:lnTo>
                          <a:pt x="545" y="1054"/>
                        </a:lnTo>
                        <a:lnTo>
                          <a:pt x="546" y="1049"/>
                        </a:lnTo>
                        <a:lnTo>
                          <a:pt x="548" y="1044"/>
                        </a:lnTo>
                        <a:lnTo>
                          <a:pt x="551" y="1040"/>
                        </a:lnTo>
                        <a:lnTo>
                          <a:pt x="555" y="1036"/>
                        </a:lnTo>
                        <a:lnTo>
                          <a:pt x="559" y="1032"/>
                        </a:lnTo>
                        <a:lnTo>
                          <a:pt x="565" y="1030"/>
                        </a:lnTo>
                        <a:lnTo>
                          <a:pt x="571" y="1027"/>
                        </a:lnTo>
                        <a:lnTo>
                          <a:pt x="578" y="1025"/>
                        </a:lnTo>
                        <a:lnTo>
                          <a:pt x="591" y="1022"/>
                        </a:lnTo>
                        <a:lnTo>
                          <a:pt x="604" y="1021"/>
                        </a:lnTo>
                        <a:lnTo>
                          <a:pt x="615" y="1021"/>
                        </a:lnTo>
                        <a:lnTo>
                          <a:pt x="625" y="1023"/>
                        </a:lnTo>
                        <a:lnTo>
                          <a:pt x="652" y="1023"/>
                        </a:lnTo>
                        <a:lnTo>
                          <a:pt x="676" y="1023"/>
                        </a:lnTo>
                        <a:lnTo>
                          <a:pt x="697" y="1021"/>
                        </a:lnTo>
                        <a:lnTo>
                          <a:pt x="716" y="1017"/>
                        </a:lnTo>
                        <a:lnTo>
                          <a:pt x="734" y="1013"/>
                        </a:lnTo>
                        <a:lnTo>
                          <a:pt x="750" y="1007"/>
                        </a:lnTo>
                        <a:lnTo>
                          <a:pt x="764" y="1001"/>
                        </a:lnTo>
                        <a:lnTo>
                          <a:pt x="776" y="993"/>
                        </a:lnTo>
                        <a:lnTo>
                          <a:pt x="787" y="984"/>
                        </a:lnTo>
                        <a:lnTo>
                          <a:pt x="795" y="973"/>
                        </a:lnTo>
                        <a:lnTo>
                          <a:pt x="802" y="961"/>
                        </a:lnTo>
                        <a:lnTo>
                          <a:pt x="809" y="949"/>
                        </a:lnTo>
                        <a:lnTo>
                          <a:pt x="812" y="935"/>
                        </a:lnTo>
                        <a:lnTo>
                          <a:pt x="815" y="921"/>
                        </a:lnTo>
                        <a:lnTo>
                          <a:pt x="817" y="904"/>
                        </a:lnTo>
                        <a:lnTo>
                          <a:pt x="817" y="888"/>
                        </a:lnTo>
                        <a:lnTo>
                          <a:pt x="817" y="884"/>
                        </a:lnTo>
                        <a:lnTo>
                          <a:pt x="816" y="882"/>
                        </a:lnTo>
                        <a:lnTo>
                          <a:pt x="815" y="879"/>
                        </a:lnTo>
                        <a:lnTo>
                          <a:pt x="813" y="877"/>
                        </a:lnTo>
                        <a:lnTo>
                          <a:pt x="809" y="874"/>
                        </a:lnTo>
                        <a:lnTo>
                          <a:pt x="803" y="871"/>
                        </a:lnTo>
                        <a:lnTo>
                          <a:pt x="792" y="867"/>
                        </a:lnTo>
                        <a:lnTo>
                          <a:pt x="784" y="863"/>
                        </a:lnTo>
                        <a:lnTo>
                          <a:pt x="782" y="859"/>
                        </a:lnTo>
                        <a:lnTo>
                          <a:pt x="781" y="852"/>
                        </a:lnTo>
                        <a:lnTo>
                          <a:pt x="780" y="847"/>
                        </a:lnTo>
                        <a:lnTo>
                          <a:pt x="779" y="841"/>
                        </a:lnTo>
                        <a:lnTo>
                          <a:pt x="780" y="836"/>
                        </a:lnTo>
                        <a:lnTo>
                          <a:pt x="781" y="830"/>
                        </a:lnTo>
                        <a:lnTo>
                          <a:pt x="782" y="825"/>
                        </a:lnTo>
                        <a:lnTo>
                          <a:pt x="784" y="820"/>
                        </a:lnTo>
                        <a:lnTo>
                          <a:pt x="772" y="816"/>
                        </a:lnTo>
                        <a:lnTo>
                          <a:pt x="758" y="810"/>
                        </a:lnTo>
                        <a:lnTo>
                          <a:pt x="742" y="800"/>
                        </a:lnTo>
                        <a:lnTo>
                          <a:pt x="725" y="789"/>
                        </a:lnTo>
                        <a:lnTo>
                          <a:pt x="717" y="783"/>
                        </a:lnTo>
                        <a:lnTo>
                          <a:pt x="711" y="777"/>
                        </a:lnTo>
                        <a:lnTo>
                          <a:pt x="704" y="771"/>
                        </a:lnTo>
                        <a:lnTo>
                          <a:pt x="700" y="765"/>
                        </a:lnTo>
                        <a:lnTo>
                          <a:pt x="695" y="758"/>
                        </a:lnTo>
                        <a:lnTo>
                          <a:pt x="692" y="752"/>
                        </a:lnTo>
                        <a:lnTo>
                          <a:pt x="691" y="745"/>
                        </a:lnTo>
                        <a:lnTo>
                          <a:pt x="691" y="739"/>
                        </a:lnTo>
                        <a:lnTo>
                          <a:pt x="698" y="616"/>
                        </a:lnTo>
                        <a:lnTo>
                          <a:pt x="697" y="585"/>
                        </a:lnTo>
                        <a:lnTo>
                          <a:pt x="697" y="553"/>
                        </a:lnTo>
                        <a:lnTo>
                          <a:pt x="698" y="546"/>
                        </a:lnTo>
                        <a:lnTo>
                          <a:pt x="699" y="539"/>
                        </a:lnTo>
                        <a:lnTo>
                          <a:pt x="701" y="532"/>
                        </a:lnTo>
                        <a:lnTo>
                          <a:pt x="703" y="525"/>
                        </a:lnTo>
                        <a:lnTo>
                          <a:pt x="708" y="518"/>
                        </a:lnTo>
                        <a:lnTo>
                          <a:pt x="712" y="511"/>
                        </a:lnTo>
                        <a:lnTo>
                          <a:pt x="717" y="505"/>
                        </a:lnTo>
                        <a:lnTo>
                          <a:pt x="725" y="499"/>
                        </a:lnTo>
                        <a:lnTo>
                          <a:pt x="725" y="493"/>
                        </a:lnTo>
                      </a:path>
                    </a:pathLst>
                  </a:custGeom>
                  <a:solidFill>
                    <a:schemeClr val="accent1"/>
                  </a:solidFill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s-ES" sz="1800"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333" name="Freeform 442">
                  <a:extLst>
                    <a:ext uri="{FF2B5EF4-FFF2-40B4-BE49-F238E27FC236}">
                      <a16:creationId xmlns:a16="http://schemas.microsoft.com/office/drawing/2014/main" xmlns="" id="{B41B10E1-AA79-43B6-B419-724C6F5A89ED}"/>
                    </a:ext>
                  </a:extLst>
                </p:cNvPr>
                <p:cNvSpPr>
                  <a:spLocks/>
                </p:cNvSpPr>
                <p:nvPr>
                  <p:custDataLst>
                    <p:tags r:id="rId280"/>
                  </p:custDataLst>
                </p:nvPr>
              </p:nvSpPr>
              <p:spPr bwMode="auto">
                <a:xfrm>
                  <a:off x="5040313" y="2324100"/>
                  <a:ext cx="123825" cy="109538"/>
                </a:xfrm>
                <a:custGeom>
                  <a:avLst/>
                  <a:gdLst>
                    <a:gd name="T0" fmla="*/ 2147483646 w 279"/>
                    <a:gd name="T1" fmla="*/ 2147483646 h 204"/>
                    <a:gd name="T2" fmla="*/ 2147483646 w 279"/>
                    <a:gd name="T3" fmla="*/ 2147483646 h 204"/>
                    <a:gd name="T4" fmla="*/ 2147483646 w 279"/>
                    <a:gd name="T5" fmla="*/ 2147483646 h 204"/>
                    <a:gd name="T6" fmla="*/ 2147483646 w 279"/>
                    <a:gd name="T7" fmla="*/ 2147483646 h 204"/>
                    <a:gd name="T8" fmla="*/ 2147483646 w 279"/>
                    <a:gd name="T9" fmla="*/ 2147483646 h 204"/>
                    <a:gd name="T10" fmla="*/ 2147483646 w 279"/>
                    <a:gd name="T11" fmla="*/ 2147483646 h 204"/>
                    <a:gd name="T12" fmla="*/ 2147483646 w 279"/>
                    <a:gd name="T13" fmla="*/ 2147483646 h 204"/>
                    <a:gd name="T14" fmla="*/ 2147483646 w 279"/>
                    <a:gd name="T15" fmla="*/ 2147483646 h 204"/>
                    <a:gd name="T16" fmla="*/ 2147483646 w 279"/>
                    <a:gd name="T17" fmla="*/ 2147483646 h 204"/>
                    <a:gd name="T18" fmla="*/ 2147483646 w 279"/>
                    <a:gd name="T19" fmla="*/ 2147483646 h 204"/>
                    <a:gd name="T20" fmla="*/ 2147483646 w 279"/>
                    <a:gd name="T21" fmla="*/ 2147483646 h 204"/>
                    <a:gd name="T22" fmla="*/ 2147483646 w 279"/>
                    <a:gd name="T23" fmla="*/ 2147483646 h 204"/>
                    <a:gd name="T24" fmla="*/ 2147483646 w 279"/>
                    <a:gd name="T25" fmla="*/ 2147483646 h 204"/>
                    <a:gd name="T26" fmla="*/ 2147483646 w 279"/>
                    <a:gd name="T27" fmla="*/ 2147483646 h 204"/>
                    <a:gd name="T28" fmla="*/ 2147483646 w 279"/>
                    <a:gd name="T29" fmla="*/ 2147483646 h 204"/>
                    <a:gd name="T30" fmla="*/ 2147483646 w 279"/>
                    <a:gd name="T31" fmla="*/ 2147483646 h 204"/>
                    <a:gd name="T32" fmla="*/ 2147483646 w 279"/>
                    <a:gd name="T33" fmla="*/ 2147483646 h 204"/>
                    <a:gd name="T34" fmla="*/ 2147483646 w 279"/>
                    <a:gd name="T35" fmla="*/ 2147483646 h 204"/>
                    <a:gd name="T36" fmla="*/ 2147483646 w 279"/>
                    <a:gd name="T37" fmla="*/ 2147483646 h 204"/>
                    <a:gd name="T38" fmla="*/ 2147483646 w 279"/>
                    <a:gd name="T39" fmla="*/ 2147483646 h 204"/>
                    <a:gd name="T40" fmla="*/ 2147483646 w 279"/>
                    <a:gd name="T41" fmla="*/ 2147483646 h 204"/>
                    <a:gd name="T42" fmla="*/ 2147483646 w 279"/>
                    <a:gd name="T43" fmla="*/ 2147483646 h 204"/>
                    <a:gd name="T44" fmla="*/ 2147483646 w 279"/>
                    <a:gd name="T45" fmla="*/ 2147483646 h 204"/>
                    <a:gd name="T46" fmla="*/ 2147483646 w 279"/>
                    <a:gd name="T47" fmla="*/ 2147483646 h 204"/>
                    <a:gd name="T48" fmla="*/ 2147483646 w 279"/>
                    <a:gd name="T49" fmla="*/ 2147483646 h 204"/>
                    <a:gd name="T50" fmla="*/ 2147483646 w 279"/>
                    <a:gd name="T51" fmla="*/ 2147483646 h 204"/>
                    <a:gd name="T52" fmla="*/ 2147483646 w 279"/>
                    <a:gd name="T53" fmla="*/ 2147483646 h 204"/>
                    <a:gd name="T54" fmla="*/ 2147483646 w 279"/>
                    <a:gd name="T55" fmla="*/ 2147483646 h 204"/>
                    <a:gd name="T56" fmla="*/ 2147483646 w 279"/>
                    <a:gd name="T57" fmla="*/ 2147483646 h 204"/>
                    <a:gd name="T58" fmla="*/ 2147483646 w 279"/>
                    <a:gd name="T59" fmla="*/ 2147483646 h 204"/>
                    <a:gd name="T60" fmla="*/ 2147483646 w 279"/>
                    <a:gd name="T61" fmla="*/ 2147483646 h 204"/>
                    <a:gd name="T62" fmla="*/ 2147483646 w 279"/>
                    <a:gd name="T63" fmla="*/ 2147483646 h 204"/>
                    <a:gd name="T64" fmla="*/ 0 w 279"/>
                    <a:gd name="T65" fmla="*/ 2147483646 h 20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79"/>
                    <a:gd name="T100" fmla="*/ 0 h 204"/>
                    <a:gd name="T101" fmla="*/ 279 w 279"/>
                    <a:gd name="T102" fmla="*/ 204 h 20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79" h="204">
                      <a:moveTo>
                        <a:pt x="0" y="56"/>
                      </a:moveTo>
                      <a:lnTo>
                        <a:pt x="33" y="87"/>
                      </a:lnTo>
                      <a:lnTo>
                        <a:pt x="46" y="123"/>
                      </a:lnTo>
                      <a:lnTo>
                        <a:pt x="59" y="142"/>
                      </a:lnTo>
                      <a:lnTo>
                        <a:pt x="59" y="173"/>
                      </a:lnTo>
                      <a:lnTo>
                        <a:pt x="59" y="179"/>
                      </a:lnTo>
                      <a:lnTo>
                        <a:pt x="80" y="188"/>
                      </a:lnTo>
                      <a:lnTo>
                        <a:pt x="102" y="196"/>
                      </a:lnTo>
                      <a:lnTo>
                        <a:pt x="112" y="199"/>
                      </a:lnTo>
                      <a:lnTo>
                        <a:pt x="122" y="202"/>
                      </a:lnTo>
                      <a:lnTo>
                        <a:pt x="130" y="203"/>
                      </a:lnTo>
                      <a:lnTo>
                        <a:pt x="139" y="204"/>
                      </a:lnTo>
                      <a:lnTo>
                        <a:pt x="142" y="203"/>
                      </a:lnTo>
                      <a:lnTo>
                        <a:pt x="146" y="201"/>
                      </a:lnTo>
                      <a:lnTo>
                        <a:pt x="148" y="198"/>
                      </a:lnTo>
                      <a:lnTo>
                        <a:pt x="151" y="194"/>
                      </a:lnTo>
                      <a:lnTo>
                        <a:pt x="156" y="183"/>
                      </a:lnTo>
                      <a:lnTo>
                        <a:pt x="160" y="172"/>
                      </a:lnTo>
                      <a:lnTo>
                        <a:pt x="165" y="160"/>
                      </a:lnTo>
                      <a:lnTo>
                        <a:pt x="172" y="149"/>
                      </a:lnTo>
                      <a:lnTo>
                        <a:pt x="176" y="145"/>
                      </a:lnTo>
                      <a:lnTo>
                        <a:pt x="181" y="141"/>
                      </a:lnTo>
                      <a:lnTo>
                        <a:pt x="186" y="138"/>
                      </a:lnTo>
                      <a:lnTo>
                        <a:pt x="192" y="136"/>
                      </a:lnTo>
                      <a:lnTo>
                        <a:pt x="201" y="137"/>
                      </a:lnTo>
                      <a:lnTo>
                        <a:pt x="209" y="138"/>
                      </a:lnTo>
                      <a:lnTo>
                        <a:pt x="215" y="140"/>
                      </a:lnTo>
                      <a:lnTo>
                        <a:pt x="220" y="142"/>
                      </a:lnTo>
                      <a:lnTo>
                        <a:pt x="225" y="145"/>
                      </a:lnTo>
                      <a:lnTo>
                        <a:pt x="228" y="148"/>
                      </a:lnTo>
                      <a:lnTo>
                        <a:pt x="230" y="151"/>
                      </a:lnTo>
                      <a:lnTo>
                        <a:pt x="231" y="154"/>
                      </a:lnTo>
                      <a:lnTo>
                        <a:pt x="234" y="160"/>
                      </a:lnTo>
                      <a:lnTo>
                        <a:pt x="234" y="164"/>
                      </a:lnTo>
                      <a:lnTo>
                        <a:pt x="232" y="167"/>
                      </a:lnTo>
                      <a:lnTo>
                        <a:pt x="231" y="167"/>
                      </a:lnTo>
                      <a:lnTo>
                        <a:pt x="232" y="160"/>
                      </a:lnTo>
                      <a:lnTo>
                        <a:pt x="234" y="153"/>
                      </a:lnTo>
                      <a:lnTo>
                        <a:pt x="236" y="147"/>
                      </a:lnTo>
                      <a:lnTo>
                        <a:pt x="238" y="140"/>
                      </a:lnTo>
                      <a:lnTo>
                        <a:pt x="243" y="127"/>
                      </a:lnTo>
                      <a:lnTo>
                        <a:pt x="245" y="117"/>
                      </a:lnTo>
                      <a:lnTo>
                        <a:pt x="250" y="117"/>
                      </a:lnTo>
                      <a:lnTo>
                        <a:pt x="254" y="115"/>
                      </a:lnTo>
                      <a:lnTo>
                        <a:pt x="260" y="113"/>
                      </a:lnTo>
                      <a:lnTo>
                        <a:pt x="264" y="110"/>
                      </a:lnTo>
                      <a:lnTo>
                        <a:pt x="272" y="104"/>
                      </a:lnTo>
                      <a:lnTo>
                        <a:pt x="279" y="99"/>
                      </a:lnTo>
                      <a:lnTo>
                        <a:pt x="265" y="87"/>
                      </a:lnTo>
                      <a:lnTo>
                        <a:pt x="252" y="75"/>
                      </a:lnTo>
                      <a:lnTo>
                        <a:pt x="239" y="66"/>
                      </a:lnTo>
                      <a:lnTo>
                        <a:pt x="227" y="58"/>
                      </a:lnTo>
                      <a:lnTo>
                        <a:pt x="215" y="51"/>
                      </a:lnTo>
                      <a:lnTo>
                        <a:pt x="204" y="44"/>
                      </a:lnTo>
                      <a:lnTo>
                        <a:pt x="194" y="38"/>
                      </a:lnTo>
                      <a:lnTo>
                        <a:pt x="185" y="31"/>
                      </a:lnTo>
                      <a:lnTo>
                        <a:pt x="172" y="31"/>
                      </a:lnTo>
                      <a:lnTo>
                        <a:pt x="146" y="68"/>
                      </a:lnTo>
                      <a:lnTo>
                        <a:pt x="112" y="50"/>
                      </a:lnTo>
                      <a:lnTo>
                        <a:pt x="79" y="25"/>
                      </a:lnTo>
                      <a:lnTo>
                        <a:pt x="33" y="0"/>
                      </a:lnTo>
                      <a:lnTo>
                        <a:pt x="52" y="12"/>
                      </a:lnTo>
                      <a:lnTo>
                        <a:pt x="72" y="74"/>
                      </a:lnTo>
                      <a:lnTo>
                        <a:pt x="46" y="62"/>
                      </a:lnTo>
                      <a:lnTo>
                        <a:pt x="19" y="50"/>
                      </a:lnTo>
                      <a:lnTo>
                        <a:pt x="0" y="5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34" name="Freeform 443">
                  <a:extLst>
                    <a:ext uri="{FF2B5EF4-FFF2-40B4-BE49-F238E27FC236}">
                      <a16:creationId xmlns:a16="http://schemas.microsoft.com/office/drawing/2014/main" xmlns="" id="{C64EE218-C234-486E-A527-30950165F85B}"/>
                    </a:ext>
                  </a:extLst>
                </p:cNvPr>
                <p:cNvSpPr>
                  <a:spLocks/>
                </p:cNvSpPr>
                <p:nvPr>
                  <p:custDataLst>
                    <p:tags r:id="rId281"/>
                  </p:custDataLst>
                </p:nvPr>
              </p:nvSpPr>
              <p:spPr bwMode="auto">
                <a:xfrm>
                  <a:off x="4506913" y="1897063"/>
                  <a:ext cx="209550" cy="150812"/>
                </a:xfrm>
                <a:custGeom>
                  <a:avLst/>
                  <a:gdLst>
                    <a:gd name="T0" fmla="*/ 2147483646 w 485"/>
                    <a:gd name="T1" fmla="*/ 2147483646 h 291"/>
                    <a:gd name="T2" fmla="*/ 2147483646 w 485"/>
                    <a:gd name="T3" fmla="*/ 2147483646 h 291"/>
                    <a:gd name="T4" fmla="*/ 2147483646 w 485"/>
                    <a:gd name="T5" fmla="*/ 2147483646 h 291"/>
                    <a:gd name="T6" fmla="*/ 2147483646 w 485"/>
                    <a:gd name="T7" fmla="*/ 2147483646 h 291"/>
                    <a:gd name="T8" fmla="*/ 2147483646 w 485"/>
                    <a:gd name="T9" fmla="*/ 2147483646 h 291"/>
                    <a:gd name="T10" fmla="*/ 2147483646 w 485"/>
                    <a:gd name="T11" fmla="*/ 2147483646 h 291"/>
                    <a:gd name="T12" fmla="*/ 2147483646 w 485"/>
                    <a:gd name="T13" fmla="*/ 2147483646 h 291"/>
                    <a:gd name="T14" fmla="*/ 2147483646 w 485"/>
                    <a:gd name="T15" fmla="*/ 2147483646 h 291"/>
                    <a:gd name="T16" fmla="*/ 2147483646 w 485"/>
                    <a:gd name="T17" fmla="*/ 2147483646 h 291"/>
                    <a:gd name="T18" fmla="*/ 2147483646 w 485"/>
                    <a:gd name="T19" fmla="*/ 2147483646 h 291"/>
                    <a:gd name="T20" fmla="*/ 2147483646 w 485"/>
                    <a:gd name="T21" fmla="*/ 2147483646 h 291"/>
                    <a:gd name="T22" fmla="*/ 2147483646 w 485"/>
                    <a:gd name="T23" fmla="*/ 2147483646 h 291"/>
                    <a:gd name="T24" fmla="*/ 2147483646 w 485"/>
                    <a:gd name="T25" fmla="*/ 2147483646 h 291"/>
                    <a:gd name="T26" fmla="*/ 2147483646 w 485"/>
                    <a:gd name="T27" fmla="*/ 2147483646 h 291"/>
                    <a:gd name="T28" fmla="*/ 2147483646 w 485"/>
                    <a:gd name="T29" fmla="*/ 2147483646 h 291"/>
                    <a:gd name="T30" fmla="*/ 0 w 485"/>
                    <a:gd name="T31" fmla="*/ 2147483646 h 291"/>
                    <a:gd name="T32" fmla="*/ 2147483646 w 485"/>
                    <a:gd name="T33" fmla="*/ 2147483646 h 291"/>
                    <a:gd name="T34" fmla="*/ 2147483646 w 485"/>
                    <a:gd name="T35" fmla="*/ 2147483646 h 291"/>
                    <a:gd name="T36" fmla="*/ 2147483646 w 485"/>
                    <a:gd name="T37" fmla="*/ 2147483646 h 291"/>
                    <a:gd name="T38" fmla="*/ 2147483646 w 485"/>
                    <a:gd name="T39" fmla="*/ 2147483646 h 291"/>
                    <a:gd name="T40" fmla="*/ 2147483646 w 485"/>
                    <a:gd name="T41" fmla="*/ 2147483646 h 291"/>
                    <a:gd name="T42" fmla="*/ 2147483646 w 485"/>
                    <a:gd name="T43" fmla="*/ 2147483646 h 291"/>
                    <a:gd name="T44" fmla="*/ 2147483646 w 485"/>
                    <a:gd name="T45" fmla="*/ 2147483646 h 291"/>
                    <a:gd name="T46" fmla="*/ 2147483646 w 485"/>
                    <a:gd name="T47" fmla="*/ 2147483646 h 291"/>
                    <a:gd name="T48" fmla="*/ 2147483646 w 485"/>
                    <a:gd name="T49" fmla="*/ 2147483646 h 291"/>
                    <a:gd name="T50" fmla="*/ 2147483646 w 485"/>
                    <a:gd name="T51" fmla="*/ 2147483646 h 291"/>
                    <a:gd name="T52" fmla="*/ 2147483646 w 485"/>
                    <a:gd name="T53" fmla="*/ 2147483646 h 291"/>
                    <a:gd name="T54" fmla="*/ 2147483646 w 485"/>
                    <a:gd name="T55" fmla="*/ 2147483646 h 291"/>
                    <a:gd name="T56" fmla="*/ 2147483646 w 485"/>
                    <a:gd name="T57" fmla="*/ 2147483646 h 291"/>
                    <a:gd name="T58" fmla="*/ 2147483646 w 485"/>
                    <a:gd name="T59" fmla="*/ 2147483646 h 291"/>
                    <a:gd name="T60" fmla="*/ 2147483646 w 485"/>
                    <a:gd name="T61" fmla="*/ 2147483646 h 291"/>
                    <a:gd name="T62" fmla="*/ 2147483646 w 485"/>
                    <a:gd name="T63" fmla="*/ 2147483646 h 291"/>
                    <a:gd name="T64" fmla="*/ 2147483646 w 485"/>
                    <a:gd name="T65" fmla="*/ 2147483646 h 291"/>
                    <a:gd name="T66" fmla="*/ 2147483646 w 485"/>
                    <a:gd name="T67" fmla="*/ 2147483646 h 291"/>
                    <a:gd name="T68" fmla="*/ 2147483646 w 485"/>
                    <a:gd name="T69" fmla="*/ 2147483646 h 291"/>
                    <a:gd name="T70" fmla="*/ 2147483646 w 485"/>
                    <a:gd name="T71" fmla="*/ 2147483646 h 291"/>
                    <a:gd name="T72" fmla="*/ 2147483646 w 485"/>
                    <a:gd name="T73" fmla="*/ 2147483646 h 291"/>
                    <a:gd name="T74" fmla="*/ 2147483646 w 485"/>
                    <a:gd name="T75" fmla="*/ 0 h 291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485"/>
                    <a:gd name="T115" fmla="*/ 0 h 291"/>
                    <a:gd name="T116" fmla="*/ 485 w 485"/>
                    <a:gd name="T117" fmla="*/ 291 h 291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485" h="291">
                      <a:moveTo>
                        <a:pt x="206" y="6"/>
                      </a:moveTo>
                      <a:lnTo>
                        <a:pt x="252" y="20"/>
                      </a:lnTo>
                      <a:lnTo>
                        <a:pt x="292" y="20"/>
                      </a:lnTo>
                      <a:lnTo>
                        <a:pt x="300" y="44"/>
                      </a:lnTo>
                      <a:lnTo>
                        <a:pt x="339" y="32"/>
                      </a:lnTo>
                      <a:lnTo>
                        <a:pt x="372" y="44"/>
                      </a:lnTo>
                      <a:lnTo>
                        <a:pt x="379" y="93"/>
                      </a:lnTo>
                      <a:lnTo>
                        <a:pt x="425" y="131"/>
                      </a:lnTo>
                      <a:lnTo>
                        <a:pt x="459" y="149"/>
                      </a:lnTo>
                      <a:lnTo>
                        <a:pt x="485" y="167"/>
                      </a:lnTo>
                      <a:lnTo>
                        <a:pt x="459" y="186"/>
                      </a:lnTo>
                      <a:lnTo>
                        <a:pt x="412" y="173"/>
                      </a:lnTo>
                      <a:lnTo>
                        <a:pt x="418" y="198"/>
                      </a:lnTo>
                      <a:lnTo>
                        <a:pt x="433" y="210"/>
                      </a:lnTo>
                      <a:lnTo>
                        <a:pt x="433" y="241"/>
                      </a:lnTo>
                      <a:lnTo>
                        <a:pt x="392" y="241"/>
                      </a:lnTo>
                      <a:lnTo>
                        <a:pt x="385" y="266"/>
                      </a:lnTo>
                      <a:lnTo>
                        <a:pt x="385" y="291"/>
                      </a:lnTo>
                      <a:lnTo>
                        <a:pt x="339" y="278"/>
                      </a:lnTo>
                      <a:lnTo>
                        <a:pt x="285" y="266"/>
                      </a:lnTo>
                      <a:lnTo>
                        <a:pt x="239" y="272"/>
                      </a:lnTo>
                      <a:lnTo>
                        <a:pt x="173" y="254"/>
                      </a:lnTo>
                      <a:lnTo>
                        <a:pt x="113" y="254"/>
                      </a:lnTo>
                      <a:lnTo>
                        <a:pt x="60" y="266"/>
                      </a:lnTo>
                      <a:lnTo>
                        <a:pt x="20" y="278"/>
                      </a:lnTo>
                      <a:lnTo>
                        <a:pt x="15" y="271"/>
                      </a:lnTo>
                      <a:lnTo>
                        <a:pt x="11" y="264"/>
                      </a:lnTo>
                      <a:lnTo>
                        <a:pt x="8" y="257"/>
                      </a:lnTo>
                      <a:lnTo>
                        <a:pt x="5" y="251"/>
                      </a:lnTo>
                      <a:lnTo>
                        <a:pt x="3" y="244"/>
                      </a:lnTo>
                      <a:lnTo>
                        <a:pt x="1" y="237"/>
                      </a:lnTo>
                      <a:lnTo>
                        <a:pt x="0" y="229"/>
                      </a:lnTo>
                      <a:lnTo>
                        <a:pt x="0" y="222"/>
                      </a:lnTo>
                      <a:lnTo>
                        <a:pt x="5" y="219"/>
                      </a:lnTo>
                      <a:lnTo>
                        <a:pt x="10" y="214"/>
                      </a:lnTo>
                      <a:lnTo>
                        <a:pt x="14" y="207"/>
                      </a:lnTo>
                      <a:lnTo>
                        <a:pt x="20" y="198"/>
                      </a:lnTo>
                      <a:lnTo>
                        <a:pt x="23" y="189"/>
                      </a:lnTo>
                      <a:lnTo>
                        <a:pt x="27" y="178"/>
                      </a:lnTo>
                      <a:lnTo>
                        <a:pt x="31" y="166"/>
                      </a:lnTo>
                      <a:lnTo>
                        <a:pt x="33" y="155"/>
                      </a:lnTo>
                      <a:lnTo>
                        <a:pt x="41" y="137"/>
                      </a:lnTo>
                      <a:lnTo>
                        <a:pt x="44" y="131"/>
                      </a:lnTo>
                      <a:lnTo>
                        <a:pt x="48" y="126"/>
                      </a:lnTo>
                      <a:lnTo>
                        <a:pt x="54" y="123"/>
                      </a:lnTo>
                      <a:lnTo>
                        <a:pt x="60" y="119"/>
                      </a:lnTo>
                      <a:lnTo>
                        <a:pt x="75" y="115"/>
                      </a:lnTo>
                      <a:lnTo>
                        <a:pt x="87" y="111"/>
                      </a:lnTo>
                      <a:lnTo>
                        <a:pt x="87" y="109"/>
                      </a:lnTo>
                      <a:lnTo>
                        <a:pt x="89" y="106"/>
                      </a:lnTo>
                      <a:lnTo>
                        <a:pt x="91" y="103"/>
                      </a:lnTo>
                      <a:lnTo>
                        <a:pt x="94" y="100"/>
                      </a:lnTo>
                      <a:lnTo>
                        <a:pt x="98" y="97"/>
                      </a:lnTo>
                      <a:lnTo>
                        <a:pt x="101" y="95"/>
                      </a:lnTo>
                      <a:lnTo>
                        <a:pt x="103" y="94"/>
                      </a:lnTo>
                      <a:lnTo>
                        <a:pt x="106" y="93"/>
                      </a:lnTo>
                      <a:lnTo>
                        <a:pt x="106" y="81"/>
                      </a:lnTo>
                      <a:lnTo>
                        <a:pt x="106" y="76"/>
                      </a:lnTo>
                      <a:lnTo>
                        <a:pt x="107" y="72"/>
                      </a:lnTo>
                      <a:lnTo>
                        <a:pt x="109" y="70"/>
                      </a:lnTo>
                      <a:lnTo>
                        <a:pt x="110" y="68"/>
                      </a:lnTo>
                      <a:lnTo>
                        <a:pt x="113" y="67"/>
                      </a:lnTo>
                      <a:lnTo>
                        <a:pt x="117" y="68"/>
                      </a:lnTo>
                      <a:lnTo>
                        <a:pt x="122" y="69"/>
                      </a:lnTo>
                      <a:lnTo>
                        <a:pt x="126" y="69"/>
                      </a:lnTo>
                      <a:lnTo>
                        <a:pt x="128" y="69"/>
                      </a:lnTo>
                      <a:lnTo>
                        <a:pt x="129" y="68"/>
                      </a:lnTo>
                      <a:lnTo>
                        <a:pt x="132" y="66"/>
                      </a:lnTo>
                      <a:lnTo>
                        <a:pt x="133" y="62"/>
                      </a:lnTo>
                      <a:lnTo>
                        <a:pt x="134" y="56"/>
                      </a:lnTo>
                      <a:lnTo>
                        <a:pt x="137" y="48"/>
                      </a:lnTo>
                      <a:lnTo>
                        <a:pt x="139" y="44"/>
                      </a:lnTo>
                      <a:lnTo>
                        <a:pt x="142" y="41"/>
                      </a:lnTo>
                      <a:lnTo>
                        <a:pt x="144" y="39"/>
                      </a:lnTo>
                      <a:lnTo>
                        <a:pt x="146" y="38"/>
                      </a:lnTo>
                      <a:lnTo>
                        <a:pt x="213" y="0"/>
                      </a:lnTo>
                      <a:lnTo>
                        <a:pt x="206" y="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35" name="Freeform 444">
                  <a:extLst>
                    <a:ext uri="{FF2B5EF4-FFF2-40B4-BE49-F238E27FC236}">
                      <a16:creationId xmlns:a16="http://schemas.microsoft.com/office/drawing/2014/main" xmlns="" id="{F81DC2B4-2C9D-4442-B3DC-AEC18008BE9F}"/>
                    </a:ext>
                  </a:extLst>
                </p:cNvPr>
                <p:cNvSpPr>
                  <a:spLocks/>
                </p:cNvSpPr>
                <p:nvPr>
                  <p:custDataLst>
                    <p:tags r:id="rId282"/>
                  </p:custDataLst>
                </p:nvPr>
              </p:nvSpPr>
              <p:spPr bwMode="auto">
                <a:xfrm>
                  <a:off x="4364038" y="2228850"/>
                  <a:ext cx="82550" cy="87313"/>
                </a:xfrm>
                <a:custGeom>
                  <a:avLst/>
                  <a:gdLst>
                    <a:gd name="T0" fmla="*/ 2147483646 w 186"/>
                    <a:gd name="T1" fmla="*/ 2147483646 h 166"/>
                    <a:gd name="T2" fmla="*/ 2147483646 w 186"/>
                    <a:gd name="T3" fmla="*/ 2147483646 h 166"/>
                    <a:gd name="T4" fmla="*/ 2147483646 w 186"/>
                    <a:gd name="T5" fmla="*/ 2147483646 h 166"/>
                    <a:gd name="T6" fmla="*/ 2147483646 w 186"/>
                    <a:gd name="T7" fmla="*/ 2147483646 h 166"/>
                    <a:gd name="T8" fmla="*/ 2147483646 w 186"/>
                    <a:gd name="T9" fmla="*/ 2147483646 h 166"/>
                    <a:gd name="T10" fmla="*/ 2147483646 w 186"/>
                    <a:gd name="T11" fmla="*/ 2147483646 h 166"/>
                    <a:gd name="T12" fmla="*/ 2147483646 w 186"/>
                    <a:gd name="T13" fmla="*/ 2147483646 h 166"/>
                    <a:gd name="T14" fmla="*/ 2147483646 w 186"/>
                    <a:gd name="T15" fmla="*/ 2147483646 h 166"/>
                    <a:gd name="T16" fmla="*/ 2147483646 w 186"/>
                    <a:gd name="T17" fmla="*/ 2147483646 h 166"/>
                    <a:gd name="T18" fmla="*/ 2147483646 w 186"/>
                    <a:gd name="T19" fmla="*/ 2147483646 h 166"/>
                    <a:gd name="T20" fmla="*/ 0 w 186"/>
                    <a:gd name="T21" fmla="*/ 2147483646 h 166"/>
                    <a:gd name="T22" fmla="*/ 0 w 186"/>
                    <a:gd name="T23" fmla="*/ 0 h 166"/>
                    <a:gd name="T24" fmla="*/ 2147483646 w 186"/>
                    <a:gd name="T25" fmla="*/ 2147483646 h 166"/>
                    <a:gd name="T26" fmla="*/ 2147483646 w 186"/>
                    <a:gd name="T27" fmla="*/ 2147483646 h 166"/>
                    <a:gd name="T28" fmla="*/ 2147483646 w 186"/>
                    <a:gd name="T29" fmla="*/ 2147483646 h 166"/>
                    <a:gd name="T30" fmla="*/ 2147483646 w 186"/>
                    <a:gd name="T31" fmla="*/ 2147483646 h 166"/>
                    <a:gd name="T32" fmla="*/ 2147483646 w 186"/>
                    <a:gd name="T33" fmla="*/ 2147483646 h 166"/>
                    <a:gd name="T34" fmla="*/ 2147483646 w 186"/>
                    <a:gd name="T35" fmla="*/ 2147483646 h 166"/>
                    <a:gd name="T36" fmla="*/ 2147483646 w 186"/>
                    <a:gd name="T37" fmla="*/ 2147483646 h 166"/>
                    <a:gd name="T38" fmla="*/ 2147483646 w 186"/>
                    <a:gd name="T39" fmla="*/ 0 h 166"/>
                    <a:gd name="T40" fmla="*/ 2147483646 w 186"/>
                    <a:gd name="T41" fmla="*/ 2147483646 h 166"/>
                    <a:gd name="T42" fmla="*/ 2147483646 w 186"/>
                    <a:gd name="T43" fmla="*/ 2147483646 h 166"/>
                    <a:gd name="T44" fmla="*/ 2147483646 w 186"/>
                    <a:gd name="T45" fmla="*/ 2147483646 h 166"/>
                    <a:gd name="T46" fmla="*/ 2147483646 w 186"/>
                    <a:gd name="T47" fmla="*/ 2147483646 h 166"/>
                    <a:gd name="T48" fmla="*/ 2147483646 w 186"/>
                    <a:gd name="T49" fmla="*/ 2147483646 h 166"/>
                    <a:gd name="T50" fmla="*/ 2147483646 w 186"/>
                    <a:gd name="T51" fmla="*/ 2147483646 h 166"/>
                    <a:gd name="T52" fmla="*/ 2147483646 w 186"/>
                    <a:gd name="T53" fmla="*/ 2147483646 h 166"/>
                    <a:gd name="T54" fmla="*/ 2147483646 w 186"/>
                    <a:gd name="T55" fmla="*/ 2147483646 h 166"/>
                    <a:gd name="T56" fmla="*/ 2147483646 w 186"/>
                    <a:gd name="T57" fmla="*/ 2147483646 h 166"/>
                    <a:gd name="T58" fmla="*/ 2147483646 w 186"/>
                    <a:gd name="T59" fmla="*/ 2147483646 h 166"/>
                    <a:gd name="T60" fmla="*/ 2147483646 w 186"/>
                    <a:gd name="T61" fmla="*/ 2147483646 h 16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186"/>
                    <a:gd name="T94" fmla="*/ 0 h 166"/>
                    <a:gd name="T95" fmla="*/ 186 w 186"/>
                    <a:gd name="T96" fmla="*/ 166 h 16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186" h="166">
                      <a:moveTo>
                        <a:pt x="86" y="147"/>
                      </a:moveTo>
                      <a:lnTo>
                        <a:pt x="83" y="136"/>
                      </a:lnTo>
                      <a:lnTo>
                        <a:pt x="78" y="127"/>
                      </a:lnTo>
                      <a:lnTo>
                        <a:pt x="74" y="118"/>
                      </a:lnTo>
                      <a:lnTo>
                        <a:pt x="70" y="110"/>
                      </a:lnTo>
                      <a:lnTo>
                        <a:pt x="60" y="95"/>
                      </a:lnTo>
                      <a:lnTo>
                        <a:pt x="49" y="82"/>
                      </a:lnTo>
                      <a:lnTo>
                        <a:pt x="37" y="70"/>
                      </a:lnTo>
                      <a:lnTo>
                        <a:pt x="25" y="56"/>
                      </a:lnTo>
                      <a:lnTo>
                        <a:pt x="13" y="3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2"/>
                      </a:lnTo>
                      <a:lnTo>
                        <a:pt x="14" y="3"/>
                      </a:lnTo>
                      <a:lnTo>
                        <a:pt x="20" y="4"/>
                      </a:lnTo>
                      <a:lnTo>
                        <a:pt x="27" y="4"/>
                      </a:lnTo>
                      <a:lnTo>
                        <a:pt x="33" y="4"/>
                      </a:lnTo>
                      <a:lnTo>
                        <a:pt x="40" y="3"/>
                      </a:lnTo>
                      <a:lnTo>
                        <a:pt x="47" y="2"/>
                      </a:lnTo>
                      <a:lnTo>
                        <a:pt x="53" y="0"/>
                      </a:lnTo>
                      <a:lnTo>
                        <a:pt x="140" y="12"/>
                      </a:lnTo>
                      <a:lnTo>
                        <a:pt x="186" y="91"/>
                      </a:lnTo>
                      <a:lnTo>
                        <a:pt x="171" y="112"/>
                      </a:lnTo>
                      <a:lnTo>
                        <a:pt x="155" y="129"/>
                      </a:lnTo>
                      <a:lnTo>
                        <a:pt x="149" y="137"/>
                      </a:lnTo>
                      <a:lnTo>
                        <a:pt x="144" y="145"/>
                      </a:lnTo>
                      <a:lnTo>
                        <a:pt x="142" y="150"/>
                      </a:lnTo>
                      <a:lnTo>
                        <a:pt x="141" y="156"/>
                      </a:lnTo>
                      <a:lnTo>
                        <a:pt x="140" y="161"/>
                      </a:lnTo>
                      <a:lnTo>
                        <a:pt x="140" y="166"/>
                      </a:lnTo>
                      <a:lnTo>
                        <a:pt x="86" y="14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36" name="Freeform 445">
                  <a:extLst>
                    <a:ext uri="{FF2B5EF4-FFF2-40B4-BE49-F238E27FC236}">
                      <a16:creationId xmlns:a16="http://schemas.microsoft.com/office/drawing/2014/main" xmlns="" id="{4967FC4B-02A1-4C64-9810-A5812CFF81E0}"/>
                    </a:ext>
                  </a:extLst>
                </p:cNvPr>
                <p:cNvSpPr>
                  <a:spLocks/>
                </p:cNvSpPr>
                <p:nvPr>
                  <p:custDataLst>
                    <p:tags r:id="rId283"/>
                  </p:custDataLst>
                </p:nvPr>
              </p:nvSpPr>
              <p:spPr bwMode="auto">
                <a:xfrm>
                  <a:off x="2728913" y="3665538"/>
                  <a:ext cx="82550" cy="57150"/>
                </a:xfrm>
                <a:custGeom>
                  <a:avLst/>
                  <a:gdLst>
                    <a:gd name="T0" fmla="*/ 2147483646 w 186"/>
                    <a:gd name="T1" fmla="*/ 2147483646 h 104"/>
                    <a:gd name="T2" fmla="*/ 2147483646 w 186"/>
                    <a:gd name="T3" fmla="*/ 2147483646 h 104"/>
                    <a:gd name="T4" fmla="*/ 2147483646 w 186"/>
                    <a:gd name="T5" fmla="*/ 2147483646 h 104"/>
                    <a:gd name="T6" fmla="*/ 2147483646 w 186"/>
                    <a:gd name="T7" fmla="*/ 2147483646 h 104"/>
                    <a:gd name="T8" fmla="*/ 2147483646 w 186"/>
                    <a:gd name="T9" fmla="*/ 2147483646 h 104"/>
                    <a:gd name="T10" fmla="*/ 2147483646 w 186"/>
                    <a:gd name="T11" fmla="*/ 2147483646 h 104"/>
                    <a:gd name="T12" fmla="*/ 2147483646 w 186"/>
                    <a:gd name="T13" fmla="*/ 2147483646 h 104"/>
                    <a:gd name="T14" fmla="*/ 2147483646 w 186"/>
                    <a:gd name="T15" fmla="*/ 2147483646 h 104"/>
                    <a:gd name="T16" fmla="*/ 2147483646 w 186"/>
                    <a:gd name="T17" fmla="*/ 2147483646 h 104"/>
                    <a:gd name="T18" fmla="*/ 2147483646 w 186"/>
                    <a:gd name="T19" fmla="*/ 2147483646 h 104"/>
                    <a:gd name="T20" fmla="*/ 2147483646 w 186"/>
                    <a:gd name="T21" fmla="*/ 2147483646 h 104"/>
                    <a:gd name="T22" fmla="*/ 2147483646 w 186"/>
                    <a:gd name="T23" fmla="*/ 2147483646 h 104"/>
                    <a:gd name="T24" fmla="*/ 2147483646 w 186"/>
                    <a:gd name="T25" fmla="*/ 2147483646 h 104"/>
                    <a:gd name="T26" fmla="*/ 2147483646 w 186"/>
                    <a:gd name="T27" fmla="*/ 0 h 104"/>
                    <a:gd name="T28" fmla="*/ 2147483646 w 186"/>
                    <a:gd name="T29" fmla="*/ 0 h 104"/>
                    <a:gd name="T30" fmla="*/ 2147483646 w 186"/>
                    <a:gd name="T31" fmla="*/ 2147483646 h 104"/>
                    <a:gd name="T32" fmla="*/ 2147483646 w 186"/>
                    <a:gd name="T33" fmla="*/ 2147483646 h 104"/>
                    <a:gd name="T34" fmla="*/ 2147483646 w 186"/>
                    <a:gd name="T35" fmla="*/ 2147483646 h 104"/>
                    <a:gd name="T36" fmla="*/ 2147483646 w 186"/>
                    <a:gd name="T37" fmla="*/ 2147483646 h 104"/>
                    <a:gd name="T38" fmla="*/ 2147483646 w 186"/>
                    <a:gd name="T39" fmla="*/ 2147483646 h 104"/>
                    <a:gd name="T40" fmla="*/ 2147483646 w 186"/>
                    <a:gd name="T41" fmla="*/ 2147483646 h 104"/>
                    <a:gd name="T42" fmla="*/ 2147483646 w 186"/>
                    <a:gd name="T43" fmla="*/ 2147483646 h 104"/>
                    <a:gd name="T44" fmla="*/ 2147483646 w 186"/>
                    <a:gd name="T45" fmla="*/ 2147483646 h 104"/>
                    <a:gd name="T46" fmla="*/ 2147483646 w 186"/>
                    <a:gd name="T47" fmla="*/ 2147483646 h 104"/>
                    <a:gd name="T48" fmla="*/ 0 w 186"/>
                    <a:gd name="T49" fmla="*/ 2147483646 h 104"/>
                    <a:gd name="T50" fmla="*/ 2147483646 w 186"/>
                    <a:gd name="T51" fmla="*/ 2147483646 h 104"/>
                    <a:gd name="T52" fmla="*/ 2147483646 w 186"/>
                    <a:gd name="T53" fmla="*/ 2147483646 h 104"/>
                    <a:gd name="T54" fmla="*/ 2147483646 w 186"/>
                    <a:gd name="T55" fmla="*/ 2147483646 h 104"/>
                    <a:gd name="T56" fmla="*/ 2147483646 w 186"/>
                    <a:gd name="T57" fmla="*/ 2147483646 h 104"/>
                    <a:gd name="T58" fmla="*/ 2147483646 w 186"/>
                    <a:gd name="T59" fmla="*/ 2147483646 h 104"/>
                    <a:gd name="T60" fmla="*/ 2147483646 w 186"/>
                    <a:gd name="T61" fmla="*/ 2147483646 h 104"/>
                    <a:gd name="T62" fmla="*/ 2147483646 w 186"/>
                    <a:gd name="T63" fmla="*/ 2147483646 h 104"/>
                    <a:gd name="T64" fmla="*/ 2147483646 w 186"/>
                    <a:gd name="T65" fmla="*/ 2147483646 h 104"/>
                    <a:gd name="T66" fmla="*/ 2147483646 w 186"/>
                    <a:gd name="T67" fmla="*/ 2147483646 h 104"/>
                    <a:gd name="T68" fmla="*/ 2147483646 w 186"/>
                    <a:gd name="T69" fmla="*/ 2147483646 h 104"/>
                    <a:gd name="T70" fmla="*/ 2147483646 w 186"/>
                    <a:gd name="T71" fmla="*/ 2147483646 h 104"/>
                    <a:gd name="T72" fmla="*/ 2147483646 w 186"/>
                    <a:gd name="T73" fmla="*/ 2147483646 h 104"/>
                    <a:gd name="T74" fmla="*/ 2147483646 w 186"/>
                    <a:gd name="T75" fmla="*/ 2147483646 h 104"/>
                    <a:gd name="T76" fmla="*/ 2147483646 w 186"/>
                    <a:gd name="T77" fmla="*/ 2147483646 h 104"/>
                    <a:gd name="T78" fmla="*/ 2147483646 w 186"/>
                    <a:gd name="T79" fmla="*/ 2147483646 h 104"/>
                    <a:gd name="T80" fmla="*/ 2147483646 w 186"/>
                    <a:gd name="T81" fmla="*/ 2147483646 h 104"/>
                    <a:gd name="T82" fmla="*/ 2147483646 w 186"/>
                    <a:gd name="T83" fmla="*/ 2147483646 h 104"/>
                    <a:gd name="T84" fmla="*/ 2147483646 w 186"/>
                    <a:gd name="T85" fmla="*/ 2147483646 h 104"/>
                    <a:gd name="T86" fmla="*/ 2147483646 w 186"/>
                    <a:gd name="T87" fmla="*/ 2147483646 h 104"/>
                    <a:gd name="T88" fmla="*/ 2147483646 w 186"/>
                    <a:gd name="T89" fmla="*/ 2147483646 h 104"/>
                    <a:gd name="T90" fmla="*/ 2147483646 w 186"/>
                    <a:gd name="T91" fmla="*/ 2147483646 h 104"/>
                    <a:gd name="T92" fmla="*/ 2147483646 w 186"/>
                    <a:gd name="T93" fmla="*/ 2147483646 h 104"/>
                    <a:gd name="T94" fmla="*/ 2147483646 w 186"/>
                    <a:gd name="T95" fmla="*/ 2147483646 h 104"/>
                    <a:gd name="T96" fmla="*/ 2147483646 w 186"/>
                    <a:gd name="T97" fmla="*/ 2147483646 h 104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186"/>
                    <a:gd name="T148" fmla="*/ 0 h 104"/>
                    <a:gd name="T149" fmla="*/ 186 w 186"/>
                    <a:gd name="T150" fmla="*/ 104 h 104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186" h="104">
                      <a:moveTo>
                        <a:pt x="153" y="21"/>
                      </a:moveTo>
                      <a:lnTo>
                        <a:pt x="146" y="21"/>
                      </a:lnTo>
                      <a:lnTo>
                        <a:pt x="141" y="20"/>
                      </a:lnTo>
                      <a:lnTo>
                        <a:pt x="136" y="18"/>
                      </a:lnTo>
                      <a:lnTo>
                        <a:pt x="133" y="15"/>
                      </a:lnTo>
                      <a:lnTo>
                        <a:pt x="130" y="13"/>
                      </a:lnTo>
                      <a:lnTo>
                        <a:pt x="125" y="11"/>
                      </a:lnTo>
                      <a:lnTo>
                        <a:pt x="120" y="10"/>
                      </a:lnTo>
                      <a:lnTo>
                        <a:pt x="113" y="9"/>
                      </a:lnTo>
                      <a:lnTo>
                        <a:pt x="100" y="8"/>
                      </a:lnTo>
                      <a:lnTo>
                        <a:pt x="88" y="6"/>
                      </a:lnTo>
                      <a:lnTo>
                        <a:pt x="75" y="3"/>
                      </a:lnTo>
                      <a:lnTo>
                        <a:pt x="64" y="1"/>
                      </a:lnTo>
                      <a:lnTo>
                        <a:pt x="60" y="0"/>
                      </a:lnTo>
                      <a:lnTo>
                        <a:pt x="54" y="0"/>
                      </a:lnTo>
                      <a:lnTo>
                        <a:pt x="51" y="1"/>
                      </a:lnTo>
                      <a:lnTo>
                        <a:pt x="46" y="2"/>
                      </a:lnTo>
                      <a:lnTo>
                        <a:pt x="44" y="4"/>
                      </a:lnTo>
                      <a:lnTo>
                        <a:pt x="42" y="6"/>
                      </a:lnTo>
                      <a:lnTo>
                        <a:pt x="41" y="10"/>
                      </a:lnTo>
                      <a:lnTo>
                        <a:pt x="40" y="15"/>
                      </a:lnTo>
                      <a:lnTo>
                        <a:pt x="34" y="27"/>
                      </a:lnTo>
                      <a:lnTo>
                        <a:pt x="20" y="47"/>
                      </a:lnTo>
                      <a:lnTo>
                        <a:pt x="7" y="66"/>
                      </a:lnTo>
                      <a:lnTo>
                        <a:pt x="0" y="77"/>
                      </a:lnTo>
                      <a:lnTo>
                        <a:pt x="8" y="77"/>
                      </a:lnTo>
                      <a:lnTo>
                        <a:pt x="16" y="78"/>
                      </a:lnTo>
                      <a:lnTo>
                        <a:pt x="21" y="79"/>
                      </a:lnTo>
                      <a:lnTo>
                        <a:pt x="25" y="81"/>
                      </a:lnTo>
                      <a:lnTo>
                        <a:pt x="33" y="85"/>
                      </a:lnTo>
                      <a:lnTo>
                        <a:pt x="40" y="89"/>
                      </a:lnTo>
                      <a:lnTo>
                        <a:pt x="45" y="94"/>
                      </a:lnTo>
                      <a:lnTo>
                        <a:pt x="52" y="98"/>
                      </a:lnTo>
                      <a:lnTo>
                        <a:pt x="56" y="100"/>
                      </a:lnTo>
                      <a:lnTo>
                        <a:pt x="61" y="101"/>
                      </a:lnTo>
                      <a:lnTo>
                        <a:pt x="66" y="102"/>
                      </a:lnTo>
                      <a:lnTo>
                        <a:pt x="74" y="102"/>
                      </a:lnTo>
                      <a:lnTo>
                        <a:pt x="107" y="103"/>
                      </a:lnTo>
                      <a:lnTo>
                        <a:pt x="131" y="104"/>
                      </a:lnTo>
                      <a:lnTo>
                        <a:pt x="135" y="103"/>
                      </a:lnTo>
                      <a:lnTo>
                        <a:pt x="139" y="102"/>
                      </a:lnTo>
                      <a:lnTo>
                        <a:pt x="142" y="100"/>
                      </a:lnTo>
                      <a:lnTo>
                        <a:pt x="145" y="97"/>
                      </a:lnTo>
                      <a:lnTo>
                        <a:pt x="147" y="94"/>
                      </a:lnTo>
                      <a:lnTo>
                        <a:pt x="150" y="88"/>
                      </a:lnTo>
                      <a:lnTo>
                        <a:pt x="152" y="83"/>
                      </a:lnTo>
                      <a:lnTo>
                        <a:pt x="153" y="77"/>
                      </a:lnTo>
                      <a:lnTo>
                        <a:pt x="186" y="27"/>
                      </a:lnTo>
                      <a:lnTo>
                        <a:pt x="153" y="2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37" name="Freeform 446">
                  <a:extLst>
                    <a:ext uri="{FF2B5EF4-FFF2-40B4-BE49-F238E27FC236}">
                      <a16:creationId xmlns:a16="http://schemas.microsoft.com/office/drawing/2014/main" xmlns="" id="{C2997C88-F99F-479D-9AF6-B1E3EDF8217E}"/>
                    </a:ext>
                  </a:extLst>
                </p:cNvPr>
                <p:cNvSpPr>
                  <a:spLocks/>
                </p:cNvSpPr>
                <p:nvPr>
                  <p:custDataLst>
                    <p:tags r:id="rId284"/>
                  </p:custDataLst>
                </p:nvPr>
              </p:nvSpPr>
              <p:spPr bwMode="auto">
                <a:xfrm>
                  <a:off x="4522788" y="2263775"/>
                  <a:ext cx="133350" cy="96838"/>
                </a:xfrm>
                <a:custGeom>
                  <a:avLst/>
                  <a:gdLst>
                    <a:gd name="T0" fmla="*/ 2147483646 w 311"/>
                    <a:gd name="T1" fmla="*/ 2147483646 h 179"/>
                    <a:gd name="T2" fmla="*/ 2147483646 w 311"/>
                    <a:gd name="T3" fmla="*/ 2147483646 h 179"/>
                    <a:gd name="T4" fmla="*/ 2147483646 w 311"/>
                    <a:gd name="T5" fmla="*/ 2147483646 h 179"/>
                    <a:gd name="T6" fmla="*/ 2147483646 w 311"/>
                    <a:gd name="T7" fmla="*/ 2147483646 h 179"/>
                    <a:gd name="T8" fmla="*/ 2147483646 w 311"/>
                    <a:gd name="T9" fmla="*/ 0 h 179"/>
                    <a:gd name="T10" fmla="*/ 2147483646 w 311"/>
                    <a:gd name="T11" fmla="*/ 2147483646 h 179"/>
                    <a:gd name="T12" fmla="*/ 2147483646 w 311"/>
                    <a:gd name="T13" fmla="*/ 2147483646 h 179"/>
                    <a:gd name="T14" fmla="*/ 2147483646 w 311"/>
                    <a:gd name="T15" fmla="*/ 2147483646 h 179"/>
                    <a:gd name="T16" fmla="*/ 2147483646 w 311"/>
                    <a:gd name="T17" fmla="*/ 2147483646 h 179"/>
                    <a:gd name="T18" fmla="*/ 2147483646 w 311"/>
                    <a:gd name="T19" fmla="*/ 2147483646 h 179"/>
                    <a:gd name="T20" fmla="*/ 2147483646 w 311"/>
                    <a:gd name="T21" fmla="*/ 2147483646 h 179"/>
                    <a:gd name="T22" fmla="*/ 2147483646 w 311"/>
                    <a:gd name="T23" fmla="*/ 2147483646 h 179"/>
                    <a:gd name="T24" fmla="*/ 2147483646 w 311"/>
                    <a:gd name="T25" fmla="*/ 2147483646 h 179"/>
                    <a:gd name="T26" fmla="*/ 2147483646 w 311"/>
                    <a:gd name="T27" fmla="*/ 2147483646 h 179"/>
                    <a:gd name="T28" fmla="*/ 2147483646 w 311"/>
                    <a:gd name="T29" fmla="*/ 2147483646 h 179"/>
                    <a:gd name="T30" fmla="*/ 2147483646 w 311"/>
                    <a:gd name="T31" fmla="*/ 2147483646 h 179"/>
                    <a:gd name="T32" fmla="*/ 2147483646 w 311"/>
                    <a:gd name="T33" fmla="*/ 2147483646 h 179"/>
                    <a:gd name="T34" fmla="*/ 2147483646 w 311"/>
                    <a:gd name="T35" fmla="*/ 2147483646 h 179"/>
                    <a:gd name="T36" fmla="*/ 2147483646 w 311"/>
                    <a:gd name="T37" fmla="*/ 2147483646 h 179"/>
                    <a:gd name="T38" fmla="*/ 2147483646 w 311"/>
                    <a:gd name="T39" fmla="*/ 2147483646 h 179"/>
                    <a:gd name="T40" fmla="*/ 2147483646 w 311"/>
                    <a:gd name="T41" fmla="*/ 2147483646 h 179"/>
                    <a:gd name="T42" fmla="*/ 2147483646 w 311"/>
                    <a:gd name="T43" fmla="*/ 2147483646 h 179"/>
                    <a:gd name="T44" fmla="*/ 2147483646 w 311"/>
                    <a:gd name="T45" fmla="*/ 2147483646 h 179"/>
                    <a:gd name="T46" fmla="*/ 2147483646 w 311"/>
                    <a:gd name="T47" fmla="*/ 2147483646 h 179"/>
                    <a:gd name="T48" fmla="*/ 2147483646 w 311"/>
                    <a:gd name="T49" fmla="*/ 2147483646 h 179"/>
                    <a:gd name="T50" fmla="*/ 2147483646 w 311"/>
                    <a:gd name="T51" fmla="*/ 2147483646 h 179"/>
                    <a:gd name="T52" fmla="*/ 2147483646 w 311"/>
                    <a:gd name="T53" fmla="*/ 2147483646 h 179"/>
                    <a:gd name="T54" fmla="*/ 2147483646 w 311"/>
                    <a:gd name="T55" fmla="*/ 2147483646 h 179"/>
                    <a:gd name="T56" fmla="*/ 2147483646 w 311"/>
                    <a:gd name="T57" fmla="*/ 2147483646 h 179"/>
                    <a:gd name="T58" fmla="*/ 2147483646 w 311"/>
                    <a:gd name="T59" fmla="*/ 2147483646 h 179"/>
                    <a:gd name="T60" fmla="*/ 2147483646 w 311"/>
                    <a:gd name="T61" fmla="*/ 2147483646 h 179"/>
                    <a:gd name="T62" fmla="*/ 2147483646 w 311"/>
                    <a:gd name="T63" fmla="*/ 2147483646 h 179"/>
                    <a:gd name="T64" fmla="*/ 2147483646 w 311"/>
                    <a:gd name="T65" fmla="*/ 2147483646 h 179"/>
                    <a:gd name="T66" fmla="*/ 2147483646 w 311"/>
                    <a:gd name="T67" fmla="*/ 2147483646 h 179"/>
                    <a:gd name="T68" fmla="*/ 2147483646 w 311"/>
                    <a:gd name="T69" fmla="*/ 2147483646 h 179"/>
                    <a:gd name="T70" fmla="*/ 2147483646 w 311"/>
                    <a:gd name="T71" fmla="*/ 2147483646 h 179"/>
                    <a:gd name="T72" fmla="*/ 2147483646 w 311"/>
                    <a:gd name="T73" fmla="*/ 2147483646 h 179"/>
                    <a:gd name="T74" fmla="*/ 0 w 311"/>
                    <a:gd name="T75" fmla="*/ 2147483646 h 179"/>
                    <a:gd name="T76" fmla="*/ 0 w 311"/>
                    <a:gd name="T77" fmla="*/ 2147483646 h 179"/>
                    <a:gd name="T78" fmla="*/ 2147483646 w 311"/>
                    <a:gd name="T79" fmla="*/ 2147483646 h 179"/>
                    <a:gd name="T80" fmla="*/ 2147483646 w 311"/>
                    <a:gd name="T81" fmla="*/ 2147483646 h 179"/>
                    <a:gd name="T82" fmla="*/ 2147483646 w 311"/>
                    <a:gd name="T83" fmla="*/ 2147483646 h 179"/>
                    <a:gd name="T84" fmla="*/ 2147483646 w 311"/>
                    <a:gd name="T85" fmla="*/ 2147483646 h 179"/>
                    <a:gd name="T86" fmla="*/ 2147483646 w 311"/>
                    <a:gd name="T87" fmla="*/ 2147483646 h 179"/>
                    <a:gd name="T88" fmla="*/ 2147483646 w 311"/>
                    <a:gd name="T89" fmla="*/ 2147483646 h 179"/>
                    <a:gd name="T90" fmla="*/ 2147483646 w 311"/>
                    <a:gd name="T91" fmla="*/ 2147483646 h 179"/>
                    <a:gd name="T92" fmla="*/ 2147483646 w 311"/>
                    <a:gd name="T93" fmla="*/ 2147483646 h 179"/>
                    <a:gd name="T94" fmla="*/ 2147483646 w 311"/>
                    <a:gd name="T95" fmla="*/ 2147483646 h 179"/>
                    <a:gd name="T96" fmla="*/ 2147483646 w 311"/>
                    <a:gd name="T97" fmla="*/ 2147483646 h 179"/>
                    <a:gd name="T98" fmla="*/ 2147483646 w 311"/>
                    <a:gd name="T99" fmla="*/ 2147483646 h 179"/>
                    <a:gd name="T100" fmla="*/ 0 w 311"/>
                    <a:gd name="T101" fmla="*/ 2147483646 h 17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311"/>
                    <a:gd name="T154" fmla="*/ 0 h 179"/>
                    <a:gd name="T155" fmla="*/ 311 w 311"/>
                    <a:gd name="T156" fmla="*/ 179 h 179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311" h="179">
                      <a:moveTo>
                        <a:pt x="0" y="6"/>
                      </a:moveTo>
                      <a:lnTo>
                        <a:pt x="79" y="38"/>
                      </a:lnTo>
                      <a:lnTo>
                        <a:pt x="97" y="33"/>
                      </a:lnTo>
                      <a:lnTo>
                        <a:pt x="115" y="26"/>
                      </a:lnTo>
                      <a:lnTo>
                        <a:pt x="132" y="20"/>
                      </a:lnTo>
                      <a:lnTo>
                        <a:pt x="148" y="14"/>
                      </a:lnTo>
                      <a:lnTo>
                        <a:pt x="163" y="9"/>
                      </a:lnTo>
                      <a:lnTo>
                        <a:pt x="178" y="4"/>
                      </a:lnTo>
                      <a:lnTo>
                        <a:pt x="195" y="1"/>
                      </a:lnTo>
                      <a:lnTo>
                        <a:pt x="211" y="0"/>
                      </a:lnTo>
                      <a:lnTo>
                        <a:pt x="224" y="1"/>
                      </a:lnTo>
                      <a:lnTo>
                        <a:pt x="236" y="2"/>
                      </a:lnTo>
                      <a:lnTo>
                        <a:pt x="247" y="4"/>
                      </a:lnTo>
                      <a:lnTo>
                        <a:pt x="256" y="6"/>
                      </a:lnTo>
                      <a:lnTo>
                        <a:pt x="275" y="10"/>
                      </a:lnTo>
                      <a:lnTo>
                        <a:pt x="292" y="12"/>
                      </a:lnTo>
                      <a:lnTo>
                        <a:pt x="290" y="21"/>
                      </a:lnTo>
                      <a:lnTo>
                        <a:pt x="287" y="28"/>
                      </a:lnTo>
                      <a:lnTo>
                        <a:pt x="283" y="36"/>
                      </a:lnTo>
                      <a:lnTo>
                        <a:pt x="278" y="42"/>
                      </a:lnTo>
                      <a:lnTo>
                        <a:pt x="273" y="48"/>
                      </a:lnTo>
                      <a:lnTo>
                        <a:pt x="269" y="53"/>
                      </a:lnTo>
                      <a:lnTo>
                        <a:pt x="266" y="57"/>
                      </a:lnTo>
                      <a:lnTo>
                        <a:pt x="265" y="62"/>
                      </a:lnTo>
                      <a:lnTo>
                        <a:pt x="265" y="64"/>
                      </a:lnTo>
                      <a:lnTo>
                        <a:pt x="266" y="66"/>
                      </a:lnTo>
                      <a:lnTo>
                        <a:pt x="269" y="69"/>
                      </a:lnTo>
                      <a:lnTo>
                        <a:pt x="271" y="71"/>
                      </a:lnTo>
                      <a:lnTo>
                        <a:pt x="277" y="75"/>
                      </a:lnTo>
                      <a:lnTo>
                        <a:pt x="285" y="79"/>
                      </a:lnTo>
                      <a:lnTo>
                        <a:pt x="301" y="87"/>
                      </a:lnTo>
                      <a:lnTo>
                        <a:pt x="311" y="93"/>
                      </a:lnTo>
                      <a:lnTo>
                        <a:pt x="298" y="100"/>
                      </a:lnTo>
                      <a:lnTo>
                        <a:pt x="287" y="107"/>
                      </a:lnTo>
                      <a:lnTo>
                        <a:pt x="283" y="110"/>
                      </a:lnTo>
                      <a:lnTo>
                        <a:pt x="281" y="115"/>
                      </a:lnTo>
                      <a:lnTo>
                        <a:pt x="278" y="121"/>
                      </a:lnTo>
                      <a:lnTo>
                        <a:pt x="278" y="129"/>
                      </a:lnTo>
                      <a:lnTo>
                        <a:pt x="271" y="131"/>
                      </a:lnTo>
                      <a:lnTo>
                        <a:pt x="252" y="136"/>
                      </a:lnTo>
                      <a:lnTo>
                        <a:pt x="230" y="143"/>
                      </a:lnTo>
                      <a:lnTo>
                        <a:pt x="211" y="148"/>
                      </a:lnTo>
                      <a:lnTo>
                        <a:pt x="202" y="158"/>
                      </a:lnTo>
                      <a:lnTo>
                        <a:pt x="191" y="168"/>
                      </a:lnTo>
                      <a:lnTo>
                        <a:pt x="185" y="172"/>
                      </a:lnTo>
                      <a:lnTo>
                        <a:pt x="178" y="176"/>
                      </a:lnTo>
                      <a:lnTo>
                        <a:pt x="172" y="178"/>
                      </a:lnTo>
                      <a:lnTo>
                        <a:pt x="165" y="179"/>
                      </a:lnTo>
                      <a:lnTo>
                        <a:pt x="158" y="178"/>
                      </a:lnTo>
                      <a:lnTo>
                        <a:pt x="151" y="175"/>
                      </a:lnTo>
                      <a:lnTo>
                        <a:pt x="144" y="171"/>
                      </a:lnTo>
                      <a:lnTo>
                        <a:pt x="137" y="167"/>
                      </a:lnTo>
                      <a:lnTo>
                        <a:pt x="129" y="162"/>
                      </a:lnTo>
                      <a:lnTo>
                        <a:pt x="120" y="158"/>
                      </a:lnTo>
                      <a:lnTo>
                        <a:pt x="110" y="156"/>
                      </a:lnTo>
                      <a:lnTo>
                        <a:pt x="98" y="155"/>
                      </a:lnTo>
                      <a:lnTo>
                        <a:pt x="83" y="155"/>
                      </a:lnTo>
                      <a:lnTo>
                        <a:pt x="66" y="155"/>
                      </a:lnTo>
                      <a:lnTo>
                        <a:pt x="59" y="156"/>
                      </a:lnTo>
                      <a:lnTo>
                        <a:pt x="51" y="157"/>
                      </a:lnTo>
                      <a:lnTo>
                        <a:pt x="45" y="159"/>
                      </a:lnTo>
                      <a:lnTo>
                        <a:pt x="39" y="161"/>
                      </a:lnTo>
                      <a:lnTo>
                        <a:pt x="38" y="151"/>
                      </a:lnTo>
                      <a:lnTo>
                        <a:pt x="36" y="142"/>
                      </a:lnTo>
                      <a:lnTo>
                        <a:pt x="34" y="132"/>
                      </a:lnTo>
                      <a:lnTo>
                        <a:pt x="32" y="123"/>
                      </a:lnTo>
                      <a:lnTo>
                        <a:pt x="26" y="126"/>
                      </a:lnTo>
                      <a:lnTo>
                        <a:pt x="21" y="128"/>
                      </a:lnTo>
                      <a:lnTo>
                        <a:pt x="17" y="129"/>
                      </a:lnTo>
                      <a:lnTo>
                        <a:pt x="13" y="129"/>
                      </a:lnTo>
                      <a:lnTo>
                        <a:pt x="9" y="128"/>
                      </a:lnTo>
                      <a:lnTo>
                        <a:pt x="7" y="126"/>
                      </a:lnTo>
                      <a:lnTo>
                        <a:pt x="5" y="124"/>
                      </a:lnTo>
                      <a:lnTo>
                        <a:pt x="3" y="121"/>
                      </a:lnTo>
                      <a:lnTo>
                        <a:pt x="1" y="114"/>
                      </a:lnTo>
                      <a:lnTo>
                        <a:pt x="0" y="105"/>
                      </a:lnTo>
                      <a:lnTo>
                        <a:pt x="0" y="96"/>
                      </a:lnTo>
                      <a:lnTo>
                        <a:pt x="0" y="87"/>
                      </a:lnTo>
                      <a:lnTo>
                        <a:pt x="1" y="84"/>
                      </a:lnTo>
                      <a:lnTo>
                        <a:pt x="3" y="82"/>
                      </a:lnTo>
                      <a:lnTo>
                        <a:pt x="7" y="80"/>
                      </a:lnTo>
                      <a:lnTo>
                        <a:pt x="13" y="78"/>
                      </a:lnTo>
                      <a:lnTo>
                        <a:pt x="17" y="76"/>
                      </a:lnTo>
                      <a:lnTo>
                        <a:pt x="21" y="72"/>
                      </a:lnTo>
                      <a:lnTo>
                        <a:pt x="23" y="70"/>
                      </a:lnTo>
                      <a:lnTo>
                        <a:pt x="25" y="68"/>
                      </a:lnTo>
                      <a:lnTo>
                        <a:pt x="25" y="65"/>
                      </a:lnTo>
                      <a:lnTo>
                        <a:pt x="26" y="62"/>
                      </a:lnTo>
                      <a:lnTo>
                        <a:pt x="25" y="56"/>
                      </a:lnTo>
                      <a:lnTo>
                        <a:pt x="24" y="51"/>
                      </a:lnTo>
                      <a:lnTo>
                        <a:pt x="21" y="47"/>
                      </a:lnTo>
                      <a:lnTo>
                        <a:pt x="19" y="43"/>
                      </a:lnTo>
                      <a:lnTo>
                        <a:pt x="14" y="36"/>
                      </a:lnTo>
                      <a:lnTo>
                        <a:pt x="8" y="29"/>
                      </a:lnTo>
                      <a:lnTo>
                        <a:pt x="3" y="24"/>
                      </a:lnTo>
                      <a:lnTo>
                        <a:pt x="1" y="18"/>
                      </a:lnTo>
                      <a:lnTo>
                        <a:pt x="0" y="16"/>
                      </a:lnTo>
                      <a:lnTo>
                        <a:pt x="1" y="13"/>
                      </a:lnTo>
                      <a:lnTo>
                        <a:pt x="3" y="10"/>
                      </a:lnTo>
                      <a:lnTo>
                        <a:pt x="6" y="6"/>
                      </a:lnTo>
                      <a:lnTo>
                        <a:pt x="3" y="6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38" name="Freeform 447">
                  <a:extLst>
                    <a:ext uri="{FF2B5EF4-FFF2-40B4-BE49-F238E27FC236}">
                      <a16:creationId xmlns:a16="http://schemas.microsoft.com/office/drawing/2014/main" xmlns="" id="{8AE46380-FC85-48B5-B961-EAA5E0F10F6C}"/>
                    </a:ext>
                  </a:extLst>
                </p:cNvPr>
                <p:cNvSpPr>
                  <a:spLocks/>
                </p:cNvSpPr>
                <p:nvPr>
                  <p:custDataLst>
                    <p:tags r:id="rId285"/>
                  </p:custDataLst>
                </p:nvPr>
              </p:nvSpPr>
              <p:spPr bwMode="auto">
                <a:xfrm>
                  <a:off x="3878263" y="3190875"/>
                  <a:ext cx="177800" cy="165100"/>
                </a:xfrm>
                <a:custGeom>
                  <a:avLst/>
                  <a:gdLst>
                    <a:gd name="T0" fmla="*/ 2147483646 w 405"/>
                    <a:gd name="T1" fmla="*/ 2147483646 h 314"/>
                    <a:gd name="T2" fmla="*/ 2147483646 w 405"/>
                    <a:gd name="T3" fmla="*/ 2147483646 h 314"/>
                    <a:gd name="T4" fmla="*/ 2147483646 w 405"/>
                    <a:gd name="T5" fmla="*/ 2147483646 h 314"/>
                    <a:gd name="T6" fmla="*/ 2147483646 w 405"/>
                    <a:gd name="T7" fmla="*/ 2147483646 h 314"/>
                    <a:gd name="T8" fmla="*/ 2147483646 w 405"/>
                    <a:gd name="T9" fmla="*/ 2147483646 h 314"/>
                    <a:gd name="T10" fmla="*/ 2147483646 w 405"/>
                    <a:gd name="T11" fmla="*/ 2147483646 h 314"/>
                    <a:gd name="T12" fmla="*/ 2147483646 w 405"/>
                    <a:gd name="T13" fmla="*/ 2147483646 h 314"/>
                    <a:gd name="T14" fmla="*/ 2147483646 w 405"/>
                    <a:gd name="T15" fmla="*/ 2147483646 h 314"/>
                    <a:gd name="T16" fmla="*/ 2147483646 w 405"/>
                    <a:gd name="T17" fmla="*/ 2147483646 h 314"/>
                    <a:gd name="T18" fmla="*/ 2147483646 w 405"/>
                    <a:gd name="T19" fmla="*/ 2147483646 h 314"/>
                    <a:gd name="T20" fmla="*/ 2147483646 w 405"/>
                    <a:gd name="T21" fmla="*/ 2147483646 h 314"/>
                    <a:gd name="T22" fmla="*/ 2147483646 w 405"/>
                    <a:gd name="T23" fmla="*/ 2147483646 h 314"/>
                    <a:gd name="T24" fmla="*/ 2147483646 w 405"/>
                    <a:gd name="T25" fmla="*/ 2147483646 h 314"/>
                    <a:gd name="T26" fmla="*/ 2147483646 w 405"/>
                    <a:gd name="T27" fmla="*/ 2147483646 h 314"/>
                    <a:gd name="T28" fmla="*/ 2147483646 w 405"/>
                    <a:gd name="T29" fmla="*/ 2147483646 h 314"/>
                    <a:gd name="T30" fmla="*/ 2147483646 w 405"/>
                    <a:gd name="T31" fmla="*/ 2147483646 h 314"/>
                    <a:gd name="T32" fmla="*/ 2147483646 w 405"/>
                    <a:gd name="T33" fmla="*/ 2147483646 h 314"/>
                    <a:gd name="T34" fmla="*/ 2147483646 w 405"/>
                    <a:gd name="T35" fmla="*/ 2147483646 h 314"/>
                    <a:gd name="T36" fmla="*/ 2147483646 w 405"/>
                    <a:gd name="T37" fmla="*/ 2147483646 h 314"/>
                    <a:gd name="T38" fmla="*/ 2147483646 w 405"/>
                    <a:gd name="T39" fmla="*/ 2147483646 h 314"/>
                    <a:gd name="T40" fmla="*/ 2147483646 w 405"/>
                    <a:gd name="T41" fmla="*/ 0 h 314"/>
                    <a:gd name="T42" fmla="*/ 2147483646 w 405"/>
                    <a:gd name="T43" fmla="*/ 2147483646 h 314"/>
                    <a:gd name="T44" fmla="*/ 2147483646 w 405"/>
                    <a:gd name="T45" fmla="*/ 2147483646 h 314"/>
                    <a:gd name="T46" fmla="*/ 2147483646 w 405"/>
                    <a:gd name="T47" fmla="*/ 2147483646 h 314"/>
                    <a:gd name="T48" fmla="*/ 2147483646 w 405"/>
                    <a:gd name="T49" fmla="*/ 2147483646 h 314"/>
                    <a:gd name="T50" fmla="*/ 2147483646 w 405"/>
                    <a:gd name="T51" fmla="*/ 2147483646 h 314"/>
                    <a:gd name="T52" fmla="*/ 2147483646 w 405"/>
                    <a:gd name="T53" fmla="*/ 2147483646 h 314"/>
                    <a:gd name="T54" fmla="*/ 2147483646 w 405"/>
                    <a:gd name="T55" fmla="*/ 2147483646 h 314"/>
                    <a:gd name="T56" fmla="*/ 2147483646 w 405"/>
                    <a:gd name="T57" fmla="*/ 2147483646 h 314"/>
                    <a:gd name="T58" fmla="*/ 2147483646 w 405"/>
                    <a:gd name="T59" fmla="*/ 2147483646 h 314"/>
                    <a:gd name="T60" fmla="*/ 2147483646 w 405"/>
                    <a:gd name="T61" fmla="*/ 2147483646 h 314"/>
                    <a:gd name="T62" fmla="*/ 2147483646 w 405"/>
                    <a:gd name="T63" fmla="*/ 2147483646 h 314"/>
                    <a:gd name="T64" fmla="*/ 2147483646 w 405"/>
                    <a:gd name="T65" fmla="*/ 2147483646 h 314"/>
                    <a:gd name="T66" fmla="*/ 2147483646 w 405"/>
                    <a:gd name="T67" fmla="*/ 2147483646 h 314"/>
                    <a:gd name="T68" fmla="*/ 2147483646 w 405"/>
                    <a:gd name="T69" fmla="*/ 2147483646 h 314"/>
                    <a:gd name="T70" fmla="*/ 2147483646 w 405"/>
                    <a:gd name="T71" fmla="*/ 2147483646 h 314"/>
                    <a:gd name="T72" fmla="*/ 2147483646 w 405"/>
                    <a:gd name="T73" fmla="*/ 2147483646 h 314"/>
                    <a:gd name="T74" fmla="*/ 2147483646 w 405"/>
                    <a:gd name="T75" fmla="*/ 2147483646 h 314"/>
                    <a:gd name="T76" fmla="*/ 2147483646 w 405"/>
                    <a:gd name="T77" fmla="*/ 2147483646 h 314"/>
                    <a:gd name="T78" fmla="*/ 2147483646 w 405"/>
                    <a:gd name="T79" fmla="*/ 2147483646 h 314"/>
                    <a:gd name="T80" fmla="*/ 2147483646 w 405"/>
                    <a:gd name="T81" fmla="*/ 2147483646 h 314"/>
                    <a:gd name="T82" fmla="*/ 2147483646 w 405"/>
                    <a:gd name="T83" fmla="*/ 2147483646 h 314"/>
                    <a:gd name="T84" fmla="*/ 2147483646 w 405"/>
                    <a:gd name="T85" fmla="*/ 2147483646 h 314"/>
                    <a:gd name="T86" fmla="*/ 2147483646 w 405"/>
                    <a:gd name="T87" fmla="*/ 2147483646 h 314"/>
                    <a:gd name="T88" fmla="*/ 2147483646 w 405"/>
                    <a:gd name="T89" fmla="*/ 2147483646 h 314"/>
                    <a:gd name="T90" fmla="*/ 2147483646 w 405"/>
                    <a:gd name="T91" fmla="*/ 2147483646 h 314"/>
                    <a:gd name="T92" fmla="*/ 2147483646 w 405"/>
                    <a:gd name="T93" fmla="*/ 2147483646 h 314"/>
                    <a:gd name="T94" fmla="*/ 2147483646 w 405"/>
                    <a:gd name="T95" fmla="*/ 2147483646 h 314"/>
                    <a:gd name="T96" fmla="*/ 2147483646 w 405"/>
                    <a:gd name="T97" fmla="*/ 2147483646 h 314"/>
                    <a:gd name="T98" fmla="*/ 2147483646 w 405"/>
                    <a:gd name="T99" fmla="*/ 2147483646 h 314"/>
                    <a:gd name="T100" fmla="*/ 2147483646 w 405"/>
                    <a:gd name="T101" fmla="*/ 2147483646 h 314"/>
                    <a:gd name="T102" fmla="*/ 2147483646 w 405"/>
                    <a:gd name="T103" fmla="*/ 2147483646 h 314"/>
                    <a:gd name="T104" fmla="*/ 0 w 405"/>
                    <a:gd name="T105" fmla="*/ 2147483646 h 314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405"/>
                    <a:gd name="T160" fmla="*/ 0 h 314"/>
                    <a:gd name="T161" fmla="*/ 405 w 405"/>
                    <a:gd name="T162" fmla="*/ 314 h 314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405" h="314">
                      <a:moveTo>
                        <a:pt x="0" y="272"/>
                      </a:moveTo>
                      <a:lnTo>
                        <a:pt x="6" y="260"/>
                      </a:lnTo>
                      <a:lnTo>
                        <a:pt x="11" y="248"/>
                      </a:lnTo>
                      <a:lnTo>
                        <a:pt x="13" y="237"/>
                      </a:lnTo>
                      <a:lnTo>
                        <a:pt x="15" y="226"/>
                      </a:lnTo>
                      <a:lnTo>
                        <a:pt x="17" y="202"/>
                      </a:lnTo>
                      <a:lnTo>
                        <a:pt x="20" y="179"/>
                      </a:lnTo>
                      <a:lnTo>
                        <a:pt x="23" y="173"/>
                      </a:lnTo>
                      <a:lnTo>
                        <a:pt x="26" y="167"/>
                      </a:lnTo>
                      <a:lnTo>
                        <a:pt x="32" y="162"/>
                      </a:lnTo>
                      <a:lnTo>
                        <a:pt x="36" y="158"/>
                      </a:lnTo>
                      <a:lnTo>
                        <a:pt x="48" y="150"/>
                      </a:lnTo>
                      <a:lnTo>
                        <a:pt x="60" y="145"/>
                      </a:lnTo>
                      <a:lnTo>
                        <a:pt x="72" y="141"/>
                      </a:lnTo>
                      <a:lnTo>
                        <a:pt x="83" y="137"/>
                      </a:lnTo>
                      <a:lnTo>
                        <a:pt x="93" y="134"/>
                      </a:lnTo>
                      <a:lnTo>
                        <a:pt x="100" y="130"/>
                      </a:lnTo>
                      <a:lnTo>
                        <a:pt x="104" y="125"/>
                      </a:lnTo>
                      <a:lnTo>
                        <a:pt x="109" y="120"/>
                      </a:lnTo>
                      <a:lnTo>
                        <a:pt x="113" y="114"/>
                      </a:lnTo>
                      <a:lnTo>
                        <a:pt x="116" y="107"/>
                      </a:lnTo>
                      <a:lnTo>
                        <a:pt x="123" y="93"/>
                      </a:lnTo>
                      <a:lnTo>
                        <a:pt x="129" y="81"/>
                      </a:lnTo>
                      <a:lnTo>
                        <a:pt x="136" y="69"/>
                      </a:lnTo>
                      <a:lnTo>
                        <a:pt x="143" y="59"/>
                      </a:lnTo>
                      <a:lnTo>
                        <a:pt x="147" y="55"/>
                      </a:lnTo>
                      <a:lnTo>
                        <a:pt x="150" y="53"/>
                      </a:lnTo>
                      <a:lnTo>
                        <a:pt x="155" y="51"/>
                      </a:lnTo>
                      <a:lnTo>
                        <a:pt x="159" y="50"/>
                      </a:lnTo>
                      <a:lnTo>
                        <a:pt x="170" y="51"/>
                      </a:lnTo>
                      <a:lnTo>
                        <a:pt x="180" y="50"/>
                      </a:lnTo>
                      <a:lnTo>
                        <a:pt x="189" y="48"/>
                      </a:lnTo>
                      <a:lnTo>
                        <a:pt x="196" y="44"/>
                      </a:lnTo>
                      <a:lnTo>
                        <a:pt x="213" y="35"/>
                      </a:lnTo>
                      <a:lnTo>
                        <a:pt x="228" y="25"/>
                      </a:lnTo>
                      <a:lnTo>
                        <a:pt x="237" y="20"/>
                      </a:lnTo>
                      <a:lnTo>
                        <a:pt x="247" y="15"/>
                      </a:lnTo>
                      <a:lnTo>
                        <a:pt x="257" y="11"/>
                      </a:lnTo>
                      <a:lnTo>
                        <a:pt x="269" y="7"/>
                      </a:lnTo>
                      <a:lnTo>
                        <a:pt x="282" y="4"/>
                      </a:lnTo>
                      <a:lnTo>
                        <a:pt x="296" y="1"/>
                      </a:lnTo>
                      <a:lnTo>
                        <a:pt x="314" y="0"/>
                      </a:lnTo>
                      <a:lnTo>
                        <a:pt x="332" y="1"/>
                      </a:lnTo>
                      <a:lnTo>
                        <a:pt x="332" y="14"/>
                      </a:lnTo>
                      <a:lnTo>
                        <a:pt x="335" y="25"/>
                      </a:lnTo>
                      <a:lnTo>
                        <a:pt x="337" y="34"/>
                      </a:lnTo>
                      <a:lnTo>
                        <a:pt x="340" y="43"/>
                      </a:lnTo>
                      <a:lnTo>
                        <a:pt x="343" y="50"/>
                      </a:lnTo>
                      <a:lnTo>
                        <a:pt x="348" y="56"/>
                      </a:lnTo>
                      <a:lnTo>
                        <a:pt x="352" y="62"/>
                      </a:lnTo>
                      <a:lnTo>
                        <a:pt x="357" y="66"/>
                      </a:lnTo>
                      <a:lnTo>
                        <a:pt x="368" y="74"/>
                      </a:lnTo>
                      <a:lnTo>
                        <a:pt x="378" y="81"/>
                      </a:lnTo>
                      <a:lnTo>
                        <a:pt x="382" y="85"/>
                      </a:lnTo>
                      <a:lnTo>
                        <a:pt x="385" y="89"/>
                      </a:lnTo>
                      <a:lnTo>
                        <a:pt x="390" y="93"/>
                      </a:lnTo>
                      <a:lnTo>
                        <a:pt x="392" y="100"/>
                      </a:lnTo>
                      <a:lnTo>
                        <a:pt x="396" y="115"/>
                      </a:lnTo>
                      <a:lnTo>
                        <a:pt x="398" y="129"/>
                      </a:lnTo>
                      <a:lnTo>
                        <a:pt x="398" y="143"/>
                      </a:lnTo>
                      <a:lnTo>
                        <a:pt x="398" y="157"/>
                      </a:lnTo>
                      <a:lnTo>
                        <a:pt x="398" y="170"/>
                      </a:lnTo>
                      <a:lnTo>
                        <a:pt x="399" y="183"/>
                      </a:lnTo>
                      <a:lnTo>
                        <a:pt x="402" y="196"/>
                      </a:lnTo>
                      <a:lnTo>
                        <a:pt x="405" y="211"/>
                      </a:lnTo>
                      <a:lnTo>
                        <a:pt x="398" y="217"/>
                      </a:lnTo>
                      <a:lnTo>
                        <a:pt x="390" y="221"/>
                      </a:lnTo>
                      <a:lnTo>
                        <a:pt x="382" y="226"/>
                      </a:lnTo>
                      <a:lnTo>
                        <a:pt x="374" y="233"/>
                      </a:lnTo>
                      <a:lnTo>
                        <a:pt x="365" y="241"/>
                      </a:lnTo>
                      <a:lnTo>
                        <a:pt x="365" y="239"/>
                      </a:lnTo>
                      <a:lnTo>
                        <a:pt x="363" y="237"/>
                      </a:lnTo>
                      <a:lnTo>
                        <a:pt x="361" y="235"/>
                      </a:lnTo>
                      <a:lnTo>
                        <a:pt x="358" y="233"/>
                      </a:lnTo>
                      <a:lnTo>
                        <a:pt x="351" y="230"/>
                      </a:lnTo>
                      <a:lnTo>
                        <a:pt x="342" y="227"/>
                      </a:lnTo>
                      <a:lnTo>
                        <a:pt x="326" y="224"/>
                      </a:lnTo>
                      <a:lnTo>
                        <a:pt x="319" y="223"/>
                      </a:lnTo>
                      <a:lnTo>
                        <a:pt x="300" y="241"/>
                      </a:lnTo>
                      <a:lnTo>
                        <a:pt x="152" y="241"/>
                      </a:lnTo>
                      <a:lnTo>
                        <a:pt x="151" y="249"/>
                      </a:lnTo>
                      <a:lnTo>
                        <a:pt x="150" y="257"/>
                      </a:lnTo>
                      <a:lnTo>
                        <a:pt x="150" y="266"/>
                      </a:lnTo>
                      <a:lnTo>
                        <a:pt x="150" y="274"/>
                      </a:lnTo>
                      <a:lnTo>
                        <a:pt x="152" y="291"/>
                      </a:lnTo>
                      <a:lnTo>
                        <a:pt x="152" y="314"/>
                      </a:lnTo>
                      <a:lnTo>
                        <a:pt x="146" y="314"/>
                      </a:lnTo>
                      <a:lnTo>
                        <a:pt x="139" y="312"/>
                      </a:lnTo>
                      <a:lnTo>
                        <a:pt x="133" y="308"/>
                      </a:lnTo>
                      <a:lnTo>
                        <a:pt x="126" y="305"/>
                      </a:lnTo>
                      <a:lnTo>
                        <a:pt x="114" y="297"/>
                      </a:lnTo>
                      <a:lnTo>
                        <a:pt x="100" y="290"/>
                      </a:lnTo>
                      <a:lnTo>
                        <a:pt x="94" y="299"/>
                      </a:lnTo>
                      <a:lnTo>
                        <a:pt x="89" y="307"/>
                      </a:lnTo>
                      <a:lnTo>
                        <a:pt x="85" y="310"/>
                      </a:lnTo>
                      <a:lnTo>
                        <a:pt x="82" y="312"/>
                      </a:lnTo>
                      <a:lnTo>
                        <a:pt x="78" y="314"/>
                      </a:lnTo>
                      <a:lnTo>
                        <a:pt x="73" y="314"/>
                      </a:lnTo>
                      <a:lnTo>
                        <a:pt x="66" y="313"/>
                      </a:lnTo>
                      <a:lnTo>
                        <a:pt x="60" y="311"/>
                      </a:lnTo>
                      <a:lnTo>
                        <a:pt x="54" y="306"/>
                      </a:lnTo>
                      <a:lnTo>
                        <a:pt x="47" y="302"/>
                      </a:lnTo>
                      <a:lnTo>
                        <a:pt x="38" y="296"/>
                      </a:lnTo>
                      <a:lnTo>
                        <a:pt x="28" y="291"/>
                      </a:lnTo>
                      <a:lnTo>
                        <a:pt x="16" y="287"/>
                      </a:lnTo>
                      <a:lnTo>
                        <a:pt x="0" y="284"/>
                      </a:lnTo>
                      <a:lnTo>
                        <a:pt x="0" y="27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39" name="Freeform 448">
                  <a:extLst>
                    <a:ext uri="{FF2B5EF4-FFF2-40B4-BE49-F238E27FC236}">
                      <a16:creationId xmlns:a16="http://schemas.microsoft.com/office/drawing/2014/main" xmlns="" id="{F233801C-DB60-4CB3-B0B2-D783418A7971}"/>
                    </a:ext>
                  </a:extLst>
                </p:cNvPr>
                <p:cNvSpPr>
                  <a:spLocks/>
                </p:cNvSpPr>
                <p:nvPr>
                  <p:custDataLst>
                    <p:tags r:id="rId286"/>
                  </p:custDataLst>
                </p:nvPr>
              </p:nvSpPr>
              <p:spPr bwMode="auto">
                <a:xfrm>
                  <a:off x="4225925" y="3259138"/>
                  <a:ext cx="193675" cy="349250"/>
                </a:xfrm>
                <a:custGeom>
                  <a:avLst/>
                  <a:gdLst>
                    <a:gd name="T0" fmla="*/ 2147483646 w 453"/>
                    <a:gd name="T1" fmla="*/ 2147483646 h 661"/>
                    <a:gd name="T2" fmla="*/ 2147483646 w 453"/>
                    <a:gd name="T3" fmla="*/ 2147483646 h 661"/>
                    <a:gd name="T4" fmla="*/ 2147483646 w 453"/>
                    <a:gd name="T5" fmla="*/ 2147483646 h 661"/>
                    <a:gd name="T6" fmla="*/ 2147483646 w 453"/>
                    <a:gd name="T7" fmla="*/ 2147483646 h 661"/>
                    <a:gd name="T8" fmla="*/ 2147483646 w 453"/>
                    <a:gd name="T9" fmla="*/ 2147483646 h 661"/>
                    <a:gd name="T10" fmla="*/ 2147483646 w 453"/>
                    <a:gd name="T11" fmla="*/ 2147483646 h 661"/>
                    <a:gd name="T12" fmla="*/ 2147483646 w 453"/>
                    <a:gd name="T13" fmla="*/ 2147483646 h 661"/>
                    <a:gd name="T14" fmla="*/ 2147483646 w 453"/>
                    <a:gd name="T15" fmla="*/ 2147483646 h 661"/>
                    <a:gd name="T16" fmla="*/ 2147483646 w 453"/>
                    <a:gd name="T17" fmla="*/ 2147483646 h 661"/>
                    <a:gd name="T18" fmla="*/ 2147483646 w 453"/>
                    <a:gd name="T19" fmla="*/ 2147483646 h 661"/>
                    <a:gd name="T20" fmla="*/ 2147483646 w 453"/>
                    <a:gd name="T21" fmla="*/ 2147483646 h 661"/>
                    <a:gd name="T22" fmla="*/ 2147483646 w 453"/>
                    <a:gd name="T23" fmla="*/ 2147483646 h 661"/>
                    <a:gd name="T24" fmla="*/ 2147483646 w 453"/>
                    <a:gd name="T25" fmla="*/ 2147483646 h 661"/>
                    <a:gd name="T26" fmla="*/ 2147483646 w 453"/>
                    <a:gd name="T27" fmla="*/ 2147483646 h 661"/>
                    <a:gd name="T28" fmla="*/ 2147483646 w 453"/>
                    <a:gd name="T29" fmla="*/ 2147483646 h 661"/>
                    <a:gd name="T30" fmla="*/ 2147483646 w 453"/>
                    <a:gd name="T31" fmla="*/ 2147483646 h 661"/>
                    <a:gd name="T32" fmla="*/ 2147483646 w 453"/>
                    <a:gd name="T33" fmla="*/ 2147483646 h 661"/>
                    <a:gd name="T34" fmla="*/ 2147483646 w 453"/>
                    <a:gd name="T35" fmla="*/ 2147483646 h 661"/>
                    <a:gd name="T36" fmla="*/ 2147483646 w 453"/>
                    <a:gd name="T37" fmla="*/ 2147483646 h 661"/>
                    <a:gd name="T38" fmla="*/ 2147483646 w 453"/>
                    <a:gd name="T39" fmla="*/ 2147483646 h 661"/>
                    <a:gd name="T40" fmla="*/ 2147483646 w 453"/>
                    <a:gd name="T41" fmla="*/ 2147483646 h 661"/>
                    <a:gd name="T42" fmla="*/ 2147483646 w 453"/>
                    <a:gd name="T43" fmla="*/ 2147483646 h 661"/>
                    <a:gd name="T44" fmla="*/ 2147483646 w 453"/>
                    <a:gd name="T45" fmla="*/ 2147483646 h 661"/>
                    <a:gd name="T46" fmla="*/ 2147483646 w 453"/>
                    <a:gd name="T47" fmla="*/ 2147483646 h 661"/>
                    <a:gd name="T48" fmla="*/ 2147483646 w 453"/>
                    <a:gd name="T49" fmla="*/ 2147483646 h 661"/>
                    <a:gd name="T50" fmla="*/ 2147483646 w 453"/>
                    <a:gd name="T51" fmla="*/ 2147483646 h 661"/>
                    <a:gd name="T52" fmla="*/ 2147483646 w 453"/>
                    <a:gd name="T53" fmla="*/ 2147483646 h 661"/>
                    <a:gd name="T54" fmla="*/ 2147483646 w 453"/>
                    <a:gd name="T55" fmla="*/ 2147483646 h 661"/>
                    <a:gd name="T56" fmla="*/ 2147483646 w 453"/>
                    <a:gd name="T57" fmla="*/ 2147483646 h 661"/>
                    <a:gd name="T58" fmla="*/ 2147483646 w 453"/>
                    <a:gd name="T59" fmla="*/ 2147483646 h 661"/>
                    <a:gd name="T60" fmla="*/ 2147483646 w 453"/>
                    <a:gd name="T61" fmla="*/ 2147483646 h 661"/>
                    <a:gd name="T62" fmla="*/ 2147483646 w 453"/>
                    <a:gd name="T63" fmla="*/ 2147483646 h 661"/>
                    <a:gd name="T64" fmla="*/ 2147483646 w 453"/>
                    <a:gd name="T65" fmla="*/ 2147483646 h 661"/>
                    <a:gd name="T66" fmla="*/ 2147483646 w 453"/>
                    <a:gd name="T67" fmla="*/ 2147483646 h 661"/>
                    <a:gd name="T68" fmla="*/ 2147483646 w 453"/>
                    <a:gd name="T69" fmla="*/ 2147483646 h 661"/>
                    <a:gd name="T70" fmla="*/ 2147483646 w 453"/>
                    <a:gd name="T71" fmla="*/ 2147483646 h 661"/>
                    <a:gd name="T72" fmla="*/ 2147483646 w 453"/>
                    <a:gd name="T73" fmla="*/ 2147483646 h 661"/>
                    <a:gd name="T74" fmla="*/ 2147483646 w 453"/>
                    <a:gd name="T75" fmla="*/ 2147483646 h 661"/>
                    <a:gd name="T76" fmla="*/ 2147483646 w 453"/>
                    <a:gd name="T77" fmla="*/ 2147483646 h 661"/>
                    <a:gd name="T78" fmla="*/ 2147483646 w 453"/>
                    <a:gd name="T79" fmla="*/ 2147483646 h 661"/>
                    <a:gd name="T80" fmla="*/ 2147483646 w 453"/>
                    <a:gd name="T81" fmla="*/ 2147483646 h 661"/>
                    <a:gd name="T82" fmla="*/ 2147483646 w 453"/>
                    <a:gd name="T83" fmla="*/ 2147483646 h 661"/>
                    <a:gd name="T84" fmla="*/ 2147483646 w 453"/>
                    <a:gd name="T85" fmla="*/ 2147483646 h 661"/>
                    <a:gd name="T86" fmla="*/ 2147483646 w 453"/>
                    <a:gd name="T87" fmla="*/ 2147483646 h 661"/>
                    <a:gd name="T88" fmla="*/ 2147483646 w 453"/>
                    <a:gd name="T89" fmla="*/ 2147483646 h 661"/>
                    <a:gd name="T90" fmla="*/ 2147483646 w 453"/>
                    <a:gd name="T91" fmla="*/ 2147483646 h 661"/>
                    <a:gd name="T92" fmla="*/ 2147483646 w 453"/>
                    <a:gd name="T93" fmla="*/ 2147483646 h 661"/>
                    <a:gd name="T94" fmla="*/ 2147483646 w 453"/>
                    <a:gd name="T95" fmla="*/ 2147483646 h 661"/>
                    <a:gd name="T96" fmla="*/ 2147483646 w 453"/>
                    <a:gd name="T97" fmla="*/ 0 h 661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453"/>
                    <a:gd name="T148" fmla="*/ 0 h 661"/>
                    <a:gd name="T149" fmla="*/ 453 w 453"/>
                    <a:gd name="T150" fmla="*/ 661 h 661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453" h="661">
                      <a:moveTo>
                        <a:pt x="330" y="9"/>
                      </a:moveTo>
                      <a:lnTo>
                        <a:pt x="332" y="23"/>
                      </a:lnTo>
                      <a:lnTo>
                        <a:pt x="335" y="36"/>
                      </a:lnTo>
                      <a:lnTo>
                        <a:pt x="340" y="50"/>
                      </a:lnTo>
                      <a:lnTo>
                        <a:pt x="346" y="63"/>
                      </a:lnTo>
                      <a:lnTo>
                        <a:pt x="321" y="98"/>
                      </a:lnTo>
                      <a:lnTo>
                        <a:pt x="298" y="129"/>
                      </a:lnTo>
                      <a:lnTo>
                        <a:pt x="287" y="145"/>
                      </a:lnTo>
                      <a:lnTo>
                        <a:pt x="277" y="162"/>
                      </a:lnTo>
                      <a:lnTo>
                        <a:pt x="268" y="179"/>
                      </a:lnTo>
                      <a:lnTo>
                        <a:pt x="259" y="200"/>
                      </a:lnTo>
                      <a:lnTo>
                        <a:pt x="253" y="219"/>
                      </a:lnTo>
                      <a:lnTo>
                        <a:pt x="245" y="237"/>
                      </a:lnTo>
                      <a:lnTo>
                        <a:pt x="239" y="255"/>
                      </a:lnTo>
                      <a:lnTo>
                        <a:pt x="232" y="272"/>
                      </a:lnTo>
                      <a:lnTo>
                        <a:pt x="225" y="289"/>
                      </a:lnTo>
                      <a:lnTo>
                        <a:pt x="218" y="309"/>
                      </a:lnTo>
                      <a:lnTo>
                        <a:pt x="209" y="329"/>
                      </a:lnTo>
                      <a:lnTo>
                        <a:pt x="200" y="353"/>
                      </a:lnTo>
                      <a:lnTo>
                        <a:pt x="199" y="356"/>
                      </a:lnTo>
                      <a:lnTo>
                        <a:pt x="196" y="362"/>
                      </a:lnTo>
                      <a:lnTo>
                        <a:pt x="191" y="368"/>
                      </a:lnTo>
                      <a:lnTo>
                        <a:pt x="186" y="374"/>
                      </a:lnTo>
                      <a:lnTo>
                        <a:pt x="180" y="380"/>
                      </a:lnTo>
                      <a:lnTo>
                        <a:pt x="175" y="385"/>
                      </a:lnTo>
                      <a:lnTo>
                        <a:pt x="171" y="389"/>
                      </a:lnTo>
                      <a:lnTo>
                        <a:pt x="167" y="390"/>
                      </a:lnTo>
                      <a:lnTo>
                        <a:pt x="157" y="389"/>
                      </a:lnTo>
                      <a:lnTo>
                        <a:pt x="149" y="386"/>
                      </a:lnTo>
                      <a:lnTo>
                        <a:pt x="141" y="382"/>
                      </a:lnTo>
                      <a:lnTo>
                        <a:pt x="134" y="378"/>
                      </a:lnTo>
                      <a:lnTo>
                        <a:pt x="128" y="374"/>
                      </a:lnTo>
                      <a:lnTo>
                        <a:pt x="121" y="370"/>
                      </a:lnTo>
                      <a:lnTo>
                        <a:pt x="115" y="367"/>
                      </a:lnTo>
                      <a:lnTo>
                        <a:pt x="107" y="366"/>
                      </a:lnTo>
                      <a:lnTo>
                        <a:pt x="94" y="367"/>
                      </a:lnTo>
                      <a:lnTo>
                        <a:pt x="83" y="370"/>
                      </a:lnTo>
                      <a:lnTo>
                        <a:pt x="73" y="374"/>
                      </a:lnTo>
                      <a:lnTo>
                        <a:pt x="64" y="380"/>
                      </a:lnTo>
                      <a:lnTo>
                        <a:pt x="56" y="387"/>
                      </a:lnTo>
                      <a:lnTo>
                        <a:pt x="50" y="395"/>
                      </a:lnTo>
                      <a:lnTo>
                        <a:pt x="44" y="403"/>
                      </a:lnTo>
                      <a:lnTo>
                        <a:pt x="39" y="413"/>
                      </a:lnTo>
                      <a:lnTo>
                        <a:pt x="30" y="434"/>
                      </a:lnTo>
                      <a:lnTo>
                        <a:pt x="21" y="454"/>
                      </a:lnTo>
                      <a:lnTo>
                        <a:pt x="17" y="463"/>
                      </a:lnTo>
                      <a:lnTo>
                        <a:pt x="11" y="473"/>
                      </a:lnTo>
                      <a:lnTo>
                        <a:pt x="7" y="482"/>
                      </a:lnTo>
                      <a:lnTo>
                        <a:pt x="0" y="489"/>
                      </a:lnTo>
                      <a:lnTo>
                        <a:pt x="1" y="494"/>
                      </a:lnTo>
                      <a:lnTo>
                        <a:pt x="1" y="500"/>
                      </a:lnTo>
                      <a:lnTo>
                        <a:pt x="4" y="506"/>
                      </a:lnTo>
                      <a:lnTo>
                        <a:pt x="6" y="512"/>
                      </a:lnTo>
                      <a:lnTo>
                        <a:pt x="8" y="517"/>
                      </a:lnTo>
                      <a:lnTo>
                        <a:pt x="11" y="521"/>
                      </a:lnTo>
                      <a:lnTo>
                        <a:pt x="16" y="524"/>
                      </a:lnTo>
                      <a:lnTo>
                        <a:pt x="20" y="526"/>
                      </a:lnTo>
                      <a:lnTo>
                        <a:pt x="28" y="526"/>
                      </a:lnTo>
                      <a:lnTo>
                        <a:pt x="40" y="526"/>
                      </a:lnTo>
                      <a:lnTo>
                        <a:pt x="55" y="526"/>
                      </a:lnTo>
                      <a:lnTo>
                        <a:pt x="74" y="526"/>
                      </a:lnTo>
                      <a:lnTo>
                        <a:pt x="72" y="537"/>
                      </a:lnTo>
                      <a:lnTo>
                        <a:pt x="71" y="548"/>
                      </a:lnTo>
                      <a:lnTo>
                        <a:pt x="71" y="558"/>
                      </a:lnTo>
                      <a:lnTo>
                        <a:pt x="72" y="569"/>
                      </a:lnTo>
                      <a:lnTo>
                        <a:pt x="73" y="590"/>
                      </a:lnTo>
                      <a:lnTo>
                        <a:pt x="74" y="612"/>
                      </a:lnTo>
                      <a:lnTo>
                        <a:pt x="71" y="621"/>
                      </a:lnTo>
                      <a:lnTo>
                        <a:pt x="67" y="630"/>
                      </a:lnTo>
                      <a:lnTo>
                        <a:pt x="167" y="630"/>
                      </a:lnTo>
                      <a:lnTo>
                        <a:pt x="273" y="630"/>
                      </a:lnTo>
                      <a:lnTo>
                        <a:pt x="433" y="661"/>
                      </a:lnTo>
                      <a:lnTo>
                        <a:pt x="453" y="594"/>
                      </a:lnTo>
                      <a:lnTo>
                        <a:pt x="447" y="588"/>
                      </a:lnTo>
                      <a:lnTo>
                        <a:pt x="442" y="582"/>
                      </a:lnTo>
                      <a:lnTo>
                        <a:pt x="435" y="577"/>
                      </a:lnTo>
                      <a:lnTo>
                        <a:pt x="430" y="573"/>
                      </a:lnTo>
                      <a:lnTo>
                        <a:pt x="415" y="568"/>
                      </a:lnTo>
                      <a:lnTo>
                        <a:pt x="402" y="564"/>
                      </a:lnTo>
                      <a:lnTo>
                        <a:pt x="387" y="561"/>
                      </a:lnTo>
                      <a:lnTo>
                        <a:pt x="373" y="557"/>
                      </a:lnTo>
                      <a:lnTo>
                        <a:pt x="366" y="555"/>
                      </a:lnTo>
                      <a:lnTo>
                        <a:pt x="359" y="552"/>
                      </a:lnTo>
                      <a:lnTo>
                        <a:pt x="353" y="549"/>
                      </a:lnTo>
                      <a:lnTo>
                        <a:pt x="346" y="544"/>
                      </a:lnTo>
                      <a:lnTo>
                        <a:pt x="343" y="541"/>
                      </a:lnTo>
                      <a:lnTo>
                        <a:pt x="340" y="537"/>
                      </a:lnTo>
                      <a:lnTo>
                        <a:pt x="337" y="532"/>
                      </a:lnTo>
                      <a:lnTo>
                        <a:pt x="335" y="527"/>
                      </a:lnTo>
                      <a:lnTo>
                        <a:pt x="333" y="515"/>
                      </a:lnTo>
                      <a:lnTo>
                        <a:pt x="332" y="504"/>
                      </a:lnTo>
                      <a:lnTo>
                        <a:pt x="332" y="482"/>
                      </a:lnTo>
                      <a:lnTo>
                        <a:pt x="333" y="464"/>
                      </a:lnTo>
                      <a:lnTo>
                        <a:pt x="333" y="451"/>
                      </a:lnTo>
                      <a:lnTo>
                        <a:pt x="335" y="439"/>
                      </a:lnTo>
                      <a:lnTo>
                        <a:pt x="337" y="428"/>
                      </a:lnTo>
                      <a:lnTo>
                        <a:pt x="342" y="417"/>
                      </a:lnTo>
                      <a:lnTo>
                        <a:pt x="345" y="406"/>
                      </a:lnTo>
                      <a:lnTo>
                        <a:pt x="351" y="397"/>
                      </a:lnTo>
                      <a:lnTo>
                        <a:pt x="355" y="389"/>
                      </a:lnTo>
                      <a:lnTo>
                        <a:pt x="362" y="380"/>
                      </a:lnTo>
                      <a:lnTo>
                        <a:pt x="373" y="364"/>
                      </a:lnTo>
                      <a:lnTo>
                        <a:pt x="384" y="347"/>
                      </a:lnTo>
                      <a:lnTo>
                        <a:pt x="388" y="338"/>
                      </a:lnTo>
                      <a:lnTo>
                        <a:pt x="392" y="330"/>
                      </a:lnTo>
                      <a:lnTo>
                        <a:pt x="397" y="320"/>
                      </a:lnTo>
                      <a:lnTo>
                        <a:pt x="399" y="310"/>
                      </a:lnTo>
                      <a:lnTo>
                        <a:pt x="399" y="297"/>
                      </a:lnTo>
                      <a:lnTo>
                        <a:pt x="397" y="286"/>
                      </a:lnTo>
                      <a:lnTo>
                        <a:pt x="393" y="276"/>
                      </a:lnTo>
                      <a:lnTo>
                        <a:pt x="389" y="267"/>
                      </a:lnTo>
                      <a:lnTo>
                        <a:pt x="384" y="260"/>
                      </a:lnTo>
                      <a:lnTo>
                        <a:pt x="378" y="253"/>
                      </a:lnTo>
                      <a:lnTo>
                        <a:pt x="373" y="246"/>
                      </a:lnTo>
                      <a:lnTo>
                        <a:pt x="366" y="240"/>
                      </a:lnTo>
                      <a:lnTo>
                        <a:pt x="354" y="229"/>
                      </a:lnTo>
                      <a:lnTo>
                        <a:pt x="343" y="217"/>
                      </a:lnTo>
                      <a:lnTo>
                        <a:pt x="339" y="209"/>
                      </a:lnTo>
                      <a:lnTo>
                        <a:pt x="335" y="201"/>
                      </a:lnTo>
                      <a:lnTo>
                        <a:pt x="333" y="192"/>
                      </a:lnTo>
                      <a:lnTo>
                        <a:pt x="333" y="180"/>
                      </a:lnTo>
                      <a:lnTo>
                        <a:pt x="333" y="176"/>
                      </a:lnTo>
                      <a:lnTo>
                        <a:pt x="335" y="173"/>
                      </a:lnTo>
                      <a:lnTo>
                        <a:pt x="339" y="170"/>
                      </a:lnTo>
                      <a:lnTo>
                        <a:pt x="343" y="167"/>
                      </a:lnTo>
                      <a:lnTo>
                        <a:pt x="353" y="164"/>
                      </a:lnTo>
                      <a:lnTo>
                        <a:pt x="365" y="162"/>
                      </a:lnTo>
                      <a:lnTo>
                        <a:pt x="389" y="162"/>
                      </a:lnTo>
                      <a:lnTo>
                        <a:pt x="406" y="162"/>
                      </a:lnTo>
                      <a:lnTo>
                        <a:pt x="402" y="160"/>
                      </a:lnTo>
                      <a:lnTo>
                        <a:pt x="399" y="156"/>
                      </a:lnTo>
                      <a:lnTo>
                        <a:pt x="395" y="151"/>
                      </a:lnTo>
                      <a:lnTo>
                        <a:pt x="391" y="146"/>
                      </a:lnTo>
                      <a:lnTo>
                        <a:pt x="385" y="132"/>
                      </a:lnTo>
                      <a:lnTo>
                        <a:pt x="379" y="117"/>
                      </a:lnTo>
                      <a:lnTo>
                        <a:pt x="375" y="101"/>
                      </a:lnTo>
                      <a:lnTo>
                        <a:pt x="373" y="83"/>
                      </a:lnTo>
                      <a:lnTo>
                        <a:pt x="371" y="73"/>
                      </a:lnTo>
                      <a:lnTo>
                        <a:pt x="371" y="64"/>
                      </a:lnTo>
                      <a:lnTo>
                        <a:pt x="371" y="54"/>
                      </a:lnTo>
                      <a:lnTo>
                        <a:pt x="373" y="45"/>
                      </a:lnTo>
                      <a:lnTo>
                        <a:pt x="371" y="33"/>
                      </a:lnTo>
                      <a:lnTo>
                        <a:pt x="369" y="21"/>
                      </a:lnTo>
                      <a:lnTo>
                        <a:pt x="367" y="11"/>
                      </a:lnTo>
                      <a:lnTo>
                        <a:pt x="366" y="2"/>
                      </a:lnTo>
                      <a:lnTo>
                        <a:pt x="357" y="1"/>
                      </a:lnTo>
                      <a:lnTo>
                        <a:pt x="347" y="0"/>
                      </a:lnTo>
                      <a:lnTo>
                        <a:pt x="346" y="2"/>
                      </a:lnTo>
                      <a:lnTo>
                        <a:pt x="330" y="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40" name="Freeform 449">
                  <a:extLst>
                    <a:ext uri="{FF2B5EF4-FFF2-40B4-BE49-F238E27FC236}">
                      <a16:creationId xmlns:a16="http://schemas.microsoft.com/office/drawing/2014/main" xmlns="" id="{B7E2C038-06A8-4130-888A-2D4E2BB67605}"/>
                    </a:ext>
                  </a:extLst>
                </p:cNvPr>
                <p:cNvSpPr>
                  <a:spLocks/>
                </p:cNvSpPr>
                <p:nvPr>
                  <p:custDataLst>
                    <p:tags r:id="rId287"/>
                  </p:custDataLst>
                </p:nvPr>
              </p:nvSpPr>
              <p:spPr bwMode="auto">
                <a:xfrm>
                  <a:off x="6677025" y="3017838"/>
                  <a:ext cx="55563" cy="57150"/>
                </a:xfrm>
                <a:custGeom>
                  <a:avLst/>
                  <a:gdLst>
                    <a:gd name="T0" fmla="*/ 0 w 126"/>
                    <a:gd name="T1" fmla="*/ 2147483646 h 105"/>
                    <a:gd name="T2" fmla="*/ 2147483646 w 126"/>
                    <a:gd name="T3" fmla="*/ 2147483646 h 105"/>
                    <a:gd name="T4" fmla="*/ 2147483646 w 126"/>
                    <a:gd name="T5" fmla="*/ 2147483646 h 105"/>
                    <a:gd name="T6" fmla="*/ 2147483646 w 126"/>
                    <a:gd name="T7" fmla="*/ 2147483646 h 105"/>
                    <a:gd name="T8" fmla="*/ 2147483646 w 126"/>
                    <a:gd name="T9" fmla="*/ 2147483646 h 105"/>
                    <a:gd name="T10" fmla="*/ 2147483646 w 126"/>
                    <a:gd name="T11" fmla="*/ 2147483646 h 105"/>
                    <a:gd name="T12" fmla="*/ 2147483646 w 126"/>
                    <a:gd name="T13" fmla="*/ 0 h 105"/>
                    <a:gd name="T14" fmla="*/ 2147483646 w 126"/>
                    <a:gd name="T15" fmla="*/ 0 h 105"/>
                    <a:gd name="T16" fmla="*/ 2147483646 w 126"/>
                    <a:gd name="T17" fmla="*/ 2147483646 h 105"/>
                    <a:gd name="T18" fmla="*/ 2147483646 w 126"/>
                    <a:gd name="T19" fmla="*/ 2147483646 h 105"/>
                    <a:gd name="T20" fmla="*/ 2147483646 w 126"/>
                    <a:gd name="T21" fmla="*/ 2147483646 h 105"/>
                    <a:gd name="T22" fmla="*/ 2147483646 w 126"/>
                    <a:gd name="T23" fmla="*/ 2147483646 h 105"/>
                    <a:gd name="T24" fmla="*/ 2147483646 w 126"/>
                    <a:gd name="T25" fmla="*/ 2147483646 h 105"/>
                    <a:gd name="T26" fmla="*/ 2147483646 w 126"/>
                    <a:gd name="T27" fmla="*/ 2147483646 h 105"/>
                    <a:gd name="T28" fmla="*/ 2147483646 w 126"/>
                    <a:gd name="T29" fmla="*/ 2147483646 h 105"/>
                    <a:gd name="T30" fmla="*/ 2147483646 w 126"/>
                    <a:gd name="T31" fmla="*/ 2147483646 h 105"/>
                    <a:gd name="T32" fmla="*/ 2147483646 w 126"/>
                    <a:gd name="T33" fmla="*/ 2147483646 h 105"/>
                    <a:gd name="T34" fmla="*/ 2147483646 w 126"/>
                    <a:gd name="T35" fmla="*/ 2147483646 h 105"/>
                    <a:gd name="T36" fmla="*/ 2147483646 w 126"/>
                    <a:gd name="T37" fmla="*/ 2147483646 h 105"/>
                    <a:gd name="T38" fmla="*/ 2147483646 w 126"/>
                    <a:gd name="T39" fmla="*/ 2147483646 h 105"/>
                    <a:gd name="T40" fmla="*/ 2147483646 w 126"/>
                    <a:gd name="T41" fmla="*/ 2147483646 h 105"/>
                    <a:gd name="T42" fmla="*/ 2147483646 w 126"/>
                    <a:gd name="T43" fmla="*/ 2147483646 h 105"/>
                    <a:gd name="T44" fmla="*/ 2147483646 w 126"/>
                    <a:gd name="T45" fmla="*/ 2147483646 h 105"/>
                    <a:gd name="T46" fmla="*/ 2147483646 w 126"/>
                    <a:gd name="T47" fmla="*/ 2147483646 h 105"/>
                    <a:gd name="T48" fmla="*/ 2147483646 w 126"/>
                    <a:gd name="T49" fmla="*/ 2147483646 h 105"/>
                    <a:gd name="T50" fmla="*/ 2147483646 w 126"/>
                    <a:gd name="T51" fmla="*/ 2147483646 h 105"/>
                    <a:gd name="T52" fmla="*/ 2147483646 w 126"/>
                    <a:gd name="T53" fmla="*/ 2147483646 h 105"/>
                    <a:gd name="T54" fmla="*/ 2147483646 w 126"/>
                    <a:gd name="T55" fmla="*/ 2147483646 h 105"/>
                    <a:gd name="T56" fmla="*/ 2147483646 w 126"/>
                    <a:gd name="T57" fmla="*/ 2147483646 h 105"/>
                    <a:gd name="T58" fmla="*/ 2147483646 w 126"/>
                    <a:gd name="T59" fmla="*/ 2147483646 h 105"/>
                    <a:gd name="T60" fmla="*/ 2147483646 w 126"/>
                    <a:gd name="T61" fmla="*/ 2147483646 h 105"/>
                    <a:gd name="T62" fmla="*/ 2147483646 w 126"/>
                    <a:gd name="T63" fmla="*/ 2147483646 h 105"/>
                    <a:gd name="T64" fmla="*/ 2147483646 w 126"/>
                    <a:gd name="T65" fmla="*/ 2147483646 h 105"/>
                    <a:gd name="T66" fmla="*/ 2147483646 w 126"/>
                    <a:gd name="T67" fmla="*/ 2147483646 h 105"/>
                    <a:gd name="T68" fmla="*/ 2147483646 w 126"/>
                    <a:gd name="T69" fmla="*/ 2147483646 h 105"/>
                    <a:gd name="T70" fmla="*/ 2147483646 w 126"/>
                    <a:gd name="T71" fmla="*/ 2147483646 h 105"/>
                    <a:gd name="T72" fmla="*/ 2147483646 w 126"/>
                    <a:gd name="T73" fmla="*/ 2147483646 h 105"/>
                    <a:gd name="T74" fmla="*/ 2147483646 w 126"/>
                    <a:gd name="T75" fmla="*/ 2147483646 h 105"/>
                    <a:gd name="T76" fmla="*/ 0 w 126"/>
                    <a:gd name="T77" fmla="*/ 2147483646 h 105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126"/>
                    <a:gd name="T118" fmla="*/ 0 h 105"/>
                    <a:gd name="T119" fmla="*/ 126 w 126"/>
                    <a:gd name="T120" fmla="*/ 105 h 105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126" h="105">
                      <a:moveTo>
                        <a:pt x="0" y="56"/>
                      </a:moveTo>
                      <a:lnTo>
                        <a:pt x="4" y="49"/>
                      </a:lnTo>
                      <a:lnTo>
                        <a:pt x="10" y="41"/>
                      </a:lnTo>
                      <a:lnTo>
                        <a:pt x="16" y="33"/>
                      </a:lnTo>
                      <a:lnTo>
                        <a:pt x="24" y="25"/>
                      </a:lnTo>
                      <a:lnTo>
                        <a:pt x="37" y="11"/>
                      </a:lnTo>
                      <a:lnTo>
                        <a:pt x="47" y="0"/>
                      </a:lnTo>
                      <a:lnTo>
                        <a:pt x="113" y="0"/>
                      </a:lnTo>
                      <a:lnTo>
                        <a:pt x="114" y="4"/>
                      </a:lnTo>
                      <a:lnTo>
                        <a:pt x="115" y="8"/>
                      </a:lnTo>
                      <a:lnTo>
                        <a:pt x="117" y="12"/>
                      </a:lnTo>
                      <a:lnTo>
                        <a:pt x="119" y="14"/>
                      </a:lnTo>
                      <a:lnTo>
                        <a:pt x="124" y="20"/>
                      </a:lnTo>
                      <a:lnTo>
                        <a:pt x="126" y="24"/>
                      </a:lnTo>
                      <a:lnTo>
                        <a:pt x="126" y="32"/>
                      </a:lnTo>
                      <a:lnTo>
                        <a:pt x="125" y="41"/>
                      </a:lnTo>
                      <a:lnTo>
                        <a:pt x="124" y="48"/>
                      </a:lnTo>
                      <a:lnTo>
                        <a:pt x="122" y="55"/>
                      </a:lnTo>
                      <a:lnTo>
                        <a:pt x="119" y="62"/>
                      </a:lnTo>
                      <a:lnTo>
                        <a:pt x="116" y="69"/>
                      </a:lnTo>
                      <a:lnTo>
                        <a:pt x="112" y="75"/>
                      </a:lnTo>
                      <a:lnTo>
                        <a:pt x="108" y="81"/>
                      </a:lnTo>
                      <a:lnTo>
                        <a:pt x="104" y="86"/>
                      </a:lnTo>
                      <a:lnTo>
                        <a:pt x="99" y="90"/>
                      </a:lnTo>
                      <a:lnTo>
                        <a:pt x="93" y="94"/>
                      </a:lnTo>
                      <a:lnTo>
                        <a:pt x="88" y="99"/>
                      </a:lnTo>
                      <a:lnTo>
                        <a:pt x="81" y="101"/>
                      </a:lnTo>
                      <a:lnTo>
                        <a:pt x="74" y="103"/>
                      </a:lnTo>
                      <a:lnTo>
                        <a:pt x="67" y="105"/>
                      </a:lnTo>
                      <a:lnTo>
                        <a:pt x="60" y="105"/>
                      </a:lnTo>
                      <a:lnTo>
                        <a:pt x="48" y="104"/>
                      </a:lnTo>
                      <a:lnTo>
                        <a:pt x="38" y="102"/>
                      </a:lnTo>
                      <a:lnTo>
                        <a:pt x="31" y="98"/>
                      </a:lnTo>
                      <a:lnTo>
                        <a:pt x="24" y="92"/>
                      </a:lnTo>
                      <a:lnTo>
                        <a:pt x="20" y="86"/>
                      </a:lnTo>
                      <a:lnTo>
                        <a:pt x="16" y="78"/>
                      </a:lnTo>
                      <a:lnTo>
                        <a:pt x="14" y="70"/>
                      </a:lnTo>
                      <a:lnTo>
                        <a:pt x="13" y="62"/>
                      </a:lnTo>
                      <a:lnTo>
                        <a:pt x="0" y="56"/>
                      </a:ln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41" name="Freeform 450">
                  <a:extLst>
                    <a:ext uri="{FF2B5EF4-FFF2-40B4-BE49-F238E27FC236}">
                      <a16:creationId xmlns:a16="http://schemas.microsoft.com/office/drawing/2014/main" xmlns="" id="{7531ED58-3B95-4043-AC50-D7C19B80FF21}"/>
                    </a:ext>
                  </a:extLst>
                </p:cNvPr>
                <p:cNvSpPr>
                  <a:spLocks/>
                </p:cNvSpPr>
                <p:nvPr>
                  <p:custDataLst>
                    <p:tags r:id="rId288"/>
                  </p:custDataLst>
                </p:nvPr>
              </p:nvSpPr>
              <p:spPr bwMode="auto">
                <a:xfrm>
                  <a:off x="2032000" y="3281363"/>
                  <a:ext cx="298450" cy="523875"/>
                </a:xfrm>
                <a:custGeom>
                  <a:avLst/>
                  <a:gdLst>
                    <a:gd name="T0" fmla="*/ 2147483646 w 684"/>
                    <a:gd name="T1" fmla="*/ 2147483646 h 998"/>
                    <a:gd name="T2" fmla="*/ 2147483646 w 684"/>
                    <a:gd name="T3" fmla="*/ 2147483646 h 998"/>
                    <a:gd name="T4" fmla="*/ 2147483646 w 684"/>
                    <a:gd name="T5" fmla="*/ 2147483646 h 998"/>
                    <a:gd name="T6" fmla="*/ 2147483646 w 684"/>
                    <a:gd name="T7" fmla="*/ 2147483646 h 998"/>
                    <a:gd name="T8" fmla="*/ 2147483646 w 684"/>
                    <a:gd name="T9" fmla="*/ 2147483646 h 998"/>
                    <a:gd name="T10" fmla="*/ 2147483646 w 684"/>
                    <a:gd name="T11" fmla="*/ 2147483646 h 998"/>
                    <a:gd name="T12" fmla="*/ 2147483646 w 684"/>
                    <a:gd name="T13" fmla="*/ 2147483646 h 998"/>
                    <a:gd name="T14" fmla="*/ 2147483646 w 684"/>
                    <a:gd name="T15" fmla="*/ 2147483646 h 998"/>
                    <a:gd name="T16" fmla="*/ 2147483646 w 684"/>
                    <a:gd name="T17" fmla="*/ 2147483646 h 998"/>
                    <a:gd name="T18" fmla="*/ 2147483646 w 684"/>
                    <a:gd name="T19" fmla="*/ 2147483646 h 998"/>
                    <a:gd name="T20" fmla="*/ 2147483646 w 684"/>
                    <a:gd name="T21" fmla="*/ 2147483646 h 998"/>
                    <a:gd name="T22" fmla="*/ 2147483646 w 684"/>
                    <a:gd name="T23" fmla="*/ 2147483646 h 998"/>
                    <a:gd name="T24" fmla="*/ 2147483646 w 684"/>
                    <a:gd name="T25" fmla="*/ 2147483646 h 998"/>
                    <a:gd name="T26" fmla="*/ 2147483646 w 684"/>
                    <a:gd name="T27" fmla="*/ 2147483646 h 998"/>
                    <a:gd name="T28" fmla="*/ 2147483646 w 684"/>
                    <a:gd name="T29" fmla="*/ 2147483646 h 998"/>
                    <a:gd name="T30" fmla="*/ 2147483646 w 684"/>
                    <a:gd name="T31" fmla="*/ 2147483646 h 998"/>
                    <a:gd name="T32" fmla="*/ 2147483646 w 684"/>
                    <a:gd name="T33" fmla="*/ 2147483646 h 998"/>
                    <a:gd name="T34" fmla="*/ 2147483646 w 684"/>
                    <a:gd name="T35" fmla="*/ 2147483646 h 998"/>
                    <a:gd name="T36" fmla="*/ 2147483646 w 684"/>
                    <a:gd name="T37" fmla="*/ 2147483646 h 998"/>
                    <a:gd name="T38" fmla="*/ 2147483646 w 684"/>
                    <a:gd name="T39" fmla="*/ 2147483646 h 998"/>
                    <a:gd name="T40" fmla="*/ 2147483646 w 684"/>
                    <a:gd name="T41" fmla="*/ 2147483646 h 998"/>
                    <a:gd name="T42" fmla="*/ 2147483646 w 684"/>
                    <a:gd name="T43" fmla="*/ 2147483646 h 998"/>
                    <a:gd name="T44" fmla="*/ 2147483646 w 684"/>
                    <a:gd name="T45" fmla="*/ 2147483646 h 998"/>
                    <a:gd name="T46" fmla="*/ 2147483646 w 684"/>
                    <a:gd name="T47" fmla="*/ 2147483646 h 998"/>
                    <a:gd name="T48" fmla="*/ 2147483646 w 684"/>
                    <a:gd name="T49" fmla="*/ 2147483646 h 998"/>
                    <a:gd name="T50" fmla="*/ 2147483646 w 684"/>
                    <a:gd name="T51" fmla="*/ 2147483646 h 998"/>
                    <a:gd name="T52" fmla="*/ 2147483646 w 684"/>
                    <a:gd name="T53" fmla="*/ 2147483646 h 998"/>
                    <a:gd name="T54" fmla="*/ 2147483646 w 684"/>
                    <a:gd name="T55" fmla="*/ 2147483646 h 998"/>
                    <a:gd name="T56" fmla="*/ 2147483646 w 684"/>
                    <a:gd name="T57" fmla="*/ 2147483646 h 998"/>
                    <a:gd name="T58" fmla="*/ 2147483646 w 684"/>
                    <a:gd name="T59" fmla="*/ 2147483646 h 998"/>
                    <a:gd name="T60" fmla="*/ 2147483646 w 684"/>
                    <a:gd name="T61" fmla="*/ 2147483646 h 998"/>
                    <a:gd name="T62" fmla="*/ 2147483646 w 684"/>
                    <a:gd name="T63" fmla="*/ 2147483646 h 998"/>
                    <a:gd name="T64" fmla="*/ 2147483646 w 684"/>
                    <a:gd name="T65" fmla="*/ 2147483646 h 998"/>
                    <a:gd name="T66" fmla="*/ 2147483646 w 684"/>
                    <a:gd name="T67" fmla="*/ 2147483646 h 998"/>
                    <a:gd name="T68" fmla="*/ 2147483646 w 684"/>
                    <a:gd name="T69" fmla="*/ 2147483646 h 998"/>
                    <a:gd name="T70" fmla="*/ 2147483646 w 684"/>
                    <a:gd name="T71" fmla="*/ 2147483646 h 998"/>
                    <a:gd name="T72" fmla="*/ 2147483646 w 684"/>
                    <a:gd name="T73" fmla="*/ 2147483646 h 998"/>
                    <a:gd name="T74" fmla="*/ 2147483646 w 684"/>
                    <a:gd name="T75" fmla="*/ 2147483646 h 998"/>
                    <a:gd name="T76" fmla="*/ 2147483646 w 684"/>
                    <a:gd name="T77" fmla="*/ 2147483646 h 998"/>
                    <a:gd name="T78" fmla="*/ 2147483646 w 684"/>
                    <a:gd name="T79" fmla="*/ 2147483646 h 998"/>
                    <a:gd name="T80" fmla="*/ 2147483646 w 684"/>
                    <a:gd name="T81" fmla="*/ 2147483646 h 998"/>
                    <a:gd name="T82" fmla="*/ 2147483646 w 684"/>
                    <a:gd name="T83" fmla="*/ 2147483646 h 998"/>
                    <a:gd name="T84" fmla="*/ 2147483646 w 684"/>
                    <a:gd name="T85" fmla="*/ 2147483646 h 998"/>
                    <a:gd name="T86" fmla="*/ 2147483646 w 684"/>
                    <a:gd name="T87" fmla="*/ 2147483646 h 998"/>
                    <a:gd name="T88" fmla="*/ 2147483646 w 684"/>
                    <a:gd name="T89" fmla="*/ 2147483646 h 998"/>
                    <a:gd name="T90" fmla="*/ 2147483646 w 684"/>
                    <a:gd name="T91" fmla="*/ 2147483646 h 998"/>
                    <a:gd name="T92" fmla="*/ 2147483646 w 684"/>
                    <a:gd name="T93" fmla="*/ 2147483646 h 998"/>
                    <a:gd name="T94" fmla="*/ 2147483646 w 684"/>
                    <a:gd name="T95" fmla="*/ 2147483646 h 998"/>
                    <a:gd name="T96" fmla="*/ 2147483646 w 684"/>
                    <a:gd name="T97" fmla="*/ 2147483646 h 998"/>
                    <a:gd name="T98" fmla="*/ 2147483646 w 684"/>
                    <a:gd name="T99" fmla="*/ 2147483646 h 998"/>
                    <a:gd name="T100" fmla="*/ 2147483646 w 684"/>
                    <a:gd name="T101" fmla="*/ 2147483646 h 998"/>
                    <a:gd name="T102" fmla="*/ 2147483646 w 684"/>
                    <a:gd name="T103" fmla="*/ 2147483646 h 998"/>
                    <a:gd name="T104" fmla="*/ 2147483646 w 684"/>
                    <a:gd name="T105" fmla="*/ 2147483646 h 998"/>
                    <a:gd name="T106" fmla="*/ 2147483646 w 684"/>
                    <a:gd name="T107" fmla="*/ 2147483646 h 998"/>
                    <a:gd name="T108" fmla="*/ 2147483646 w 684"/>
                    <a:gd name="T109" fmla="*/ 2147483646 h 998"/>
                    <a:gd name="T110" fmla="*/ 2147483646 w 684"/>
                    <a:gd name="T111" fmla="*/ 2147483646 h 998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684"/>
                    <a:gd name="T169" fmla="*/ 0 h 998"/>
                    <a:gd name="T170" fmla="*/ 684 w 684"/>
                    <a:gd name="T171" fmla="*/ 998 h 998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684" h="998">
                      <a:moveTo>
                        <a:pt x="684" y="622"/>
                      </a:moveTo>
                      <a:lnTo>
                        <a:pt x="680" y="609"/>
                      </a:lnTo>
                      <a:lnTo>
                        <a:pt x="676" y="596"/>
                      </a:lnTo>
                      <a:lnTo>
                        <a:pt x="672" y="583"/>
                      </a:lnTo>
                      <a:lnTo>
                        <a:pt x="671" y="573"/>
                      </a:lnTo>
                      <a:lnTo>
                        <a:pt x="671" y="568"/>
                      </a:lnTo>
                      <a:lnTo>
                        <a:pt x="673" y="564"/>
                      </a:lnTo>
                      <a:lnTo>
                        <a:pt x="676" y="559"/>
                      </a:lnTo>
                      <a:lnTo>
                        <a:pt x="678" y="555"/>
                      </a:lnTo>
                      <a:lnTo>
                        <a:pt x="680" y="550"/>
                      </a:lnTo>
                      <a:lnTo>
                        <a:pt x="682" y="546"/>
                      </a:lnTo>
                      <a:lnTo>
                        <a:pt x="683" y="541"/>
                      </a:lnTo>
                      <a:lnTo>
                        <a:pt x="684" y="537"/>
                      </a:lnTo>
                      <a:lnTo>
                        <a:pt x="680" y="519"/>
                      </a:lnTo>
                      <a:lnTo>
                        <a:pt x="671" y="491"/>
                      </a:lnTo>
                      <a:lnTo>
                        <a:pt x="666" y="475"/>
                      </a:lnTo>
                      <a:lnTo>
                        <a:pt x="662" y="459"/>
                      </a:lnTo>
                      <a:lnTo>
                        <a:pt x="659" y="444"/>
                      </a:lnTo>
                      <a:lnTo>
                        <a:pt x="658" y="432"/>
                      </a:lnTo>
                      <a:lnTo>
                        <a:pt x="659" y="423"/>
                      </a:lnTo>
                      <a:lnTo>
                        <a:pt x="661" y="415"/>
                      </a:lnTo>
                      <a:lnTo>
                        <a:pt x="665" y="409"/>
                      </a:lnTo>
                      <a:lnTo>
                        <a:pt x="669" y="403"/>
                      </a:lnTo>
                      <a:lnTo>
                        <a:pt x="673" y="396"/>
                      </a:lnTo>
                      <a:lnTo>
                        <a:pt x="678" y="389"/>
                      </a:lnTo>
                      <a:lnTo>
                        <a:pt x="681" y="381"/>
                      </a:lnTo>
                      <a:lnTo>
                        <a:pt x="684" y="370"/>
                      </a:lnTo>
                      <a:lnTo>
                        <a:pt x="571" y="370"/>
                      </a:lnTo>
                      <a:lnTo>
                        <a:pt x="564" y="366"/>
                      </a:lnTo>
                      <a:lnTo>
                        <a:pt x="557" y="361"/>
                      </a:lnTo>
                      <a:lnTo>
                        <a:pt x="550" y="355"/>
                      </a:lnTo>
                      <a:lnTo>
                        <a:pt x="544" y="347"/>
                      </a:lnTo>
                      <a:lnTo>
                        <a:pt x="539" y="340"/>
                      </a:lnTo>
                      <a:lnTo>
                        <a:pt x="535" y="333"/>
                      </a:lnTo>
                      <a:lnTo>
                        <a:pt x="533" y="326"/>
                      </a:lnTo>
                      <a:lnTo>
                        <a:pt x="532" y="321"/>
                      </a:lnTo>
                      <a:lnTo>
                        <a:pt x="512" y="320"/>
                      </a:lnTo>
                      <a:lnTo>
                        <a:pt x="494" y="318"/>
                      </a:lnTo>
                      <a:lnTo>
                        <a:pt x="477" y="315"/>
                      </a:lnTo>
                      <a:lnTo>
                        <a:pt x="462" y="310"/>
                      </a:lnTo>
                      <a:lnTo>
                        <a:pt x="447" y="304"/>
                      </a:lnTo>
                      <a:lnTo>
                        <a:pt x="434" y="298"/>
                      </a:lnTo>
                      <a:lnTo>
                        <a:pt x="423" y="290"/>
                      </a:lnTo>
                      <a:lnTo>
                        <a:pt x="412" y="281"/>
                      </a:lnTo>
                      <a:lnTo>
                        <a:pt x="402" y="270"/>
                      </a:lnTo>
                      <a:lnTo>
                        <a:pt x="395" y="259"/>
                      </a:lnTo>
                      <a:lnTo>
                        <a:pt x="388" y="246"/>
                      </a:lnTo>
                      <a:lnTo>
                        <a:pt x="382" y="232"/>
                      </a:lnTo>
                      <a:lnTo>
                        <a:pt x="378" y="218"/>
                      </a:lnTo>
                      <a:lnTo>
                        <a:pt x="375" y="201"/>
                      </a:lnTo>
                      <a:lnTo>
                        <a:pt x="373" y="184"/>
                      </a:lnTo>
                      <a:lnTo>
                        <a:pt x="373" y="167"/>
                      </a:lnTo>
                      <a:lnTo>
                        <a:pt x="373" y="155"/>
                      </a:lnTo>
                      <a:lnTo>
                        <a:pt x="374" y="144"/>
                      </a:lnTo>
                      <a:lnTo>
                        <a:pt x="375" y="133"/>
                      </a:lnTo>
                      <a:lnTo>
                        <a:pt x="377" y="123"/>
                      </a:lnTo>
                      <a:lnTo>
                        <a:pt x="380" y="113"/>
                      </a:lnTo>
                      <a:lnTo>
                        <a:pt x="385" y="103"/>
                      </a:lnTo>
                      <a:lnTo>
                        <a:pt x="389" y="94"/>
                      </a:lnTo>
                      <a:lnTo>
                        <a:pt x="395" y="84"/>
                      </a:lnTo>
                      <a:lnTo>
                        <a:pt x="401" y="76"/>
                      </a:lnTo>
                      <a:lnTo>
                        <a:pt x="408" y="68"/>
                      </a:lnTo>
                      <a:lnTo>
                        <a:pt x="416" y="61"/>
                      </a:lnTo>
                      <a:lnTo>
                        <a:pt x="425" y="54"/>
                      </a:lnTo>
                      <a:lnTo>
                        <a:pt x="435" y="48"/>
                      </a:lnTo>
                      <a:lnTo>
                        <a:pt x="446" y="42"/>
                      </a:lnTo>
                      <a:lnTo>
                        <a:pt x="458" y="36"/>
                      </a:lnTo>
                      <a:lnTo>
                        <a:pt x="471" y="31"/>
                      </a:lnTo>
                      <a:lnTo>
                        <a:pt x="471" y="18"/>
                      </a:lnTo>
                      <a:lnTo>
                        <a:pt x="463" y="11"/>
                      </a:lnTo>
                      <a:lnTo>
                        <a:pt x="455" y="7"/>
                      </a:lnTo>
                      <a:lnTo>
                        <a:pt x="447" y="4"/>
                      </a:lnTo>
                      <a:lnTo>
                        <a:pt x="438" y="0"/>
                      </a:lnTo>
                      <a:lnTo>
                        <a:pt x="414" y="19"/>
                      </a:lnTo>
                      <a:lnTo>
                        <a:pt x="389" y="39"/>
                      </a:lnTo>
                      <a:lnTo>
                        <a:pt x="378" y="48"/>
                      </a:lnTo>
                      <a:lnTo>
                        <a:pt x="367" y="56"/>
                      </a:lnTo>
                      <a:lnTo>
                        <a:pt x="356" y="63"/>
                      </a:lnTo>
                      <a:lnTo>
                        <a:pt x="345" y="68"/>
                      </a:lnTo>
                      <a:lnTo>
                        <a:pt x="335" y="68"/>
                      </a:lnTo>
                      <a:lnTo>
                        <a:pt x="326" y="68"/>
                      </a:lnTo>
                      <a:lnTo>
                        <a:pt x="319" y="68"/>
                      </a:lnTo>
                      <a:lnTo>
                        <a:pt x="312" y="68"/>
                      </a:lnTo>
                      <a:lnTo>
                        <a:pt x="309" y="74"/>
                      </a:lnTo>
                      <a:lnTo>
                        <a:pt x="304" y="78"/>
                      </a:lnTo>
                      <a:lnTo>
                        <a:pt x="299" y="81"/>
                      </a:lnTo>
                      <a:lnTo>
                        <a:pt x="295" y="83"/>
                      </a:lnTo>
                      <a:lnTo>
                        <a:pt x="289" y="85"/>
                      </a:lnTo>
                      <a:lnTo>
                        <a:pt x="284" y="85"/>
                      </a:lnTo>
                      <a:lnTo>
                        <a:pt x="278" y="84"/>
                      </a:lnTo>
                      <a:lnTo>
                        <a:pt x="273" y="84"/>
                      </a:lnTo>
                      <a:lnTo>
                        <a:pt x="262" y="82"/>
                      </a:lnTo>
                      <a:lnTo>
                        <a:pt x="251" y="81"/>
                      </a:lnTo>
                      <a:lnTo>
                        <a:pt x="245" y="81"/>
                      </a:lnTo>
                      <a:lnTo>
                        <a:pt x="241" y="81"/>
                      </a:lnTo>
                      <a:lnTo>
                        <a:pt x="236" y="83"/>
                      </a:lnTo>
                      <a:lnTo>
                        <a:pt x="233" y="86"/>
                      </a:lnTo>
                      <a:lnTo>
                        <a:pt x="225" y="94"/>
                      </a:lnTo>
                      <a:lnTo>
                        <a:pt x="221" y="101"/>
                      </a:lnTo>
                      <a:lnTo>
                        <a:pt x="217" y="108"/>
                      </a:lnTo>
                      <a:lnTo>
                        <a:pt x="213" y="114"/>
                      </a:lnTo>
                      <a:lnTo>
                        <a:pt x="209" y="128"/>
                      </a:lnTo>
                      <a:lnTo>
                        <a:pt x="206" y="143"/>
                      </a:lnTo>
                      <a:lnTo>
                        <a:pt x="201" y="159"/>
                      </a:lnTo>
                      <a:lnTo>
                        <a:pt x="196" y="175"/>
                      </a:lnTo>
                      <a:lnTo>
                        <a:pt x="192" y="183"/>
                      </a:lnTo>
                      <a:lnTo>
                        <a:pt x="187" y="191"/>
                      </a:lnTo>
                      <a:lnTo>
                        <a:pt x="180" y="200"/>
                      </a:lnTo>
                      <a:lnTo>
                        <a:pt x="173" y="210"/>
                      </a:lnTo>
                      <a:lnTo>
                        <a:pt x="157" y="227"/>
                      </a:lnTo>
                      <a:lnTo>
                        <a:pt x="140" y="244"/>
                      </a:lnTo>
                      <a:lnTo>
                        <a:pt x="131" y="253"/>
                      </a:lnTo>
                      <a:lnTo>
                        <a:pt x="122" y="263"/>
                      </a:lnTo>
                      <a:lnTo>
                        <a:pt x="115" y="273"/>
                      </a:lnTo>
                      <a:lnTo>
                        <a:pt x="107" y="284"/>
                      </a:lnTo>
                      <a:lnTo>
                        <a:pt x="102" y="288"/>
                      </a:lnTo>
                      <a:lnTo>
                        <a:pt x="98" y="294"/>
                      </a:lnTo>
                      <a:lnTo>
                        <a:pt x="96" y="299"/>
                      </a:lnTo>
                      <a:lnTo>
                        <a:pt x="94" y="305"/>
                      </a:lnTo>
                      <a:lnTo>
                        <a:pt x="90" y="317"/>
                      </a:lnTo>
                      <a:lnTo>
                        <a:pt x="86" y="327"/>
                      </a:lnTo>
                      <a:lnTo>
                        <a:pt x="85" y="331"/>
                      </a:lnTo>
                      <a:lnTo>
                        <a:pt x="84" y="338"/>
                      </a:lnTo>
                      <a:lnTo>
                        <a:pt x="84" y="347"/>
                      </a:lnTo>
                      <a:lnTo>
                        <a:pt x="86" y="356"/>
                      </a:lnTo>
                      <a:lnTo>
                        <a:pt x="88" y="366"/>
                      </a:lnTo>
                      <a:lnTo>
                        <a:pt x="91" y="375"/>
                      </a:lnTo>
                      <a:lnTo>
                        <a:pt x="93" y="378"/>
                      </a:lnTo>
                      <a:lnTo>
                        <a:pt x="95" y="380"/>
                      </a:lnTo>
                      <a:lnTo>
                        <a:pt x="97" y="382"/>
                      </a:lnTo>
                      <a:lnTo>
                        <a:pt x="100" y="382"/>
                      </a:lnTo>
                      <a:lnTo>
                        <a:pt x="98" y="397"/>
                      </a:lnTo>
                      <a:lnTo>
                        <a:pt x="97" y="414"/>
                      </a:lnTo>
                      <a:lnTo>
                        <a:pt x="97" y="433"/>
                      </a:lnTo>
                      <a:lnTo>
                        <a:pt x="97" y="451"/>
                      </a:lnTo>
                      <a:lnTo>
                        <a:pt x="99" y="484"/>
                      </a:lnTo>
                      <a:lnTo>
                        <a:pt x="100" y="505"/>
                      </a:lnTo>
                      <a:lnTo>
                        <a:pt x="99" y="511"/>
                      </a:lnTo>
                      <a:lnTo>
                        <a:pt x="98" y="518"/>
                      </a:lnTo>
                      <a:lnTo>
                        <a:pt x="95" y="525"/>
                      </a:lnTo>
                      <a:lnTo>
                        <a:pt x="91" y="532"/>
                      </a:lnTo>
                      <a:lnTo>
                        <a:pt x="88" y="541"/>
                      </a:lnTo>
                      <a:lnTo>
                        <a:pt x="83" y="548"/>
                      </a:lnTo>
                      <a:lnTo>
                        <a:pt x="77" y="556"/>
                      </a:lnTo>
                      <a:lnTo>
                        <a:pt x="72" y="563"/>
                      </a:lnTo>
                      <a:lnTo>
                        <a:pt x="65" y="570"/>
                      </a:lnTo>
                      <a:lnTo>
                        <a:pt x="59" y="576"/>
                      </a:lnTo>
                      <a:lnTo>
                        <a:pt x="51" y="582"/>
                      </a:lnTo>
                      <a:lnTo>
                        <a:pt x="43" y="587"/>
                      </a:lnTo>
                      <a:lnTo>
                        <a:pt x="37" y="592"/>
                      </a:lnTo>
                      <a:lnTo>
                        <a:pt x="29" y="596"/>
                      </a:lnTo>
                      <a:lnTo>
                        <a:pt x="21" y="598"/>
                      </a:lnTo>
                      <a:lnTo>
                        <a:pt x="14" y="598"/>
                      </a:lnTo>
                      <a:lnTo>
                        <a:pt x="12" y="605"/>
                      </a:lnTo>
                      <a:lnTo>
                        <a:pt x="11" y="612"/>
                      </a:lnTo>
                      <a:lnTo>
                        <a:pt x="9" y="618"/>
                      </a:lnTo>
                      <a:lnTo>
                        <a:pt x="7" y="625"/>
                      </a:lnTo>
                      <a:lnTo>
                        <a:pt x="3" y="637"/>
                      </a:lnTo>
                      <a:lnTo>
                        <a:pt x="0" y="648"/>
                      </a:lnTo>
                      <a:lnTo>
                        <a:pt x="30" y="668"/>
                      </a:lnTo>
                      <a:lnTo>
                        <a:pt x="67" y="694"/>
                      </a:lnTo>
                      <a:lnTo>
                        <a:pt x="87" y="707"/>
                      </a:lnTo>
                      <a:lnTo>
                        <a:pt x="106" y="718"/>
                      </a:lnTo>
                      <a:lnTo>
                        <a:pt x="115" y="722"/>
                      </a:lnTo>
                      <a:lnTo>
                        <a:pt x="123" y="725"/>
                      </a:lnTo>
                      <a:lnTo>
                        <a:pt x="132" y="727"/>
                      </a:lnTo>
                      <a:lnTo>
                        <a:pt x="140" y="727"/>
                      </a:lnTo>
                      <a:lnTo>
                        <a:pt x="153" y="727"/>
                      </a:lnTo>
                      <a:lnTo>
                        <a:pt x="166" y="727"/>
                      </a:lnTo>
                      <a:lnTo>
                        <a:pt x="175" y="728"/>
                      </a:lnTo>
                      <a:lnTo>
                        <a:pt x="184" y="729"/>
                      </a:lnTo>
                      <a:lnTo>
                        <a:pt x="192" y="730"/>
                      </a:lnTo>
                      <a:lnTo>
                        <a:pt x="201" y="732"/>
                      </a:lnTo>
                      <a:lnTo>
                        <a:pt x="218" y="738"/>
                      </a:lnTo>
                      <a:lnTo>
                        <a:pt x="234" y="746"/>
                      </a:lnTo>
                      <a:lnTo>
                        <a:pt x="250" y="755"/>
                      </a:lnTo>
                      <a:lnTo>
                        <a:pt x="265" y="767"/>
                      </a:lnTo>
                      <a:lnTo>
                        <a:pt x="279" y="778"/>
                      </a:lnTo>
                      <a:lnTo>
                        <a:pt x="292" y="789"/>
                      </a:lnTo>
                      <a:lnTo>
                        <a:pt x="299" y="795"/>
                      </a:lnTo>
                      <a:lnTo>
                        <a:pt x="306" y="802"/>
                      </a:lnTo>
                      <a:lnTo>
                        <a:pt x="312" y="809"/>
                      </a:lnTo>
                      <a:lnTo>
                        <a:pt x="318" y="818"/>
                      </a:lnTo>
                      <a:lnTo>
                        <a:pt x="328" y="834"/>
                      </a:lnTo>
                      <a:lnTo>
                        <a:pt x="337" y="850"/>
                      </a:lnTo>
                      <a:lnTo>
                        <a:pt x="342" y="857"/>
                      </a:lnTo>
                      <a:lnTo>
                        <a:pt x="347" y="864"/>
                      </a:lnTo>
                      <a:lnTo>
                        <a:pt x="354" y="871"/>
                      </a:lnTo>
                      <a:lnTo>
                        <a:pt x="359" y="877"/>
                      </a:lnTo>
                      <a:lnTo>
                        <a:pt x="367" y="881"/>
                      </a:lnTo>
                      <a:lnTo>
                        <a:pt x="374" y="885"/>
                      </a:lnTo>
                      <a:lnTo>
                        <a:pt x="382" y="887"/>
                      </a:lnTo>
                      <a:lnTo>
                        <a:pt x="392" y="888"/>
                      </a:lnTo>
                      <a:lnTo>
                        <a:pt x="402" y="887"/>
                      </a:lnTo>
                      <a:lnTo>
                        <a:pt x="412" y="886"/>
                      </a:lnTo>
                      <a:lnTo>
                        <a:pt x="422" y="884"/>
                      </a:lnTo>
                      <a:lnTo>
                        <a:pt x="432" y="882"/>
                      </a:lnTo>
                      <a:lnTo>
                        <a:pt x="442" y="879"/>
                      </a:lnTo>
                      <a:lnTo>
                        <a:pt x="452" y="877"/>
                      </a:lnTo>
                      <a:lnTo>
                        <a:pt x="462" y="876"/>
                      </a:lnTo>
                      <a:lnTo>
                        <a:pt x="471" y="875"/>
                      </a:lnTo>
                      <a:lnTo>
                        <a:pt x="478" y="876"/>
                      </a:lnTo>
                      <a:lnTo>
                        <a:pt x="485" y="878"/>
                      </a:lnTo>
                      <a:lnTo>
                        <a:pt x="489" y="878"/>
                      </a:lnTo>
                      <a:lnTo>
                        <a:pt x="492" y="878"/>
                      </a:lnTo>
                      <a:lnTo>
                        <a:pt x="496" y="877"/>
                      </a:lnTo>
                      <a:lnTo>
                        <a:pt x="499" y="875"/>
                      </a:lnTo>
                      <a:lnTo>
                        <a:pt x="501" y="883"/>
                      </a:lnTo>
                      <a:lnTo>
                        <a:pt x="509" y="894"/>
                      </a:lnTo>
                      <a:lnTo>
                        <a:pt x="515" y="904"/>
                      </a:lnTo>
                      <a:lnTo>
                        <a:pt x="519" y="912"/>
                      </a:lnTo>
                      <a:lnTo>
                        <a:pt x="518" y="915"/>
                      </a:lnTo>
                      <a:lnTo>
                        <a:pt x="516" y="918"/>
                      </a:lnTo>
                      <a:lnTo>
                        <a:pt x="515" y="920"/>
                      </a:lnTo>
                      <a:lnTo>
                        <a:pt x="513" y="922"/>
                      </a:lnTo>
                      <a:lnTo>
                        <a:pt x="508" y="927"/>
                      </a:lnTo>
                      <a:lnTo>
                        <a:pt x="502" y="930"/>
                      </a:lnTo>
                      <a:lnTo>
                        <a:pt x="496" y="933"/>
                      </a:lnTo>
                      <a:lnTo>
                        <a:pt x="490" y="936"/>
                      </a:lnTo>
                      <a:lnTo>
                        <a:pt x="488" y="937"/>
                      </a:lnTo>
                      <a:lnTo>
                        <a:pt x="487" y="939"/>
                      </a:lnTo>
                      <a:lnTo>
                        <a:pt x="486" y="941"/>
                      </a:lnTo>
                      <a:lnTo>
                        <a:pt x="485" y="943"/>
                      </a:lnTo>
                      <a:lnTo>
                        <a:pt x="486" y="954"/>
                      </a:lnTo>
                      <a:lnTo>
                        <a:pt x="488" y="963"/>
                      </a:lnTo>
                      <a:lnTo>
                        <a:pt x="490" y="970"/>
                      </a:lnTo>
                      <a:lnTo>
                        <a:pt x="494" y="977"/>
                      </a:lnTo>
                      <a:lnTo>
                        <a:pt x="499" y="984"/>
                      </a:lnTo>
                      <a:lnTo>
                        <a:pt x="504" y="989"/>
                      </a:lnTo>
                      <a:lnTo>
                        <a:pt x="511" y="994"/>
                      </a:lnTo>
                      <a:lnTo>
                        <a:pt x="519" y="998"/>
                      </a:lnTo>
                      <a:lnTo>
                        <a:pt x="538" y="998"/>
                      </a:lnTo>
                      <a:lnTo>
                        <a:pt x="538" y="986"/>
                      </a:lnTo>
                      <a:lnTo>
                        <a:pt x="539" y="973"/>
                      </a:lnTo>
                      <a:lnTo>
                        <a:pt x="542" y="962"/>
                      </a:lnTo>
                      <a:lnTo>
                        <a:pt x="544" y="950"/>
                      </a:lnTo>
                      <a:lnTo>
                        <a:pt x="548" y="928"/>
                      </a:lnTo>
                      <a:lnTo>
                        <a:pt x="555" y="906"/>
                      </a:lnTo>
                      <a:lnTo>
                        <a:pt x="561" y="884"/>
                      </a:lnTo>
                      <a:lnTo>
                        <a:pt x="566" y="861"/>
                      </a:lnTo>
                      <a:lnTo>
                        <a:pt x="568" y="850"/>
                      </a:lnTo>
                      <a:lnTo>
                        <a:pt x="570" y="838"/>
                      </a:lnTo>
                      <a:lnTo>
                        <a:pt x="571" y="826"/>
                      </a:lnTo>
                      <a:lnTo>
                        <a:pt x="571" y="813"/>
                      </a:lnTo>
                      <a:lnTo>
                        <a:pt x="571" y="803"/>
                      </a:lnTo>
                      <a:lnTo>
                        <a:pt x="569" y="794"/>
                      </a:lnTo>
                      <a:lnTo>
                        <a:pt x="567" y="786"/>
                      </a:lnTo>
                      <a:lnTo>
                        <a:pt x="564" y="780"/>
                      </a:lnTo>
                      <a:lnTo>
                        <a:pt x="559" y="775"/>
                      </a:lnTo>
                      <a:lnTo>
                        <a:pt x="555" y="771"/>
                      </a:lnTo>
                      <a:lnTo>
                        <a:pt x="549" y="768"/>
                      </a:lnTo>
                      <a:lnTo>
                        <a:pt x="545" y="765"/>
                      </a:lnTo>
                      <a:lnTo>
                        <a:pt x="535" y="759"/>
                      </a:lnTo>
                      <a:lnTo>
                        <a:pt x="526" y="752"/>
                      </a:lnTo>
                      <a:lnTo>
                        <a:pt x="523" y="749"/>
                      </a:lnTo>
                      <a:lnTo>
                        <a:pt x="521" y="745"/>
                      </a:lnTo>
                      <a:lnTo>
                        <a:pt x="519" y="740"/>
                      </a:lnTo>
                      <a:lnTo>
                        <a:pt x="519" y="733"/>
                      </a:lnTo>
                      <a:lnTo>
                        <a:pt x="519" y="728"/>
                      </a:lnTo>
                      <a:lnTo>
                        <a:pt x="521" y="723"/>
                      </a:lnTo>
                      <a:lnTo>
                        <a:pt x="523" y="719"/>
                      </a:lnTo>
                      <a:lnTo>
                        <a:pt x="526" y="716"/>
                      </a:lnTo>
                      <a:lnTo>
                        <a:pt x="535" y="710"/>
                      </a:lnTo>
                      <a:lnTo>
                        <a:pt x="546" y="706"/>
                      </a:lnTo>
                      <a:lnTo>
                        <a:pt x="566" y="700"/>
                      </a:lnTo>
                      <a:lnTo>
                        <a:pt x="578" y="696"/>
                      </a:lnTo>
                      <a:lnTo>
                        <a:pt x="578" y="678"/>
                      </a:lnTo>
                      <a:lnTo>
                        <a:pt x="568" y="673"/>
                      </a:lnTo>
                      <a:lnTo>
                        <a:pt x="560" y="668"/>
                      </a:lnTo>
                      <a:lnTo>
                        <a:pt x="556" y="665"/>
                      </a:lnTo>
                      <a:lnTo>
                        <a:pt x="554" y="662"/>
                      </a:lnTo>
                      <a:lnTo>
                        <a:pt x="552" y="658"/>
                      </a:lnTo>
                      <a:lnTo>
                        <a:pt x="552" y="654"/>
                      </a:lnTo>
                      <a:lnTo>
                        <a:pt x="553" y="651"/>
                      </a:lnTo>
                      <a:lnTo>
                        <a:pt x="556" y="649"/>
                      </a:lnTo>
                      <a:lnTo>
                        <a:pt x="563" y="646"/>
                      </a:lnTo>
                      <a:lnTo>
                        <a:pt x="569" y="644"/>
                      </a:lnTo>
                      <a:lnTo>
                        <a:pt x="588" y="639"/>
                      </a:lnTo>
                      <a:lnTo>
                        <a:pt x="611" y="635"/>
                      </a:lnTo>
                      <a:lnTo>
                        <a:pt x="655" y="628"/>
                      </a:lnTo>
                      <a:lnTo>
                        <a:pt x="684" y="62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42" name="Freeform 451">
                  <a:extLst>
                    <a:ext uri="{FF2B5EF4-FFF2-40B4-BE49-F238E27FC236}">
                      <a16:creationId xmlns:a16="http://schemas.microsoft.com/office/drawing/2014/main" xmlns="" id="{C425740F-F48E-457F-835E-1E302003822B}"/>
                    </a:ext>
                  </a:extLst>
                </p:cNvPr>
                <p:cNvSpPr>
                  <a:spLocks/>
                </p:cNvSpPr>
                <p:nvPr>
                  <p:custDataLst>
                    <p:tags r:id="rId289"/>
                  </p:custDataLst>
                </p:nvPr>
              </p:nvSpPr>
              <p:spPr bwMode="auto">
                <a:xfrm>
                  <a:off x="4284663" y="3549650"/>
                  <a:ext cx="187325" cy="274638"/>
                </a:xfrm>
                <a:custGeom>
                  <a:avLst/>
                  <a:gdLst>
                    <a:gd name="T0" fmla="*/ 2147483646 w 429"/>
                    <a:gd name="T1" fmla="*/ 2147483646 h 524"/>
                    <a:gd name="T2" fmla="*/ 2147483646 w 429"/>
                    <a:gd name="T3" fmla="*/ 2147483646 h 524"/>
                    <a:gd name="T4" fmla="*/ 2147483646 w 429"/>
                    <a:gd name="T5" fmla="*/ 2147483646 h 524"/>
                    <a:gd name="T6" fmla="*/ 2147483646 w 429"/>
                    <a:gd name="T7" fmla="*/ 2147483646 h 524"/>
                    <a:gd name="T8" fmla="*/ 2147483646 w 429"/>
                    <a:gd name="T9" fmla="*/ 2147483646 h 524"/>
                    <a:gd name="T10" fmla="*/ 2147483646 w 429"/>
                    <a:gd name="T11" fmla="*/ 2147483646 h 524"/>
                    <a:gd name="T12" fmla="*/ 2147483646 w 429"/>
                    <a:gd name="T13" fmla="*/ 2147483646 h 524"/>
                    <a:gd name="T14" fmla="*/ 2147483646 w 429"/>
                    <a:gd name="T15" fmla="*/ 2147483646 h 524"/>
                    <a:gd name="T16" fmla="*/ 2147483646 w 429"/>
                    <a:gd name="T17" fmla="*/ 2147483646 h 524"/>
                    <a:gd name="T18" fmla="*/ 2147483646 w 429"/>
                    <a:gd name="T19" fmla="*/ 2147483646 h 524"/>
                    <a:gd name="T20" fmla="*/ 2147483646 w 429"/>
                    <a:gd name="T21" fmla="*/ 2147483646 h 524"/>
                    <a:gd name="T22" fmla="*/ 2147483646 w 429"/>
                    <a:gd name="T23" fmla="*/ 2147483646 h 524"/>
                    <a:gd name="T24" fmla="*/ 2147483646 w 429"/>
                    <a:gd name="T25" fmla="*/ 2147483646 h 524"/>
                    <a:gd name="T26" fmla="*/ 2147483646 w 429"/>
                    <a:gd name="T27" fmla="*/ 2147483646 h 524"/>
                    <a:gd name="T28" fmla="*/ 2147483646 w 429"/>
                    <a:gd name="T29" fmla="*/ 2147483646 h 524"/>
                    <a:gd name="T30" fmla="*/ 2147483646 w 429"/>
                    <a:gd name="T31" fmla="*/ 2147483646 h 524"/>
                    <a:gd name="T32" fmla="*/ 2147483646 w 429"/>
                    <a:gd name="T33" fmla="*/ 2147483646 h 524"/>
                    <a:gd name="T34" fmla="*/ 2147483646 w 429"/>
                    <a:gd name="T35" fmla="*/ 2147483646 h 524"/>
                    <a:gd name="T36" fmla="*/ 2147483646 w 429"/>
                    <a:gd name="T37" fmla="*/ 2147483646 h 524"/>
                    <a:gd name="T38" fmla="*/ 2147483646 w 429"/>
                    <a:gd name="T39" fmla="*/ 2147483646 h 524"/>
                    <a:gd name="T40" fmla="*/ 2147483646 w 429"/>
                    <a:gd name="T41" fmla="*/ 2147483646 h 524"/>
                    <a:gd name="T42" fmla="*/ 2147483646 w 429"/>
                    <a:gd name="T43" fmla="*/ 2147483646 h 524"/>
                    <a:gd name="T44" fmla="*/ 2147483646 w 429"/>
                    <a:gd name="T45" fmla="*/ 2147483646 h 524"/>
                    <a:gd name="T46" fmla="*/ 2147483646 w 429"/>
                    <a:gd name="T47" fmla="*/ 2147483646 h 524"/>
                    <a:gd name="T48" fmla="*/ 2147483646 w 429"/>
                    <a:gd name="T49" fmla="*/ 2147483646 h 524"/>
                    <a:gd name="T50" fmla="*/ 2147483646 w 429"/>
                    <a:gd name="T51" fmla="*/ 2147483646 h 524"/>
                    <a:gd name="T52" fmla="*/ 2147483646 w 429"/>
                    <a:gd name="T53" fmla="*/ 2147483646 h 524"/>
                    <a:gd name="T54" fmla="*/ 2147483646 w 429"/>
                    <a:gd name="T55" fmla="*/ 2147483646 h 524"/>
                    <a:gd name="T56" fmla="*/ 2147483646 w 429"/>
                    <a:gd name="T57" fmla="*/ 2147483646 h 524"/>
                    <a:gd name="T58" fmla="*/ 2147483646 w 429"/>
                    <a:gd name="T59" fmla="*/ 2147483646 h 524"/>
                    <a:gd name="T60" fmla="*/ 2147483646 w 429"/>
                    <a:gd name="T61" fmla="*/ 2147483646 h 524"/>
                    <a:gd name="T62" fmla="*/ 2147483646 w 429"/>
                    <a:gd name="T63" fmla="*/ 2147483646 h 524"/>
                    <a:gd name="T64" fmla="*/ 2147483646 w 429"/>
                    <a:gd name="T65" fmla="*/ 2147483646 h 524"/>
                    <a:gd name="T66" fmla="*/ 2147483646 w 429"/>
                    <a:gd name="T67" fmla="*/ 2147483646 h 524"/>
                    <a:gd name="T68" fmla="*/ 2147483646 w 429"/>
                    <a:gd name="T69" fmla="*/ 2147483646 h 524"/>
                    <a:gd name="T70" fmla="*/ 2147483646 w 429"/>
                    <a:gd name="T71" fmla="*/ 2147483646 h 524"/>
                    <a:gd name="T72" fmla="*/ 2147483646 w 429"/>
                    <a:gd name="T73" fmla="*/ 2147483646 h 524"/>
                    <a:gd name="T74" fmla="*/ 2147483646 w 429"/>
                    <a:gd name="T75" fmla="*/ 2147483646 h 524"/>
                    <a:gd name="T76" fmla="*/ 2147483646 w 429"/>
                    <a:gd name="T77" fmla="*/ 2147483646 h 524"/>
                    <a:gd name="T78" fmla="*/ 2147483646 w 429"/>
                    <a:gd name="T79" fmla="*/ 2147483646 h 524"/>
                    <a:gd name="T80" fmla="*/ 2147483646 w 429"/>
                    <a:gd name="T81" fmla="*/ 2147483646 h 524"/>
                    <a:gd name="T82" fmla="*/ 2147483646 w 429"/>
                    <a:gd name="T83" fmla="*/ 2147483646 h 524"/>
                    <a:gd name="T84" fmla="*/ 2147483646 w 429"/>
                    <a:gd name="T85" fmla="*/ 2147483646 h 524"/>
                    <a:gd name="T86" fmla="*/ 2147483646 w 429"/>
                    <a:gd name="T87" fmla="*/ 2147483646 h 524"/>
                    <a:gd name="T88" fmla="*/ 2147483646 w 429"/>
                    <a:gd name="T89" fmla="*/ 2147483646 h 524"/>
                    <a:gd name="T90" fmla="*/ 2147483646 w 429"/>
                    <a:gd name="T91" fmla="*/ 2147483646 h 524"/>
                    <a:gd name="T92" fmla="*/ 2147483646 w 429"/>
                    <a:gd name="T93" fmla="*/ 2147483646 h 524"/>
                    <a:gd name="T94" fmla="*/ 2147483646 w 429"/>
                    <a:gd name="T95" fmla="*/ 2147483646 h 524"/>
                    <a:gd name="T96" fmla="*/ 2147483646 w 429"/>
                    <a:gd name="T97" fmla="*/ 2147483646 h 524"/>
                    <a:gd name="T98" fmla="*/ 2147483646 w 429"/>
                    <a:gd name="T99" fmla="*/ 2147483646 h 524"/>
                    <a:gd name="T100" fmla="*/ 2147483646 w 429"/>
                    <a:gd name="T101" fmla="*/ 2147483646 h 524"/>
                    <a:gd name="T102" fmla="*/ 2147483646 w 429"/>
                    <a:gd name="T103" fmla="*/ 2147483646 h 524"/>
                    <a:gd name="T104" fmla="*/ 2147483646 w 429"/>
                    <a:gd name="T105" fmla="*/ 2147483646 h 524"/>
                    <a:gd name="T106" fmla="*/ 2147483646 w 429"/>
                    <a:gd name="T107" fmla="*/ 2147483646 h 524"/>
                    <a:gd name="T108" fmla="*/ 2147483646 w 429"/>
                    <a:gd name="T109" fmla="*/ 2147483646 h 524"/>
                    <a:gd name="T110" fmla="*/ 2147483646 w 429"/>
                    <a:gd name="T111" fmla="*/ 2147483646 h 524"/>
                    <a:gd name="T112" fmla="*/ 2147483646 w 429"/>
                    <a:gd name="T113" fmla="*/ 2147483646 h 524"/>
                    <a:gd name="T114" fmla="*/ 2147483646 w 429"/>
                    <a:gd name="T115" fmla="*/ 2147483646 h 524"/>
                    <a:gd name="T116" fmla="*/ 2147483646 w 429"/>
                    <a:gd name="T117" fmla="*/ 2147483646 h 524"/>
                    <a:gd name="T118" fmla="*/ 2147483646 w 429"/>
                    <a:gd name="T119" fmla="*/ 2147483646 h 524"/>
                    <a:gd name="T120" fmla="*/ 2147483646 w 429"/>
                    <a:gd name="T121" fmla="*/ 2147483646 h 524"/>
                    <a:gd name="T122" fmla="*/ 2147483646 w 429"/>
                    <a:gd name="T123" fmla="*/ 2147483646 h 524"/>
                    <a:gd name="T124" fmla="*/ 2147483646 w 429"/>
                    <a:gd name="T125" fmla="*/ 2147483646 h 52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429"/>
                    <a:gd name="T190" fmla="*/ 0 h 524"/>
                    <a:gd name="T191" fmla="*/ 429 w 429"/>
                    <a:gd name="T192" fmla="*/ 524 h 52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429" h="524">
                      <a:moveTo>
                        <a:pt x="426" y="0"/>
                      </a:moveTo>
                      <a:lnTo>
                        <a:pt x="427" y="12"/>
                      </a:lnTo>
                      <a:lnTo>
                        <a:pt x="429" y="22"/>
                      </a:lnTo>
                      <a:lnTo>
                        <a:pt x="429" y="31"/>
                      </a:lnTo>
                      <a:lnTo>
                        <a:pt x="429" y="38"/>
                      </a:lnTo>
                      <a:lnTo>
                        <a:pt x="428" y="43"/>
                      </a:lnTo>
                      <a:lnTo>
                        <a:pt x="427" y="48"/>
                      </a:lnTo>
                      <a:lnTo>
                        <a:pt x="426" y="51"/>
                      </a:lnTo>
                      <a:lnTo>
                        <a:pt x="424" y="54"/>
                      </a:lnTo>
                      <a:lnTo>
                        <a:pt x="419" y="60"/>
                      </a:lnTo>
                      <a:lnTo>
                        <a:pt x="416" y="64"/>
                      </a:lnTo>
                      <a:lnTo>
                        <a:pt x="415" y="67"/>
                      </a:lnTo>
                      <a:lnTo>
                        <a:pt x="413" y="71"/>
                      </a:lnTo>
                      <a:lnTo>
                        <a:pt x="413" y="75"/>
                      </a:lnTo>
                      <a:lnTo>
                        <a:pt x="413" y="81"/>
                      </a:lnTo>
                      <a:lnTo>
                        <a:pt x="413" y="109"/>
                      </a:lnTo>
                      <a:lnTo>
                        <a:pt x="414" y="135"/>
                      </a:lnTo>
                      <a:lnTo>
                        <a:pt x="414" y="160"/>
                      </a:lnTo>
                      <a:lnTo>
                        <a:pt x="413" y="183"/>
                      </a:lnTo>
                      <a:lnTo>
                        <a:pt x="410" y="196"/>
                      </a:lnTo>
                      <a:lnTo>
                        <a:pt x="408" y="207"/>
                      </a:lnTo>
                      <a:lnTo>
                        <a:pt x="405" y="218"/>
                      </a:lnTo>
                      <a:lnTo>
                        <a:pt x="401" y="229"/>
                      </a:lnTo>
                      <a:lnTo>
                        <a:pt x="396" y="241"/>
                      </a:lnTo>
                      <a:lnTo>
                        <a:pt x="390" y="254"/>
                      </a:lnTo>
                      <a:lnTo>
                        <a:pt x="382" y="266"/>
                      </a:lnTo>
                      <a:lnTo>
                        <a:pt x="372" y="278"/>
                      </a:lnTo>
                      <a:lnTo>
                        <a:pt x="360" y="288"/>
                      </a:lnTo>
                      <a:lnTo>
                        <a:pt x="346" y="300"/>
                      </a:lnTo>
                      <a:lnTo>
                        <a:pt x="338" y="309"/>
                      </a:lnTo>
                      <a:lnTo>
                        <a:pt x="331" y="316"/>
                      </a:lnTo>
                      <a:lnTo>
                        <a:pt x="325" y="324"/>
                      </a:lnTo>
                      <a:lnTo>
                        <a:pt x="319" y="333"/>
                      </a:lnTo>
                      <a:lnTo>
                        <a:pt x="318" y="361"/>
                      </a:lnTo>
                      <a:lnTo>
                        <a:pt x="314" y="395"/>
                      </a:lnTo>
                      <a:lnTo>
                        <a:pt x="312" y="412"/>
                      </a:lnTo>
                      <a:lnTo>
                        <a:pt x="308" y="428"/>
                      </a:lnTo>
                      <a:lnTo>
                        <a:pt x="306" y="434"/>
                      </a:lnTo>
                      <a:lnTo>
                        <a:pt x="304" y="439"/>
                      </a:lnTo>
                      <a:lnTo>
                        <a:pt x="302" y="442"/>
                      </a:lnTo>
                      <a:lnTo>
                        <a:pt x="300" y="444"/>
                      </a:lnTo>
                      <a:lnTo>
                        <a:pt x="290" y="448"/>
                      </a:lnTo>
                      <a:lnTo>
                        <a:pt x="280" y="451"/>
                      </a:lnTo>
                      <a:lnTo>
                        <a:pt x="274" y="453"/>
                      </a:lnTo>
                      <a:lnTo>
                        <a:pt x="269" y="455"/>
                      </a:lnTo>
                      <a:lnTo>
                        <a:pt x="264" y="458"/>
                      </a:lnTo>
                      <a:lnTo>
                        <a:pt x="259" y="462"/>
                      </a:lnTo>
                      <a:lnTo>
                        <a:pt x="253" y="472"/>
                      </a:lnTo>
                      <a:lnTo>
                        <a:pt x="245" y="487"/>
                      </a:lnTo>
                      <a:lnTo>
                        <a:pt x="239" y="494"/>
                      </a:lnTo>
                      <a:lnTo>
                        <a:pt x="234" y="500"/>
                      </a:lnTo>
                      <a:lnTo>
                        <a:pt x="230" y="502"/>
                      </a:lnTo>
                      <a:lnTo>
                        <a:pt x="227" y="504"/>
                      </a:lnTo>
                      <a:lnTo>
                        <a:pt x="223" y="505"/>
                      </a:lnTo>
                      <a:lnTo>
                        <a:pt x="219" y="506"/>
                      </a:lnTo>
                      <a:lnTo>
                        <a:pt x="210" y="505"/>
                      </a:lnTo>
                      <a:lnTo>
                        <a:pt x="201" y="504"/>
                      </a:lnTo>
                      <a:lnTo>
                        <a:pt x="196" y="503"/>
                      </a:lnTo>
                      <a:lnTo>
                        <a:pt x="192" y="501"/>
                      </a:lnTo>
                      <a:lnTo>
                        <a:pt x="189" y="498"/>
                      </a:lnTo>
                      <a:lnTo>
                        <a:pt x="186" y="494"/>
                      </a:lnTo>
                      <a:lnTo>
                        <a:pt x="166" y="496"/>
                      </a:lnTo>
                      <a:lnTo>
                        <a:pt x="145" y="500"/>
                      </a:lnTo>
                      <a:lnTo>
                        <a:pt x="135" y="502"/>
                      </a:lnTo>
                      <a:lnTo>
                        <a:pt x="126" y="501"/>
                      </a:lnTo>
                      <a:lnTo>
                        <a:pt x="123" y="500"/>
                      </a:lnTo>
                      <a:lnTo>
                        <a:pt x="119" y="499"/>
                      </a:lnTo>
                      <a:lnTo>
                        <a:pt x="116" y="497"/>
                      </a:lnTo>
                      <a:lnTo>
                        <a:pt x="113" y="494"/>
                      </a:lnTo>
                      <a:lnTo>
                        <a:pt x="106" y="493"/>
                      </a:lnTo>
                      <a:lnTo>
                        <a:pt x="100" y="493"/>
                      </a:lnTo>
                      <a:lnTo>
                        <a:pt x="95" y="493"/>
                      </a:lnTo>
                      <a:lnTo>
                        <a:pt x="91" y="494"/>
                      </a:lnTo>
                      <a:lnTo>
                        <a:pt x="83" y="497"/>
                      </a:lnTo>
                      <a:lnTo>
                        <a:pt x="78" y="502"/>
                      </a:lnTo>
                      <a:lnTo>
                        <a:pt x="73" y="507"/>
                      </a:lnTo>
                      <a:lnTo>
                        <a:pt x="68" y="513"/>
                      </a:lnTo>
                      <a:lnTo>
                        <a:pt x="62" y="519"/>
                      </a:lnTo>
                      <a:lnTo>
                        <a:pt x="54" y="524"/>
                      </a:lnTo>
                      <a:lnTo>
                        <a:pt x="39" y="507"/>
                      </a:lnTo>
                      <a:lnTo>
                        <a:pt x="27" y="491"/>
                      </a:lnTo>
                      <a:lnTo>
                        <a:pt x="14" y="474"/>
                      </a:lnTo>
                      <a:lnTo>
                        <a:pt x="0" y="456"/>
                      </a:lnTo>
                      <a:lnTo>
                        <a:pt x="6" y="447"/>
                      </a:lnTo>
                      <a:lnTo>
                        <a:pt x="13" y="440"/>
                      </a:lnTo>
                      <a:lnTo>
                        <a:pt x="18" y="434"/>
                      </a:lnTo>
                      <a:lnTo>
                        <a:pt x="25" y="430"/>
                      </a:lnTo>
                      <a:lnTo>
                        <a:pt x="31" y="427"/>
                      </a:lnTo>
                      <a:lnTo>
                        <a:pt x="36" y="425"/>
                      </a:lnTo>
                      <a:lnTo>
                        <a:pt x="42" y="424"/>
                      </a:lnTo>
                      <a:lnTo>
                        <a:pt x="46" y="424"/>
                      </a:lnTo>
                      <a:lnTo>
                        <a:pt x="55" y="425"/>
                      </a:lnTo>
                      <a:lnTo>
                        <a:pt x="61" y="428"/>
                      </a:lnTo>
                      <a:lnTo>
                        <a:pt x="65" y="431"/>
                      </a:lnTo>
                      <a:lnTo>
                        <a:pt x="67" y="432"/>
                      </a:lnTo>
                      <a:lnTo>
                        <a:pt x="58" y="418"/>
                      </a:lnTo>
                      <a:lnTo>
                        <a:pt x="51" y="405"/>
                      </a:lnTo>
                      <a:lnTo>
                        <a:pt x="47" y="395"/>
                      </a:lnTo>
                      <a:lnTo>
                        <a:pt x="45" y="386"/>
                      </a:lnTo>
                      <a:lnTo>
                        <a:pt x="45" y="378"/>
                      </a:lnTo>
                      <a:lnTo>
                        <a:pt x="45" y="372"/>
                      </a:lnTo>
                      <a:lnTo>
                        <a:pt x="47" y="366"/>
                      </a:lnTo>
                      <a:lnTo>
                        <a:pt x="50" y="362"/>
                      </a:lnTo>
                      <a:lnTo>
                        <a:pt x="54" y="359"/>
                      </a:lnTo>
                      <a:lnTo>
                        <a:pt x="57" y="356"/>
                      </a:lnTo>
                      <a:lnTo>
                        <a:pt x="61" y="354"/>
                      </a:lnTo>
                      <a:lnTo>
                        <a:pt x="65" y="353"/>
                      </a:lnTo>
                      <a:lnTo>
                        <a:pt x="71" y="352"/>
                      </a:lnTo>
                      <a:lnTo>
                        <a:pt x="73" y="351"/>
                      </a:lnTo>
                      <a:lnTo>
                        <a:pt x="81" y="343"/>
                      </a:lnTo>
                      <a:lnTo>
                        <a:pt x="89" y="337"/>
                      </a:lnTo>
                      <a:lnTo>
                        <a:pt x="94" y="334"/>
                      </a:lnTo>
                      <a:lnTo>
                        <a:pt x="100" y="333"/>
                      </a:lnTo>
                      <a:lnTo>
                        <a:pt x="104" y="333"/>
                      </a:lnTo>
                      <a:lnTo>
                        <a:pt x="109" y="335"/>
                      </a:lnTo>
                      <a:lnTo>
                        <a:pt x="112" y="339"/>
                      </a:lnTo>
                      <a:lnTo>
                        <a:pt x="115" y="342"/>
                      </a:lnTo>
                      <a:lnTo>
                        <a:pt x="123" y="350"/>
                      </a:lnTo>
                      <a:lnTo>
                        <a:pt x="130" y="356"/>
                      </a:lnTo>
                      <a:lnTo>
                        <a:pt x="135" y="359"/>
                      </a:lnTo>
                      <a:lnTo>
                        <a:pt x="140" y="359"/>
                      </a:lnTo>
                      <a:lnTo>
                        <a:pt x="146" y="356"/>
                      </a:lnTo>
                      <a:lnTo>
                        <a:pt x="154" y="351"/>
                      </a:lnTo>
                      <a:lnTo>
                        <a:pt x="163" y="354"/>
                      </a:lnTo>
                      <a:lnTo>
                        <a:pt x="172" y="354"/>
                      </a:lnTo>
                      <a:lnTo>
                        <a:pt x="181" y="353"/>
                      </a:lnTo>
                      <a:lnTo>
                        <a:pt x="188" y="350"/>
                      </a:lnTo>
                      <a:lnTo>
                        <a:pt x="193" y="345"/>
                      </a:lnTo>
                      <a:lnTo>
                        <a:pt x="199" y="340"/>
                      </a:lnTo>
                      <a:lnTo>
                        <a:pt x="202" y="334"/>
                      </a:lnTo>
                      <a:lnTo>
                        <a:pt x="205" y="328"/>
                      </a:lnTo>
                      <a:lnTo>
                        <a:pt x="210" y="315"/>
                      </a:lnTo>
                      <a:lnTo>
                        <a:pt x="212" y="302"/>
                      </a:lnTo>
                      <a:lnTo>
                        <a:pt x="213" y="293"/>
                      </a:lnTo>
                      <a:lnTo>
                        <a:pt x="213" y="290"/>
                      </a:lnTo>
                      <a:lnTo>
                        <a:pt x="215" y="283"/>
                      </a:lnTo>
                      <a:lnTo>
                        <a:pt x="215" y="276"/>
                      </a:lnTo>
                      <a:lnTo>
                        <a:pt x="215" y="269"/>
                      </a:lnTo>
                      <a:lnTo>
                        <a:pt x="213" y="262"/>
                      </a:lnTo>
                      <a:lnTo>
                        <a:pt x="208" y="249"/>
                      </a:lnTo>
                      <a:lnTo>
                        <a:pt x="201" y="236"/>
                      </a:lnTo>
                      <a:lnTo>
                        <a:pt x="186" y="217"/>
                      </a:lnTo>
                      <a:lnTo>
                        <a:pt x="180" y="210"/>
                      </a:lnTo>
                      <a:lnTo>
                        <a:pt x="188" y="203"/>
                      </a:lnTo>
                      <a:lnTo>
                        <a:pt x="202" y="187"/>
                      </a:lnTo>
                      <a:lnTo>
                        <a:pt x="205" y="182"/>
                      </a:lnTo>
                      <a:lnTo>
                        <a:pt x="207" y="177"/>
                      </a:lnTo>
                      <a:lnTo>
                        <a:pt x="210" y="173"/>
                      </a:lnTo>
                      <a:lnTo>
                        <a:pt x="211" y="168"/>
                      </a:lnTo>
                      <a:lnTo>
                        <a:pt x="210" y="164"/>
                      </a:lnTo>
                      <a:lnTo>
                        <a:pt x="208" y="161"/>
                      </a:lnTo>
                      <a:lnTo>
                        <a:pt x="205" y="157"/>
                      </a:lnTo>
                      <a:lnTo>
                        <a:pt x="200" y="155"/>
                      </a:lnTo>
                      <a:lnTo>
                        <a:pt x="200" y="148"/>
                      </a:lnTo>
                      <a:lnTo>
                        <a:pt x="200" y="142"/>
                      </a:lnTo>
                      <a:lnTo>
                        <a:pt x="197" y="137"/>
                      </a:lnTo>
                      <a:lnTo>
                        <a:pt x="195" y="133"/>
                      </a:lnTo>
                      <a:lnTo>
                        <a:pt x="192" y="131"/>
                      </a:lnTo>
                      <a:lnTo>
                        <a:pt x="188" y="129"/>
                      </a:lnTo>
                      <a:lnTo>
                        <a:pt x="183" y="129"/>
                      </a:lnTo>
                      <a:lnTo>
                        <a:pt x="179" y="129"/>
                      </a:lnTo>
                      <a:lnTo>
                        <a:pt x="161" y="132"/>
                      </a:lnTo>
                      <a:lnTo>
                        <a:pt x="154" y="137"/>
                      </a:lnTo>
                      <a:lnTo>
                        <a:pt x="144" y="134"/>
                      </a:lnTo>
                      <a:lnTo>
                        <a:pt x="137" y="131"/>
                      </a:lnTo>
                      <a:lnTo>
                        <a:pt x="132" y="128"/>
                      </a:lnTo>
                      <a:lnTo>
                        <a:pt x="127" y="124"/>
                      </a:lnTo>
                      <a:lnTo>
                        <a:pt x="125" y="119"/>
                      </a:lnTo>
                      <a:lnTo>
                        <a:pt x="123" y="114"/>
                      </a:lnTo>
                      <a:lnTo>
                        <a:pt x="123" y="109"/>
                      </a:lnTo>
                      <a:lnTo>
                        <a:pt x="123" y="103"/>
                      </a:lnTo>
                      <a:lnTo>
                        <a:pt x="125" y="93"/>
                      </a:lnTo>
                      <a:lnTo>
                        <a:pt x="128" y="84"/>
                      </a:lnTo>
                      <a:lnTo>
                        <a:pt x="132" y="76"/>
                      </a:lnTo>
                      <a:lnTo>
                        <a:pt x="133" y="74"/>
                      </a:lnTo>
                      <a:lnTo>
                        <a:pt x="293" y="105"/>
                      </a:lnTo>
                      <a:lnTo>
                        <a:pt x="306" y="38"/>
                      </a:lnTo>
                      <a:lnTo>
                        <a:pt x="311" y="30"/>
                      </a:lnTo>
                      <a:lnTo>
                        <a:pt x="317" y="22"/>
                      </a:lnTo>
                      <a:lnTo>
                        <a:pt x="323" y="17"/>
                      </a:lnTo>
                      <a:lnTo>
                        <a:pt x="329" y="12"/>
                      </a:lnTo>
                      <a:lnTo>
                        <a:pt x="336" y="9"/>
                      </a:lnTo>
                      <a:lnTo>
                        <a:pt x="343" y="7"/>
                      </a:lnTo>
                      <a:lnTo>
                        <a:pt x="350" y="6"/>
                      </a:lnTo>
                      <a:lnTo>
                        <a:pt x="358" y="5"/>
                      </a:lnTo>
                      <a:lnTo>
                        <a:pt x="374" y="5"/>
                      </a:lnTo>
                      <a:lnTo>
                        <a:pt x="391" y="4"/>
                      </a:lnTo>
                      <a:lnTo>
                        <a:pt x="399" y="4"/>
                      </a:lnTo>
                      <a:lnTo>
                        <a:pt x="408" y="4"/>
                      </a:lnTo>
                      <a:lnTo>
                        <a:pt x="417" y="2"/>
                      </a:lnTo>
                      <a:lnTo>
                        <a:pt x="426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43" name="Freeform 452">
                  <a:extLst>
                    <a:ext uri="{FF2B5EF4-FFF2-40B4-BE49-F238E27FC236}">
                      <a16:creationId xmlns:a16="http://schemas.microsoft.com/office/drawing/2014/main" xmlns="" id="{CC62A3A7-8842-4ED4-BC4F-5B51ACADBEC8}"/>
                    </a:ext>
                  </a:extLst>
                </p:cNvPr>
                <p:cNvSpPr>
                  <a:spLocks/>
                </p:cNvSpPr>
                <p:nvPr>
                  <p:custDataLst>
                    <p:tags r:id="rId290"/>
                  </p:custDataLst>
                </p:nvPr>
              </p:nvSpPr>
              <p:spPr bwMode="auto">
                <a:xfrm>
                  <a:off x="4316413" y="2192338"/>
                  <a:ext cx="127000" cy="114300"/>
                </a:xfrm>
                <a:custGeom>
                  <a:avLst/>
                  <a:gdLst>
                    <a:gd name="T0" fmla="*/ 2147483646 w 292"/>
                    <a:gd name="T1" fmla="*/ 2147483646 h 223"/>
                    <a:gd name="T2" fmla="*/ 2147483646 w 292"/>
                    <a:gd name="T3" fmla="*/ 2147483646 h 223"/>
                    <a:gd name="T4" fmla="*/ 2147483646 w 292"/>
                    <a:gd name="T5" fmla="*/ 2147483646 h 223"/>
                    <a:gd name="T6" fmla="*/ 2147483646 w 292"/>
                    <a:gd name="T7" fmla="*/ 2147483646 h 223"/>
                    <a:gd name="T8" fmla="*/ 2147483646 w 292"/>
                    <a:gd name="T9" fmla="*/ 2147483646 h 223"/>
                    <a:gd name="T10" fmla="*/ 2147483646 w 292"/>
                    <a:gd name="T11" fmla="*/ 2147483646 h 223"/>
                    <a:gd name="T12" fmla="*/ 2147483646 w 292"/>
                    <a:gd name="T13" fmla="*/ 2147483646 h 223"/>
                    <a:gd name="T14" fmla="*/ 2147483646 w 292"/>
                    <a:gd name="T15" fmla="*/ 2147483646 h 223"/>
                    <a:gd name="T16" fmla="*/ 2147483646 w 292"/>
                    <a:gd name="T17" fmla="*/ 2147483646 h 223"/>
                    <a:gd name="T18" fmla="*/ 2147483646 w 292"/>
                    <a:gd name="T19" fmla="*/ 2147483646 h 223"/>
                    <a:gd name="T20" fmla="*/ 2147483646 w 292"/>
                    <a:gd name="T21" fmla="*/ 2147483646 h 223"/>
                    <a:gd name="T22" fmla="*/ 2147483646 w 292"/>
                    <a:gd name="T23" fmla="*/ 2147483646 h 223"/>
                    <a:gd name="T24" fmla="*/ 2147483646 w 292"/>
                    <a:gd name="T25" fmla="*/ 2147483646 h 223"/>
                    <a:gd name="T26" fmla="*/ 2147483646 w 292"/>
                    <a:gd name="T27" fmla="*/ 2147483646 h 223"/>
                    <a:gd name="T28" fmla="*/ 2147483646 w 292"/>
                    <a:gd name="T29" fmla="*/ 2147483646 h 223"/>
                    <a:gd name="T30" fmla="*/ 2147483646 w 292"/>
                    <a:gd name="T31" fmla="*/ 2147483646 h 223"/>
                    <a:gd name="T32" fmla="*/ 2147483646 w 292"/>
                    <a:gd name="T33" fmla="*/ 2147483646 h 223"/>
                    <a:gd name="T34" fmla="*/ 2147483646 w 292"/>
                    <a:gd name="T35" fmla="*/ 2147483646 h 223"/>
                    <a:gd name="T36" fmla="*/ 2147483646 w 292"/>
                    <a:gd name="T37" fmla="*/ 2147483646 h 223"/>
                    <a:gd name="T38" fmla="*/ 2147483646 w 292"/>
                    <a:gd name="T39" fmla="*/ 2147483646 h 223"/>
                    <a:gd name="T40" fmla="*/ 2147483646 w 292"/>
                    <a:gd name="T41" fmla="*/ 2147483646 h 223"/>
                    <a:gd name="T42" fmla="*/ 2147483646 w 292"/>
                    <a:gd name="T43" fmla="*/ 2147483646 h 223"/>
                    <a:gd name="T44" fmla="*/ 2147483646 w 292"/>
                    <a:gd name="T45" fmla="*/ 2147483646 h 223"/>
                    <a:gd name="T46" fmla="*/ 2147483646 w 292"/>
                    <a:gd name="T47" fmla="*/ 2147483646 h 223"/>
                    <a:gd name="T48" fmla="*/ 2147483646 w 292"/>
                    <a:gd name="T49" fmla="*/ 2147483646 h 223"/>
                    <a:gd name="T50" fmla="*/ 2147483646 w 292"/>
                    <a:gd name="T51" fmla="*/ 2147483646 h 223"/>
                    <a:gd name="T52" fmla="*/ 0 w 292"/>
                    <a:gd name="T53" fmla="*/ 2147483646 h 223"/>
                    <a:gd name="T54" fmla="*/ 2147483646 w 292"/>
                    <a:gd name="T55" fmla="*/ 2147483646 h 223"/>
                    <a:gd name="T56" fmla="*/ 2147483646 w 292"/>
                    <a:gd name="T57" fmla="*/ 2147483646 h 223"/>
                    <a:gd name="T58" fmla="*/ 2147483646 w 292"/>
                    <a:gd name="T59" fmla="*/ 2147483646 h 223"/>
                    <a:gd name="T60" fmla="*/ 2147483646 w 292"/>
                    <a:gd name="T61" fmla="*/ 2147483646 h 223"/>
                    <a:gd name="T62" fmla="*/ 2147483646 w 292"/>
                    <a:gd name="T63" fmla="*/ 2147483646 h 223"/>
                    <a:gd name="T64" fmla="*/ 2147483646 w 292"/>
                    <a:gd name="T65" fmla="*/ 2147483646 h 223"/>
                    <a:gd name="T66" fmla="*/ 2147483646 w 292"/>
                    <a:gd name="T67" fmla="*/ 0 h 223"/>
                    <a:gd name="T68" fmla="*/ 2147483646 w 292"/>
                    <a:gd name="T69" fmla="*/ 2147483646 h 223"/>
                    <a:gd name="T70" fmla="*/ 2147483646 w 292"/>
                    <a:gd name="T71" fmla="*/ 2147483646 h 223"/>
                    <a:gd name="T72" fmla="*/ 2147483646 w 292"/>
                    <a:gd name="T73" fmla="*/ 2147483646 h 223"/>
                    <a:gd name="T74" fmla="*/ 2147483646 w 292"/>
                    <a:gd name="T75" fmla="*/ 2147483646 h 223"/>
                    <a:gd name="T76" fmla="*/ 2147483646 w 292"/>
                    <a:gd name="T77" fmla="*/ 2147483646 h 223"/>
                    <a:gd name="T78" fmla="*/ 2147483646 w 292"/>
                    <a:gd name="T79" fmla="*/ 2147483646 h 223"/>
                    <a:gd name="T80" fmla="*/ 2147483646 w 292"/>
                    <a:gd name="T81" fmla="*/ 2147483646 h 223"/>
                    <a:gd name="T82" fmla="*/ 2147483646 w 292"/>
                    <a:gd name="T83" fmla="*/ 2147483646 h 223"/>
                    <a:gd name="T84" fmla="*/ 2147483646 w 292"/>
                    <a:gd name="T85" fmla="*/ 2147483646 h 22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92"/>
                    <a:gd name="T130" fmla="*/ 0 h 223"/>
                    <a:gd name="T131" fmla="*/ 292 w 292"/>
                    <a:gd name="T132" fmla="*/ 223 h 22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92" h="223">
                      <a:moveTo>
                        <a:pt x="292" y="69"/>
                      </a:moveTo>
                      <a:lnTo>
                        <a:pt x="259" y="93"/>
                      </a:lnTo>
                      <a:lnTo>
                        <a:pt x="172" y="75"/>
                      </a:lnTo>
                      <a:lnTo>
                        <a:pt x="166" y="77"/>
                      </a:lnTo>
                      <a:lnTo>
                        <a:pt x="159" y="78"/>
                      </a:lnTo>
                      <a:lnTo>
                        <a:pt x="152" y="79"/>
                      </a:lnTo>
                      <a:lnTo>
                        <a:pt x="146" y="79"/>
                      </a:lnTo>
                      <a:lnTo>
                        <a:pt x="139" y="79"/>
                      </a:lnTo>
                      <a:lnTo>
                        <a:pt x="133" y="78"/>
                      </a:lnTo>
                      <a:lnTo>
                        <a:pt x="126" y="77"/>
                      </a:lnTo>
                      <a:lnTo>
                        <a:pt x="119" y="75"/>
                      </a:lnTo>
                      <a:lnTo>
                        <a:pt x="119" y="93"/>
                      </a:lnTo>
                      <a:lnTo>
                        <a:pt x="132" y="113"/>
                      </a:lnTo>
                      <a:lnTo>
                        <a:pt x="144" y="131"/>
                      </a:lnTo>
                      <a:lnTo>
                        <a:pt x="156" y="145"/>
                      </a:lnTo>
                      <a:lnTo>
                        <a:pt x="168" y="157"/>
                      </a:lnTo>
                      <a:lnTo>
                        <a:pt x="179" y="170"/>
                      </a:lnTo>
                      <a:lnTo>
                        <a:pt x="189" y="185"/>
                      </a:lnTo>
                      <a:lnTo>
                        <a:pt x="193" y="193"/>
                      </a:lnTo>
                      <a:lnTo>
                        <a:pt x="197" y="202"/>
                      </a:lnTo>
                      <a:lnTo>
                        <a:pt x="202" y="211"/>
                      </a:lnTo>
                      <a:lnTo>
                        <a:pt x="205" y="222"/>
                      </a:lnTo>
                      <a:lnTo>
                        <a:pt x="191" y="223"/>
                      </a:lnTo>
                      <a:lnTo>
                        <a:pt x="175" y="223"/>
                      </a:lnTo>
                      <a:lnTo>
                        <a:pt x="168" y="223"/>
                      </a:lnTo>
                      <a:lnTo>
                        <a:pt x="161" y="222"/>
                      </a:lnTo>
                      <a:lnTo>
                        <a:pt x="154" y="220"/>
                      </a:lnTo>
                      <a:lnTo>
                        <a:pt x="146" y="216"/>
                      </a:lnTo>
                      <a:lnTo>
                        <a:pt x="139" y="213"/>
                      </a:lnTo>
                      <a:lnTo>
                        <a:pt x="134" y="209"/>
                      </a:lnTo>
                      <a:lnTo>
                        <a:pt x="130" y="203"/>
                      </a:lnTo>
                      <a:lnTo>
                        <a:pt x="127" y="198"/>
                      </a:lnTo>
                      <a:lnTo>
                        <a:pt x="124" y="192"/>
                      </a:lnTo>
                      <a:lnTo>
                        <a:pt x="121" y="187"/>
                      </a:lnTo>
                      <a:lnTo>
                        <a:pt x="117" y="183"/>
                      </a:lnTo>
                      <a:lnTo>
                        <a:pt x="113" y="180"/>
                      </a:lnTo>
                      <a:lnTo>
                        <a:pt x="102" y="162"/>
                      </a:lnTo>
                      <a:lnTo>
                        <a:pt x="91" y="145"/>
                      </a:lnTo>
                      <a:lnTo>
                        <a:pt x="80" y="129"/>
                      </a:lnTo>
                      <a:lnTo>
                        <a:pt x="68" y="113"/>
                      </a:lnTo>
                      <a:lnTo>
                        <a:pt x="61" y="105"/>
                      </a:lnTo>
                      <a:lnTo>
                        <a:pt x="55" y="99"/>
                      </a:lnTo>
                      <a:lnTo>
                        <a:pt x="48" y="93"/>
                      </a:lnTo>
                      <a:lnTo>
                        <a:pt x="42" y="87"/>
                      </a:lnTo>
                      <a:lnTo>
                        <a:pt x="35" y="83"/>
                      </a:lnTo>
                      <a:lnTo>
                        <a:pt x="27" y="79"/>
                      </a:lnTo>
                      <a:lnTo>
                        <a:pt x="21" y="76"/>
                      </a:lnTo>
                      <a:lnTo>
                        <a:pt x="13" y="75"/>
                      </a:lnTo>
                      <a:lnTo>
                        <a:pt x="9" y="70"/>
                      </a:lnTo>
                      <a:lnTo>
                        <a:pt x="4" y="65"/>
                      </a:lnTo>
                      <a:lnTo>
                        <a:pt x="2" y="62"/>
                      </a:lnTo>
                      <a:lnTo>
                        <a:pt x="1" y="58"/>
                      </a:lnTo>
                      <a:lnTo>
                        <a:pt x="0" y="54"/>
                      </a:lnTo>
                      <a:lnTo>
                        <a:pt x="0" y="49"/>
                      </a:lnTo>
                      <a:lnTo>
                        <a:pt x="22" y="53"/>
                      </a:lnTo>
                      <a:lnTo>
                        <a:pt x="40" y="55"/>
                      </a:lnTo>
                      <a:lnTo>
                        <a:pt x="57" y="56"/>
                      </a:lnTo>
                      <a:lnTo>
                        <a:pt x="70" y="55"/>
                      </a:lnTo>
                      <a:lnTo>
                        <a:pt x="82" y="53"/>
                      </a:lnTo>
                      <a:lnTo>
                        <a:pt x="91" y="50"/>
                      </a:lnTo>
                      <a:lnTo>
                        <a:pt x="99" y="46"/>
                      </a:lnTo>
                      <a:lnTo>
                        <a:pt x="106" y="41"/>
                      </a:lnTo>
                      <a:lnTo>
                        <a:pt x="117" y="31"/>
                      </a:lnTo>
                      <a:lnTo>
                        <a:pt x="127" y="20"/>
                      </a:lnTo>
                      <a:lnTo>
                        <a:pt x="132" y="14"/>
                      </a:lnTo>
                      <a:lnTo>
                        <a:pt x="138" y="9"/>
                      </a:lnTo>
                      <a:lnTo>
                        <a:pt x="145" y="4"/>
                      </a:lnTo>
                      <a:lnTo>
                        <a:pt x="152" y="0"/>
                      </a:lnTo>
                      <a:lnTo>
                        <a:pt x="162" y="8"/>
                      </a:lnTo>
                      <a:lnTo>
                        <a:pt x="172" y="14"/>
                      </a:lnTo>
                      <a:lnTo>
                        <a:pt x="183" y="21"/>
                      </a:lnTo>
                      <a:lnTo>
                        <a:pt x="194" y="26"/>
                      </a:lnTo>
                      <a:lnTo>
                        <a:pt x="205" y="31"/>
                      </a:lnTo>
                      <a:lnTo>
                        <a:pt x="218" y="34"/>
                      </a:lnTo>
                      <a:lnTo>
                        <a:pt x="231" y="37"/>
                      </a:lnTo>
                      <a:lnTo>
                        <a:pt x="246" y="37"/>
                      </a:lnTo>
                      <a:lnTo>
                        <a:pt x="255" y="36"/>
                      </a:lnTo>
                      <a:lnTo>
                        <a:pt x="262" y="34"/>
                      </a:lnTo>
                      <a:lnTo>
                        <a:pt x="270" y="32"/>
                      </a:lnTo>
                      <a:lnTo>
                        <a:pt x="279" y="31"/>
                      </a:lnTo>
                      <a:lnTo>
                        <a:pt x="283" y="42"/>
                      </a:lnTo>
                      <a:lnTo>
                        <a:pt x="285" y="47"/>
                      </a:lnTo>
                      <a:lnTo>
                        <a:pt x="287" y="49"/>
                      </a:lnTo>
                      <a:lnTo>
                        <a:pt x="289" y="52"/>
                      </a:lnTo>
                      <a:lnTo>
                        <a:pt x="292" y="6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44" name="Freeform 453">
                  <a:extLst>
                    <a:ext uri="{FF2B5EF4-FFF2-40B4-BE49-F238E27FC236}">
                      <a16:creationId xmlns:a16="http://schemas.microsoft.com/office/drawing/2014/main" xmlns="" id="{159F4D2B-D1BD-474E-BBCC-1596EA85B89F}"/>
                    </a:ext>
                  </a:extLst>
                </p:cNvPr>
                <p:cNvSpPr>
                  <a:spLocks/>
                </p:cNvSpPr>
                <p:nvPr>
                  <p:custDataLst>
                    <p:tags r:id="rId291"/>
                  </p:custDataLst>
                </p:nvPr>
              </p:nvSpPr>
              <p:spPr bwMode="auto">
                <a:xfrm>
                  <a:off x="4267200" y="2051050"/>
                  <a:ext cx="168275" cy="77788"/>
                </a:xfrm>
                <a:custGeom>
                  <a:avLst/>
                  <a:gdLst>
                    <a:gd name="T0" fmla="*/ 2147483646 w 379"/>
                    <a:gd name="T1" fmla="*/ 2147483646 h 147"/>
                    <a:gd name="T2" fmla="*/ 2147483646 w 379"/>
                    <a:gd name="T3" fmla="*/ 2147483646 h 147"/>
                    <a:gd name="T4" fmla="*/ 2147483646 w 379"/>
                    <a:gd name="T5" fmla="*/ 2147483646 h 147"/>
                    <a:gd name="T6" fmla="*/ 2147483646 w 379"/>
                    <a:gd name="T7" fmla="*/ 2147483646 h 147"/>
                    <a:gd name="T8" fmla="*/ 2147483646 w 379"/>
                    <a:gd name="T9" fmla="*/ 2147483646 h 147"/>
                    <a:gd name="T10" fmla="*/ 2147483646 w 379"/>
                    <a:gd name="T11" fmla="*/ 2147483646 h 147"/>
                    <a:gd name="T12" fmla="*/ 2147483646 w 379"/>
                    <a:gd name="T13" fmla="*/ 2147483646 h 147"/>
                    <a:gd name="T14" fmla="*/ 2147483646 w 379"/>
                    <a:gd name="T15" fmla="*/ 2147483646 h 147"/>
                    <a:gd name="T16" fmla="*/ 2147483646 w 379"/>
                    <a:gd name="T17" fmla="*/ 2147483646 h 147"/>
                    <a:gd name="T18" fmla="*/ 2147483646 w 379"/>
                    <a:gd name="T19" fmla="*/ 2147483646 h 147"/>
                    <a:gd name="T20" fmla="*/ 2147483646 w 379"/>
                    <a:gd name="T21" fmla="*/ 2147483646 h 147"/>
                    <a:gd name="T22" fmla="*/ 2147483646 w 379"/>
                    <a:gd name="T23" fmla="*/ 2147483646 h 147"/>
                    <a:gd name="T24" fmla="*/ 2147483646 w 379"/>
                    <a:gd name="T25" fmla="*/ 2147483646 h 147"/>
                    <a:gd name="T26" fmla="*/ 2147483646 w 379"/>
                    <a:gd name="T27" fmla="*/ 2147483646 h 147"/>
                    <a:gd name="T28" fmla="*/ 2147483646 w 379"/>
                    <a:gd name="T29" fmla="*/ 2147483646 h 147"/>
                    <a:gd name="T30" fmla="*/ 2147483646 w 379"/>
                    <a:gd name="T31" fmla="*/ 2147483646 h 147"/>
                    <a:gd name="T32" fmla="*/ 2147483646 w 379"/>
                    <a:gd name="T33" fmla="*/ 2147483646 h 147"/>
                    <a:gd name="T34" fmla="*/ 2147483646 w 379"/>
                    <a:gd name="T35" fmla="*/ 2147483646 h 147"/>
                    <a:gd name="T36" fmla="*/ 2147483646 w 379"/>
                    <a:gd name="T37" fmla="*/ 2147483646 h 147"/>
                    <a:gd name="T38" fmla="*/ 2147483646 w 379"/>
                    <a:gd name="T39" fmla="*/ 2147483646 h 147"/>
                    <a:gd name="T40" fmla="*/ 2147483646 w 379"/>
                    <a:gd name="T41" fmla="*/ 2147483646 h 147"/>
                    <a:gd name="T42" fmla="*/ 2147483646 w 379"/>
                    <a:gd name="T43" fmla="*/ 2147483646 h 147"/>
                    <a:gd name="T44" fmla="*/ 2147483646 w 379"/>
                    <a:gd name="T45" fmla="*/ 2147483646 h 147"/>
                    <a:gd name="T46" fmla="*/ 2147483646 w 379"/>
                    <a:gd name="T47" fmla="*/ 2147483646 h 147"/>
                    <a:gd name="T48" fmla="*/ 0 w 379"/>
                    <a:gd name="T49" fmla="*/ 2147483646 h 147"/>
                    <a:gd name="T50" fmla="*/ 2147483646 w 379"/>
                    <a:gd name="T51" fmla="*/ 2147483646 h 147"/>
                    <a:gd name="T52" fmla="*/ 2147483646 w 379"/>
                    <a:gd name="T53" fmla="*/ 2147483646 h 147"/>
                    <a:gd name="T54" fmla="*/ 2147483646 w 379"/>
                    <a:gd name="T55" fmla="*/ 2147483646 h 147"/>
                    <a:gd name="T56" fmla="*/ 2147483646 w 379"/>
                    <a:gd name="T57" fmla="*/ 2147483646 h 147"/>
                    <a:gd name="T58" fmla="*/ 2147483646 w 379"/>
                    <a:gd name="T59" fmla="*/ 2147483646 h 147"/>
                    <a:gd name="T60" fmla="*/ 2147483646 w 379"/>
                    <a:gd name="T61" fmla="*/ 2147483646 h 147"/>
                    <a:gd name="T62" fmla="*/ 2147483646 w 379"/>
                    <a:gd name="T63" fmla="*/ 0 h 147"/>
                    <a:gd name="T64" fmla="*/ 2147483646 w 379"/>
                    <a:gd name="T65" fmla="*/ 2147483646 h 147"/>
                    <a:gd name="T66" fmla="*/ 2147483646 w 379"/>
                    <a:gd name="T67" fmla="*/ 2147483646 h 147"/>
                    <a:gd name="T68" fmla="*/ 2147483646 w 379"/>
                    <a:gd name="T69" fmla="*/ 2147483646 h 147"/>
                    <a:gd name="T70" fmla="*/ 2147483646 w 379"/>
                    <a:gd name="T71" fmla="*/ 2147483646 h 147"/>
                    <a:gd name="T72" fmla="*/ 2147483646 w 379"/>
                    <a:gd name="T73" fmla="*/ 2147483646 h 147"/>
                    <a:gd name="T74" fmla="*/ 2147483646 w 379"/>
                    <a:gd name="T75" fmla="*/ 2147483646 h 147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79"/>
                    <a:gd name="T115" fmla="*/ 0 h 147"/>
                    <a:gd name="T116" fmla="*/ 379 w 379"/>
                    <a:gd name="T117" fmla="*/ 147 h 147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79" h="147">
                      <a:moveTo>
                        <a:pt x="379" y="92"/>
                      </a:moveTo>
                      <a:lnTo>
                        <a:pt x="375" y="94"/>
                      </a:lnTo>
                      <a:lnTo>
                        <a:pt x="366" y="98"/>
                      </a:lnTo>
                      <a:lnTo>
                        <a:pt x="360" y="101"/>
                      </a:lnTo>
                      <a:lnTo>
                        <a:pt x="357" y="105"/>
                      </a:lnTo>
                      <a:lnTo>
                        <a:pt x="354" y="108"/>
                      </a:lnTo>
                      <a:lnTo>
                        <a:pt x="353" y="111"/>
                      </a:lnTo>
                      <a:lnTo>
                        <a:pt x="347" y="117"/>
                      </a:lnTo>
                      <a:lnTo>
                        <a:pt x="341" y="123"/>
                      </a:lnTo>
                      <a:lnTo>
                        <a:pt x="333" y="127"/>
                      </a:lnTo>
                      <a:lnTo>
                        <a:pt x="324" y="130"/>
                      </a:lnTo>
                      <a:lnTo>
                        <a:pt x="320" y="131"/>
                      </a:lnTo>
                      <a:lnTo>
                        <a:pt x="315" y="132"/>
                      </a:lnTo>
                      <a:lnTo>
                        <a:pt x="311" y="132"/>
                      </a:lnTo>
                      <a:lnTo>
                        <a:pt x="306" y="131"/>
                      </a:lnTo>
                      <a:lnTo>
                        <a:pt x="301" y="130"/>
                      </a:lnTo>
                      <a:lnTo>
                        <a:pt x="296" y="128"/>
                      </a:lnTo>
                      <a:lnTo>
                        <a:pt x="291" y="126"/>
                      </a:lnTo>
                      <a:lnTo>
                        <a:pt x="286" y="123"/>
                      </a:lnTo>
                      <a:lnTo>
                        <a:pt x="281" y="119"/>
                      </a:lnTo>
                      <a:lnTo>
                        <a:pt x="277" y="117"/>
                      </a:lnTo>
                      <a:lnTo>
                        <a:pt x="275" y="116"/>
                      </a:lnTo>
                      <a:lnTo>
                        <a:pt x="271" y="116"/>
                      </a:lnTo>
                      <a:lnTo>
                        <a:pt x="269" y="118"/>
                      </a:lnTo>
                      <a:lnTo>
                        <a:pt x="268" y="120"/>
                      </a:lnTo>
                      <a:lnTo>
                        <a:pt x="267" y="123"/>
                      </a:lnTo>
                      <a:lnTo>
                        <a:pt x="266" y="126"/>
                      </a:lnTo>
                      <a:lnTo>
                        <a:pt x="266" y="140"/>
                      </a:lnTo>
                      <a:lnTo>
                        <a:pt x="266" y="147"/>
                      </a:lnTo>
                      <a:lnTo>
                        <a:pt x="257" y="145"/>
                      </a:lnTo>
                      <a:lnTo>
                        <a:pt x="251" y="143"/>
                      </a:lnTo>
                      <a:lnTo>
                        <a:pt x="244" y="140"/>
                      </a:lnTo>
                      <a:lnTo>
                        <a:pt x="240" y="137"/>
                      </a:lnTo>
                      <a:lnTo>
                        <a:pt x="229" y="131"/>
                      </a:lnTo>
                      <a:lnTo>
                        <a:pt x="213" y="123"/>
                      </a:lnTo>
                      <a:lnTo>
                        <a:pt x="113" y="141"/>
                      </a:lnTo>
                      <a:lnTo>
                        <a:pt x="95" y="132"/>
                      </a:lnTo>
                      <a:lnTo>
                        <a:pt x="80" y="124"/>
                      </a:lnTo>
                      <a:lnTo>
                        <a:pt x="68" y="116"/>
                      </a:lnTo>
                      <a:lnTo>
                        <a:pt x="58" y="109"/>
                      </a:lnTo>
                      <a:lnTo>
                        <a:pt x="51" y="101"/>
                      </a:lnTo>
                      <a:lnTo>
                        <a:pt x="45" y="94"/>
                      </a:lnTo>
                      <a:lnTo>
                        <a:pt x="40" y="88"/>
                      </a:lnTo>
                      <a:lnTo>
                        <a:pt x="37" y="82"/>
                      </a:lnTo>
                      <a:lnTo>
                        <a:pt x="31" y="70"/>
                      </a:lnTo>
                      <a:lnTo>
                        <a:pt x="26" y="59"/>
                      </a:lnTo>
                      <a:lnTo>
                        <a:pt x="21" y="54"/>
                      </a:lnTo>
                      <a:lnTo>
                        <a:pt x="16" y="48"/>
                      </a:lnTo>
                      <a:lnTo>
                        <a:pt x="9" y="42"/>
                      </a:lnTo>
                      <a:lnTo>
                        <a:pt x="0" y="36"/>
                      </a:lnTo>
                      <a:lnTo>
                        <a:pt x="16" y="39"/>
                      </a:lnTo>
                      <a:lnTo>
                        <a:pt x="29" y="40"/>
                      </a:lnTo>
                      <a:lnTo>
                        <a:pt x="41" y="40"/>
                      </a:lnTo>
                      <a:lnTo>
                        <a:pt x="52" y="38"/>
                      </a:lnTo>
                      <a:lnTo>
                        <a:pt x="62" y="36"/>
                      </a:lnTo>
                      <a:lnTo>
                        <a:pt x="72" y="33"/>
                      </a:lnTo>
                      <a:lnTo>
                        <a:pt x="79" y="29"/>
                      </a:lnTo>
                      <a:lnTo>
                        <a:pt x="87" y="25"/>
                      </a:lnTo>
                      <a:lnTo>
                        <a:pt x="102" y="16"/>
                      </a:lnTo>
                      <a:lnTo>
                        <a:pt x="119" y="8"/>
                      </a:lnTo>
                      <a:lnTo>
                        <a:pt x="128" y="5"/>
                      </a:lnTo>
                      <a:lnTo>
                        <a:pt x="138" y="2"/>
                      </a:lnTo>
                      <a:lnTo>
                        <a:pt x="149" y="1"/>
                      </a:lnTo>
                      <a:lnTo>
                        <a:pt x="159" y="0"/>
                      </a:lnTo>
                      <a:lnTo>
                        <a:pt x="179" y="11"/>
                      </a:lnTo>
                      <a:lnTo>
                        <a:pt x="200" y="23"/>
                      </a:lnTo>
                      <a:lnTo>
                        <a:pt x="222" y="34"/>
                      </a:lnTo>
                      <a:lnTo>
                        <a:pt x="244" y="45"/>
                      </a:lnTo>
                      <a:lnTo>
                        <a:pt x="278" y="61"/>
                      </a:lnTo>
                      <a:lnTo>
                        <a:pt x="292" y="67"/>
                      </a:lnTo>
                      <a:lnTo>
                        <a:pt x="314" y="73"/>
                      </a:lnTo>
                      <a:lnTo>
                        <a:pt x="333" y="80"/>
                      </a:lnTo>
                      <a:lnTo>
                        <a:pt x="343" y="83"/>
                      </a:lnTo>
                      <a:lnTo>
                        <a:pt x="354" y="86"/>
                      </a:lnTo>
                      <a:lnTo>
                        <a:pt x="365" y="89"/>
                      </a:lnTo>
                      <a:lnTo>
                        <a:pt x="379" y="9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45" name="Freeform 454">
                  <a:extLst>
                    <a:ext uri="{FF2B5EF4-FFF2-40B4-BE49-F238E27FC236}">
                      <a16:creationId xmlns:a16="http://schemas.microsoft.com/office/drawing/2014/main" xmlns="" id="{CA0FB0BE-D054-4BD1-BE04-FBB4992DA5B6}"/>
                    </a:ext>
                  </a:extLst>
                </p:cNvPr>
                <p:cNvSpPr>
                  <a:spLocks/>
                </p:cNvSpPr>
                <p:nvPr>
                  <p:custDataLst>
                    <p:tags r:id="rId292"/>
                  </p:custDataLst>
                </p:nvPr>
              </p:nvSpPr>
              <p:spPr bwMode="auto">
                <a:xfrm>
                  <a:off x="4230688" y="1906588"/>
                  <a:ext cx="30162" cy="60325"/>
                </a:xfrm>
                <a:custGeom>
                  <a:avLst/>
                  <a:gdLst>
                    <a:gd name="T0" fmla="*/ 0 w 61"/>
                    <a:gd name="T1" fmla="*/ 0 h 67"/>
                    <a:gd name="T2" fmla="*/ 0 w 61"/>
                    <a:gd name="T3" fmla="*/ 2147483646 h 67"/>
                    <a:gd name="T4" fmla="*/ 0 w 61"/>
                    <a:gd name="T5" fmla="*/ 2147483646 h 67"/>
                    <a:gd name="T6" fmla="*/ 2147483646 w 61"/>
                    <a:gd name="T7" fmla="*/ 2147483646 h 67"/>
                    <a:gd name="T8" fmla="*/ 2147483646 w 61"/>
                    <a:gd name="T9" fmla="*/ 2147483646 h 67"/>
                    <a:gd name="T10" fmla="*/ 2147483646 w 61"/>
                    <a:gd name="T11" fmla="*/ 2147483646 h 67"/>
                    <a:gd name="T12" fmla="*/ 2147483646 w 61"/>
                    <a:gd name="T13" fmla="*/ 2147483646 h 67"/>
                    <a:gd name="T14" fmla="*/ 2147483646 w 61"/>
                    <a:gd name="T15" fmla="*/ 2147483646 h 67"/>
                    <a:gd name="T16" fmla="*/ 2147483646 w 61"/>
                    <a:gd name="T17" fmla="*/ 2147483646 h 67"/>
                    <a:gd name="T18" fmla="*/ 2147483646 w 61"/>
                    <a:gd name="T19" fmla="*/ 2147483646 h 67"/>
                    <a:gd name="T20" fmla="*/ 2147483646 w 61"/>
                    <a:gd name="T21" fmla="*/ 2147483646 h 67"/>
                    <a:gd name="T22" fmla="*/ 2147483646 w 61"/>
                    <a:gd name="T23" fmla="*/ 2147483646 h 67"/>
                    <a:gd name="T24" fmla="*/ 2147483646 w 61"/>
                    <a:gd name="T25" fmla="*/ 2147483646 h 67"/>
                    <a:gd name="T26" fmla="*/ 2147483646 w 61"/>
                    <a:gd name="T27" fmla="*/ 2147483646 h 67"/>
                    <a:gd name="T28" fmla="*/ 2147483646 w 61"/>
                    <a:gd name="T29" fmla="*/ 2147483646 h 67"/>
                    <a:gd name="T30" fmla="*/ 2147483646 w 61"/>
                    <a:gd name="T31" fmla="*/ 2147483646 h 67"/>
                    <a:gd name="T32" fmla="*/ 2147483646 w 61"/>
                    <a:gd name="T33" fmla="*/ 2147483646 h 67"/>
                    <a:gd name="T34" fmla="*/ 2147483646 w 61"/>
                    <a:gd name="T35" fmla="*/ 2147483646 h 67"/>
                    <a:gd name="T36" fmla="*/ 2147483646 w 61"/>
                    <a:gd name="T37" fmla="*/ 0 h 67"/>
                    <a:gd name="T38" fmla="*/ 2147483646 w 61"/>
                    <a:gd name="T39" fmla="*/ 2147483646 h 67"/>
                    <a:gd name="T40" fmla="*/ 2147483646 w 61"/>
                    <a:gd name="T41" fmla="*/ 2147483646 h 67"/>
                    <a:gd name="T42" fmla="*/ 2147483646 w 61"/>
                    <a:gd name="T43" fmla="*/ 2147483646 h 67"/>
                    <a:gd name="T44" fmla="*/ 2147483646 w 61"/>
                    <a:gd name="T45" fmla="*/ 2147483646 h 67"/>
                    <a:gd name="T46" fmla="*/ 2147483646 w 61"/>
                    <a:gd name="T47" fmla="*/ 2147483646 h 67"/>
                    <a:gd name="T48" fmla="*/ 0 w 61"/>
                    <a:gd name="T49" fmla="*/ 0 h 6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61"/>
                    <a:gd name="T76" fmla="*/ 0 h 67"/>
                    <a:gd name="T77" fmla="*/ 61 w 61"/>
                    <a:gd name="T78" fmla="*/ 67 h 6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61" h="67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18"/>
                      </a:lnTo>
                      <a:lnTo>
                        <a:pt x="1" y="24"/>
                      </a:lnTo>
                      <a:lnTo>
                        <a:pt x="2" y="30"/>
                      </a:lnTo>
                      <a:lnTo>
                        <a:pt x="3" y="36"/>
                      </a:lnTo>
                      <a:lnTo>
                        <a:pt x="6" y="42"/>
                      </a:lnTo>
                      <a:lnTo>
                        <a:pt x="12" y="55"/>
                      </a:lnTo>
                      <a:lnTo>
                        <a:pt x="21" y="67"/>
                      </a:lnTo>
                      <a:lnTo>
                        <a:pt x="28" y="65"/>
                      </a:lnTo>
                      <a:lnTo>
                        <a:pt x="35" y="61"/>
                      </a:lnTo>
                      <a:lnTo>
                        <a:pt x="42" y="58"/>
                      </a:lnTo>
                      <a:lnTo>
                        <a:pt x="48" y="53"/>
                      </a:lnTo>
                      <a:lnTo>
                        <a:pt x="53" y="47"/>
                      </a:lnTo>
                      <a:lnTo>
                        <a:pt x="57" y="40"/>
                      </a:lnTo>
                      <a:lnTo>
                        <a:pt x="59" y="32"/>
                      </a:lnTo>
                      <a:lnTo>
                        <a:pt x="61" y="24"/>
                      </a:lnTo>
                      <a:lnTo>
                        <a:pt x="53" y="14"/>
                      </a:lnTo>
                      <a:lnTo>
                        <a:pt x="41" y="0"/>
                      </a:lnTo>
                      <a:lnTo>
                        <a:pt x="28" y="3"/>
                      </a:lnTo>
                      <a:lnTo>
                        <a:pt x="18" y="4"/>
                      </a:lnTo>
                      <a:lnTo>
                        <a:pt x="13" y="4"/>
                      </a:lnTo>
                      <a:lnTo>
                        <a:pt x="10" y="3"/>
                      </a:lnTo>
                      <a:lnTo>
                        <a:pt x="6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46" name="Freeform 455">
                  <a:extLst>
                    <a:ext uri="{FF2B5EF4-FFF2-40B4-BE49-F238E27FC236}">
                      <a16:creationId xmlns:a16="http://schemas.microsoft.com/office/drawing/2014/main" xmlns="" id="{B0A0BCDF-8C87-4CF4-A213-CABB2E845A5A}"/>
                    </a:ext>
                  </a:extLst>
                </p:cNvPr>
                <p:cNvSpPr>
                  <a:spLocks/>
                </p:cNvSpPr>
                <p:nvPr>
                  <p:custDataLst>
                    <p:tags r:id="rId293"/>
                  </p:custDataLst>
                </p:nvPr>
              </p:nvSpPr>
              <p:spPr bwMode="auto">
                <a:xfrm>
                  <a:off x="4202113" y="1911350"/>
                  <a:ext cx="25400" cy="58738"/>
                </a:xfrm>
                <a:custGeom>
                  <a:avLst/>
                  <a:gdLst>
                    <a:gd name="T0" fmla="*/ 0 w 60"/>
                    <a:gd name="T1" fmla="*/ 2147483646 h 55"/>
                    <a:gd name="T2" fmla="*/ 0 w 60"/>
                    <a:gd name="T3" fmla="*/ 2147483646 h 55"/>
                    <a:gd name="T4" fmla="*/ 2147483646 w 60"/>
                    <a:gd name="T5" fmla="*/ 2147483646 h 55"/>
                    <a:gd name="T6" fmla="*/ 2147483646 w 60"/>
                    <a:gd name="T7" fmla="*/ 2147483646 h 55"/>
                    <a:gd name="T8" fmla="*/ 2147483646 w 60"/>
                    <a:gd name="T9" fmla="*/ 2147483646 h 55"/>
                    <a:gd name="T10" fmla="*/ 2147483646 w 60"/>
                    <a:gd name="T11" fmla="*/ 2147483646 h 55"/>
                    <a:gd name="T12" fmla="*/ 2147483646 w 60"/>
                    <a:gd name="T13" fmla="*/ 2147483646 h 55"/>
                    <a:gd name="T14" fmla="*/ 2147483646 w 60"/>
                    <a:gd name="T15" fmla="*/ 2147483646 h 55"/>
                    <a:gd name="T16" fmla="*/ 2147483646 w 60"/>
                    <a:gd name="T17" fmla="*/ 2147483646 h 55"/>
                    <a:gd name="T18" fmla="*/ 2147483646 w 60"/>
                    <a:gd name="T19" fmla="*/ 2147483646 h 55"/>
                    <a:gd name="T20" fmla="*/ 2147483646 w 60"/>
                    <a:gd name="T21" fmla="*/ 2147483646 h 55"/>
                    <a:gd name="T22" fmla="*/ 2147483646 w 60"/>
                    <a:gd name="T23" fmla="*/ 2147483646 h 55"/>
                    <a:gd name="T24" fmla="*/ 2147483646 w 60"/>
                    <a:gd name="T25" fmla="*/ 2147483646 h 55"/>
                    <a:gd name="T26" fmla="*/ 2147483646 w 60"/>
                    <a:gd name="T27" fmla="*/ 2147483646 h 55"/>
                    <a:gd name="T28" fmla="*/ 2147483646 w 60"/>
                    <a:gd name="T29" fmla="*/ 2147483646 h 55"/>
                    <a:gd name="T30" fmla="*/ 2147483646 w 60"/>
                    <a:gd name="T31" fmla="*/ 2147483646 h 55"/>
                    <a:gd name="T32" fmla="*/ 2147483646 w 60"/>
                    <a:gd name="T33" fmla="*/ 2147483646 h 55"/>
                    <a:gd name="T34" fmla="*/ 2147483646 w 60"/>
                    <a:gd name="T35" fmla="*/ 0 h 55"/>
                    <a:gd name="T36" fmla="*/ 2147483646 w 60"/>
                    <a:gd name="T37" fmla="*/ 2147483646 h 55"/>
                    <a:gd name="T38" fmla="*/ 2147483646 w 60"/>
                    <a:gd name="T39" fmla="*/ 2147483646 h 55"/>
                    <a:gd name="T40" fmla="*/ 2147483646 w 60"/>
                    <a:gd name="T41" fmla="*/ 2147483646 h 55"/>
                    <a:gd name="T42" fmla="*/ 0 w 60"/>
                    <a:gd name="T43" fmla="*/ 2147483646 h 55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60"/>
                    <a:gd name="T67" fmla="*/ 0 h 55"/>
                    <a:gd name="T68" fmla="*/ 60 w 60"/>
                    <a:gd name="T69" fmla="*/ 55 h 55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60" h="55">
                      <a:moveTo>
                        <a:pt x="0" y="6"/>
                      </a:moveTo>
                      <a:lnTo>
                        <a:pt x="0" y="24"/>
                      </a:lnTo>
                      <a:lnTo>
                        <a:pt x="5" y="32"/>
                      </a:lnTo>
                      <a:lnTo>
                        <a:pt x="10" y="40"/>
                      </a:lnTo>
                      <a:lnTo>
                        <a:pt x="16" y="45"/>
                      </a:lnTo>
                      <a:lnTo>
                        <a:pt x="21" y="49"/>
                      </a:lnTo>
                      <a:lnTo>
                        <a:pt x="27" y="52"/>
                      </a:lnTo>
                      <a:lnTo>
                        <a:pt x="33" y="54"/>
                      </a:lnTo>
                      <a:lnTo>
                        <a:pt x="40" y="55"/>
                      </a:lnTo>
                      <a:lnTo>
                        <a:pt x="46" y="55"/>
                      </a:lnTo>
                      <a:lnTo>
                        <a:pt x="53" y="52"/>
                      </a:lnTo>
                      <a:lnTo>
                        <a:pt x="60" y="49"/>
                      </a:lnTo>
                      <a:lnTo>
                        <a:pt x="50" y="34"/>
                      </a:lnTo>
                      <a:lnTo>
                        <a:pt x="42" y="22"/>
                      </a:lnTo>
                      <a:lnTo>
                        <a:pt x="39" y="17"/>
                      </a:lnTo>
                      <a:lnTo>
                        <a:pt x="35" y="12"/>
                      </a:lnTo>
                      <a:lnTo>
                        <a:pt x="34" y="6"/>
                      </a:lnTo>
                      <a:lnTo>
                        <a:pt x="33" y="0"/>
                      </a:lnTo>
                      <a:lnTo>
                        <a:pt x="23" y="1"/>
                      </a:lnTo>
                      <a:lnTo>
                        <a:pt x="15" y="3"/>
                      </a:lnTo>
                      <a:lnTo>
                        <a:pt x="7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47" name="Freeform 456">
                  <a:extLst>
                    <a:ext uri="{FF2B5EF4-FFF2-40B4-BE49-F238E27FC236}">
                      <a16:creationId xmlns:a16="http://schemas.microsoft.com/office/drawing/2014/main" xmlns="" id="{2BCC6E1A-5B2E-4C4F-A752-1D8F9677E7EC}"/>
                    </a:ext>
                  </a:extLst>
                </p:cNvPr>
                <p:cNvSpPr>
                  <a:spLocks/>
                </p:cNvSpPr>
                <p:nvPr>
                  <p:custDataLst>
                    <p:tags r:id="rId294"/>
                  </p:custDataLst>
                </p:nvPr>
              </p:nvSpPr>
              <p:spPr bwMode="auto">
                <a:xfrm>
                  <a:off x="4171950" y="1857375"/>
                  <a:ext cx="52388" cy="77788"/>
                </a:xfrm>
                <a:custGeom>
                  <a:avLst/>
                  <a:gdLst>
                    <a:gd name="T0" fmla="*/ 2147483646 w 120"/>
                    <a:gd name="T1" fmla="*/ 2147483646 h 148"/>
                    <a:gd name="T2" fmla="*/ 2147483646 w 120"/>
                    <a:gd name="T3" fmla="*/ 2147483646 h 148"/>
                    <a:gd name="T4" fmla="*/ 2147483646 w 120"/>
                    <a:gd name="T5" fmla="*/ 2147483646 h 148"/>
                    <a:gd name="T6" fmla="*/ 2147483646 w 120"/>
                    <a:gd name="T7" fmla="*/ 2147483646 h 148"/>
                    <a:gd name="T8" fmla="*/ 2147483646 w 120"/>
                    <a:gd name="T9" fmla="*/ 2147483646 h 148"/>
                    <a:gd name="T10" fmla="*/ 2147483646 w 120"/>
                    <a:gd name="T11" fmla="*/ 2147483646 h 148"/>
                    <a:gd name="T12" fmla="*/ 2147483646 w 120"/>
                    <a:gd name="T13" fmla="*/ 2147483646 h 148"/>
                    <a:gd name="T14" fmla="*/ 2147483646 w 120"/>
                    <a:gd name="T15" fmla="*/ 2147483646 h 148"/>
                    <a:gd name="T16" fmla="*/ 2147483646 w 120"/>
                    <a:gd name="T17" fmla="*/ 2147483646 h 148"/>
                    <a:gd name="T18" fmla="*/ 2147483646 w 120"/>
                    <a:gd name="T19" fmla="*/ 2147483646 h 148"/>
                    <a:gd name="T20" fmla="*/ 2147483646 w 120"/>
                    <a:gd name="T21" fmla="*/ 2147483646 h 148"/>
                    <a:gd name="T22" fmla="*/ 2147483646 w 120"/>
                    <a:gd name="T23" fmla="*/ 2147483646 h 148"/>
                    <a:gd name="T24" fmla="*/ 2147483646 w 120"/>
                    <a:gd name="T25" fmla="*/ 2147483646 h 148"/>
                    <a:gd name="T26" fmla="*/ 2147483646 w 120"/>
                    <a:gd name="T27" fmla="*/ 2147483646 h 148"/>
                    <a:gd name="T28" fmla="*/ 2147483646 w 120"/>
                    <a:gd name="T29" fmla="*/ 2147483646 h 148"/>
                    <a:gd name="T30" fmla="*/ 2147483646 w 120"/>
                    <a:gd name="T31" fmla="*/ 2147483646 h 148"/>
                    <a:gd name="T32" fmla="*/ 2147483646 w 120"/>
                    <a:gd name="T33" fmla="*/ 2147483646 h 148"/>
                    <a:gd name="T34" fmla="*/ 2147483646 w 120"/>
                    <a:gd name="T35" fmla="*/ 2147483646 h 148"/>
                    <a:gd name="T36" fmla="*/ 0 w 120"/>
                    <a:gd name="T37" fmla="*/ 2147483646 h 148"/>
                    <a:gd name="T38" fmla="*/ 2147483646 w 120"/>
                    <a:gd name="T39" fmla="*/ 2147483646 h 148"/>
                    <a:gd name="T40" fmla="*/ 2147483646 w 120"/>
                    <a:gd name="T41" fmla="*/ 2147483646 h 148"/>
                    <a:gd name="T42" fmla="*/ 2147483646 w 120"/>
                    <a:gd name="T43" fmla="*/ 2147483646 h 148"/>
                    <a:gd name="T44" fmla="*/ 2147483646 w 120"/>
                    <a:gd name="T45" fmla="*/ 2147483646 h 148"/>
                    <a:gd name="T46" fmla="*/ 2147483646 w 120"/>
                    <a:gd name="T47" fmla="*/ 2147483646 h 148"/>
                    <a:gd name="T48" fmla="*/ 2147483646 w 120"/>
                    <a:gd name="T49" fmla="*/ 2147483646 h 148"/>
                    <a:gd name="T50" fmla="*/ 2147483646 w 120"/>
                    <a:gd name="T51" fmla="*/ 2147483646 h 148"/>
                    <a:gd name="T52" fmla="*/ 2147483646 w 120"/>
                    <a:gd name="T53" fmla="*/ 2147483646 h 148"/>
                    <a:gd name="T54" fmla="*/ 2147483646 w 120"/>
                    <a:gd name="T55" fmla="*/ 2147483646 h 148"/>
                    <a:gd name="T56" fmla="*/ 2147483646 w 120"/>
                    <a:gd name="T57" fmla="*/ 0 h 148"/>
                    <a:gd name="T58" fmla="*/ 2147483646 w 120"/>
                    <a:gd name="T59" fmla="*/ 2147483646 h 148"/>
                    <a:gd name="T60" fmla="*/ 2147483646 w 120"/>
                    <a:gd name="T61" fmla="*/ 2147483646 h 148"/>
                    <a:gd name="T62" fmla="*/ 2147483646 w 120"/>
                    <a:gd name="T63" fmla="*/ 2147483646 h 148"/>
                    <a:gd name="T64" fmla="*/ 2147483646 w 120"/>
                    <a:gd name="T65" fmla="*/ 2147483646 h 148"/>
                    <a:gd name="T66" fmla="*/ 2147483646 w 120"/>
                    <a:gd name="T67" fmla="*/ 2147483646 h 148"/>
                    <a:gd name="T68" fmla="*/ 2147483646 w 120"/>
                    <a:gd name="T69" fmla="*/ 2147483646 h 148"/>
                    <a:gd name="T70" fmla="*/ 2147483646 w 120"/>
                    <a:gd name="T71" fmla="*/ 2147483646 h 148"/>
                    <a:gd name="T72" fmla="*/ 2147483646 w 120"/>
                    <a:gd name="T73" fmla="*/ 2147483646 h 148"/>
                    <a:gd name="T74" fmla="*/ 2147483646 w 120"/>
                    <a:gd name="T75" fmla="*/ 2147483646 h 148"/>
                    <a:gd name="T76" fmla="*/ 2147483646 w 120"/>
                    <a:gd name="T77" fmla="*/ 2147483646 h 148"/>
                    <a:gd name="T78" fmla="*/ 2147483646 w 120"/>
                    <a:gd name="T79" fmla="*/ 2147483646 h 148"/>
                    <a:gd name="T80" fmla="*/ 2147483646 w 120"/>
                    <a:gd name="T81" fmla="*/ 2147483646 h 148"/>
                    <a:gd name="T82" fmla="*/ 2147483646 w 120"/>
                    <a:gd name="T83" fmla="*/ 2147483646 h 148"/>
                    <a:gd name="T84" fmla="*/ 2147483646 w 120"/>
                    <a:gd name="T85" fmla="*/ 2147483646 h 148"/>
                    <a:gd name="T86" fmla="*/ 2147483646 w 120"/>
                    <a:gd name="T87" fmla="*/ 2147483646 h 148"/>
                    <a:gd name="T88" fmla="*/ 2147483646 w 120"/>
                    <a:gd name="T89" fmla="*/ 2147483646 h 148"/>
                    <a:gd name="T90" fmla="*/ 2147483646 w 120"/>
                    <a:gd name="T91" fmla="*/ 2147483646 h 148"/>
                    <a:gd name="T92" fmla="*/ 2147483646 w 120"/>
                    <a:gd name="T93" fmla="*/ 2147483646 h 148"/>
                    <a:gd name="T94" fmla="*/ 2147483646 w 120"/>
                    <a:gd name="T95" fmla="*/ 2147483646 h 148"/>
                    <a:gd name="T96" fmla="*/ 2147483646 w 120"/>
                    <a:gd name="T97" fmla="*/ 2147483646 h 148"/>
                    <a:gd name="T98" fmla="*/ 2147483646 w 120"/>
                    <a:gd name="T99" fmla="*/ 2147483646 h 148"/>
                    <a:gd name="T100" fmla="*/ 2147483646 w 120"/>
                    <a:gd name="T101" fmla="*/ 2147483646 h 148"/>
                    <a:gd name="T102" fmla="*/ 2147483646 w 120"/>
                    <a:gd name="T103" fmla="*/ 2147483646 h 148"/>
                    <a:gd name="T104" fmla="*/ 2147483646 w 120"/>
                    <a:gd name="T105" fmla="*/ 2147483646 h 148"/>
                    <a:gd name="T106" fmla="*/ 2147483646 w 120"/>
                    <a:gd name="T107" fmla="*/ 2147483646 h 148"/>
                    <a:gd name="T108" fmla="*/ 2147483646 w 120"/>
                    <a:gd name="T109" fmla="*/ 2147483646 h 148"/>
                    <a:gd name="T110" fmla="*/ 2147483646 w 120"/>
                    <a:gd name="T111" fmla="*/ 2147483646 h 148"/>
                    <a:gd name="T112" fmla="*/ 2147483646 w 120"/>
                    <a:gd name="T113" fmla="*/ 2147483646 h 148"/>
                    <a:gd name="T114" fmla="*/ 2147483646 w 120"/>
                    <a:gd name="T115" fmla="*/ 2147483646 h 148"/>
                    <a:gd name="T116" fmla="*/ 2147483646 w 120"/>
                    <a:gd name="T117" fmla="*/ 2147483646 h 148"/>
                    <a:gd name="T118" fmla="*/ 2147483646 w 120"/>
                    <a:gd name="T119" fmla="*/ 2147483646 h 148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20"/>
                    <a:gd name="T181" fmla="*/ 0 h 148"/>
                    <a:gd name="T182" fmla="*/ 120 w 120"/>
                    <a:gd name="T183" fmla="*/ 148 h 148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120" h="148">
                      <a:moveTo>
                        <a:pt x="74" y="129"/>
                      </a:moveTo>
                      <a:lnTo>
                        <a:pt x="70" y="131"/>
                      </a:lnTo>
                      <a:lnTo>
                        <a:pt x="67" y="132"/>
                      </a:lnTo>
                      <a:lnTo>
                        <a:pt x="64" y="133"/>
                      </a:lnTo>
                      <a:lnTo>
                        <a:pt x="60" y="133"/>
                      </a:lnTo>
                      <a:lnTo>
                        <a:pt x="56" y="133"/>
                      </a:lnTo>
                      <a:lnTo>
                        <a:pt x="53" y="132"/>
                      </a:lnTo>
                      <a:lnTo>
                        <a:pt x="50" y="131"/>
                      </a:lnTo>
                      <a:lnTo>
                        <a:pt x="47" y="129"/>
                      </a:lnTo>
                      <a:lnTo>
                        <a:pt x="41" y="128"/>
                      </a:lnTo>
                      <a:lnTo>
                        <a:pt x="34" y="125"/>
                      </a:lnTo>
                      <a:lnTo>
                        <a:pt x="26" y="120"/>
                      </a:lnTo>
                      <a:lnTo>
                        <a:pt x="19" y="115"/>
                      </a:lnTo>
                      <a:lnTo>
                        <a:pt x="11" y="108"/>
                      </a:lnTo>
                      <a:lnTo>
                        <a:pt x="6" y="101"/>
                      </a:lnTo>
                      <a:lnTo>
                        <a:pt x="3" y="97"/>
                      </a:lnTo>
                      <a:lnTo>
                        <a:pt x="2" y="94"/>
                      </a:lnTo>
                      <a:lnTo>
                        <a:pt x="1" y="90"/>
                      </a:lnTo>
                      <a:lnTo>
                        <a:pt x="0" y="87"/>
                      </a:lnTo>
                      <a:lnTo>
                        <a:pt x="2" y="73"/>
                      </a:lnTo>
                      <a:lnTo>
                        <a:pt x="8" y="55"/>
                      </a:lnTo>
                      <a:lnTo>
                        <a:pt x="14" y="35"/>
                      </a:lnTo>
                      <a:lnTo>
                        <a:pt x="20" y="18"/>
                      </a:lnTo>
                      <a:lnTo>
                        <a:pt x="32" y="17"/>
                      </a:lnTo>
                      <a:lnTo>
                        <a:pt x="42" y="16"/>
                      </a:lnTo>
                      <a:lnTo>
                        <a:pt x="51" y="14"/>
                      </a:lnTo>
                      <a:lnTo>
                        <a:pt x="58" y="11"/>
                      </a:lnTo>
                      <a:lnTo>
                        <a:pt x="70" y="5"/>
                      </a:lnTo>
                      <a:lnTo>
                        <a:pt x="80" y="0"/>
                      </a:lnTo>
                      <a:lnTo>
                        <a:pt x="85" y="2"/>
                      </a:lnTo>
                      <a:lnTo>
                        <a:pt x="93" y="7"/>
                      </a:lnTo>
                      <a:lnTo>
                        <a:pt x="98" y="10"/>
                      </a:lnTo>
                      <a:lnTo>
                        <a:pt x="102" y="13"/>
                      </a:lnTo>
                      <a:lnTo>
                        <a:pt x="106" y="16"/>
                      </a:lnTo>
                      <a:lnTo>
                        <a:pt x="107" y="18"/>
                      </a:lnTo>
                      <a:lnTo>
                        <a:pt x="100" y="28"/>
                      </a:lnTo>
                      <a:lnTo>
                        <a:pt x="93" y="37"/>
                      </a:lnTo>
                      <a:lnTo>
                        <a:pt x="95" y="42"/>
                      </a:lnTo>
                      <a:lnTo>
                        <a:pt x="98" y="49"/>
                      </a:lnTo>
                      <a:lnTo>
                        <a:pt x="102" y="56"/>
                      </a:lnTo>
                      <a:lnTo>
                        <a:pt x="107" y="63"/>
                      </a:lnTo>
                      <a:lnTo>
                        <a:pt x="115" y="75"/>
                      </a:lnTo>
                      <a:lnTo>
                        <a:pt x="120" y="79"/>
                      </a:lnTo>
                      <a:lnTo>
                        <a:pt x="113" y="81"/>
                      </a:lnTo>
                      <a:lnTo>
                        <a:pt x="107" y="84"/>
                      </a:lnTo>
                      <a:lnTo>
                        <a:pt x="100" y="87"/>
                      </a:lnTo>
                      <a:lnTo>
                        <a:pt x="96" y="91"/>
                      </a:lnTo>
                      <a:lnTo>
                        <a:pt x="90" y="95"/>
                      </a:lnTo>
                      <a:lnTo>
                        <a:pt x="87" y="99"/>
                      </a:lnTo>
                      <a:lnTo>
                        <a:pt x="82" y="104"/>
                      </a:lnTo>
                      <a:lnTo>
                        <a:pt x="80" y="109"/>
                      </a:lnTo>
                      <a:lnTo>
                        <a:pt x="78" y="114"/>
                      </a:lnTo>
                      <a:lnTo>
                        <a:pt x="77" y="120"/>
                      </a:lnTo>
                      <a:lnTo>
                        <a:pt x="76" y="125"/>
                      </a:lnTo>
                      <a:lnTo>
                        <a:pt x="75" y="130"/>
                      </a:lnTo>
                      <a:lnTo>
                        <a:pt x="76" y="135"/>
                      </a:lnTo>
                      <a:lnTo>
                        <a:pt x="77" y="140"/>
                      </a:lnTo>
                      <a:lnTo>
                        <a:pt x="78" y="144"/>
                      </a:lnTo>
                      <a:lnTo>
                        <a:pt x="80" y="148"/>
                      </a:lnTo>
                      <a:lnTo>
                        <a:pt x="74" y="12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48" name="Freeform 457">
                  <a:extLst>
                    <a:ext uri="{FF2B5EF4-FFF2-40B4-BE49-F238E27FC236}">
                      <a16:creationId xmlns:a16="http://schemas.microsoft.com/office/drawing/2014/main" xmlns="" id="{FBA565D0-A27D-4640-B45B-199F608592D2}"/>
                    </a:ext>
                  </a:extLst>
                </p:cNvPr>
                <p:cNvSpPr>
                  <a:spLocks/>
                </p:cNvSpPr>
                <p:nvPr>
                  <p:custDataLst>
                    <p:tags r:id="rId295"/>
                  </p:custDataLst>
                </p:nvPr>
              </p:nvSpPr>
              <p:spPr bwMode="auto">
                <a:xfrm>
                  <a:off x="4603750" y="2662238"/>
                  <a:ext cx="273050" cy="307975"/>
                </a:xfrm>
                <a:custGeom>
                  <a:avLst/>
                  <a:gdLst>
                    <a:gd name="T0" fmla="*/ 2147483646 w 631"/>
                    <a:gd name="T1" fmla="*/ 2147483646 h 592"/>
                    <a:gd name="T2" fmla="*/ 2147483646 w 631"/>
                    <a:gd name="T3" fmla="*/ 2147483646 h 592"/>
                    <a:gd name="T4" fmla="*/ 2147483646 w 631"/>
                    <a:gd name="T5" fmla="*/ 2147483646 h 592"/>
                    <a:gd name="T6" fmla="*/ 2147483646 w 631"/>
                    <a:gd name="T7" fmla="*/ 2147483646 h 592"/>
                    <a:gd name="T8" fmla="*/ 2147483646 w 631"/>
                    <a:gd name="T9" fmla="*/ 2147483646 h 592"/>
                    <a:gd name="T10" fmla="*/ 2147483646 w 631"/>
                    <a:gd name="T11" fmla="*/ 2147483646 h 592"/>
                    <a:gd name="T12" fmla="*/ 2147483646 w 631"/>
                    <a:gd name="T13" fmla="*/ 2147483646 h 592"/>
                    <a:gd name="T14" fmla="*/ 2147483646 w 631"/>
                    <a:gd name="T15" fmla="*/ 2147483646 h 592"/>
                    <a:gd name="T16" fmla="*/ 2147483646 w 631"/>
                    <a:gd name="T17" fmla="*/ 2147483646 h 592"/>
                    <a:gd name="T18" fmla="*/ 2147483646 w 631"/>
                    <a:gd name="T19" fmla="*/ 2147483646 h 592"/>
                    <a:gd name="T20" fmla="*/ 2147483646 w 631"/>
                    <a:gd name="T21" fmla="*/ 2147483646 h 592"/>
                    <a:gd name="T22" fmla="*/ 2147483646 w 631"/>
                    <a:gd name="T23" fmla="*/ 2147483646 h 592"/>
                    <a:gd name="T24" fmla="*/ 2147483646 w 631"/>
                    <a:gd name="T25" fmla="*/ 2147483646 h 592"/>
                    <a:gd name="T26" fmla="*/ 2147483646 w 631"/>
                    <a:gd name="T27" fmla="*/ 2147483646 h 592"/>
                    <a:gd name="T28" fmla="*/ 2147483646 w 631"/>
                    <a:gd name="T29" fmla="*/ 2147483646 h 592"/>
                    <a:gd name="T30" fmla="*/ 2147483646 w 631"/>
                    <a:gd name="T31" fmla="*/ 2147483646 h 592"/>
                    <a:gd name="T32" fmla="*/ 2147483646 w 631"/>
                    <a:gd name="T33" fmla="*/ 2147483646 h 592"/>
                    <a:gd name="T34" fmla="*/ 2147483646 w 631"/>
                    <a:gd name="T35" fmla="*/ 2147483646 h 592"/>
                    <a:gd name="T36" fmla="*/ 2147483646 w 631"/>
                    <a:gd name="T37" fmla="*/ 2147483646 h 592"/>
                    <a:gd name="T38" fmla="*/ 2147483646 w 631"/>
                    <a:gd name="T39" fmla="*/ 2147483646 h 592"/>
                    <a:gd name="T40" fmla="*/ 2147483646 w 631"/>
                    <a:gd name="T41" fmla="*/ 2147483646 h 592"/>
                    <a:gd name="T42" fmla="*/ 2147483646 w 631"/>
                    <a:gd name="T43" fmla="*/ 2147483646 h 592"/>
                    <a:gd name="T44" fmla="*/ 2147483646 w 631"/>
                    <a:gd name="T45" fmla="*/ 2147483646 h 592"/>
                    <a:gd name="T46" fmla="*/ 2147483646 w 631"/>
                    <a:gd name="T47" fmla="*/ 2147483646 h 592"/>
                    <a:gd name="T48" fmla="*/ 2147483646 w 631"/>
                    <a:gd name="T49" fmla="*/ 2147483646 h 592"/>
                    <a:gd name="T50" fmla="*/ 2147483646 w 631"/>
                    <a:gd name="T51" fmla="*/ 2147483646 h 592"/>
                    <a:gd name="T52" fmla="*/ 2147483646 w 631"/>
                    <a:gd name="T53" fmla="*/ 2147483646 h 592"/>
                    <a:gd name="T54" fmla="*/ 2147483646 w 631"/>
                    <a:gd name="T55" fmla="*/ 2147483646 h 592"/>
                    <a:gd name="T56" fmla="*/ 2147483646 w 631"/>
                    <a:gd name="T57" fmla="*/ 2147483646 h 592"/>
                    <a:gd name="T58" fmla="*/ 2147483646 w 631"/>
                    <a:gd name="T59" fmla="*/ 2147483646 h 592"/>
                    <a:gd name="T60" fmla="*/ 2147483646 w 631"/>
                    <a:gd name="T61" fmla="*/ 2147483646 h 592"/>
                    <a:gd name="T62" fmla="*/ 2147483646 w 631"/>
                    <a:gd name="T63" fmla="*/ 2147483646 h 592"/>
                    <a:gd name="T64" fmla="*/ 2147483646 w 631"/>
                    <a:gd name="T65" fmla="*/ 2147483646 h 592"/>
                    <a:gd name="T66" fmla="*/ 2147483646 w 631"/>
                    <a:gd name="T67" fmla="*/ 2147483646 h 592"/>
                    <a:gd name="T68" fmla="*/ 2147483646 w 631"/>
                    <a:gd name="T69" fmla="*/ 2147483646 h 592"/>
                    <a:gd name="T70" fmla="*/ 2147483646 w 631"/>
                    <a:gd name="T71" fmla="*/ 2147483646 h 592"/>
                    <a:gd name="T72" fmla="*/ 2147483646 w 631"/>
                    <a:gd name="T73" fmla="*/ 2147483646 h 592"/>
                    <a:gd name="T74" fmla="*/ 2147483646 w 631"/>
                    <a:gd name="T75" fmla="*/ 2147483646 h 592"/>
                    <a:gd name="T76" fmla="*/ 2147483646 w 631"/>
                    <a:gd name="T77" fmla="*/ 2147483646 h 592"/>
                    <a:gd name="T78" fmla="*/ 2147483646 w 631"/>
                    <a:gd name="T79" fmla="*/ 2147483646 h 592"/>
                    <a:gd name="T80" fmla="*/ 2147483646 w 631"/>
                    <a:gd name="T81" fmla="*/ 2147483646 h 592"/>
                    <a:gd name="T82" fmla="*/ 2147483646 w 631"/>
                    <a:gd name="T83" fmla="*/ 2147483646 h 592"/>
                    <a:gd name="T84" fmla="*/ 2147483646 w 631"/>
                    <a:gd name="T85" fmla="*/ 2147483646 h 592"/>
                    <a:gd name="T86" fmla="*/ 2147483646 w 631"/>
                    <a:gd name="T87" fmla="*/ 2147483646 h 592"/>
                    <a:gd name="T88" fmla="*/ 2147483646 w 631"/>
                    <a:gd name="T89" fmla="*/ 2147483646 h 592"/>
                    <a:gd name="T90" fmla="*/ 2147483646 w 631"/>
                    <a:gd name="T91" fmla="*/ 2147483646 h 592"/>
                    <a:gd name="T92" fmla="*/ 0 w 631"/>
                    <a:gd name="T93" fmla="*/ 2147483646 h 592"/>
                    <a:gd name="T94" fmla="*/ 2147483646 w 631"/>
                    <a:gd name="T95" fmla="*/ 2147483646 h 592"/>
                    <a:gd name="T96" fmla="*/ 2147483646 w 631"/>
                    <a:gd name="T97" fmla="*/ 2147483646 h 592"/>
                    <a:gd name="T98" fmla="*/ 2147483646 w 631"/>
                    <a:gd name="T99" fmla="*/ 2147483646 h 592"/>
                    <a:gd name="T100" fmla="*/ 2147483646 w 631"/>
                    <a:gd name="T101" fmla="*/ 2147483646 h 592"/>
                    <a:gd name="T102" fmla="*/ 2147483646 w 631"/>
                    <a:gd name="T103" fmla="*/ 2147483646 h 592"/>
                    <a:gd name="T104" fmla="*/ 2147483646 w 631"/>
                    <a:gd name="T105" fmla="*/ 2147483646 h 592"/>
                    <a:gd name="T106" fmla="*/ 2147483646 w 631"/>
                    <a:gd name="T107" fmla="*/ 2147483646 h 592"/>
                    <a:gd name="T108" fmla="*/ 2147483646 w 631"/>
                    <a:gd name="T109" fmla="*/ 2147483646 h 592"/>
                    <a:gd name="T110" fmla="*/ 2147483646 w 631"/>
                    <a:gd name="T111" fmla="*/ 0 h 592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631"/>
                    <a:gd name="T169" fmla="*/ 0 h 592"/>
                    <a:gd name="T170" fmla="*/ 631 w 631"/>
                    <a:gd name="T171" fmla="*/ 592 h 592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631" h="592">
                      <a:moveTo>
                        <a:pt x="13" y="0"/>
                      </a:moveTo>
                      <a:lnTo>
                        <a:pt x="21" y="2"/>
                      </a:lnTo>
                      <a:lnTo>
                        <a:pt x="26" y="2"/>
                      </a:lnTo>
                      <a:lnTo>
                        <a:pt x="32" y="4"/>
                      </a:lnTo>
                      <a:lnTo>
                        <a:pt x="40" y="7"/>
                      </a:lnTo>
                      <a:lnTo>
                        <a:pt x="54" y="8"/>
                      </a:lnTo>
                      <a:lnTo>
                        <a:pt x="67" y="9"/>
                      </a:lnTo>
                      <a:lnTo>
                        <a:pt x="78" y="11"/>
                      </a:lnTo>
                      <a:lnTo>
                        <a:pt x="88" y="13"/>
                      </a:lnTo>
                      <a:lnTo>
                        <a:pt x="104" y="19"/>
                      </a:lnTo>
                      <a:lnTo>
                        <a:pt x="118" y="26"/>
                      </a:lnTo>
                      <a:lnTo>
                        <a:pt x="130" y="32"/>
                      </a:lnTo>
                      <a:lnTo>
                        <a:pt x="141" y="38"/>
                      </a:lnTo>
                      <a:lnTo>
                        <a:pt x="146" y="40"/>
                      </a:lnTo>
                      <a:lnTo>
                        <a:pt x="153" y="42"/>
                      </a:lnTo>
                      <a:lnTo>
                        <a:pt x="159" y="43"/>
                      </a:lnTo>
                      <a:lnTo>
                        <a:pt x="166" y="44"/>
                      </a:lnTo>
                      <a:lnTo>
                        <a:pt x="189" y="43"/>
                      </a:lnTo>
                      <a:lnTo>
                        <a:pt x="210" y="41"/>
                      </a:lnTo>
                      <a:lnTo>
                        <a:pt x="227" y="37"/>
                      </a:lnTo>
                      <a:lnTo>
                        <a:pt x="244" y="33"/>
                      </a:lnTo>
                      <a:lnTo>
                        <a:pt x="277" y="23"/>
                      </a:lnTo>
                      <a:lnTo>
                        <a:pt x="312" y="14"/>
                      </a:lnTo>
                      <a:lnTo>
                        <a:pt x="399" y="38"/>
                      </a:lnTo>
                      <a:lnTo>
                        <a:pt x="400" y="53"/>
                      </a:lnTo>
                      <a:lnTo>
                        <a:pt x="403" y="69"/>
                      </a:lnTo>
                      <a:lnTo>
                        <a:pt x="405" y="82"/>
                      </a:lnTo>
                      <a:lnTo>
                        <a:pt x="410" y="95"/>
                      </a:lnTo>
                      <a:lnTo>
                        <a:pt x="413" y="107"/>
                      </a:lnTo>
                      <a:lnTo>
                        <a:pt x="417" y="119"/>
                      </a:lnTo>
                      <a:lnTo>
                        <a:pt x="423" y="130"/>
                      </a:lnTo>
                      <a:lnTo>
                        <a:pt x="427" y="140"/>
                      </a:lnTo>
                      <a:lnTo>
                        <a:pt x="438" y="158"/>
                      </a:lnTo>
                      <a:lnTo>
                        <a:pt x="450" y="175"/>
                      </a:lnTo>
                      <a:lnTo>
                        <a:pt x="461" y="190"/>
                      </a:lnTo>
                      <a:lnTo>
                        <a:pt x="472" y="204"/>
                      </a:lnTo>
                      <a:lnTo>
                        <a:pt x="478" y="213"/>
                      </a:lnTo>
                      <a:lnTo>
                        <a:pt x="482" y="222"/>
                      </a:lnTo>
                      <a:lnTo>
                        <a:pt x="484" y="232"/>
                      </a:lnTo>
                      <a:lnTo>
                        <a:pt x="485" y="240"/>
                      </a:lnTo>
                      <a:lnTo>
                        <a:pt x="488" y="248"/>
                      </a:lnTo>
                      <a:lnTo>
                        <a:pt x="491" y="255"/>
                      </a:lnTo>
                      <a:lnTo>
                        <a:pt x="494" y="258"/>
                      </a:lnTo>
                      <a:lnTo>
                        <a:pt x="496" y="261"/>
                      </a:lnTo>
                      <a:lnTo>
                        <a:pt x="501" y="263"/>
                      </a:lnTo>
                      <a:lnTo>
                        <a:pt x="505" y="266"/>
                      </a:lnTo>
                      <a:lnTo>
                        <a:pt x="508" y="267"/>
                      </a:lnTo>
                      <a:lnTo>
                        <a:pt x="513" y="270"/>
                      </a:lnTo>
                      <a:lnTo>
                        <a:pt x="516" y="274"/>
                      </a:lnTo>
                      <a:lnTo>
                        <a:pt x="519" y="278"/>
                      </a:lnTo>
                      <a:lnTo>
                        <a:pt x="526" y="290"/>
                      </a:lnTo>
                      <a:lnTo>
                        <a:pt x="533" y="303"/>
                      </a:lnTo>
                      <a:lnTo>
                        <a:pt x="537" y="317"/>
                      </a:lnTo>
                      <a:lnTo>
                        <a:pt x="541" y="331"/>
                      </a:lnTo>
                      <a:lnTo>
                        <a:pt x="544" y="346"/>
                      </a:lnTo>
                      <a:lnTo>
                        <a:pt x="545" y="358"/>
                      </a:lnTo>
                      <a:lnTo>
                        <a:pt x="546" y="363"/>
                      </a:lnTo>
                      <a:lnTo>
                        <a:pt x="548" y="368"/>
                      </a:lnTo>
                      <a:lnTo>
                        <a:pt x="551" y="374"/>
                      </a:lnTo>
                      <a:lnTo>
                        <a:pt x="557" y="381"/>
                      </a:lnTo>
                      <a:lnTo>
                        <a:pt x="569" y="398"/>
                      </a:lnTo>
                      <a:lnTo>
                        <a:pt x="583" y="415"/>
                      </a:lnTo>
                      <a:lnTo>
                        <a:pt x="598" y="432"/>
                      </a:lnTo>
                      <a:lnTo>
                        <a:pt x="612" y="447"/>
                      </a:lnTo>
                      <a:lnTo>
                        <a:pt x="624" y="458"/>
                      </a:lnTo>
                      <a:lnTo>
                        <a:pt x="631" y="463"/>
                      </a:lnTo>
                      <a:lnTo>
                        <a:pt x="622" y="472"/>
                      </a:lnTo>
                      <a:lnTo>
                        <a:pt x="612" y="481"/>
                      </a:lnTo>
                      <a:lnTo>
                        <a:pt x="619" y="489"/>
                      </a:lnTo>
                      <a:lnTo>
                        <a:pt x="624" y="496"/>
                      </a:lnTo>
                      <a:lnTo>
                        <a:pt x="626" y="501"/>
                      </a:lnTo>
                      <a:lnTo>
                        <a:pt x="626" y="507"/>
                      </a:lnTo>
                      <a:lnTo>
                        <a:pt x="626" y="511"/>
                      </a:lnTo>
                      <a:lnTo>
                        <a:pt x="626" y="516"/>
                      </a:lnTo>
                      <a:lnTo>
                        <a:pt x="627" y="523"/>
                      </a:lnTo>
                      <a:lnTo>
                        <a:pt x="631" y="531"/>
                      </a:lnTo>
                      <a:lnTo>
                        <a:pt x="629" y="535"/>
                      </a:lnTo>
                      <a:lnTo>
                        <a:pt x="626" y="539"/>
                      </a:lnTo>
                      <a:lnTo>
                        <a:pt x="622" y="543"/>
                      </a:lnTo>
                      <a:lnTo>
                        <a:pt x="617" y="548"/>
                      </a:lnTo>
                      <a:lnTo>
                        <a:pt x="605" y="559"/>
                      </a:lnTo>
                      <a:lnTo>
                        <a:pt x="592" y="569"/>
                      </a:lnTo>
                      <a:lnTo>
                        <a:pt x="569" y="585"/>
                      </a:lnTo>
                      <a:lnTo>
                        <a:pt x="558" y="592"/>
                      </a:lnTo>
                      <a:lnTo>
                        <a:pt x="53" y="592"/>
                      </a:lnTo>
                      <a:lnTo>
                        <a:pt x="46" y="174"/>
                      </a:lnTo>
                      <a:lnTo>
                        <a:pt x="35" y="166"/>
                      </a:lnTo>
                      <a:lnTo>
                        <a:pt x="25" y="157"/>
                      </a:lnTo>
                      <a:lnTo>
                        <a:pt x="18" y="148"/>
                      </a:lnTo>
                      <a:lnTo>
                        <a:pt x="11" y="138"/>
                      </a:lnTo>
                      <a:lnTo>
                        <a:pt x="6" y="128"/>
                      </a:lnTo>
                      <a:lnTo>
                        <a:pt x="2" y="117"/>
                      </a:lnTo>
                      <a:lnTo>
                        <a:pt x="1" y="105"/>
                      </a:lnTo>
                      <a:lnTo>
                        <a:pt x="0" y="93"/>
                      </a:lnTo>
                      <a:lnTo>
                        <a:pt x="1" y="91"/>
                      </a:lnTo>
                      <a:lnTo>
                        <a:pt x="3" y="89"/>
                      </a:lnTo>
                      <a:lnTo>
                        <a:pt x="7" y="86"/>
                      </a:lnTo>
                      <a:lnTo>
                        <a:pt x="10" y="83"/>
                      </a:lnTo>
                      <a:lnTo>
                        <a:pt x="13" y="80"/>
                      </a:lnTo>
                      <a:lnTo>
                        <a:pt x="17" y="77"/>
                      </a:lnTo>
                      <a:lnTo>
                        <a:pt x="19" y="73"/>
                      </a:lnTo>
                      <a:lnTo>
                        <a:pt x="20" y="69"/>
                      </a:lnTo>
                      <a:lnTo>
                        <a:pt x="20" y="61"/>
                      </a:lnTo>
                      <a:lnTo>
                        <a:pt x="18" y="53"/>
                      </a:lnTo>
                      <a:lnTo>
                        <a:pt x="15" y="47"/>
                      </a:lnTo>
                      <a:lnTo>
                        <a:pt x="13" y="42"/>
                      </a:lnTo>
                      <a:lnTo>
                        <a:pt x="11" y="38"/>
                      </a:lnTo>
                      <a:lnTo>
                        <a:pt x="9" y="34"/>
                      </a:lnTo>
                      <a:lnTo>
                        <a:pt x="7" y="30"/>
                      </a:lnTo>
                      <a:lnTo>
                        <a:pt x="7" y="26"/>
                      </a:lnTo>
                      <a:lnTo>
                        <a:pt x="10" y="11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49" name="Freeform 458">
                  <a:extLst>
                    <a:ext uri="{FF2B5EF4-FFF2-40B4-BE49-F238E27FC236}">
                      <a16:creationId xmlns:a16="http://schemas.microsoft.com/office/drawing/2014/main" xmlns="" id="{503B4E99-798F-4567-8BDA-3D1A0B9A9D71}"/>
                    </a:ext>
                  </a:extLst>
                </p:cNvPr>
                <p:cNvSpPr>
                  <a:spLocks/>
                </p:cNvSpPr>
                <p:nvPr>
                  <p:custDataLst>
                    <p:tags r:id="rId296"/>
                  </p:custDataLst>
                </p:nvPr>
              </p:nvSpPr>
              <p:spPr bwMode="auto">
                <a:xfrm>
                  <a:off x="4198938" y="2297113"/>
                  <a:ext cx="17462" cy="57150"/>
                </a:xfrm>
                <a:custGeom>
                  <a:avLst/>
                  <a:gdLst>
                    <a:gd name="T0" fmla="*/ 2147483646 w 40"/>
                    <a:gd name="T1" fmla="*/ 2147483646 h 93"/>
                    <a:gd name="T2" fmla="*/ 2147483646 w 40"/>
                    <a:gd name="T3" fmla="*/ 2147483646 h 93"/>
                    <a:gd name="T4" fmla="*/ 2147483646 w 40"/>
                    <a:gd name="T5" fmla="*/ 2147483646 h 93"/>
                    <a:gd name="T6" fmla="*/ 2147483646 w 40"/>
                    <a:gd name="T7" fmla="*/ 2147483646 h 93"/>
                    <a:gd name="T8" fmla="*/ 2147483646 w 40"/>
                    <a:gd name="T9" fmla="*/ 2147483646 h 93"/>
                    <a:gd name="T10" fmla="*/ 2147483646 w 40"/>
                    <a:gd name="T11" fmla="*/ 2147483646 h 93"/>
                    <a:gd name="T12" fmla="*/ 2147483646 w 40"/>
                    <a:gd name="T13" fmla="*/ 0 h 93"/>
                    <a:gd name="T14" fmla="*/ 2147483646 w 40"/>
                    <a:gd name="T15" fmla="*/ 2147483646 h 93"/>
                    <a:gd name="T16" fmla="*/ 2147483646 w 40"/>
                    <a:gd name="T17" fmla="*/ 2147483646 h 93"/>
                    <a:gd name="T18" fmla="*/ 2147483646 w 40"/>
                    <a:gd name="T19" fmla="*/ 2147483646 h 93"/>
                    <a:gd name="T20" fmla="*/ 2147483646 w 40"/>
                    <a:gd name="T21" fmla="*/ 2147483646 h 93"/>
                    <a:gd name="T22" fmla="*/ 2147483646 w 40"/>
                    <a:gd name="T23" fmla="*/ 2147483646 h 93"/>
                    <a:gd name="T24" fmla="*/ 2147483646 w 40"/>
                    <a:gd name="T25" fmla="*/ 2147483646 h 93"/>
                    <a:gd name="T26" fmla="*/ 2147483646 w 40"/>
                    <a:gd name="T27" fmla="*/ 2147483646 h 93"/>
                    <a:gd name="T28" fmla="*/ 2147483646 w 40"/>
                    <a:gd name="T29" fmla="*/ 2147483646 h 93"/>
                    <a:gd name="T30" fmla="*/ 2147483646 w 40"/>
                    <a:gd name="T31" fmla="*/ 2147483646 h 93"/>
                    <a:gd name="T32" fmla="*/ 2147483646 w 40"/>
                    <a:gd name="T33" fmla="*/ 2147483646 h 93"/>
                    <a:gd name="T34" fmla="*/ 2147483646 w 40"/>
                    <a:gd name="T35" fmla="*/ 2147483646 h 93"/>
                    <a:gd name="T36" fmla="*/ 2147483646 w 40"/>
                    <a:gd name="T37" fmla="*/ 2147483646 h 93"/>
                    <a:gd name="T38" fmla="*/ 2147483646 w 40"/>
                    <a:gd name="T39" fmla="*/ 2147483646 h 93"/>
                    <a:gd name="T40" fmla="*/ 2147483646 w 40"/>
                    <a:gd name="T41" fmla="*/ 2147483646 h 93"/>
                    <a:gd name="T42" fmla="*/ 2147483646 w 40"/>
                    <a:gd name="T43" fmla="*/ 2147483646 h 93"/>
                    <a:gd name="T44" fmla="*/ 0 w 40"/>
                    <a:gd name="T45" fmla="*/ 2147483646 h 93"/>
                    <a:gd name="T46" fmla="*/ 2147483646 w 40"/>
                    <a:gd name="T47" fmla="*/ 2147483646 h 93"/>
                    <a:gd name="T48" fmla="*/ 2147483646 w 40"/>
                    <a:gd name="T49" fmla="*/ 2147483646 h 93"/>
                    <a:gd name="T50" fmla="*/ 2147483646 w 40"/>
                    <a:gd name="T51" fmla="*/ 2147483646 h 93"/>
                    <a:gd name="T52" fmla="*/ 2147483646 w 40"/>
                    <a:gd name="T53" fmla="*/ 2147483646 h 93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40"/>
                    <a:gd name="T82" fmla="*/ 0 h 93"/>
                    <a:gd name="T83" fmla="*/ 40 w 40"/>
                    <a:gd name="T84" fmla="*/ 93 h 93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40" h="93">
                      <a:moveTo>
                        <a:pt x="7" y="31"/>
                      </a:moveTo>
                      <a:lnTo>
                        <a:pt x="10" y="30"/>
                      </a:lnTo>
                      <a:lnTo>
                        <a:pt x="14" y="26"/>
                      </a:lnTo>
                      <a:lnTo>
                        <a:pt x="20" y="20"/>
                      </a:lnTo>
                      <a:lnTo>
                        <a:pt x="25" y="15"/>
                      </a:lnTo>
                      <a:lnTo>
                        <a:pt x="35" y="4"/>
                      </a:lnTo>
                      <a:lnTo>
                        <a:pt x="40" y="0"/>
                      </a:lnTo>
                      <a:lnTo>
                        <a:pt x="37" y="26"/>
                      </a:lnTo>
                      <a:lnTo>
                        <a:pt x="35" y="53"/>
                      </a:lnTo>
                      <a:lnTo>
                        <a:pt x="34" y="65"/>
                      </a:lnTo>
                      <a:lnTo>
                        <a:pt x="34" y="77"/>
                      </a:lnTo>
                      <a:lnTo>
                        <a:pt x="35" y="82"/>
                      </a:lnTo>
                      <a:lnTo>
                        <a:pt x="36" y="86"/>
                      </a:lnTo>
                      <a:lnTo>
                        <a:pt x="37" y="90"/>
                      </a:lnTo>
                      <a:lnTo>
                        <a:pt x="40" y="93"/>
                      </a:lnTo>
                      <a:lnTo>
                        <a:pt x="26" y="93"/>
                      </a:lnTo>
                      <a:lnTo>
                        <a:pt x="13" y="93"/>
                      </a:lnTo>
                      <a:lnTo>
                        <a:pt x="11" y="92"/>
                      </a:lnTo>
                      <a:lnTo>
                        <a:pt x="8" y="91"/>
                      </a:lnTo>
                      <a:lnTo>
                        <a:pt x="6" y="88"/>
                      </a:lnTo>
                      <a:lnTo>
                        <a:pt x="4" y="86"/>
                      </a:lnTo>
                      <a:lnTo>
                        <a:pt x="1" y="80"/>
                      </a:lnTo>
                      <a:lnTo>
                        <a:pt x="0" y="73"/>
                      </a:lnTo>
                      <a:lnTo>
                        <a:pt x="1" y="64"/>
                      </a:lnTo>
                      <a:lnTo>
                        <a:pt x="3" y="50"/>
                      </a:lnTo>
                      <a:lnTo>
                        <a:pt x="6" y="37"/>
                      </a:lnTo>
                      <a:lnTo>
                        <a:pt x="7" y="3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50" name="Freeform 459">
                  <a:extLst>
                    <a:ext uri="{FF2B5EF4-FFF2-40B4-BE49-F238E27FC236}">
                      <a16:creationId xmlns:a16="http://schemas.microsoft.com/office/drawing/2014/main" xmlns="" id="{C1A9D725-D2FB-48EE-B413-EA90BFFC1A85}"/>
                    </a:ext>
                  </a:extLst>
                </p:cNvPr>
                <p:cNvSpPr>
                  <a:spLocks/>
                </p:cNvSpPr>
                <p:nvPr>
                  <p:custDataLst>
                    <p:tags r:id="rId297"/>
                  </p:custDataLst>
                </p:nvPr>
              </p:nvSpPr>
              <p:spPr bwMode="auto">
                <a:xfrm>
                  <a:off x="3898900" y="2047875"/>
                  <a:ext cx="295275" cy="273050"/>
                </a:xfrm>
                <a:custGeom>
                  <a:avLst/>
                  <a:gdLst>
                    <a:gd name="T0" fmla="*/ 2147483646 w 664"/>
                    <a:gd name="T1" fmla="*/ 2147483646 h 518"/>
                    <a:gd name="T2" fmla="*/ 2147483646 w 664"/>
                    <a:gd name="T3" fmla="*/ 2147483646 h 518"/>
                    <a:gd name="T4" fmla="*/ 2147483646 w 664"/>
                    <a:gd name="T5" fmla="*/ 2147483646 h 518"/>
                    <a:gd name="T6" fmla="*/ 2147483646 w 664"/>
                    <a:gd name="T7" fmla="*/ 2147483646 h 518"/>
                    <a:gd name="T8" fmla="*/ 2147483646 w 664"/>
                    <a:gd name="T9" fmla="*/ 2147483646 h 518"/>
                    <a:gd name="T10" fmla="*/ 2147483646 w 664"/>
                    <a:gd name="T11" fmla="*/ 2147483646 h 518"/>
                    <a:gd name="T12" fmla="*/ 2147483646 w 664"/>
                    <a:gd name="T13" fmla="*/ 2147483646 h 518"/>
                    <a:gd name="T14" fmla="*/ 2147483646 w 664"/>
                    <a:gd name="T15" fmla="*/ 2147483646 h 518"/>
                    <a:gd name="T16" fmla="*/ 2147483646 w 664"/>
                    <a:gd name="T17" fmla="*/ 2147483646 h 518"/>
                    <a:gd name="T18" fmla="*/ 2147483646 w 664"/>
                    <a:gd name="T19" fmla="*/ 2147483646 h 518"/>
                    <a:gd name="T20" fmla="*/ 2147483646 w 664"/>
                    <a:gd name="T21" fmla="*/ 2147483646 h 518"/>
                    <a:gd name="T22" fmla="*/ 2147483646 w 664"/>
                    <a:gd name="T23" fmla="*/ 2147483646 h 518"/>
                    <a:gd name="T24" fmla="*/ 2147483646 w 664"/>
                    <a:gd name="T25" fmla="*/ 2147483646 h 518"/>
                    <a:gd name="T26" fmla="*/ 2147483646 w 664"/>
                    <a:gd name="T27" fmla="*/ 2147483646 h 518"/>
                    <a:gd name="T28" fmla="*/ 2147483646 w 664"/>
                    <a:gd name="T29" fmla="*/ 2147483646 h 518"/>
                    <a:gd name="T30" fmla="*/ 2147483646 w 664"/>
                    <a:gd name="T31" fmla="*/ 2147483646 h 518"/>
                    <a:gd name="T32" fmla="*/ 2147483646 w 664"/>
                    <a:gd name="T33" fmla="*/ 2147483646 h 518"/>
                    <a:gd name="T34" fmla="*/ 2147483646 w 664"/>
                    <a:gd name="T35" fmla="*/ 2147483646 h 518"/>
                    <a:gd name="T36" fmla="*/ 2147483646 w 664"/>
                    <a:gd name="T37" fmla="*/ 2147483646 h 518"/>
                    <a:gd name="T38" fmla="*/ 2147483646 w 664"/>
                    <a:gd name="T39" fmla="*/ 2147483646 h 518"/>
                    <a:gd name="T40" fmla="*/ 2147483646 w 664"/>
                    <a:gd name="T41" fmla="*/ 2147483646 h 518"/>
                    <a:gd name="T42" fmla="*/ 2147483646 w 664"/>
                    <a:gd name="T43" fmla="*/ 2147483646 h 518"/>
                    <a:gd name="T44" fmla="*/ 2147483646 w 664"/>
                    <a:gd name="T45" fmla="*/ 2147483646 h 518"/>
                    <a:gd name="T46" fmla="*/ 2147483646 w 664"/>
                    <a:gd name="T47" fmla="*/ 2147483646 h 518"/>
                    <a:gd name="T48" fmla="*/ 2147483646 w 664"/>
                    <a:gd name="T49" fmla="*/ 2147483646 h 518"/>
                    <a:gd name="T50" fmla="*/ 2147483646 w 664"/>
                    <a:gd name="T51" fmla="*/ 2147483646 h 518"/>
                    <a:gd name="T52" fmla="*/ 2147483646 w 664"/>
                    <a:gd name="T53" fmla="*/ 2147483646 h 518"/>
                    <a:gd name="T54" fmla="*/ 2147483646 w 664"/>
                    <a:gd name="T55" fmla="*/ 2147483646 h 518"/>
                    <a:gd name="T56" fmla="*/ 2147483646 w 664"/>
                    <a:gd name="T57" fmla="*/ 2147483646 h 518"/>
                    <a:gd name="T58" fmla="*/ 2147483646 w 664"/>
                    <a:gd name="T59" fmla="*/ 2147483646 h 518"/>
                    <a:gd name="T60" fmla="*/ 2147483646 w 664"/>
                    <a:gd name="T61" fmla="*/ 2147483646 h 518"/>
                    <a:gd name="T62" fmla="*/ 2147483646 w 664"/>
                    <a:gd name="T63" fmla="*/ 2147483646 h 518"/>
                    <a:gd name="T64" fmla="*/ 2147483646 w 664"/>
                    <a:gd name="T65" fmla="*/ 2147483646 h 518"/>
                    <a:gd name="T66" fmla="*/ 2147483646 w 664"/>
                    <a:gd name="T67" fmla="*/ 2147483646 h 518"/>
                    <a:gd name="T68" fmla="*/ 2147483646 w 664"/>
                    <a:gd name="T69" fmla="*/ 2147483646 h 518"/>
                    <a:gd name="T70" fmla="*/ 2147483646 w 664"/>
                    <a:gd name="T71" fmla="*/ 2147483646 h 518"/>
                    <a:gd name="T72" fmla="*/ 2147483646 w 664"/>
                    <a:gd name="T73" fmla="*/ 2147483646 h 518"/>
                    <a:gd name="T74" fmla="*/ 2147483646 w 664"/>
                    <a:gd name="T75" fmla="*/ 2147483646 h 518"/>
                    <a:gd name="T76" fmla="*/ 2147483646 w 664"/>
                    <a:gd name="T77" fmla="*/ 2147483646 h 518"/>
                    <a:gd name="T78" fmla="*/ 2147483646 w 664"/>
                    <a:gd name="T79" fmla="*/ 2147483646 h 518"/>
                    <a:gd name="T80" fmla="*/ 2147483646 w 664"/>
                    <a:gd name="T81" fmla="*/ 2147483646 h 518"/>
                    <a:gd name="T82" fmla="*/ 2147483646 w 664"/>
                    <a:gd name="T83" fmla="*/ 2147483646 h 518"/>
                    <a:gd name="T84" fmla="*/ 2147483646 w 664"/>
                    <a:gd name="T85" fmla="*/ 2147483646 h 518"/>
                    <a:gd name="T86" fmla="*/ 2147483646 w 664"/>
                    <a:gd name="T87" fmla="*/ 2147483646 h 518"/>
                    <a:gd name="T88" fmla="*/ 2147483646 w 664"/>
                    <a:gd name="T89" fmla="*/ 2147483646 h 518"/>
                    <a:gd name="T90" fmla="*/ 2147483646 w 664"/>
                    <a:gd name="T91" fmla="*/ 2147483646 h 518"/>
                    <a:gd name="T92" fmla="*/ 2147483646 w 664"/>
                    <a:gd name="T93" fmla="*/ 2147483646 h 518"/>
                    <a:gd name="T94" fmla="*/ 2147483646 w 664"/>
                    <a:gd name="T95" fmla="*/ 2147483646 h 518"/>
                    <a:gd name="T96" fmla="*/ 2147483646 w 664"/>
                    <a:gd name="T97" fmla="*/ 2147483646 h 518"/>
                    <a:gd name="T98" fmla="*/ 2147483646 w 664"/>
                    <a:gd name="T99" fmla="*/ 2147483646 h 518"/>
                    <a:gd name="T100" fmla="*/ 2147483646 w 664"/>
                    <a:gd name="T101" fmla="*/ 2147483646 h 518"/>
                    <a:gd name="T102" fmla="*/ 2147483646 w 664"/>
                    <a:gd name="T103" fmla="*/ 2147483646 h 518"/>
                    <a:gd name="T104" fmla="*/ 2147483646 w 664"/>
                    <a:gd name="T105" fmla="*/ 2147483646 h 518"/>
                    <a:gd name="T106" fmla="*/ 2147483646 w 664"/>
                    <a:gd name="T107" fmla="*/ 2147483646 h 518"/>
                    <a:gd name="T108" fmla="*/ 2147483646 w 664"/>
                    <a:gd name="T109" fmla="*/ 2147483646 h 518"/>
                    <a:gd name="T110" fmla="*/ 2147483646 w 664"/>
                    <a:gd name="T111" fmla="*/ 2147483646 h 518"/>
                    <a:gd name="T112" fmla="*/ 2147483646 w 664"/>
                    <a:gd name="T113" fmla="*/ 2147483646 h 518"/>
                    <a:gd name="T114" fmla="*/ 2147483646 w 664"/>
                    <a:gd name="T115" fmla="*/ 2147483646 h 518"/>
                    <a:gd name="T116" fmla="*/ 2147483646 w 664"/>
                    <a:gd name="T117" fmla="*/ 2147483646 h 518"/>
                    <a:gd name="T118" fmla="*/ 2147483646 w 664"/>
                    <a:gd name="T119" fmla="*/ 2147483646 h 518"/>
                    <a:gd name="T120" fmla="*/ 2147483646 w 664"/>
                    <a:gd name="T121" fmla="*/ 2147483646 h 518"/>
                    <a:gd name="T122" fmla="*/ 2147483646 w 664"/>
                    <a:gd name="T123" fmla="*/ 2147483646 h 51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664"/>
                    <a:gd name="T187" fmla="*/ 0 h 518"/>
                    <a:gd name="T188" fmla="*/ 664 w 664"/>
                    <a:gd name="T189" fmla="*/ 518 h 51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664" h="518">
                      <a:moveTo>
                        <a:pt x="146" y="450"/>
                      </a:moveTo>
                      <a:lnTo>
                        <a:pt x="148" y="447"/>
                      </a:lnTo>
                      <a:lnTo>
                        <a:pt x="149" y="445"/>
                      </a:lnTo>
                      <a:lnTo>
                        <a:pt x="150" y="441"/>
                      </a:lnTo>
                      <a:lnTo>
                        <a:pt x="151" y="438"/>
                      </a:lnTo>
                      <a:lnTo>
                        <a:pt x="151" y="431"/>
                      </a:lnTo>
                      <a:lnTo>
                        <a:pt x="150" y="424"/>
                      </a:lnTo>
                      <a:lnTo>
                        <a:pt x="147" y="411"/>
                      </a:lnTo>
                      <a:lnTo>
                        <a:pt x="146" y="400"/>
                      </a:lnTo>
                      <a:lnTo>
                        <a:pt x="147" y="378"/>
                      </a:lnTo>
                      <a:lnTo>
                        <a:pt x="149" y="364"/>
                      </a:lnTo>
                      <a:lnTo>
                        <a:pt x="151" y="353"/>
                      </a:lnTo>
                      <a:lnTo>
                        <a:pt x="152" y="339"/>
                      </a:lnTo>
                      <a:lnTo>
                        <a:pt x="150" y="320"/>
                      </a:lnTo>
                      <a:lnTo>
                        <a:pt x="146" y="298"/>
                      </a:lnTo>
                      <a:lnTo>
                        <a:pt x="141" y="273"/>
                      </a:lnTo>
                      <a:lnTo>
                        <a:pt x="139" y="252"/>
                      </a:lnTo>
                      <a:lnTo>
                        <a:pt x="134" y="251"/>
                      </a:lnTo>
                      <a:lnTo>
                        <a:pt x="127" y="249"/>
                      </a:lnTo>
                      <a:lnTo>
                        <a:pt x="119" y="246"/>
                      </a:lnTo>
                      <a:lnTo>
                        <a:pt x="109" y="241"/>
                      </a:lnTo>
                      <a:lnTo>
                        <a:pt x="87" y="231"/>
                      </a:lnTo>
                      <a:lnTo>
                        <a:pt x="64" y="217"/>
                      </a:lnTo>
                      <a:lnTo>
                        <a:pt x="20" y="192"/>
                      </a:lnTo>
                      <a:lnTo>
                        <a:pt x="0" y="178"/>
                      </a:lnTo>
                      <a:lnTo>
                        <a:pt x="19" y="172"/>
                      </a:lnTo>
                      <a:lnTo>
                        <a:pt x="24" y="171"/>
                      </a:lnTo>
                      <a:lnTo>
                        <a:pt x="28" y="168"/>
                      </a:lnTo>
                      <a:lnTo>
                        <a:pt x="31" y="165"/>
                      </a:lnTo>
                      <a:lnTo>
                        <a:pt x="36" y="159"/>
                      </a:lnTo>
                      <a:lnTo>
                        <a:pt x="39" y="155"/>
                      </a:lnTo>
                      <a:lnTo>
                        <a:pt x="44" y="151"/>
                      </a:lnTo>
                      <a:lnTo>
                        <a:pt x="48" y="148"/>
                      </a:lnTo>
                      <a:lnTo>
                        <a:pt x="52" y="147"/>
                      </a:lnTo>
                      <a:lnTo>
                        <a:pt x="92" y="159"/>
                      </a:lnTo>
                      <a:lnTo>
                        <a:pt x="100" y="155"/>
                      </a:lnTo>
                      <a:lnTo>
                        <a:pt x="108" y="153"/>
                      </a:lnTo>
                      <a:lnTo>
                        <a:pt x="116" y="152"/>
                      </a:lnTo>
                      <a:lnTo>
                        <a:pt x="125" y="152"/>
                      </a:lnTo>
                      <a:lnTo>
                        <a:pt x="132" y="153"/>
                      </a:lnTo>
                      <a:lnTo>
                        <a:pt x="140" y="155"/>
                      </a:lnTo>
                      <a:lnTo>
                        <a:pt x="147" y="157"/>
                      </a:lnTo>
                      <a:lnTo>
                        <a:pt x="152" y="159"/>
                      </a:lnTo>
                      <a:lnTo>
                        <a:pt x="152" y="86"/>
                      </a:lnTo>
                      <a:lnTo>
                        <a:pt x="165" y="94"/>
                      </a:lnTo>
                      <a:lnTo>
                        <a:pt x="175" y="102"/>
                      </a:lnTo>
                      <a:lnTo>
                        <a:pt x="181" y="105"/>
                      </a:lnTo>
                      <a:lnTo>
                        <a:pt x="185" y="109"/>
                      </a:lnTo>
                      <a:lnTo>
                        <a:pt x="192" y="110"/>
                      </a:lnTo>
                      <a:lnTo>
                        <a:pt x="198" y="111"/>
                      </a:lnTo>
                      <a:lnTo>
                        <a:pt x="207" y="110"/>
                      </a:lnTo>
                      <a:lnTo>
                        <a:pt x="217" y="107"/>
                      </a:lnTo>
                      <a:lnTo>
                        <a:pt x="226" y="103"/>
                      </a:lnTo>
                      <a:lnTo>
                        <a:pt x="236" y="99"/>
                      </a:lnTo>
                      <a:lnTo>
                        <a:pt x="246" y="93"/>
                      </a:lnTo>
                      <a:lnTo>
                        <a:pt x="255" y="87"/>
                      </a:lnTo>
                      <a:lnTo>
                        <a:pt x="264" y="80"/>
                      </a:lnTo>
                      <a:lnTo>
                        <a:pt x="273" y="73"/>
                      </a:lnTo>
                      <a:lnTo>
                        <a:pt x="282" y="65"/>
                      </a:lnTo>
                      <a:lnTo>
                        <a:pt x="289" y="57"/>
                      </a:lnTo>
                      <a:lnTo>
                        <a:pt x="297" y="48"/>
                      </a:lnTo>
                      <a:lnTo>
                        <a:pt x="303" y="40"/>
                      </a:lnTo>
                      <a:lnTo>
                        <a:pt x="308" y="32"/>
                      </a:lnTo>
                      <a:lnTo>
                        <a:pt x="313" y="25"/>
                      </a:lnTo>
                      <a:lnTo>
                        <a:pt x="316" y="18"/>
                      </a:lnTo>
                      <a:lnTo>
                        <a:pt x="318" y="12"/>
                      </a:lnTo>
                      <a:lnTo>
                        <a:pt x="337" y="11"/>
                      </a:lnTo>
                      <a:lnTo>
                        <a:pt x="354" y="8"/>
                      </a:lnTo>
                      <a:lnTo>
                        <a:pt x="370" y="4"/>
                      </a:lnTo>
                      <a:lnTo>
                        <a:pt x="385" y="0"/>
                      </a:lnTo>
                      <a:lnTo>
                        <a:pt x="385" y="24"/>
                      </a:lnTo>
                      <a:lnTo>
                        <a:pt x="404" y="32"/>
                      </a:lnTo>
                      <a:lnTo>
                        <a:pt x="422" y="40"/>
                      </a:lnTo>
                      <a:lnTo>
                        <a:pt x="440" y="50"/>
                      </a:lnTo>
                      <a:lnTo>
                        <a:pt x="457" y="61"/>
                      </a:lnTo>
                      <a:lnTo>
                        <a:pt x="475" y="72"/>
                      </a:lnTo>
                      <a:lnTo>
                        <a:pt x="493" y="81"/>
                      </a:lnTo>
                      <a:lnTo>
                        <a:pt x="511" y="90"/>
                      </a:lnTo>
                      <a:lnTo>
                        <a:pt x="531" y="98"/>
                      </a:lnTo>
                      <a:lnTo>
                        <a:pt x="538" y="101"/>
                      </a:lnTo>
                      <a:lnTo>
                        <a:pt x="552" y="107"/>
                      </a:lnTo>
                      <a:lnTo>
                        <a:pt x="561" y="111"/>
                      </a:lnTo>
                      <a:lnTo>
                        <a:pt x="569" y="114"/>
                      </a:lnTo>
                      <a:lnTo>
                        <a:pt x="578" y="116"/>
                      </a:lnTo>
                      <a:lnTo>
                        <a:pt x="584" y="117"/>
                      </a:lnTo>
                      <a:lnTo>
                        <a:pt x="604" y="118"/>
                      </a:lnTo>
                      <a:lnTo>
                        <a:pt x="623" y="121"/>
                      </a:lnTo>
                      <a:lnTo>
                        <a:pt x="644" y="124"/>
                      </a:lnTo>
                      <a:lnTo>
                        <a:pt x="664" y="129"/>
                      </a:lnTo>
                      <a:lnTo>
                        <a:pt x="658" y="136"/>
                      </a:lnTo>
                      <a:lnTo>
                        <a:pt x="654" y="145"/>
                      </a:lnTo>
                      <a:lnTo>
                        <a:pt x="650" y="155"/>
                      </a:lnTo>
                      <a:lnTo>
                        <a:pt x="645" y="166"/>
                      </a:lnTo>
                      <a:lnTo>
                        <a:pt x="638" y="189"/>
                      </a:lnTo>
                      <a:lnTo>
                        <a:pt x="629" y="212"/>
                      </a:lnTo>
                      <a:lnTo>
                        <a:pt x="620" y="236"/>
                      </a:lnTo>
                      <a:lnTo>
                        <a:pt x="609" y="256"/>
                      </a:lnTo>
                      <a:lnTo>
                        <a:pt x="604" y="265"/>
                      </a:lnTo>
                      <a:lnTo>
                        <a:pt x="598" y="272"/>
                      </a:lnTo>
                      <a:lnTo>
                        <a:pt x="591" y="279"/>
                      </a:lnTo>
                      <a:lnTo>
                        <a:pt x="584" y="283"/>
                      </a:lnTo>
                      <a:lnTo>
                        <a:pt x="585" y="286"/>
                      </a:lnTo>
                      <a:lnTo>
                        <a:pt x="588" y="290"/>
                      </a:lnTo>
                      <a:lnTo>
                        <a:pt x="593" y="294"/>
                      </a:lnTo>
                      <a:lnTo>
                        <a:pt x="599" y="298"/>
                      </a:lnTo>
                      <a:lnTo>
                        <a:pt x="606" y="301"/>
                      </a:lnTo>
                      <a:lnTo>
                        <a:pt x="612" y="304"/>
                      </a:lnTo>
                      <a:lnTo>
                        <a:pt x="618" y="307"/>
                      </a:lnTo>
                      <a:lnTo>
                        <a:pt x="623" y="307"/>
                      </a:lnTo>
                      <a:lnTo>
                        <a:pt x="623" y="326"/>
                      </a:lnTo>
                      <a:lnTo>
                        <a:pt x="623" y="334"/>
                      </a:lnTo>
                      <a:lnTo>
                        <a:pt x="622" y="340"/>
                      </a:lnTo>
                      <a:lnTo>
                        <a:pt x="622" y="344"/>
                      </a:lnTo>
                      <a:lnTo>
                        <a:pt x="620" y="347"/>
                      </a:lnTo>
                      <a:lnTo>
                        <a:pt x="618" y="353"/>
                      </a:lnTo>
                      <a:lnTo>
                        <a:pt x="617" y="363"/>
                      </a:lnTo>
                      <a:lnTo>
                        <a:pt x="618" y="372"/>
                      </a:lnTo>
                      <a:lnTo>
                        <a:pt x="618" y="381"/>
                      </a:lnTo>
                      <a:lnTo>
                        <a:pt x="620" y="391"/>
                      </a:lnTo>
                      <a:lnTo>
                        <a:pt x="622" y="399"/>
                      </a:lnTo>
                      <a:lnTo>
                        <a:pt x="624" y="408"/>
                      </a:lnTo>
                      <a:lnTo>
                        <a:pt x="629" y="416"/>
                      </a:lnTo>
                      <a:lnTo>
                        <a:pt x="632" y="423"/>
                      </a:lnTo>
                      <a:lnTo>
                        <a:pt x="638" y="430"/>
                      </a:lnTo>
                      <a:lnTo>
                        <a:pt x="622" y="444"/>
                      </a:lnTo>
                      <a:lnTo>
                        <a:pt x="608" y="457"/>
                      </a:lnTo>
                      <a:lnTo>
                        <a:pt x="593" y="469"/>
                      </a:lnTo>
                      <a:lnTo>
                        <a:pt x="577" y="480"/>
                      </a:lnTo>
                      <a:lnTo>
                        <a:pt x="569" y="484"/>
                      </a:lnTo>
                      <a:lnTo>
                        <a:pt x="561" y="487"/>
                      </a:lnTo>
                      <a:lnTo>
                        <a:pt x="551" y="489"/>
                      </a:lnTo>
                      <a:lnTo>
                        <a:pt x="542" y="489"/>
                      </a:lnTo>
                      <a:lnTo>
                        <a:pt x="532" y="488"/>
                      </a:lnTo>
                      <a:lnTo>
                        <a:pt x="521" y="485"/>
                      </a:lnTo>
                      <a:lnTo>
                        <a:pt x="509" y="481"/>
                      </a:lnTo>
                      <a:lnTo>
                        <a:pt x="497" y="474"/>
                      </a:lnTo>
                      <a:lnTo>
                        <a:pt x="487" y="466"/>
                      </a:lnTo>
                      <a:lnTo>
                        <a:pt x="477" y="460"/>
                      </a:lnTo>
                      <a:lnTo>
                        <a:pt x="473" y="458"/>
                      </a:lnTo>
                      <a:lnTo>
                        <a:pt x="467" y="457"/>
                      </a:lnTo>
                      <a:lnTo>
                        <a:pt x="463" y="456"/>
                      </a:lnTo>
                      <a:lnTo>
                        <a:pt x="457" y="456"/>
                      </a:lnTo>
                      <a:lnTo>
                        <a:pt x="450" y="456"/>
                      </a:lnTo>
                      <a:lnTo>
                        <a:pt x="443" y="457"/>
                      </a:lnTo>
                      <a:lnTo>
                        <a:pt x="436" y="459"/>
                      </a:lnTo>
                      <a:lnTo>
                        <a:pt x="429" y="462"/>
                      </a:lnTo>
                      <a:lnTo>
                        <a:pt x="423" y="465"/>
                      </a:lnTo>
                      <a:lnTo>
                        <a:pt x="417" y="468"/>
                      </a:lnTo>
                      <a:lnTo>
                        <a:pt x="411" y="472"/>
                      </a:lnTo>
                      <a:lnTo>
                        <a:pt x="406" y="477"/>
                      </a:lnTo>
                      <a:lnTo>
                        <a:pt x="397" y="486"/>
                      </a:lnTo>
                      <a:lnTo>
                        <a:pt x="390" y="496"/>
                      </a:lnTo>
                      <a:lnTo>
                        <a:pt x="388" y="503"/>
                      </a:lnTo>
                      <a:lnTo>
                        <a:pt x="386" y="508"/>
                      </a:lnTo>
                      <a:lnTo>
                        <a:pt x="385" y="512"/>
                      </a:lnTo>
                      <a:lnTo>
                        <a:pt x="385" y="517"/>
                      </a:lnTo>
                      <a:lnTo>
                        <a:pt x="364" y="518"/>
                      </a:lnTo>
                      <a:lnTo>
                        <a:pt x="343" y="517"/>
                      </a:lnTo>
                      <a:lnTo>
                        <a:pt x="333" y="515"/>
                      </a:lnTo>
                      <a:lnTo>
                        <a:pt x="325" y="512"/>
                      </a:lnTo>
                      <a:lnTo>
                        <a:pt x="321" y="510"/>
                      </a:lnTo>
                      <a:lnTo>
                        <a:pt x="317" y="507"/>
                      </a:lnTo>
                      <a:lnTo>
                        <a:pt x="314" y="503"/>
                      </a:lnTo>
                      <a:lnTo>
                        <a:pt x="311" y="499"/>
                      </a:lnTo>
                      <a:lnTo>
                        <a:pt x="307" y="500"/>
                      </a:lnTo>
                      <a:lnTo>
                        <a:pt x="303" y="502"/>
                      </a:lnTo>
                      <a:lnTo>
                        <a:pt x="299" y="505"/>
                      </a:lnTo>
                      <a:lnTo>
                        <a:pt x="296" y="508"/>
                      </a:lnTo>
                      <a:lnTo>
                        <a:pt x="293" y="511"/>
                      </a:lnTo>
                      <a:lnTo>
                        <a:pt x="289" y="514"/>
                      </a:lnTo>
                      <a:lnTo>
                        <a:pt x="287" y="516"/>
                      </a:lnTo>
                      <a:lnTo>
                        <a:pt x="285" y="517"/>
                      </a:lnTo>
                      <a:lnTo>
                        <a:pt x="277" y="517"/>
                      </a:lnTo>
                      <a:lnTo>
                        <a:pt x="268" y="516"/>
                      </a:lnTo>
                      <a:lnTo>
                        <a:pt x="259" y="514"/>
                      </a:lnTo>
                      <a:lnTo>
                        <a:pt x="248" y="512"/>
                      </a:lnTo>
                      <a:lnTo>
                        <a:pt x="227" y="506"/>
                      </a:lnTo>
                      <a:lnTo>
                        <a:pt x="205" y="496"/>
                      </a:lnTo>
                      <a:lnTo>
                        <a:pt x="195" y="492"/>
                      </a:lnTo>
                      <a:lnTo>
                        <a:pt x="185" y="487"/>
                      </a:lnTo>
                      <a:lnTo>
                        <a:pt x="175" y="481"/>
                      </a:lnTo>
                      <a:lnTo>
                        <a:pt x="168" y="475"/>
                      </a:lnTo>
                      <a:lnTo>
                        <a:pt x="160" y="469"/>
                      </a:lnTo>
                      <a:lnTo>
                        <a:pt x="153" y="463"/>
                      </a:lnTo>
                      <a:lnTo>
                        <a:pt x="149" y="456"/>
                      </a:lnTo>
                      <a:lnTo>
                        <a:pt x="146" y="45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51" name="Freeform 460">
                  <a:extLst>
                    <a:ext uri="{FF2B5EF4-FFF2-40B4-BE49-F238E27FC236}">
                      <a16:creationId xmlns:a16="http://schemas.microsoft.com/office/drawing/2014/main" xmlns="" id="{41BE4746-97A1-4EFB-94B0-6CB9EB887598}"/>
                    </a:ext>
                  </a:extLst>
                </p:cNvPr>
                <p:cNvSpPr>
                  <a:spLocks/>
                </p:cNvSpPr>
                <p:nvPr>
                  <p:custDataLst>
                    <p:tags r:id="rId298"/>
                  </p:custDataLst>
                </p:nvPr>
              </p:nvSpPr>
              <p:spPr bwMode="auto">
                <a:xfrm>
                  <a:off x="4919663" y="2282825"/>
                  <a:ext cx="150812" cy="82550"/>
                </a:xfrm>
                <a:custGeom>
                  <a:avLst/>
                  <a:gdLst>
                    <a:gd name="T0" fmla="*/ 2147483646 w 352"/>
                    <a:gd name="T1" fmla="*/ 2147483646 h 153"/>
                    <a:gd name="T2" fmla="*/ 2147483646 w 352"/>
                    <a:gd name="T3" fmla="*/ 2147483646 h 153"/>
                    <a:gd name="T4" fmla="*/ 2147483646 w 352"/>
                    <a:gd name="T5" fmla="*/ 2147483646 h 153"/>
                    <a:gd name="T6" fmla="*/ 2147483646 w 352"/>
                    <a:gd name="T7" fmla="*/ 2147483646 h 153"/>
                    <a:gd name="T8" fmla="*/ 2147483646 w 352"/>
                    <a:gd name="T9" fmla="*/ 2147483646 h 153"/>
                    <a:gd name="T10" fmla="*/ 2147483646 w 352"/>
                    <a:gd name="T11" fmla="*/ 2147483646 h 153"/>
                    <a:gd name="T12" fmla="*/ 2147483646 w 352"/>
                    <a:gd name="T13" fmla="*/ 2147483646 h 153"/>
                    <a:gd name="T14" fmla="*/ 2147483646 w 352"/>
                    <a:gd name="T15" fmla="*/ 2147483646 h 153"/>
                    <a:gd name="T16" fmla="*/ 2147483646 w 352"/>
                    <a:gd name="T17" fmla="*/ 2147483646 h 153"/>
                    <a:gd name="T18" fmla="*/ 2147483646 w 352"/>
                    <a:gd name="T19" fmla="*/ 2147483646 h 153"/>
                    <a:gd name="T20" fmla="*/ 2147483646 w 352"/>
                    <a:gd name="T21" fmla="*/ 2147483646 h 153"/>
                    <a:gd name="T22" fmla="*/ 2147483646 w 352"/>
                    <a:gd name="T23" fmla="*/ 2147483646 h 153"/>
                    <a:gd name="T24" fmla="*/ 2147483646 w 352"/>
                    <a:gd name="T25" fmla="*/ 2147483646 h 153"/>
                    <a:gd name="T26" fmla="*/ 2147483646 w 352"/>
                    <a:gd name="T27" fmla="*/ 2147483646 h 153"/>
                    <a:gd name="T28" fmla="*/ 2147483646 w 352"/>
                    <a:gd name="T29" fmla="*/ 2147483646 h 153"/>
                    <a:gd name="T30" fmla="*/ 2147483646 w 352"/>
                    <a:gd name="T31" fmla="*/ 2147483646 h 153"/>
                    <a:gd name="T32" fmla="*/ 2147483646 w 352"/>
                    <a:gd name="T33" fmla="*/ 2147483646 h 153"/>
                    <a:gd name="T34" fmla="*/ 2147483646 w 352"/>
                    <a:gd name="T35" fmla="*/ 2147483646 h 153"/>
                    <a:gd name="T36" fmla="*/ 2147483646 w 352"/>
                    <a:gd name="T37" fmla="*/ 2147483646 h 153"/>
                    <a:gd name="T38" fmla="*/ 2147483646 w 352"/>
                    <a:gd name="T39" fmla="*/ 2147483646 h 153"/>
                    <a:gd name="T40" fmla="*/ 2147483646 w 352"/>
                    <a:gd name="T41" fmla="*/ 2147483646 h 153"/>
                    <a:gd name="T42" fmla="*/ 2147483646 w 352"/>
                    <a:gd name="T43" fmla="*/ 2147483646 h 153"/>
                    <a:gd name="T44" fmla="*/ 2147483646 w 352"/>
                    <a:gd name="T45" fmla="*/ 2147483646 h 153"/>
                    <a:gd name="T46" fmla="*/ 2147483646 w 352"/>
                    <a:gd name="T47" fmla="*/ 2147483646 h 153"/>
                    <a:gd name="T48" fmla="*/ 2147483646 w 352"/>
                    <a:gd name="T49" fmla="*/ 2147483646 h 153"/>
                    <a:gd name="T50" fmla="*/ 2147483646 w 352"/>
                    <a:gd name="T51" fmla="*/ 2147483646 h 153"/>
                    <a:gd name="T52" fmla="*/ 2147483646 w 352"/>
                    <a:gd name="T53" fmla="*/ 2147483646 h 153"/>
                    <a:gd name="T54" fmla="*/ 0 w 352"/>
                    <a:gd name="T55" fmla="*/ 0 h 153"/>
                    <a:gd name="T56" fmla="*/ 2147483646 w 352"/>
                    <a:gd name="T57" fmla="*/ 0 h 153"/>
                    <a:gd name="T58" fmla="*/ 2147483646 w 352"/>
                    <a:gd name="T59" fmla="*/ 2147483646 h 153"/>
                    <a:gd name="T60" fmla="*/ 2147483646 w 352"/>
                    <a:gd name="T61" fmla="*/ 2147483646 h 153"/>
                    <a:gd name="T62" fmla="*/ 2147483646 w 352"/>
                    <a:gd name="T63" fmla="*/ 2147483646 h 153"/>
                    <a:gd name="T64" fmla="*/ 2147483646 w 352"/>
                    <a:gd name="T65" fmla="*/ 2147483646 h 153"/>
                    <a:gd name="T66" fmla="*/ 2147483646 w 352"/>
                    <a:gd name="T67" fmla="*/ 2147483646 h 153"/>
                    <a:gd name="T68" fmla="*/ 2147483646 w 352"/>
                    <a:gd name="T69" fmla="*/ 2147483646 h 153"/>
                    <a:gd name="T70" fmla="*/ 2147483646 w 352"/>
                    <a:gd name="T71" fmla="*/ 2147483646 h 153"/>
                    <a:gd name="T72" fmla="*/ 2147483646 w 352"/>
                    <a:gd name="T73" fmla="*/ 2147483646 h 153"/>
                    <a:gd name="T74" fmla="*/ 2147483646 w 352"/>
                    <a:gd name="T75" fmla="*/ 2147483646 h 153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52"/>
                    <a:gd name="T115" fmla="*/ 0 h 153"/>
                    <a:gd name="T116" fmla="*/ 352 w 352"/>
                    <a:gd name="T117" fmla="*/ 153 h 153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52" h="153">
                      <a:moveTo>
                        <a:pt x="332" y="91"/>
                      </a:moveTo>
                      <a:lnTo>
                        <a:pt x="352" y="153"/>
                      </a:lnTo>
                      <a:lnTo>
                        <a:pt x="326" y="141"/>
                      </a:lnTo>
                      <a:lnTo>
                        <a:pt x="299" y="129"/>
                      </a:lnTo>
                      <a:lnTo>
                        <a:pt x="266" y="141"/>
                      </a:lnTo>
                      <a:lnTo>
                        <a:pt x="232" y="141"/>
                      </a:lnTo>
                      <a:lnTo>
                        <a:pt x="227" y="135"/>
                      </a:lnTo>
                      <a:lnTo>
                        <a:pt x="226" y="135"/>
                      </a:lnTo>
                      <a:lnTo>
                        <a:pt x="219" y="129"/>
                      </a:lnTo>
                      <a:lnTo>
                        <a:pt x="213" y="125"/>
                      </a:lnTo>
                      <a:lnTo>
                        <a:pt x="205" y="121"/>
                      </a:lnTo>
                      <a:lnTo>
                        <a:pt x="197" y="118"/>
                      </a:lnTo>
                      <a:lnTo>
                        <a:pt x="181" y="113"/>
                      </a:lnTo>
                      <a:lnTo>
                        <a:pt x="163" y="110"/>
                      </a:lnTo>
                      <a:lnTo>
                        <a:pt x="126" y="107"/>
                      </a:lnTo>
                      <a:lnTo>
                        <a:pt x="86" y="104"/>
                      </a:lnTo>
                      <a:lnTo>
                        <a:pt x="85" y="94"/>
                      </a:lnTo>
                      <a:lnTo>
                        <a:pt x="82" y="84"/>
                      </a:lnTo>
                      <a:lnTo>
                        <a:pt x="80" y="75"/>
                      </a:lnTo>
                      <a:lnTo>
                        <a:pt x="75" y="67"/>
                      </a:lnTo>
                      <a:lnTo>
                        <a:pt x="71" y="59"/>
                      </a:lnTo>
                      <a:lnTo>
                        <a:pt x="67" y="52"/>
                      </a:lnTo>
                      <a:lnTo>
                        <a:pt x="61" y="44"/>
                      </a:lnTo>
                      <a:lnTo>
                        <a:pt x="56" y="37"/>
                      </a:lnTo>
                      <a:lnTo>
                        <a:pt x="44" y="26"/>
                      </a:lnTo>
                      <a:lnTo>
                        <a:pt x="29" y="16"/>
                      </a:lnTo>
                      <a:lnTo>
                        <a:pt x="15" y="7"/>
                      </a:lnTo>
                      <a:lnTo>
                        <a:pt x="0" y="0"/>
                      </a:lnTo>
                      <a:lnTo>
                        <a:pt x="7" y="0"/>
                      </a:lnTo>
                      <a:lnTo>
                        <a:pt x="60" y="18"/>
                      </a:lnTo>
                      <a:lnTo>
                        <a:pt x="106" y="30"/>
                      </a:lnTo>
                      <a:lnTo>
                        <a:pt x="134" y="18"/>
                      </a:lnTo>
                      <a:lnTo>
                        <a:pt x="180" y="36"/>
                      </a:lnTo>
                      <a:lnTo>
                        <a:pt x="206" y="55"/>
                      </a:lnTo>
                      <a:lnTo>
                        <a:pt x="246" y="49"/>
                      </a:lnTo>
                      <a:lnTo>
                        <a:pt x="286" y="61"/>
                      </a:lnTo>
                      <a:lnTo>
                        <a:pt x="313" y="79"/>
                      </a:lnTo>
                      <a:lnTo>
                        <a:pt x="332" y="9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52" name="Freeform 461">
                  <a:extLst>
                    <a:ext uri="{FF2B5EF4-FFF2-40B4-BE49-F238E27FC236}">
                      <a16:creationId xmlns:a16="http://schemas.microsoft.com/office/drawing/2014/main" xmlns="" id="{B87049B1-6A4F-4100-A154-BD27B5094F13}"/>
                    </a:ext>
                  </a:extLst>
                </p:cNvPr>
                <p:cNvSpPr>
                  <a:spLocks/>
                </p:cNvSpPr>
                <p:nvPr>
                  <p:custDataLst>
                    <p:tags r:id="rId299"/>
                  </p:custDataLst>
                </p:nvPr>
              </p:nvSpPr>
              <p:spPr bwMode="auto">
                <a:xfrm>
                  <a:off x="4468813" y="2343150"/>
                  <a:ext cx="147637" cy="173038"/>
                </a:xfrm>
                <a:custGeom>
                  <a:avLst/>
                  <a:gdLst>
                    <a:gd name="T0" fmla="*/ 2147483646 w 331"/>
                    <a:gd name="T1" fmla="*/ 2147483646 h 327"/>
                    <a:gd name="T2" fmla="*/ 2147483646 w 331"/>
                    <a:gd name="T3" fmla="*/ 2147483646 h 327"/>
                    <a:gd name="T4" fmla="*/ 2147483646 w 331"/>
                    <a:gd name="T5" fmla="*/ 2147483646 h 327"/>
                    <a:gd name="T6" fmla="*/ 2147483646 w 331"/>
                    <a:gd name="T7" fmla="*/ 2147483646 h 327"/>
                    <a:gd name="T8" fmla="*/ 2147483646 w 331"/>
                    <a:gd name="T9" fmla="*/ 2147483646 h 327"/>
                    <a:gd name="T10" fmla="*/ 2147483646 w 331"/>
                    <a:gd name="T11" fmla="*/ 2147483646 h 327"/>
                    <a:gd name="T12" fmla="*/ 2147483646 w 331"/>
                    <a:gd name="T13" fmla="*/ 2147483646 h 327"/>
                    <a:gd name="T14" fmla="*/ 2147483646 w 331"/>
                    <a:gd name="T15" fmla="*/ 2147483646 h 327"/>
                    <a:gd name="T16" fmla="*/ 2147483646 w 331"/>
                    <a:gd name="T17" fmla="*/ 2147483646 h 327"/>
                    <a:gd name="T18" fmla="*/ 2147483646 w 331"/>
                    <a:gd name="T19" fmla="*/ 2147483646 h 327"/>
                    <a:gd name="T20" fmla="*/ 2147483646 w 331"/>
                    <a:gd name="T21" fmla="*/ 2147483646 h 327"/>
                    <a:gd name="T22" fmla="*/ 2147483646 w 331"/>
                    <a:gd name="T23" fmla="*/ 2147483646 h 327"/>
                    <a:gd name="T24" fmla="*/ 2147483646 w 331"/>
                    <a:gd name="T25" fmla="*/ 2147483646 h 327"/>
                    <a:gd name="T26" fmla="*/ 2147483646 w 331"/>
                    <a:gd name="T27" fmla="*/ 2147483646 h 327"/>
                    <a:gd name="T28" fmla="*/ 2147483646 w 331"/>
                    <a:gd name="T29" fmla="*/ 2147483646 h 327"/>
                    <a:gd name="T30" fmla="*/ 2147483646 w 331"/>
                    <a:gd name="T31" fmla="*/ 2147483646 h 327"/>
                    <a:gd name="T32" fmla="*/ 2147483646 w 331"/>
                    <a:gd name="T33" fmla="*/ 2147483646 h 327"/>
                    <a:gd name="T34" fmla="*/ 2147483646 w 331"/>
                    <a:gd name="T35" fmla="*/ 2147483646 h 327"/>
                    <a:gd name="T36" fmla="*/ 2147483646 w 331"/>
                    <a:gd name="T37" fmla="*/ 2147483646 h 327"/>
                    <a:gd name="T38" fmla="*/ 2147483646 w 331"/>
                    <a:gd name="T39" fmla="*/ 2147483646 h 327"/>
                    <a:gd name="T40" fmla="*/ 2147483646 w 331"/>
                    <a:gd name="T41" fmla="*/ 2147483646 h 327"/>
                    <a:gd name="T42" fmla="*/ 2147483646 w 331"/>
                    <a:gd name="T43" fmla="*/ 2147483646 h 327"/>
                    <a:gd name="T44" fmla="*/ 2147483646 w 331"/>
                    <a:gd name="T45" fmla="*/ 2147483646 h 327"/>
                    <a:gd name="T46" fmla="*/ 2147483646 w 331"/>
                    <a:gd name="T47" fmla="*/ 2147483646 h 327"/>
                    <a:gd name="T48" fmla="*/ 2147483646 w 331"/>
                    <a:gd name="T49" fmla="*/ 2147483646 h 327"/>
                    <a:gd name="T50" fmla="*/ 2147483646 w 331"/>
                    <a:gd name="T51" fmla="*/ 2147483646 h 327"/>
                    <a:gd name="T52" fmla="*/ 2147483646 w 331"/>
                    <a:gd name="T53" fmla="*/ 2147483646 h 327"/>
                    <a:gd name="T54" fmla="*/ 2147483646 w 331"/>
                    <a:gd name="T55" fmla="*/ 2147483646 h 327"/>
                    <a:gd name="T56" fmla="*/ 2147483646 w 331"/>
                    <a:gd name="T57" fmla="*/ 2147483646 h 327"/>
                    <a:gd name="T58" fmla="*/ 2147483646 w 331"/>
                    <a:gd name="T59" fmla="*/ 2147483646 h 327"/>
                    <a:gd name="T60" fmla="*/ 2147483646 w 331"/>
                    <a:gd name="T61" fmla="*/ 2147483646 h 327"/>
                    <a:gd name="T62" fmla="*/ 2147483646 w 331"/>
                    <a:gd name="T63" fmla="*/ 2147483646 h 327"/>
                    <a:gd name="T64" fmla="*/ 2147483646 w 331"/>
                    <a:gd name="T65" fmla="*/ 2147483646 h 327"/>
                    <a:gd name="T66" fmla="*/ 2147483646 w 331"/>
                    <a:gd name="T67" fmla="*/ 2147483646 h 327"/>
                    <a:gd name="T68" fmla="*/ 2147483646 w 331"/>
                    <a:gd name="T69" fmla="*/ 2147483646 h 327"/>
                    <a:gd name="T70" fmla="*/ 0 w 331"/>
                    <a:gd name="T71" fmla="*/ 2147483646 h 327"/>
                    <a:gd name="T72" fmla="*/ 2147483646 w 331"/>
                    <a:gd name="T73" fmla="*/ 2147483646 h 327"/>
                    <a:gd name="T74" fmla="*/ 2147483646 w 331"/>
                    <a:gd name="T75" fmla="*/ 2147483646 h 327"/>
                    <a:gd name="T76" fmla="*/ 2147483646 w 331"/>
                    <a:gd name="T77" fmla="*/ 2147483646 h 327"/>
                    <a:gd name="T78" fmla="*/ 2147483646 w 331"/>
                    <a:gd name="T79" fmla="*/ 2147483646 h 327"/>
                    <a:gd name="T80" fmla="*/ 2147483646 w 331"/>
                    <a:gd name="T81" fmla="*/ 2147483646 h 327"/>
                    <a:gd name="T82" fmla="*/ 2147483646 w 331"/>
                    <a:gd name="T83" fmla="*/ 2147483646 h 327"/>
                    <a:gd name="T84" fmla="*/ 2147483646 w 331"/>
                    <a:gd name="T85" fmla="*/ 2147483646 h 327"/>
                    <a:gd name="T86" fmla="*/ 2147483646 w 331"/>
                    <a:gd name="T87" fmla="*/ 2147483646 h 327"/>
                    <a:gd name="T88" fmla="*/ 2147483646 w 331"/>
                    <a:gd name="T89" fmla="*/ 2147483646 h 327"/>
                    <a:gd name="T90" fmla="*/ 2147483646 w 331"/>
                    <a:gd name="T91" fmla="*/ 2147483646 h 327"/>
                    <a:gd name="T92" fmla="*/ 2147483646 w 331"/>
                    <a:gd name="T93" fmla="*/ 2147483646 h 327"/>
                    <a:gd name="T94" fmla="*/ 2147483646 w 331"/>
                    <a:gd name="T95" fmla="*/ 2147483646 h 32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31"/>
                    <a:gd name="T145" fmla="*/ 0 h 327"/>
                    <a:gd name="T146" fmla="*/ 331 w 331"/>
                    <a:gd name="T147" fmla="*/ 327 h 32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31" h="327">
                      <a:moveTo>
                        <a:pt x="331" y="56"/>
                      </a:moveTo>
                      <a:lnTo>
                        <a:pt x="245" y="37"/>
                      </a:lnTo>
                      <a:lnTo>
                        <a:pt x="230" y="40"/>
                      </a:lnTo>
                      <a:lnTo>
                        <a:pt x="216" y="44"/>
                      </a:lnTo>
                      <a:lnTo>
                        <a:pt x="204" y="50"/>
                      </a:lnTo>
                      <a:lnTo>
                        <a:pt x="193" y="56"/>
                      </a:lnTo>
                      <a:lnTo>
                        <a:pt x="189" y="59"/>
                      </a:lnTo>
                      <a:lnTo>
                        <a:pt x="185" y="63"/>
                      </a:lnTo>
                      <a:lnTo>
                        <a:pt x="182" y="67"/>
                      </a:lnTo>
                      <a:lnTo>
                        <a:pt x="181" y="72"/>
                      </a:lnTo>
                      <a:lnTo>
                        <a:pt x="180" y="77"/>
                      </a:lnTo>
                      <a:lnTo>
                        <a:pt x="181" y="81"/>
                      </a:lnTo>
                      <a:lnTo>
                        <a:pt x="182" y="87"/>
                      </a:lnTo>
                      <a:lnTo>
                        <a:pt x="185" y="92"/>
                      </a:lnTo>
                      <a:lnTo>
                        <a:pt x="184" y="94"/>
                      </a:lnTo>
                      <a:lnTo>
                        <a:pt x="181" y="98"/>
                      </a:lnTo>
                      <a:lnTo>
                        <a:pt x="179" y="101"/>
                      </a:lnTo>
                      <a:lnTo>
                        <a:pt x="177" y="102"/>
                      </a:lnTo>
                      <a:lnTo>
                        <a:pt x="174" y="105"/>
                      </a:lnTo>
                      <a:lnTo>
                        <a:pt x="172" y="105"/>
                      </a:lnTo>
                      <a:lnTo>
                        <a:pt x="168" y="105"/>
                      </a:lnTo>
                      <a:lnTo>
                        <a:pt x="165" y="102"/>
                      </a:lnTo>
                      <a:lnTo>
                        <a:pt x="162" y="100"/>
                      </a:lnTo>
                      <a:lnTo>
                        <a:pt x="160" y="98"/>
                      </a:lnTo>
                      <a:lnTo>
                        <a:pt x="159" y="92"/>
                      </a:lnTo>
                      <a:lnTo>
                        <a:pt x="159" y="86"/>
                      </a:lnTo>
                      <a:lnTo>
                        <a:pt x="149" y="85"/>
                      </a:lnTo>
                      <a:lnTo>
                        <a:pt x="139" y="82"/>
                      </a:lnTo>
                      <a:lnTo>
                        <a:pt x="132" y="79"/>
                      </a:lnTo>
                      <a:lnTo>
                        <a:pt x="126" y="74"/>
                      </a:lnTo>
                      <a:lnTo>
                        <a:pt x="126" y="83"/>
                      </a:lnTo>
                      <a:lnTo>
                        <a:pt x="126" y="92"/>
                      </a:lnTo>
                      <a:lnTo>
                        <a:pt x="127" y="96"/>
                      </a:lnTo>
                      <a:lnTo>
                        <a:pt x="129" y="101"/>
                      </a:lnTo>
                      <a:lnTo>
                        <a:pt x="135" y="109"/>
                      </a:lnTo>
                      <a:lnTo>
                        <a:pt x="139" y="116"/>
                      </a:lnTo>
                      <a:lnTo>
                        <a:pt x="146" y="122"/>
                      </a:lnTo>
                      <a:lnTo>
                        <a:pt x="151" y="127"/>
                      </a:lnTo>
                      <a:lnTo>
                        <a:pt x="154" y="129"/>
                      </a:lnTo>
                      <a:lnTo>
                        <a:pt x="156" y="130"/>
                      </a:lnTo>
                      <a:lnTo>
                        <a:pt x="157" y="130"/>
                      </a:lnTo>
                      <a:lnTo>
                        <a:pt x="159" y="130"/>
                      </a:lnTo>
                      <a:lnTo>
                        <a:pt x="159" y="147"/>
                      </a:lnTo>
                      <a:lnTo>
                        <a:pt x="159" y="163"/>
                      </a:lnTo>
                      <a:lnTo>
                        <a:pt x="159" y="177"/>
                      </a:lnTo>
                      <a:lnTo>
                        <a:pt x="159" y="191"/>
                      </a:lnTo>
                      <a:lnTo>
                        <a:pt x="159" y="213"/>
                      </a:lnTo>
                      <a:lnTo>
                        <a:pt x="159" y="237"/>
                      </a:lnTo>
                      <a:lnTo>
                        <a:pt x="158" y="242"/>
                      </a:lnTo>
                      <a:lnTo>
                        <a:pt x="157" y="247"/>
                      </a:lnTo>
                      <a:lnTo>
                        <a:pt x="156" y="251"/>
                      </a:lnTo>
                      <a:lnTo>
                        <a:pt x="154" y="254"/>
                      </a:lnTo>
                      <a:lnTo>
                        <a:pt x="150" y="257"/>
                      </a:lnTo>
                      <a:lnTo>
                        <a:pt x="147" y="259"/>
                      </a:lnTo>
                      <a:lnTo>
                        <a:pt x="144" y="259"/>
                      </a:lnTo>
                      <a:lnTo>
                        <a:pt x="139" y="259"/>
                      </a:lnTo>
                      <a:lnTo>
                        <a:pt x="145" y="264"/>
                      </a:lnTo>
                      <a:lnTo>
                        <a:pt x="154" y="270"/>
                      </a:lnTo>
                      <a:lnTo>
                        <a:pt x="158" y="274"/>
                      </a:lnTo>
                      <a:lnTo>
                        <a:pt x="162" y="276"/>
                      </a:lnTo>
                      <a:lnTo>
                        <a:pt x="167" y="277"/>
                      </a:lnTo>
                      <a:lnTo>
                        <a:pt x="172" y="278"/>
                      </a:lnTo>
                      <a:lnTo>
                        <a:pt x="167" y="286"/>
                      </a:lnTo>
                      <a:lnTo>
                        <a:pt x="161" y="291"/>
                      </a:lnTo>
                      <a:lnTo>
                        <a:pt x="158" y="293"/>
                      </a:lnTo>
                      <a:lnTo>
                        <a:pt x="155" y="295"/>
                      </a:lnTo>
                      <a:lnTo>
                        <a:pt x="150" y="296"/>
                      </a:lnTo>
                      <a:lnTo>
                        <a:pt x="146" y="296"/>
                      </a:lnTo>
                      <a:lnTo>
                        <a:pt x="140" y="297"/>
                      </a:lnTo>
                      <a:lnTo>
                        <a:pt x="137" y="299"/>
                      </a:lnTo>
                      <a:lnTo>
                        <a:pt x="134" y="302"/>
                      </a:lnTo>
                      <a:lnTo>
                        <a:pt x="130" y="307"/>
                      </a:lnTo>
                      <a:lnTo>
                        <a:pt x="128" y="311"/>
                      </a:lnTo>
                      <a:lnTo>
                        <a:pt x="127" y="316"/>
                      </a:lnTo>
                      <a:lnTo>
                        <a:pt x="126" y="321"/>
                      </a:lnTo>
                      <a:lnTo>
                        <a:pt x="126" y="327"/>
                      </a:lnTo>
                      <a:lnTo>
                        <a:pt x="122" y="311"/>
                      </a:lnTo>
                      <a:lnTo>
                        <a:pt x="121" y="300"/>
                      </a:lnTo>
                      <a:lnTo>
                        <a:pt x="121" y="296"/>
                      </a:lnTo>
                      <a:lnTo>
                        <a:pt x="122" y="292"/>
                      </a:lnTo>
                      <a:lnTo>
                        <a:pt x="124" y="288"/>
                      </a:lnTo>
                      <a:lnTo>
                        <a:pt x="126" y="284"/>
                      </a:lnTo>
                      <a:lnTo>
                        <a:pt x="116" y="284"/>
                      </a:lnTo>
                      <a:lnTo>
                        <a:pt x="109" y="286"/>
                      </a:lnTo>
                      <a:lnTo>
                        <a:pt x="103" y="288"/>
                      </a:lnTo>
                      <a:lnTo>
                        <a:pt x="98" y="290"/>
                      </a:lnTo>
                      <a:lnTo>
                        <a:pt x="93" y="292"/>
                      </a:lnTo>
                      <a:lnTo>
                        <a:pt x="89" y="294"/>
                      </a:lnTo>
                      <a:lnTo>
                        <a:pt x="83" y="295"/>
                      </a:lnTo>
                      <a:lnTo>
                        <a:pt x="79" y="296"/>
                      </a:lnTo>
                      <a:lnTo>
                        <a:pt x="78" y="272"/>
                      </a:lnTo>
                      <a:lnTo>
                        <a:pt x="74" y="251"/>
                      </a:lnTo>
                      <a:lnTo>
                        <a:pt x="73" y="242"/>
                      </a:lnTo>
                      <a:lnTo>
                        <a:pt x="73" y="234"/>
                      </a:lnTo>
                      <a:lnTo>
                        <a:pt x="76" y="225"/>
                      </a:lnTo>
                      <a:lnTo>
                        <a:pt x="79" y="216"/>
                      </a:lnTo>
                      <a:lnTo>
                        <a:pt x="68" y="216"/>
                      </a:lnTo>
                      <a:lnTo>
                        <a:pt x="57" y="213"/>
                      </a:lnTo>
                      <a:lnTo>
                        <a:pt x="48" y="211"/>
                      </a:lnTo>
                      <a:lnTo>
                        <a:pt x="40" y="207"/>
                      </a:lnTo>
                      <a:lnTo>
                        <a:pt x="34" y="203"/>
                      </a:lnTo>
                      <a:lnTo>
                        <a:pt x="28" y="198"/>
                      </a:lnTo>
                      <a:lnTo>
                        <a:pt x="23" y="193"/>
                      </a:lnTo>
                      <a:lnTo>
                        <a:pt x="20" y="187"/>
                      </a:lnTo>
                      <a:lnTo>
                        <a:pt x="13" y="173"/>
                      </a:lnTo>
                      <a:lnTo>
                        <a:pt x="9" y="158"/>
                      </a:lnTo>
                      <a:lnTo>
                        <a:pt x="4" y="144"/>
                      </a:lnTo>
                      <a:lnTo>
                        <a:pt x="0" y="130"/>
                      </a:lnTo>
                      <a:lnTo>
                        <a:pt x="10" y="124"/>
                      </a:lnTo>
                      <a:lnTo>
                        <a:pt x="19" y="118"/>
                      </a:lnTo>
                      <a:lnTo>
                        <a:pt x="28" y="111"/>
                      </a:lnTo>
                      <a:lnTo>
                        <a:pt x="37" y="101"/>
                      </a:lnTo>
                      <a:lnTo>
                        <a:pt x="45" y="92"/>
                      </a:lnTo>
                      <a:lnTo>
                        <a:pt x="50" y="81"/>
                      </a:lnTo>
                      <a:lnTo>
                        <a:pt x="56" y="69"/>
                      </a:lnTo>
                      <a:lnTo>
                        <a:pt x="59" y="56"/>
                      </a:lnTo>
                      <a:lnTo>
                        <a:pt x="73" y="55"/>
                      </a:lnTo>
                      <a:lnTo>
                        <a:pt x="88" y="52"/>
                      </a:lnTo>
                      <a:lnTo>
                        <a:pt x="102" y="47"/>
                      </a:lnTo>
                      <a:lnTo>
                        <a:pt x="115" y="41"/>
                      </a:lnTo>
                      <a:lnTo>
                        <a:pt x="140" y="29"/>
                      </a:lnTo>
                      <a:lnTo>
                        <a:pt x="166" y="19"/>
                      </a:lnTo>
                      <a:lnTo>
                        <a:pt x="180" y="14"/>
                      </a:lnTo>
                      <a:lnTo>
                        <a:pt x="192" y="10"/>
                      </a:lnTo>
                      <a:lnTo>
                        <a:pt x="205" y="8"/>
                      </a:lnTo>
                      <a:lnTo>
                        <a:pt x="218" y="7"/>
                      </a:lnTo>
                      <a:lnTo>
                        <a:pt x="230" y="8"/>
                      </a:lnTo>
                      <a:lnTo>
                        <a:pt x="240" y="10"/>
                      </a:lnTo>
                      <a:lnTo>
                        <a:pt x="249" y="14"/>
                      </a:lnTo>
                      <a:lnTo>
                        <a:pt x="257" y="19"/>
                      </a:lnTo>
                      <a:lnTo>
                        <a:pt x="264" y="23"/>
                      </a:lnTo>
                      <a:lnTo>
                        <a:pt x="271" y="27"/>
                      </a:lnTo>
                      <a:lnTo>
                        <a:pt x="278" y="30"/>
                      </a:lnTo>
                      <a:lnTo>
                        <a:pt x="285" y="31"/>
                      </a:lnTo>
                      <a:lnTo>
                        <a:pt x="292" y="30"/>
                      </a:lnTo>
                      <a:lnTo>
                        <a:pt x="297" y="28"/>
                      </a:lnTo>
                      <a:lnTo>
                        <a:pt x="303" y="24"/>
                      </a:lnTo>
                      <a:lnTo>
                        <a:pt x="307" y="20"/>
                      </a:lnTo>
                      <a:lnTo>
                        <a:pt x="316" y="10"/>
                      </a:lnTo>
                      <a:lnTo>
                        <a:pt x="325" y="0"/>
                      </a:lnTo>
                      <a:lnTo>
                        <a:pt x="327" y="6"/>
                      </a:lnTo>
                      <a:lnTo>
                        <a:pt x="329" y="14"/>
                      </a:lnTo>
                      <a:lnTo>
                        <a:pt x="330" y="23"/>
                      </a:lnTo>
                      <a:lnTo>
                        <a:pt x="330" y="32"/>
                      </a:lnTo>
                      <a:lnTo>
                        <a:pt x="331" y="49"/>
                      </a:lnTo>
                      <a:lnTo>
                        <a:pt x="331" y="5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53" name="Freeform 462">
                  <a:extLst>
                    <a:ext uri="{FF2B5EF4-FFF2-40B4-BE49-F238E27FC236}">
                      <a16:creationId xmlns:a16="http://schemas.microsoft.com/office/drawing/2014/main" xmlns="" id="{ABBE880E-A917-45C3-BFCB-6723B4E74B58}"/>
                    </a:ext>
                  </a:extLst>
                </p:cNvPr>
                <p:cNvSpPr>
                  <a:spLocks/>
                </p:cNvSpPr>
                <p:nvPr>
                  <p:custDataLst>
                    <p:tags r:id="rId300"/>
                  </p:custDataLst>
                </p:nvPr>
              </p:nvSpPr>
              <p:spPr bwMode="auto">
                <a:xfrm>
                  <a:off x="4552950" y="2535238"/>
                  <a:ext cx="69850" cy="57150"/>
                </a:xfrm>
                <a:custGeom>
                  <a:avLst/>
                  <a:gdLst>
                    <a:gd name="T0" fmla="*/ 0 w 153"/>
                    <a:gd name="T1" fmla="*/ 0 h 49"/>
                    <a:gd name="T2" fmla="*/ 2147483646 w 153"/>
                    <a:gd name="T3" fmla="*/ 2147483646 h 49"/>
                    <a:gd name="T4" fmla="*/ 2147483646 w 153"/>
                    <a:gd name="T5" fmla="*/ 2147483646 h 49"/>
                    <a:gd name="T6" fmla="*/ 2147483646 w 153"/>
                    <a:gd name="T7" fmla="*/ 2147483646 h 49"/>
                    <a:gd name="T8" fmla="*/ 2147483646 w 153"/>
                    <a:gd name="T9" fmla="*/ 2147483646 h 49"/>
                    <a:gd name="T10" fmla="*/ 2147483646 w 153"/>
                    <a:gd name="T11" fmla="*/ 2147483646 h 49"/>
                    <a:gd name="T12" fmla="*/ 2147483646 w 153"/>
                    <a:gd name="T13" fmla="*/ 2147483646 h 49"/>
                    <a:gd name="T14" fmla="*/ 2147483646 w 153"/>
                    <a:gd name="T15" fmla="*/ 2147483646 h 49"/>
                    <a:gd name="T16" fmla="*/ 2147483646 w 153"/>
                    <a:gd name="T17" fmla="*/ 0 h 49"/>
                    <a:gd name="T18" fmla="*/ 2147483646 w 153"/>
                    <a:gd name="T19" fmla="*/ 2147483646 h 49"/>
                    <a:gd name="T20" fmla="*/ 2147483646 w 153"/>
                    <a:gd name="T21" fmla="*/ 2147483646 h 49"/>
                    <a:gd name="T22" fmla="*/ 2147483646 w 153"/>
                    <a:gd name="T23" fmla="*/ 2147483646 h 49"/>
                    <a:gd name="T24" fmla="*/ 2147483646 w 153"/>
                    <a:gd name="T25" fmla="*/ 2147483646 h 49"/>
                    <a:gd name="T26" fmla="*/ 2147483646 w 153"/>
                    <a:gd name="T27" fmla="*/ 2147483646 h 49"/>
                    <a:gd name="T28" fmla="*/ 2147483646 w 153"/>
                    <a:gd name="T29" fmla="*/ 2147483646 h 49"/>
                    <a:gd name="T30" fmla="*/ 2147483646 w 153"/>
                    <a:gd name="T31" fmla="*/ 2147483646 h 49"/>
                    <a:gd name="T32" fmla="*/ 2147483646 w 153"/>
                    <a:gd name="T33" fmla="*/ 2147483646 h 49"/>
                    <a:gd name="T34" fmla="*/ 2147483646 w 153"/>
                    <a:gd name="T35" fmla="*/ 2147483646 h 49"/>
                    <a:gd name="T36" fmla="*/ 2147483646 w 153"/>
                    <a:gd name="T37" fmla="*/ 2147483646 h 49"/>
                    <a:gd name="T38" fmla="*/ 2147483646 w 153"/>
                    <a:gd name="T39" fmla="*/ 2147483646 h 49"/>
                    <a:gd name="T40" fmla="*/ 2147483646 w 153"/>
                    <a:gd name="T41" fmla="*/ 2147483646 h 49"/>
                    <a:gd name="T42" fmla="*/ 2147483646 w 153"/>
                    <a:gd name="T43" fmla="*/ 2147483646 h 49"/>
                    <a:gd name="T44" fmla="*/ 2147483646 w 153"/>
                    <a:gd name="T45" fmla="*/ 2147483646 h 49"/>
                    <a:gd name="T46" fmla="*/ 2147483646 w 153"/>
                    <a:gd name="T47" fmla="*/ 2147483646 h 49"/>
                    <a:gd name="T48" fmla="*/ 0 w 153"/>
                    <a:gd name="T49" fmla="*/ 2147483646 h 49"/>
                    <a:gd name="T50" fmla="*/ 0 w 153"/>
                    <a:gd name="T51" fmla="*/ 0 h 49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53"/>
                    <a:gd name="T79" fmla="*/ 0 h 49"/>
                    <a:gd name="T80" fmla="*/ 153 w 153"/>
                    <a:gd name="T81" fmla="*/ 49 h 49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53" h="49">
                      <a:moveTo>
                        <a:pt x="0" y="0"/>
                      </a:moveTo>
                      <a:lnTo>
                        <a:pt x="44" y="2"/>
                      </a:lnTo>
                      <a:lnTo>
                        <a:pt x="83" y="6"/>
                      </a:lnTo>
                      <a:lnTo>
                        <a:pt x="103" y="8"/>
                      </a:lnTo>
                      <a:lnTo>
                        <a:pt x="121" y="7"/>
                      </a:lnTo>
                      <a:lnTo>
                        <a:pt x="130" y="6"/>
                      </a:lnTo>
                      <a:lnTo>
                        <a:pt x="137" y="5"/>
                      </a:lnTo>
                      <a:lnTo>
                        <a:pt x="145" y="3"/>
                      </a:lnTo>
                      <a:lnTo>
                        <a:pt x="153" y="0"/>
                      </a:lnTo>
                      <a:lnTo>
                        <a:pt x="153" y="9"/>
                      </a:lnTo>
                      <a:lnTo>
                        <a:pt x="153" y="25"/>
                      </a:lnTo>
                      <a:lnTo>
                        <a:pt x="143" y="31"/>
                      </a:lnTo>
                      <a:lnTo>
                        <a:pt x="133" y="36"/>
                      </a:lnTo>
                      <a:lnTo>
                        <a:pt x="124" y="40"/>
                      </a:lnTo>
                      <a:lnTo>
                        <a:pt x="114" y="44"/>
                      </a:lnTo>
                      <a:lnTo>
                        <a:pt x="106" y="46"/>
                      </a:lnTo>
                      <a:lnTo>
                        <a:pt x="99" y="48"/>
                      </a:lnTo>
                      <a:lnTo>
                        <a:pt x="92" y="49"/>
                      </a:lnTo>
                      <a:lnTo>
                        <a:pt x="87" y="49"/>
                      </a:lnTo>
                      <a:lnTo>
                        <a:pt x="72" y="48"/>
                      </a:lnTo>
                      <a:lnTo>
                        <a:pt x="60" y="46"/>
                      </a:lnTo>
                      <a:lnTo>
                        <a:pt x="50" y="43"/>
                      </a:lnTo>
                      <a:lnTo>
                        <a:pt x="41" y="38"/>
                      </a:lnTo>
                      <a:lnTo>
                        <a:pt x="22" y="29"/>
                      </a:lnTo>
                      <a:lnTo>
                        <a:pt x="0" y="1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54" name="Freeform 463">
                  <a:extLst>
                    <a:ext uri="{FF2B5EF4-FFF2-40B4-BE49-F238E27FC236}">
                      <a16:creationId xmlns:a16="http://schemas.microsoft.com/office/drawing/2014/main" xmlns="" id="{44A07A99-66AC-469E-BAB3-23DF8B6CDA24}"/>
                    </a:ext>
                  </a:extLst>
                </p:cNvPr>
                <p:cNvSpPr>
                  <a:spLocks/>
                </p:cNvSpPr>
                <p:nvPr>
                  <p:custDataLst>
                    <p:tags r:id="rId301"/>
                  </p:custDataLst>
                </p:nvPr>
              </p:nvSpPr>
              <p:spPr bwMode="auto">
                <a:xfrm>
                  <a:off x="3632200" y="3267075"/>
                  <a:ext cx="187325" cy="158750"/>
                </a:xfrm>
                <a:custGeom>
                  <a:avLst/>
                  <a:gdLst>
                    <a:gd name="T0" fmla="*/ 2147483646 w 426"/>
                    <a:gd name="T1" fmla="*/ 2147483646 h 299"/>
                    <a:gd name="T2" fmla="*/ 2147483646 w 426"/>
                    <a:gd name="T3" fmla="*/ 2147483646 h 299"/>
                    <a:gd name="T4" fmla="*/ 2147483646 w 426"/>
                    <a:gd name="T5" fmla="*/ 2147483646 h 299"/>
                    <a:gd name="T6" fmla="*/ 2147483646 w 426"/>
                    <a:gd name="T7" fmla="*/ 2147483646 h 299"/>
                    <a:gd name="T8" fmla="*/ 2147483646 w 426"/>
                    <a:gd name="T9" fmla="*/ 2147483646 h 299"/>
                    <a:gd name="T10" fmla="*/ 2147483646 w 426"/>
                    <a:gd name="T11" fmla="*/ 2147483646 h 299"/>
                    <a:gd name="T12" fmla="*/ 2147483646 w 426"/>
                    <a:gd name="T13" fmla="*/ 2147483646 h 299"/>
                    <a:gd name="T14" fmla="*/ 2147483646 w 426"/>
                    <a:gd name="T15" fmla="*/ 2147483646 h 299"/>
                    <a:gd name="T16" fmla="*/ 2147483646 w 426"/>
                    <a:gd name="T17" fmla="*/ 2147483646 h 299"/>
                    <a:gd name="T18" fmla="*/ 2147483646 w 426"/>
                    <a:gd name="T19" fmla="*/ 2147483646 h 299"/>
                    <a:gd name="T20" fmla="*/ 2147483646 w 426"/>
                    <a:gd name="T21" fmla="*/ 2147483646 h 299"/>
                    <a:gd name="T22" fmla="*/ 2147483646 w 426"/>
                    <a:gd name="T23" fmla="*/ 2147483646 h 299"/>
                    <a:gd name="T24" fmla="*/ 2147483646 w 426"/>
                    <a:gd name="T25" fmla="*/ 2147483646 h 299"/>
                    <a:gd name="T26" fmla="*/ 2147483646 w 426"/>
                    <a:gd name="T27" fmla="*/ 2147483646 h 299"/>
                    <a:gd name="T28" fmla="*/ 2147483646 w 426"/>
                    <a:gd name="T29" fmla="*/ 2147483646 h 299"/>
                    <a:gd name="T30" fmla="*/ 2147483646 w 426"/>
                    <a:gd name="T31" fmla="*/ 2147483646 h 299"/>
                    <a:gd name="T32" fmla="*/ 2147483646 w 426"/>
                    <a:gd name="T33" fmla="*/ 2147483646 h 299"/>
                    <a:gd name="T34" fmla="*/ 2147483646 w 426"/>
                    <a:gd name="T35" fmla="*/ 2147483646 h 299"/>
                    <a:gd name="T36" fmla="*/ 2147483646 w 426"/>
                    <a:gd name="T37" fmla="*/ 2147483646 h 299"/>
                    <a:gd name="T38" fmla="*/ 2147483646 w 426"/>
                    <a:gd name="T39" fmla="*/ 2147483646 h 299"/>
                    <a:gd name="T40" fmla="*/ 2147483646 w 426"/>
                    <a:gd name="T41" fmla="*/ 2147483646 h 299"/>
                    <a:gd name="T42" fmla="*/ 2147483646 w 426"/>
                    <a:gd name="T43" fmla="*/ 2147483646 h 299"/>
                    <a:gd name="T44" fmla="*/ 2147483646 w 426"/>
                    <a:gd name="T45" fmla="*/ 2147483646 h 299"/>
                    <a:gd name="T46" fmla="*/ 2147483646 w 426"/>
                    <a:gd name="T47" fmla="*/ 2147483646 h 299"/>
                    <a:gd name="T48" fmla="*/ 2147483646 w 426"/>
                    <a:gd name="T49" fmla="*/ 2147483646 h 299"/>
                    <a:gd name="T50" fmla="*/ 2147483646 w 426"/>
                    <a:gd name="T51" fmla="*/ 2147483646 h 299"/>
                    <a:gd name="T52" fmla="*/ 2147483646 w 426"/>
                    <a:gd name="T53" fmla="*/ 2147483646 h 299"/>
                    <a:gd name="T54" fmla="*/ 2147483646 w 426"/>
                    <a:gd name="T55" fmla="*/ 2147483646 h 299"/>
                    <a:gd name="T56" fmla="*/ 2147483646 w 426"/>
                    <a:gd name="T57" fmla="*/ 2147483646 h 299"/>
                    <a:gd name="T58" fmla="*/ 2147483646 w 426"/>
                    <a:gd name="T59" fmla="*/ 2147483646 h 299"/>
                    <a:gd name="T60" fmla="*/ 2147483646 w 426"/>
                    <a:gd name="T61" fmla="*/ 2147483646 h 299"/>
                    <a:gd name="T62" fmla="*/ 2147483646 w 426"/>
                    <a:gd name="T63" fmla="*/ 2147483646 h 299"/>
                    <a:gd name="T64" fmla="*/ 2147483646 w 426"/>
                    <a:gd name="T65" fmla="*/ 2147483646 h 299"/>
                    <a:gd name="T66" fmla="*/ 2147483646 w 426"/>
                    <a:gd name="T67" fmla="*/ 2147483646 h 299"/>
                    <a:gd name="T68" fmla="*/ 2147483646 w 426"/>
                    <a:gd name="T69" fmla="*/ 2147483646 h 299"/>
                    <a:gd name="T70" fmla="*/ 2147483646 w 426"/>
                    <a:gd name="T71" fmla="*/ 2147483646 h 299"/>
                    <a:gd name="T72" fmla="*/ 2147483646 w 426"/>
                    <a:gd name="T73" fmla="*/ 2147483646 h 299"/>
                    <a:gd name="T74" fmla="*/ 2147483646 w 426"/>
                    <a:gd name="T75" fmla="*/ 2147483646 h 299"/>
                    <a:gd name="T76" fmla="*/ 2147483646 w 426"/>
                    <a:gd name="T77" fmla="*/ 2147483646 h 299"/>
                    <a:gd name="T78" fmla="*/ 2147483646 w 426"/>
                    <a:gd name="T79" fmla="*/ 2147483646 h 299"/>
                    <a:gd name="T80" fmla="*/ 2147483646 w 426"/>
                    <a:gd name="T81" fmla="*/ 2147483646 h 299"/>
                    <a:gd name="T82" fmla="*/ 2147483646 w 426"/>
                    <a:gd name="T83" fmla="*/ 2147483646 h 299"/>
                    <a:gd name="T84" fmla="*/ 2147483646 w 426"/>
                    <a:gd name="T85" fmla="*/ 2147483646 h 299"/>
                    <a:gd name="T86" fmla="*/ 2147483646 w 426"/>
                    <a:gd name="T87" fmla="*/ 2147483646 h 299"/>
                    <a:gd name="T88" fmla="*/ 2147483646 w 426"/>
                    <a:gd name="T89" fmla="*/ 2147483646 h 299"/>
                    <a:gd name="T90" fmla="*/ 2147483646 w 426"/>
                    <a:gd name="T91" fmla="*/ 2147483646 h 299"/>
                    <a:gd name="T92" fmla="*/ 2147483646 w 426"/>
                    <a:gd name="T93" fmla="*/ 2147483646 h 299"/>
                    <a:gd name="T94" fmla="*/ 2147483646 w 426"/>
                    <a:gd name="T95" fmla="*/ 2147483646 h 299"/>
                    <a:gd name="T96" fmla="*/ 2147483646 w 426"/>
                    <a:gd name="T97" fmla="*/ 2147483646 h 299"/>
                    <a:gd name="T98" fmla="*/ 2147483646 w 426"/>
                    <a:gd name="T99" fmla="*/ 2147483646 h 299"/>
                    <a:gd name="T100" fmla="*/ 2147483646 w 426"/>
                    <a:gd name="T101" fmla="*/ 2147483646 h 299"/>
                    <a:gd name="T102" fmla="*/ 2147483646 w 426"/>
                    <a:gd name="T103" fmla="*/ 2147483646 h 299"/>
                    <a:gd name="T104" fmla="*/ 2147483646 w 426"/>
                    <a:gd name="T105" fmla="*/ 2147483646 h 299"/>
                    <a:gd name="T106" fmla="*/ 2147483646 w 426"/>
                    <a:gd name="T107" fmla="*/ 2147483646 h 299"/>
                    <a:gd name="T108" fmla="*/ 2147483646 w 426"/>
                    <a:gd name="T109" fmla="*/ 2147483646 h 299"/>
                    <a:gd name="T110" fmla="*/ 2147483646 w 426"/>
                    <a:gd name="T111" fmla="*/ 2147483646 h 299"/>
                    <a:gd name="T112" fmla="*/ 2147483646 w 426"/>
                    <a:gd name="T113" fmla="*/ 2147483646 h 299"/>
                    <a:gd name="T114" fmla="*/ 2147483646 w 426"/>
                    <a:gd name="T115" fmla="*/ 2147483646 h 299"/>
                    <a:gd name="T116" fmla="*/ 2147483646 w 426"/>
                    <a:gd name="T117" fmla="*/ 2147483646 h 299"/>
                    <a:gd name="T118" fmla="*/ 2147483646 w 426"/>
                    <a:gd name="T119" fmla="*/ 2147483646 h 29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426"/>
                    <a:gd name="T181" fmla="*/ 0 h 299"/>
                    <a:gd name="T182" fmla="*/ 426 w 426"/>
                    <a:gd name="T183" fmla="*/ 299 h 29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426" h="299">
                      <a:moveTo>
                        <a:pt x="179" y="13"/>
                      </a:moveTo>
                      <a:lnTo>
                        <a:pt x="194" y="16"/>
                      </a:lnTo>
                      <a:lnTo>
                        <a:pt x="207" y="19"/>
                      </a:lnTo>
                      <a:lnTo>
                        <a:pt x="216" y="22"/>
                      </a:lnTo>
                      <a:lnTo>
                        <a:pt x="223" y="24"/>
                      </a:lnTo>
                      <a:lnTo>
                        <a:pt x="230" y="29"/>
                      </a:lnTo>
                      <a:lnTo>
                        <a:pt x="233" y="31"/>
                      </a:lnTo>
                      <a:lnTo>
                        <a:pt x="253" y="35"/>
                      </a:lnTo>
                      <a:lnTo>
                        <a:pt x="269" y="37"/>
                      </a:lnTo>
                      <a:lnTo>
                        <a:pt x="279" y="37"/>
                      </a:lnTo>
                      <a:lnTo>
                        <a:pt x="285" y="37"/>
                      </a:lnTo>
                      <a:lnTo>
                        <a:pt x="300" y="37"/>
                      </a:lnTo>
                      <a:lnTo>
                        <a:pt x="314" y="36"/>
                      </a:lnTo>
                      <a:lnTo>
                        <a:pt x="319" y="34"/>
                      </a:lnTo>
                      <a:lnTo>
                        <a:pt x="325" y="32"/>
                      </a:lnTo>
                      <a:lnTo>
                        <a:pt x="329" y="29"/>
                      </a:lnTo>
                      <a:lnTo>
                        <a:pt x="331" y="25"/>
                      </a:lnTo>
                      <a:lnTo>
                        <a:pt x="365" y="25"/>
                      </a:lnTo>
                      <a:lnTo>
                        <a:pt x="368" y="37"/>
                      </a:lnTo>
                      <a:lnTo>
                        <a:pt x="372" y="49"/>
                      </a:lnTo>
                      <a:lnTo>
                        <a:pt x="376" y="62"/>
                      </a:lnTo>
                      <a:lnTo>
                        <a:pt x="383" y="74"/>
                      </a:lnTo>
                      <a:lnTo>
                        <a:pt x="386" y="79"/>
                      </a:lnTo>
                      <a:lnTo>
                        <a:pt x="391" y="84"/>
                      </a:lnTo>
                      <a:lnTo>
                        <a:pt x="395" y="88"/>
                      </a:lnTo>
                      <a:lnTo>
                        <a:pt x="400" y="92"/>
                      </a:lnTo>
                      <a:lnTo>
                        <a:pt x="405" y="95"/>
                      </a:lnTo>
                      <a:lnTo>
                        <a:pt x="412" y="97"/>
                      </a:lnTo>
                      <a:lnTo>
                        <a:pt x="418" y="98"/>
                      </a:lnTo>
                      <a:lnTo>
                        <a:pt x="425" y="99"/>
                      </a:lnTo>
                      <a:lnTo>
                        <a:pt x="425" y="111"/>
                      </a:lnTo>
                      <a:lnTo>
                        <a:pt x="425" y="120"/>
                      </a:lnTo>
                      <a:lnTo>
                        <a:pt x="425" y="130"/>
                      </a:lnTo>
                      <a:lnTo>
                        <a:pt x="425" y="142"/>
                      </a:lnTo>
                      <a:lnTo>
                        <a:pt x="419" y="151"/>
                      </a:lnTo>
                      <a:lnTo>
                        <a:pt x="416" y="158"/>
                      </a:lnTo>
                      <a:lnTo>
                        <a:pt x="413" y="164"/>
                      </a:lnTo>
                      <a:lnTo>
                        <a:pt x="412" y="170"/>
                      </a:lnTo>
                      <a:lnTo>
                        <a:pt x="412" y="175"/>
                      </a:lnTo>
                      <a:lnTo>
                        <a:pt x="412" y="181"/>
                      </a:lnTo>
                      <a:lnTo>
                        <a:pt x="414" y="186"/>
                      </a:lnTo>
                      <a:lnTo>
                        <a:pt x="415" y="190"/>
                      </a:lnTo>
                      <a:lnTo>
                        <a:pt x="419" y="200"/>
                      </a:lnTo>
                      <a:lnTo>
                        <a:pt x="423" y="211"/>
                      </a:lnTo>
                      <a:lnTo>
                        <a:pt x="425" y="218"/>
                      </a:lnTo>
                      <a:lnTo>
                        <a:pt x="426" y="226"/>
                      </a:lnTo>
                      <a:lnTo>
                        <a:pt x="426" y="236"/>
                      </a:lnTo>
                      <a:lnTo>
                        <a:pt x="425" y="247"/>
                      </a:lnTo>
                      <a:lnTo>
                        <a:pt x="426" y="261"/>
                      </a:lnTo>
                      <a:lnTo>
                        <a:pt x="426" y="274"/>
                      </a:lnTo>
                      <a:lnTo>
                        <a:pt x="425" y="280"/>
                      </a:lnTo>
                      <a:lnTo>
                        <a:pt x="423" y="285"/>
                      </a:lnTo>
                      <a:lnTo>
                        <a:pt x="418" y="292"/>
                      </a:lnTo>
                      <a:lnTo>
                        <a:pt x="412" y="296"/>
                      </a:lnTo>
                      <a:lnTo>
                        <a:pt x="385" y="296"/>
                      </a:lnTo>
                      <a:lnTo>
                        <a:pt x="380" y="298"/>
                      </a:lnTo>
                      <a:lnTo>
                        <a:pt x="375" y="299"/>
                      </a:lnTo>
                      <a:lnTo>
                        <a:pt x="370" y="299"/>
                      </a:lnTo>
                      <a:lnTo>
                        <a:pt x="365" y="297"/>
                      </a:lnTo>
                      <a:lnTo>
                        <a:pt x="360" y="296"/>
                      </a:lnTo>
                      <a:lnTo>
                        <a:pt x="356" y="293"/>
                      </a:lnTo>
                      <a:lnTo>
                        <a:pt x="351" y="290"/>
                      </a:lnTo>
                      <a:lnTo>
                        <a:pt x="347" y="286"/>
                      </a:lnTo>
                      <a:lnTo>
                        <a:pt x="338" y="278"/>
                      </a:lnTo>
                      <a:lnTo>
                        <a:pt x="330" y="269"/>
                      </a:lnTo>
                      <a:lnTo>
                        <a:pt x="324" y="261"/>
                      </a:lnTo>
                      <a:lnTo>
                        <a:pt x="318" y="253"/>
                      </a:lnTo>
                      <a:lnTo>
                        <a:pt x="311" y="253"/>
                      </a:lnTo>
                      <a:lnTo>
                        <a:pt x="304" y="252"/>
                      </a:lnTo>
                      <a:lnTo>
                        <a:pt x="294" y="251"/>
                      </a:lnTo>
                      <a:lnTo>
                        <a:pt x="279" y="247"/>
                      </a:lnTo>
                      <a:lnTo>
                        <a:pt x="278" y="232"/>
                      </a:lnTo>
                      <a:lnTo>
                        <a:pt x="275" y="217"/>
                      </a:lnTo>
                      <a:lnTo>
                        <a:pt x="274" y="210"/>
                      </a:lnTo>
                      <a:lnTo>
                        <a:pt x="272" y="203"/>
                      </a:lnTo>
                      <a:lnTo>
                        <a:pt x="269" y="197"/>
                      </a:lnTo>
                      <a:lnTo>
                        <a:pt x="266" y="190"/>
                      </a:lnTo>
                      <a:lnTo>
                        <a:pt x="261" y="184"/>
                      </a:lnTo>
                      <a:lnTo>
                        <a:pt x="257" y="179"/>
                      </a:lnTo>
                      <a:lnTo>
                        <a:pt x="251" y="173"/>
                      </a:lnTo>
                      <a:lnTo>
                        <a:pt x="245" y="168"/>
                      </a:lnTo>
                      <a:lnTo>
                        <a:pt x="238" y="165"/>
                      </a:lnTo>
                      <a:lnTo>
                        <a:pt x="230" y="162"/>
                      </a:lnTo>
                      <a:lnTo>
                        <a:pt x="222" y="161"/>
                      </a:lnTo>
                      <a:lnTo>
                        <a:pt x="213" y="160"/>
                      </a:lnTo>
                      <a:lnTo>
                        <a:pt x="204" y="161"/>
                      </a:lnTo>
                      <a:lnTo>
                        <a:pt x="195" y="162"/>
                      </a:lnTo>
                      <a:lnTo>
                        <a:pt x="188" y="163"/>
                      </a:lnTo>
                      <a:lnTo>
                        <a:pt x="181" y="166"/>
                      </a:lnTo>
                      <a:lnTo>
                        <a:pt x="173" y="168"/>
                      </a:lnTo>
                      <a:lnTo>
                        <a:pt x="167" y="172"/>
                      </a:lnTo>
                      <a:lnTo>
                        <a:pt x="160" y="176"/>
                      </a:lnTo>
                      <a:lnTo>
                        <a:pt x="155" y="181"/>
                      </a:lnTo>
                      <a:lnTo>
                        <a:pt x="141" y="191"/>
                      </a:lnTo>
                      <a:lnTo>
                        <a:pt x="131" y="202"/>
                      </a:lnTo>
                      <a:lnTo>
                        <a:pt x="118" y="215"/>
                      </a:lnTo>
                      <a:lnTo>
                        <a:pt x="106" y="228"/>
                      </a:lnTo>
                      <a:lnTo>
                        <a:pt x="105" y="218"/>
                      </a:lnTo>
                      <a:lnTo>
                        <a:pt x="103" y="209"/>
                      </a:lnTo>
                      <a:lnTo>
                        <a:pt x="100" y="201"/>
                      </a:lnTo>
                      <a:lnTo>
                        <a:pt x="95" y="193"/>
                      </a:lnTo>
                      <a:lnTo>
                        <a:pt x="90" y="186"/>
                      </a:lnTo>
                      <a:lnTo>
                        <a:pt x="83" y="179"/>
                      </a:lnTo>
                      <a:lnTo>
                        <a:pt x="76" y="171"/>
                      </a:lnTo>
                      <a:lnTo>
                        <a:pt x="68" y="165"/>
                      </a:lnTo>
                      <a:lnTo>
                        <a:pt x="50" y="153"/>
                      </a:lnTo>
                      <a:lnTo>
                        <a:pt x="33" y="140"/>
                      </a:lnTo>
                      <a:lnTo>
                        <a:pt x="24" y="134"/>
                      </a:lnTo>
                      <a:lnTo>
                        <a:pt x="15" y="127"/>
                      </a:lnTo>
                      <a:lnTo>
                        <a:pt x="8" y="119"/>
                      </a:lnTo>
                      <a:lnTo>
                        <a:pt x="0" y="111"/>
                      </a:lnTo>
                      <a:lnTo>
                        <a:pt x="15" y="101"/>
                      </a:lnTo>
                      <a:lnTo>
                        <a:pt x="31" y="90"/>
                      </a:lnTo>
                      <a:lnTo>
                        <a:pt x="46" y="77"/>
                      </a:lnTo>
                      <a:lnTo>
                        <a:pt x="60" y="62"/>
                      </a:lnTo>
                      <a:lnTo>
                        <a:pt x="75" y="48"/>
                      </a:lnTo>
                      <a:lnTo>
                        <a:pt x="87" y="33"/>
                      </a:lnTo>
                      <a:lnTo>
                        <a:pt x="98" y="17"/>
                      </a:lnTo>
                      <a:lnTo>
                        <a:pt x="106" y="0"/>
                      </a:lnTo>
                      <a:lnTo>
                        <a:pt x="179" y="1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55" name="Freeform 464">
                  <a:extLst>
                    <a:ext uri="{FF2B5EF4-FFF2-40B4-BE49-F238E27FC236}">
                      <a16:creationId xmlns:a16="http://schemas.microsoft.com/office/drawing/2014/main" xmlns="" id="{1FDBAFEF-D2CA-4B5A-82DE-4F5457FF8703}"/>
                    </a:ext>
                  </a:extLst>
                </p:cNvPr>
                <p:cNvSpPr>
                  <a:spLocks/>
                </p:cNvSpPr>
                <p:nvPr>
                  <p:custDataLst>
                    <p:tags r:id="rId302"/>
                  </p:custDataLst>
                </p:nvPr>
              </p:nvSpPr>
              <p:spPr bwMode="auto">
                <a:xfrm>
                  <a:off x="5676900" y="2530475"/>
                  <a:ext cx="692150" cy="874713"/>
                </a:xfrm>
                <a:custGeom>
                  <a:avLst/>
                  <a:gdLst>
                    <a:gd name="T0" fmla="*/ 2147483646 w 1594"/>
                    <a:gd name="T1" fmla="*/ 2147483646 h 1670"/>
                    <a:gd name="T2" fmla="*/ 2147483646 w 1594"/>
                    <a:gd name="T3" fmla="*/ 2147483646 h 1670"/>
                    <a:gd name="T4" fmla="*/ 2147483646 w 1594"/>
                    <a:gd name="T5" fmla="*/ 2147483646 h 1670"/>
                    <a:gd name="T6" fmla="*/ 2147483646 w 1594"/>
                    <a:gd name="T7" fmla="*/ 2147483646 h 1670"/>
                    <a:gd name="T8" fmla="*/ 2147483646 w 1594"/>
                    <a:gd name="T9" fmla="*/ 2147483646 h 1670"/>
                    <a:gd name="T10" fmla="*/ 2147483646 w 1594"/>
                    <a:gd name="T11" fmla="*/ 2147483646 h 1670"/>
                    <a:gd name="T12" fmla="*/ 2147483646 w 1594"/>
                    <a:gd name="T13" fmla="*/ 2147483646 h 1670"/>
                    <a:gd name="T14" fmla="*/ 2147483646 w 1594"/>
                    <a:gd name="T15" fmla="*/ 2147483646 h 1670"/>
                    <a:gd name="T16" fmla="*/ 2147483646 w 1594"/>
                    <a:gd name="T17" fmla="*/ 2147483646 h 1670"/>
                    <a:gd name="T18" fmla="*/ 2147483646 w 1594"/>
                    <a:gd name="T19" fmla="*/ 2147483646 h 1670"/>
                    <a:gd name="T20" fmla="*/ 2147483646 w 1594"/>
                    <a:gd name="T21" fmla="*/ 2147483646 h 1670"/>
                    <a:gd name="T22" fmla="*/ 2147483646 w 1594"/>
                    <a:gd name="T23" fmla="*/ 2147483646 h 1670"/>
                    <a:gd name="T24" fmla="*/ 2147483646 w 1594"/>
                    <a:gd name="T25" fmla="*/ 2147483646 h 1670"/>
                    <a:gd name="T26" fmla="*/ 2147483646 w 1594"/>
                    <a:gd name="T27" fmla="*/ 2147483646 h 1670"/>
                    <a:gd name="T28" fmla="*/ 2147483646 w 1594"/>
                    <a:gd name="T29" fmla="*/ 2147483646 h 1670"/>
                    <a:gd name="T30" fmla="*/ 2147483646 w 1594"/>
                    <a:gd name="T31" fmla="*/ 2147483646 h 1670"/>
                    <a:gd name="T32" fmla="*/ 2147483646 w 1594"/>
                    <a:gd name="T33" fmla="*/ 2147483646 h 1670"/>
                    <a:gd name="T34" fmla="*/ 2147483646 w 1594"/>
                    <a:gd name="T35" fmla="*/ 2147483646 h 1670"/>
                    <a:gd name="T36" fmla="*/ 2147483646 w 1594"/>
                    <a:gd name="T37" fmla="*/ 2147483646 h 1670"/>
                    <a:gd name="T38" fmla="*/ 2147483646 w 1594"/>
                    <a:gd name="T39" fmla="*/ 2147483646 h 1670"/>
                    <a:gd name="T40" fmla="*/ 2147483646 w 1594"/>
                    <a:gd name="T41" fmla="*/ 2147483646 h 1670"/>
                    <a:gd name="T42" fmla="*/ 2147483646 w 1594"/>
                    <a:gd name="T43" fmla="*/ 2147483646 h 1670"/>
                    <a:gd name="T44" fmla="*/ 2147483646 w 1594"/>
                    <a:gd name="T45" fmla="*/ 2147483646 h 1670"/>
                    <a:gd name="T46" fmla="*/ 2147483646 w 1594"/>
                    <a:gd name="T47" fmla="*/ 2147483646 h 1670"/>
                    <a:gd name="T48" fmla="*/ 2147483646 w 1594"/>
                    <a:gd name="T49" fmla="*/ 2147483646 h 1670"/>
                    <a:gd name="T50" fmla="*/ 2147483646 w 1594"/>
                    <a:gd name="T51" fmla="*/ 2147483646 h 1670"/>
                    <a:gd name="T52" fmla="*/ 2147483646 w 1594"/>
                    <a:gd name="T53" fmla="*/ 2147483646 h 1670"/>
                    <a:gd name="T54" fmla="*/ 2147483646 w 1594"/>
                    <a:gd name="T55" fmla="*/ 2147483646 h 1670"/>
                    <a:gd name="T56" fmla="*/ 2147483646 w 1594"/>
                    <a:gd name="T57" fmla="*/ 2147483646 h 1670"/>
                    <a:gd name="T58" fmla="*/ 2147483646 w 1594"/>
                    <a:gd name="T59" fmla="*/ 2147483646 h 1670"/>
                    <a:gd name="T60" fmla="*/ 2147483646 w 1594"/>
                    <a:gd name="T61" fmla="*/ 2147483646 h 1670"/>
                    <a:gd name="T62" fmla="*/ 2147483646 w 1594"/>
                    <a:gd name="T63" fmla="*/ 2147483646 h 1670"/>
                    <a:gd name="T64" fmla="*/ 2147483646 w 1594"/>
                    <a:gd name="T65" fmla="*/ 2147483646 h 1670"/>
                    <a:gd name="T66" fmla="*/ 2147483646 w 1594"/>
                    <a:gd name="T67" fmla="*/ 2147483646 h 1670"/>
                    <a:gd name="T68" fmla="*/ 2147483646 w 1594"/>
                    <a:gd name="T69" fmla="*/ 2147483646 h 1670"/>
                    <a:gd name="T70" fmla="*/ 2147483646 w 1594"/>
                    <a:gd name="T71" fmla="*/ 2147483646 h 1670"/>
                    <a:gd name="T72" fmla="*/ 2147483646 w 1594"/>
                    <a:gd name="T73" fmla="*/ 2147483646 h 1670"/>
                    <a:gd name="T74" fmla="*/ 2147483646 w 1594"/>
                    <a:gd name="T75" fmla="*/ 2147483646 h 1670"/>
                    <a:gd name="T76" fmla="*/ 2147483646 w 1594"/>
                    <a:gd name="T77" fmla="*/ 2147483646 h 1670"/>
                    <a:gd name="T78" fmla="*/ 2147483646 w 1594"/>
                    <a:gd name="T79" fmla="*/ 2147483646 h 1670"/>
                    <a:gd name="T80" fmla="*/ 2147483646 w 1594"/>
                    <a:gd name="T81" fmla="*/ 2147483646 h 1670"/>
                    <a:gd name="T82" fmla="*/ 2147483646 w 1594"/>
                    <a:gd name="T83" fmla="*/ 2147483646 h 1670"/>
                    <a:gd name="T84" fmla="*/ 2147483646 w 1594"/>
                    <a:gd name="T85" fmla="*/ 2147483646 h 1670"/>
                    <a:gd name="T86" fmla="*/ 2147483646 w 1594"/>
                    <a:gd name="T87" fmla="*/ 2147483646 h 1670"/>
                    <a:gd name="T88" fmla="*/ 2147483646 w 1594"/>
                    <a:gd name="T89" fmla="*/ 2147483646 h 1670"/>
                    <a:gd name="T90" fmla="*/ 2147483646 w 1594"/>
                    <a:gd name="T91" fmla="*/ 2147483646 h 1670"/>
                    <a:gd name="T92" fmla="*/ 2147483646 w 1594"/>
                    <a:gd name="T93" fmla="*/ 2147483646 h 1670"/>
                    <a:gd name="T94" fmla="*/ 2147483646 w 1594"/>
                    <a:gd name="T95" fmla="*/ 2147483646 h 1670"/>
                    <a:gd name="T96" fmla="*/ 2147483646 w 1594"/>
                    <a:gd name="T97" fmla="*/ 2147483646 h 1670"/>
                    <a:gd name="T98" fmla="*/ 2147483646 w 1594"/>
                    <a:gd name="T99" fmla="*/ 2147483646 h 1670"/>
                    <a:gd name="T100" fmla="*/ 2147483646 w 1594"/>
                    <a:gd name="T101" fmla="*/ 2147483646 h 1670"/>
                    <a:gd name="T102" fmla="*/ 2147483646 w 1594"/>
                    <a:gd name="T103" fmla="*/ 2147483646 h 1670"/>
                    <a:gd name="T104" fmla="*/ 2147483646 w 1594"/>
                    <a:gd name="T105" fmla="*/ 2147483646 h 1670"/>
                    <a:gd name="T106" fmla="*/ 2147483646 w 1594"/>
                    <a:gd name="T107" fmla="*/ 2147483646 h 1670"/>
                    <a:gd name="T108" fmla="*/ 2147483646 w 1594"/>
                    <a:gd name="T109" fmla="*/ 2147483646 h 1670"/>
                    <a:gd name="T110" fmla="*/ 2147483646 w 1594"/>
                    <a:gd name="T111" fmla="*/ 2147483646 h 1670"/>
                    <a:gd name="T112" fmla="*/ 2147483646 w 1594"/>
                    <a:gd name="T113" fmla="*/ 2147483646 h 167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594"/>
                    <a:gd name="T172" fmla="*/ 0 h 1670"/>
                    <a:gd name="T173" fmla="*/ 1594 w 1594"/>
                    <a:gd name="T174" fmla="*/ 1670 h 167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594" h="1670">
                      <a:moveTo>
                        <a:pt x="385" y="0"/>
                      </a:moveTo>
                      <a:lnTo>
                        <a:pt x="400" y="16"/>
                      </a:lnTo>
                      <a:lnTo>
                        <a:pt x="415" y="33"/>
                      </a:lnTo>
                      <a:lnTo>
                        <a:pt x="427" y="48"/>
                      </a:lnTo>
                      <a:lnTo>
                        <a:pt x="437" y="63"/>
                      </a:lnTo>
                      <a:lnTo>
                        <a:pt x="448" y="76"/>
                      </a:lnTo>
                      <a:lnTo>
                        <a:pt x="459" y="90"/>
                      </a:lnTo>
                      <a:lnTo>
                        <a:pt x="464" y="96"/>
                      </a:lnTo>
                      <a:lnTo>
                        <a:pt x="471" y="101"/>
                      </a:lnTo>
                      <a:lnTo>
                        <a:pt x="477" y="107"/>
                      </a:lnTo>
                      <a:lnTo>
                        <a:pt x="485" y="111"/>
                      </a:lnTo>
                      <a:lnTo>
                        <a:pt x="492" y="118"/>
                      </a:lnTo>
                      <a:lnTo>
                        <a:pt x="499" y="126"/>
                      </a:lnTo>
                      <a:lnTo>
                        <a:pt x="506" y="134"/>
                      </a:lnTo>
                      <a:lnTo>
                        <a:pt x="512" y="144"/>
                      </a:lnTo>
                      <a:lnTo>
                        <a:pt x="519" y="153"/>
                      </a:lnTo>
                      <a:lnTo>
                        <a:pt x="523" y="163"/>
                      </a:lnTo>
                      <a:lnTo>
                        <a:pt x="528" y="174"/>
                      </a:lnTo>
                      <a:lnTo>
                        <a:pt x="531" y="185"/>
                      </a:lnTo>
                      <a:lnTo>
                        <a:pt x="485" y="185"/>
                      </a:lnTo>
                      <a:lnTo>
                        <a:pt x="485" y="216"/>
                      </a:lnTo>
                      <a:lnTo>
                        <a:pt x="490" y="229"/>
                      </a:lnTo>
                      <a:lnTo>
                        <a:pt x="497" y="240"/>
                      </a:lnTo>
                      <a:lnTo>
                        <a:pt x="505" y="250"/>
                      </a:lnTo>
                      <a:lnTo>
                        <a:pt x="514" y="257"/>
                      </a:lnTo>
                      <a:lnTo>
                        <a:pt x="523" y="264"/>
                      </a:lnTo>
                      <a:lnTo>
                        <a:pt x="534" y="269"/>
                      </a:lnTo>
                      <a:lnTo>
                        <a:pt x="544" y="274"/>
                      </a:lnTo>
                      <a:lnTo>
                        <a:pt x="556" y="278"/>
                      </a:lnTo>
                      <a:lnTo>
                        <a:pt x="578" y="287"/>
                      </a:lnTo>
                      <a:lnTo>
                        <a:pt x="600" y="296"/>
                      </a:lnTo>
                      <a:lnTo>
                        <a:pt x="610" y="302"/>
                      </a:lnTo>
                      <a:lnTo>
                        <a:pt x="620" y="310"/>
                      </a:lnTo>
                      <a:lnTo>
                        <a:pt x="629" y="318"/>
                      </a:lnTo>
                      <a:lnTo>
                        <a:pt x="638" y="327"/>
                      </a:lnTo>
                      <a:lnTo>
                        <a:pt x="631" y="420"/>
                      </a:lnTo>
                      <a:lnTo>
                        <a:pt x="643" y="429"/>
                      </a:lnTo>
                      <a:lnTo>
                        <a:pt x="660" y="440"/>
                      </a:lnTo>
                      <a:lnTo>
                        <a:pt x="679" y="450"/>
                      </a:lnTo>
                      <a:lnTo>
                        <a:pt x="701" y="459"/>
                      </a:lnTo>
                      <a:lnTo>
                        <a:pt x="723" y="468"/>
                      </a:lnTo>
                      <a:lnTo>
                        <a:pt x="744" y="475"/>
                      </a:lnTo>
                      <a:lnTo>
                        <a:pt x="753" y="478"/>
                      </a:lnTo>
                      <a:lnTo>
                        <a:pt x="762" y="480"/>
                      </a:lnTo>
                      <a:lnTo>
                        <a:pt x="770" y="481"/>
                      </a:lnTo>
                      <a:lnTo>
                        <a:pt x="777" y="481"/>
                      </a:lnTo>
                      <a:lnTo>
                        <a:pt x="779" y="488"/>
                      </a:lnTo>
                      <a:lnTo>
                        <a:pt x="784" y="494"/>
                      </a:lnTo>
                      <a:lnTo>
                        <a:pt x="789" y="497"/>
                      </a:lnTo>
                      <a:lnTo>
                        <a:pt x="795" y="499"/>
                      </a:lnTo>
                      <a:lnTo>
                        <a:pt x="800" y="501"/>
                      </a:lnTo>
                      <a:lnTo>
                        <a:pt x="807" y="501"/>
                      </a:lnTo>
                      <a:lnTo>
                        <a:pt x="814" y="500"/>
                      </a:lnTo>
                      <a:lnTo>
                        <a:pt x="822" y="499"/>
                      </a:lnTo>
                      <a:lnTo>
                        <a:pt x="836" y="496"/>
                      </a:lnTo>
                      <a:lnTo>
                        <a:pt x="852" y="492"/>
                      </a:lnTo>
                      <a:lnTo>
                        <a:pt x="858" y="492"/>
                      </a:lnTo>
                      <a:lnTo>
                        <a:pt x="865" y="491"/>
                      </a:lnTo>
                      <a:lnTo>
                        <a:pt x="871" y="492"/>
                      </a:lnTo>
                      <a:lnTo>
                        <a:pt x="877" y="493"/>
                      </a:lnTo>
                      <a:lnTo>
                        <a:pt x="886" y="499"/>
                      </a:lnTo>
                      <a:lnTo>
                        <a:pt x="892" y="504"/>
                      </a:lnTo>
                      <a:lnTo>
                        <a:pt x="898" y="511"/>
                      </a:lnTo>
                      <a:lnTo>
                        <a:pt x="903" y="517"/>
                      </a:lnTo>
                      <a:lnTo>
                        <a:pt x="908" y="523"/>
                      </a:lnTo>
                      <a:lnTo>
                        <a:pt x="914" y="529"/>
                      </a:lnTo>
                      <a:lnTo>
                        <a:pt x="918" y="532"/>
                      </a:lnTo>
                      <a:lnTo>
                        <a:pt x="921" y="534"/>
                      </a:lnTo>
                      <a:lnTo>
                        <a:pt x="925" y="536"/>
                      </a:lnTo>
                      <a:lnTo>
                        <a:pt x="930" y="537"/>
                      </a:lnTo>
                      <a:lnTo>
                        <a:pt x="946" y="540"/>
                      </a:lnTo>
                      <a:lnTo>
                        <a:pt x="968" y="546"/>
                      </a:lnTo>
                      <a:lnTo>
                        <a:pt x="993" y="552"/>
                      </a:lnTo>
                      <a:lnTo>
                        <a:pt x="1021" y="559"/>
                      </a:lnTo>
                      <a:lnTo>
                        <a:pt x="1047" y="564"/>
                      </a:lnTo>
                      <a:lnTo>
                        <a:pt x="1071" y="568"/>
                      </a:lnTo>
                      <a:lnTo>
                        <a:pt x="1082" y="569"/>
                      </a:lnTo>
                      <a:lnTo>
                        <a:pt x="1090" y="570"/>
                      </a:lnTo>
                      <a:lnTo>
                        <a:pt x="1098" y="569"/>
                      </a:lnTo>
                      <a:lnTo>
                        <a:pt x="1102" y="567"/>
                      </a:lnTo>
                      <a:lnTo>
                        <a:pt x="1098" y="560"/>
                      </a:lnTo>
                      <a:lnTo>
                        <a:pt x="1093" y="552"/>
                      </a:lnTo>
                      <a:lnTo>
                        <a:pt x="1090" y="544"/>
                      </a:lnTo>
                      <a:lnTo>
                        <a:pt x="1088" y="535"/>
                      </a:lnTo>
                      <a:lnTo>
                        <a:pt x="1083" y="520"/>
                      </a:lnTo>
                      <a:lnTo>
                        <a:pt x="1082" y="512"/>
                      </a:lnTo>
                      <a:lnTo>
                        <a:pt x="1082" y="481"/>
                      </a:lnTo>
                      <a:lnTo>
                        <a:pt x="1082" y="450"/>
                      </a:lnTo>
                      <a:lnTo>
                        <a:pt x="1115" y="450"/>
                      </a:lnTo>
                      <a:lnTo>
                        <a:pt x="1121" y="461"/>
                      </a:lnTo>
                      <a:lnTo>
                        <a:pt x="1125" y="468"/>
                      </a:lnTo>
                      <a:lnTo>
                        <a:pt x="1131" y="474"/>
                      </a:lnTo>
                      <a:lnTo>
                        <a:pt x="1136" y="481"/>
                      </a:lnTo>
                      <a:lnTo>
                        <a:pt x="1135" y="497"/>
                      </a:lnTo>
                      <a:lnTo>
                        <a:pt x="1132" y="507"/>
                      </a:lnTo>
                      <a:lnTo>
                        <a:pt x="1130" y="515"/>
                      </a:lnTo>
                      <a:lnTo>
                        <a:pt x="1128" y="524"/>
                      </a:lnTo>
                      <a:lnTo>
                        <a:pt x="1149" y="530"/>
                      </a:lnTo>
                      <a:lnTo>
                        <a:pt x="1169" y="536"/>
                      </a:lnTo>
                      <a:lnTo>
                        <a:pt x="1179" y="539"/>
                      </a:lnTo>
                      <a:lnTo>
                        <a:pt x="1189" y="541"/>
                      </a:lnTo>
                      <a:lnTo>
                        <a:pt x="1199" y="542"/>
                      </a:lnTo>
                      <a:lnTo>
                        <a:pt x="1209" y="543"/>
                      </a:lnTo>
                      <a:lnTo>
                        <a:pt x="1210" y="547"/>
                      </a:lnTo>
                      <a:lnTo>
                        <a:pt x="1212" y="551"/>
                      </a:lnTo>
                      <a:lnTo>
                        <a:pt x="1215" y="554"/>
                      </a:lnTo>
                      <a:lnTo>
                        <a:pt x="1220" y="557"/>
                      </a:lnTo>
                      <a:lnTo>
                        <a:pt x="1228" y="560"/>
                      </a:lnTo>
                      <a:lnTo>
                        <a:pt x="1235" y="561"/>
                      </a:lnTo>
                      <a:lnTo>
                        <a:pt x="1243" y="561"/>
                      </a:lnTo>
                      <a:lnTo>
                        <a:pt x="1249" y="559"/>
                      </a:lnTo>
                      <a:lnTo>
                        <a:pt x="1256" y="556"/>
                      </a:lnTo>
                      <a:lnTo>
                        <a:pt x="1261" y="553"/>
                      </a:lnTo>
                      <a:lnTo>
                        <a:pt x="1267" y="549"/>
                      </a:lnTo>
                      <a:lnTo>
                        <a:pt x="1272" y="544"/>
                      </a:lnTo>
                      <a:lnTo>
                        <a:pt x="1277" y="539"/>
                      </a:lnTo>
                      <a:lnTo>
                        <a:pt x="1281" y="534"/>
                      </a:lnTo>
                      <a:lnTo>
                        <a:pt x="1289" y="521"/>
                      </a:lnTo>
                      <a:lnTo>
                        <a:pt x="1294" y="509"/>
                      </a:lnTo>
                      <a:lnTo>
                        <a:pt x="1299" y="498"/>
                      </a:lnTo>
                      <a:lnTo>
                        <a:pt x="1302" y="487"/>
                      </a:lnTo>
                      <a:lnTo>
                        <a:pt x="1312" y="476"/>
                      </a:lnTo>
                      <a:lnTo>
                        <a:pt x="1322" y="465"/>
                      </a:lnTo>
                      <a:lnTo>
                        <a:pt x="1333" y="456"/>
                      </a:lnTo>
                      <a:lnTo>
                        <a:pt x="1344" y="446"/>
                      </a:lnTo>
                      <a:lnTo>
                        <a:pt x="1356" y="438"/>
                      </a:lnTo>
                      <a:lnTo>
                        <a:pt x="1367" y="430"/>
                      </a:lnTo>
                      <a:lnTo>
                        <a:pt x="1379" y="423"/>
                      </a:lnTo>
                      <a:lnTo>
                        <a:pt x="1391" y="416"/>
                      </a:lnTo>
                      <a:lnTo>
                        <a:pt x="1404" y="409"/>
                      </a:lnTo>
                      <a:lnTo>
                        <a:pt x="1417" y="403"/>
                      </a:lnTo>
                      <a:lnTo>
                        <a:pt x="1430" y="398"/>
                      </a:lnTo>
                      <a:lnTo>
                        <a:pt x="1444" y="393"/>
                      </a:lnTo>
                      <a:lnTo>
                        <a:pt x="1472" y="384"/>
                      </a:lnTo>
                      <a:lnTo>
                        <a:pt x="1501" y="377"/>
                      </a:lnTo>
                      <a:lnTo>
                        <a:pt x="1507" y="385"/>
                      </a:lnTo>
                      <a:lnTo>
                        <a:pt x="1515" y="395"/>
                      </a:lnTo>
                      <a:lnTo>
                        <a:pt x="1526" y="406"/>
                      </a:lnTo>
                      <a:lnTo>
                        <a:pt x="1537" y="418"/>
                      </a:lnTo>
                      <a:lnTo>
                        <a:pt x="1549" y="428"/>
                      </a:lnTo>
                      <a:lnTo>
                        <a:pt x="1562" y="436"/>
                      </a:lnTo>
                      <a:lnTo>
                        <a:pt x="1568" y="440"/>
                      </a:lnTo>
                      <a:lnTo>
                        <a:pt x="1574" y="442"/>
                      </a:lnTo>
                      <a:lnTo>
                        <a:pt x="1581" y="444"/>
                      </a:lnTo>
                      <a:lnTo>
                        <a:pt x="1587" y="444"/>
                      </a:lnTo>
                      <a:lnTo>
                        <a:pt x="1594" y="432"/>
                      </a:lnTo>
                      <a:lnTo>
                        <a:pt x="1590" y="453"/>
                      </a:lnTo>
                      <a:lnTo>
                        <a:pt x="1585" y="477"/>
                      </a:lnTo>
                      <a:lnTo>
                        <a:pt x="1583" y="488"/>
                      </a:lnTo>
                      <a:lnTo>
                        <a:pt x="1579" y="498"/>
                      </a:lnTo>
                      <a:lnTo>
                        <a:pt x="1576" y="502"/>
                      </a:lnTo>
                      <a:lnTo>
                        <a:pt x="1574" y="506"/>
                      </a:lnTo>
                      <a:lnTo>
                        <a:pt x="1571" y="509"/>
                      </a:lnTo>
                      <a:lnTo>
                        <a:pt x="1568" y="512"/>
                      </a:lnTo>
                      <a:lnTo>
                        <a:pt x="1554" y="515"/>
                      </a:lnTo>
                      <a:lnTo>
                        <a:pt x="1531" y="523"/>
                      </a:lnTo>
                      <a:lnTo>
                        <a:pt x="1520" y="530"/>
                      </a:lnTo>
                      <a:lnTo>
                        <a:pt x="1511" y="536"/>
                      </a:lnTo>
                      <a:lnTo>
                        <a:pt x="1506" y="539"/>
                      </a:lnTo>
                      <a:lnTo>
                        <a:pt x="1504" y="542"/>
                      </a:lnTo>
                      <a:lnTo>
                        <a:pt x="1502" y="546"/>
                      </a:lnTo>
                      <a:lnTo>
                        <a:pt x="1501" y="549"/>
                      </a:lnTo>
                      <a:lnTo>
                        <a:pt x="1502" y="584"/>
                      </a:lnTo>
                      <a:lnTo>
                        <a:pt x="1501" y="624"/>
                      </a:lnTo>
                      <a:lnTo>
                        <a:pt x="1498" y="634"/>
                      </a:lnTo>
                      <a:lnTo>
                        <a:pt x="1497" y="645"/>
                      </a:lnTo>
                      <a:lnTo>
                        <a:pt x="1495" y="654"/>
                      </a:lnTo>
                      <a:lnTo>
                        <a:pt x="1493" y="663"/>
                      </a:lnTo>
                      <a:lnTo>
                        <a:pt x="1490" y="671"/>
                      </a:lnTo>
                      <a:lnTo>
                        <a:pt x="1485" y="679"/>
                      </a:lnTo>
                      <a:lnTo>
                        <a:pt x="1480" y="685"/>
                      </a:lnTo>
                      <a:lnTo>
                        <a:pt x="1474" y="690"/>
                      </a:lnTo>
                      <a:lnTo>
                        <a:pt x="1471" y="693"/>
                      </a:lnTo>
                      <a:lnTo>
                        <a:pt x="1464" y="694"/>
                      </a:lnTo>
                      <a:lnTo>
                        <a:pt x="1457" y="695"/>
                      </a:lnTo>
                      <a:lnTo>
                        <a:pt x="1449" y="696"/>
                      </a:lnTo>
                      <a:lnTo>
                        <a:pt x="1441" y="697"/>
                      </a:lnTo>
                      <a:lnTo>
                        <a:pt x="1434" y="700"/>
                      </a:lnTo>
                      <a:lnTo>
                        <a:pt x="1431" y="701"/>
                      </a:lnTo>
                      <a:lnTo>
                        <a:pt x="1429" y="704"/>
                      </a:lnTo>
                      <a:lnTo>
                        <a:pt x="1428" y="706"/>
                      </a:lnTo>
                      <a:lnTo>
                        <a:pt x="1428" y="709"/>
                      </a:lnTo>
                      <a:lnTo>
                        <a:pt x="1427" y="721"/>
                      </a:lnTo>
                      <a:lnTo>
                        <a:pt x="1427" y="735"/>
                      </a:lnTo>
                      <a:lnTo>
                        <a:pt x="1425" y="750"/>
                      </a:lnTo>
                      <a:lnTo>
                        <a:pt x="1423" y="764"/>
                      </a:lnTo>
                      <a:lnTo>
                        <a:pt x="1420" y="778"/>
                      </a:lnTo>
                      <a:lnTo>
                        <a:pt x="1417" y="791"/>
                      </a:lnTo>
                      <a:lnTo>
                        <a:pt x="1413" y="803"/>
                      </a:lnTo>
                      <a:lnTo>
                        <a:pt x="1408" y="814"/>
                      </a:lnTo>
                      <a:lnTo>
                        <a:pt x="1361" y="733"/>
                      </a:lnTo>
                      <a:lnTo>
                        <a:pt x="1359" y="737"/>
                      </a:lnTo>
                      <a:lnTo>
                        <a:pt x="1354" y="746"/>
                      </a:lnTo>
                      <a:lnTo>
                        <a:pt x="1349" y="751"/>
                      </a:lnTo>
                      <a:lnTo>
                        <a:pt x="1345" y="755"/>
                      </a:lnTo>
                      <a:lnTo>
                        <a:pt x="1340" y="758"/>
                      </a:lnTo>
                      <a:lnTo>
                        <a:pt x="1335" y="759"/>
                      </a:lnTo>
                      <a:lnTo>
                        <a:pt x="1329" y="758"/>
                      </a:lnTo>
                      <a:lnTo>
                        <a:pt x="1325" y="757"/>
                      </a:lnTo>
                      <a:lnTo>
                        <a:pt x="1321" y="754"/>
                      </a:lnTo>
                      <a:lnTo>
                        <a:pt x="1316" y="751"/>
                      </a:lnTo>
                      <a:lnTo>
                        <a:pt x="1313" y="746"/>
                      </a:lnTo>
                      <a:lnTo>
                        <a:pt x="1311" y="742"/>
                      </a:lnTo>
                      <a:lnTo>
                        <a:pt x="1308" y="738"/>
                      </a:lnTo>
                      <a:lnTo>
                        <a:pt x="1308" y="733"/>
                      </a:lnTo>
                      <a:lnTo>
                        <a:pt x="1308" y="727"/>
                      </a:lnTo>
                      <a:lnTo>
                        <a:pt x="1311" y="721"/>
                      </a:lnTo>
                      <a:lnTo>
                        <a:pt x="1313" y="715"/>
                      </a:lnTo>
                      <a:lnTo>
                        <a:pt x="1315" y="709"/>
                      </a:lnTo>
                      <a:lnTo>
                        <a:pt x="1323" y="698"/>
                      </a:lnTo>
                      <a:lnTo>
                        <a:pt x="1332" y="687"/>
                      </a:lnTo>
                      <a:lnTo>
                        <a:pt x="1340" y="677"/>
                      </a:lnTo>
                      <a:lnTo>
                        <a:pt x="1348" y="666"/>
                      </a:lnTo>
                      <a:lnTo>
                        <a:pt x="1350" y="660"/>
                      </a:lnTo>
                      <a:lnTo>
                        <a:pt x="1352" y="655"/>
                      </a:lnTo>
                      <a:lnTo>
                        <a:pt x="1355" y="648"/>
                      </a:lnTo>
                      <a:lnTo>
                        <a:pt x="1355" y="642"/>
                      </a:lnTo>
                      <a:lnTo>
                        <a:pt x="1235" y="642"/>
                      </a:lnTo>
                      <a:lnTo>
                        <a:pt x="1231" y="641"/>
                      </a:lnTo>
                      <a:lnTo>
                        <a:pt x="1225" y="638"/>
                      </a:lnTo>
                      <a:lnTo>
                        <a:pt x="1221" y="632"/>
                      </a:lnTo>
                      <a:lnTo>
                        <a:pt x="1217" y="626"/>
                      </a:lnTo>
                      <a:lnTo>
                        <a:pt x="1214" y="618"/>
                      </a:lnTo>
                      <a:lnTo>
                        <a:pt x="1211" y="610"/>
                      </a:lnTo>
                      <a:lnTo>
                        <a:pt x="1210" y="601"/>
                      </a:lnTo>
                      <a:lnTo>
                        <a:pt x="1209" y="592"/>
                      </a:lnTo>
                      <a:lnTo>
                        <a:pt x="1203" y="592"/>
                      </a:lnTo>
                      <a:lnTo>
                        <a:pt x="1198" y="591"/>
                      </a:lnTo>
                      <a:lnTo>
                        <a:pt x="1192" y="590"/>
                      </a:lnTo>
                      <a:lnTo>
                        <a:pt x="1187" y="588"/>
                      </a:lnTo>
                      <a:lnTo>
                        <a:pt x="1182" y="585"/>
                      </a:lnTo>
                      <a:lnTo>
                        <a:pt x="1179" y="582"/>
                      </a:lnTo>
                      <a:lnTo>
                        <a:pt x="1177" y="577"/>
                      </a:lnTo>
                      <a:lnTo>
                        <a:pt x="1176" y="573"/>
                      </a:lnTo>
                      <a:lnTo>
                        <a:pt x="1167" y="573"/>
                      </a:lnTo>
                      <a:lnTo>
                        <a:pt x="1159" y="573"/>
                      </a:lnTo>
                      <a:lnTo>
                        <a:pt x="1151" y="573"/>
                      </a:lnTo>
                      <a:lnTo>
                        <a:pt x="1143" y="573"/>
                      </a:lnTo>
                      <a:lnTo>
                        <a:pt x="1136" y="574"/>
                      </a:lnTo>
                      <a:lnTo>
                        <a:pt x="1131" y="575"/>
                      </a:lnTo>
                      <a:lnTo>
                        <a:pt x="1124" y="578"/>
                      </a:lnTo>
                      <a:lnTo>
                        <a:pt x="1117" y="582"/>
                      </a:lnTo>
                      <a:lnTo>
                        <a:pt x="1112" y="587"/>
                      </a:lnTo>
                      <a:lnTo>
                        <a:pt x="1106" y="592"/>
                      </a:lnTo>
                      <a:lnTo>
                        <a:pt x="1103" y="598"/>
                      </a:lnTo>
                      <a:lnTo>
                        <a:pt x="1102" y="604"/>
                      </a:lnTo>
                      <a:lnTo>
                        <a:pt x="1104" y="608"/>
                      </a:lnTo>
                      <a:lnTo>
                        <a:pt x="1110" y="613"/>
                      </a:lnTo>
                      <a:lnTo>
                        <a:pt x="1117" y="619"/>
                      </a:lnTo>
                      <a:lnTo>
                        <a:pt x="1127" y="625"/>
                      </a:lnTo>
                      <a:lnTo>
                        <a:pt x="1137" y="631"/>
                      </a:lnTo>
                      <a:lnTo>
                        <a:pt x="1147" y="636"/>
                      </a:lnTo>
                      <a:lnTo>
                        <a:pt x="1156" y="640"/>
                      </a:lnTo>
                      <a:lnTo>
                        <a:pt x="1162" y="642"/>
                      </a:lnTo>
                      <a:lnTo>
                        <a:pt x="1149" y="652"/>
                      </a:lnTo>
                      <a:lnTo>
                        <a:pt x="1134" y="664"/>
                      </a:lnTo>
                      <a:lnTo>
                        <a:pt x="1127" y="670"/>
                      </a:lnTo>
                      <a:lnTo>
                        <a:pt x="1121" y="677"/>
                      </a:lnTo>
                      <a:lnTo>
                        <a:pt x="1119" y="680"/>
                      </a:lnTo>
                      <a:lnTo>
                        <a:pt x="1117" y="683"/>
                      </a:lnTo>
                      <a:lnTo>
                        <a:pt x="1116" y="687"/>
                      </a:lnTo>
                      <a:lnTo>
                        <a:pt x="1115" y="690"/>
                      </a:lnTo>
                      <a:lnTo>
                        <a:pt x="1116" y="695"/>
                      </a:lnTo>
                      <a:lnTo>
                        <a:pt x="1117" y="698"/>
                      </a:lnTo>
                      <a:lnTo>
                        <a:pt x="1120" y="702"/>
                      </a:lnTo>
                      <a:lnTo>
                        <a:pt x="1122" y="706"/>
                      </a:lnTo>
                      <a:lnTo>
                        <a:pt x="1130" y="714"/>
                      </a:lnTo>
                      <a:lnTo>
                        <a:pt x="1139" y="722"/>
                      </a:lnTo>
                      <a:lnTo>
                        <a:pt x="1149" y="729"/>
                      </a:lnTo>
                      <a:lnTo>
                        <a:pt x="1160" y="735"/>
                      </a:lnTo>
                      <a:lnTo>
                        <a:pt x="1166" y="737"/>
                      </a:lnTo>
                      <a:lnTo>
                        <a:pt x="1171" y="738"/>
                      </a:lnTo>
                      <a:lnTo>
                        <a:pt x="1177" y="739"/>
                      </a:lnTo>
                      <a:lnTo>
                        <a:pt x="1182" y="740"/>
                      </a:lnTo>
                      <a:lnTo>
                        <a:pt x="1209" y="844"/>
                      </a:lnTo>
                      <a:lnTo>
                        <a:pt x="1194" y="844"/>
                      </a:lnTo>
                      <a:lnTo>
                        <a:pt x="1180" y="844"/>
                      </a:lnTo>
                      <a:lnTo>
                        <a:pt x="1167" y="844"/>
                      </a:lnTo>
                      <a:lnTo>
                        <a:pt x="1156" y="844"/>
                      </a:lnTo>
                      <a:lnTo>
                        <a:pt x="1149" y="843"/>
                      </a:lnTo>
                      <a:lnTo>
                        <a:pt x="1142" y="838"/>
                      </a:lnTo>
                      <a:lnTo>
                        <a:pt x="1137" y="836"/>
                      </a:lnTo>
                      <a:lnTo>
                        <a:pt x="1132" y="834"/>
                      </a:lnTo>
                      <a:lnTo>
                        <a:pt x="1127" y="833"/>
                      </a:lnTo>
                      <a:lnTo>
                        <a:pt x="1122" y="832"/>
                      </a:lnTo>
                      <a:lnTo>
                        <a:pt x="1117" y="834"/>
                      </a:lnTo>
                      <a:lnTo>
                        <a:pt x="1109" y="839"/>
                      </a:lnTo>
                      <a:lnTo>
                        <a:pt x="1099" y="846"/>
                      </a:lnTo>
                      <a:lnTo>
                        <a:pt x="1087" y="854"/>
                      </a:lnTo>
                      <a:lnTo>
                        <a:pt x="1075" y="864"/>
                      </a:lnTo>
                      <a:lnTo>
                        <a:pt x="1065" y="872"/>
                      </a:lnTo>
                      <a:lnTo>
                        <a:pt x="1058" y="878"/>
                      </a:lnTo>
                      <a:lnTo>
                        <a:pt x="1056" y="882"/>
                      </a:lnTo>
                      <a:lnTo>
                        <a:pt x="1076" y="894"/>
                      </a:lnTo>
                      <a:lnTo>
                        <a:pt x="1075" y="900"/>
                      </a:lnTo>
                      <a:lnTo>
                        <a:pt x="1072" y="907"/>
                      </a:lnTo>
                      <a:lnTo>
                        <a:pt x="1069" y="912"/>
                      </a:lnTo>
                      <a:lnTo>
                        <a:pt x="1066" y="919"/>
                      </a:lnTo>
                      <a:lnTo>
                        <a:pt x="1058" y="928"/>
                      </a:lnTo>
                      <a:lnTo>
                        <a:pt x="1049" y="937"/>
                      </a:lnTo>
                      <a:lnTo>
                        <a:pt x="1039" y="945"/>
                      </a:lnTo>
                      <a:lnTo>
                        <a:pt x="1027" y="952"/>
                      </a:lnTo>
                      <a:lnTo>
                        <a:pt x="1016" y="958"/>
                      </a:lnTo>
                      <a:lnTo>
                        <a:pt x="1004" y="964"/>
                      </a:lnTo>
                      <a:lnTo>
                        <a:pt x="992" y="972"/>
                      </a:lnTo>
                      <a:lnTo>
                        <a:pt x="981" y="978"/>
                      </a:lnTo>
                      <a:lnTo>
                        <a:pt x="971" y="985"/>
                      </a:lnTo>
                      <a:lnTo>
                        <a:pt x="962" y="993"/>
                      </a:lnTo>
                      <a:lnTo>
                        <a:pt x="957" y="997"/>
                      </a:lnTo>
                      <a:lnTo>
                        <a:pt x="954" y="1001"/>
                      </a:lnTo>
                      <a:lnTo>
                        <a:pt x="951" y="1006"/>
                      </a:lnTo>
                      <a:lnTo>
                        <a:pt x="948" y="1011"/>
                      </a:lnTo>
                      <a:lnTo>
                        <a:pt x="946" y="1017"/>
                      </a:lnTo>
                      <a:lnTo>
                        <a:pt x="944" y="1022"/>
                      </a:lnTo>
                      <a:lnTo>
                        <a:pt x="943" y="1029"/>
                      </a:lnTo>
                      <a:lnTo>
                        <a:pt x="943" y="1036"/>
                      </a:lnTo>
                      <a:lnTo>
                        <a:pt x="934" y="1039"/>
                      </a:lnTo>
                      <a:lnTo>
                        <a:pt x="926" y="1042"/>
                      </a:lnTo>
                      <a:lnTo>
                        <a:pt x="919" y="1046"/>
                      </a:lnTo>
                      <a:lnTo>
                        <a:pt x="912" y="1050"/>
                      </a:lnTo>
                      <a:lnTo>
                        <a:pt x="898" y="1060"/>
                      </a:lnTo>
                      <a:lnTo>
                        <a:pt x="886" y="1072"/>
                      </a:lnTo>
                      <a:lnTo>
                        <a:pt x="864" y="1099"/>
                      </a:lnTo>
                      <a:lnTo>
                        <a:pt x="843" y="1128"/>
                      </a:lnTo>
                      <a:lnTo>
                        <a:pt x="832" y="1143"/>
                      </a:lnTo>
                      <a:lnTo>
                        <a:pt x="821" y="1156"/>
                      </a:lnTo>
                      <a:lnTo>
                        <a:pt x="809" y="1168"/>
                      </a:lnTo>
                      <a:lnTo>
                        <a:pt x="796" y="1179"/>
                      </a:lnTo>
                      <a:lnTo>
                        <a:pt x="788" y="1184"/>
                      </a:lnTo>
                      <a:lnTo>
                        <a:pt x="780" y="1188"/>
                      </a:lnTo>
                      <a:lnTo>
                        <a:pt x="773" y="1192"/>
                      </a:lnTo>
                      <a:lnTo>
                        <a:pt x="764" y="1196"/>
                      </a:lnTo>
                      <a:lnTo>
                        <a:pt x="754" y="1199"/>
                      </a:lnTo>
                      <a:lnTo>
                        <a:pt x="745" y="1201"/>
                      </a:lnTo>
                      <a:lnTo>
                        <a:pt x="734" y="1202"/>
                      </a:lnTo>
                      <a:lnTo>
                        <a:pt x="723" y="1202"/>
                      </a:lnTo>
                      <a:lnTo>
                        <a:pt x="723" y="1211"/>
                      </a:lnTo>
                      <a:lnTo>
                        <a:pt x="723" y="1220"/>
                      </a:lnTo>
                      <a:lnTo>
                        <a:pt x="723" y="1227"/>
                      </a:lnTo>
                      <a:lnTo>
                        <a:pt x="723" y="1233"/>
                      </a:lnTo>
                      <a:lnTo>
                        <a:pt x="723" y="1244"/>
                      </a:lnTo>
                      <a:lnTo>
                        <a:pt x="723" y="1261"/>
                      </a:lnTo>
                      <a:lnTo>
                        <a:pt x="723" y="1279"/>
                      </a:lnTo>
                      <a:lnTo>
                        <a:pt x="725" y="1298"/>
                      </a:lnTo>
                      <a:lnTo>
                        <a:pt x="727" y="1308"/>
                      </a:lnTo>
                      <a:lnTo>
                        <a:pt x="729" y="1317"/>
                      </a:lnTo>
                      <a:lnTo>
                        <a:pt x="731" y="1325"/>
                      </a:lnTo>
                      <a:lnTo>
                        <a:pt x="735" y="1332"/>
                      </a:lnTo>
                      <a:lnTo>
                        <a:pt x="739" y="1339"/>
                      </a:lnTo>
                      <a:lnTo>
                        <a:pt x="744" y="1344"/>
                      </a:lnTo>
                      <a:lnTo>
                        <a:pt x="750" y="1348"/>
                      </a:lnTo>
                      <a:lnTo>
                        <a:pt x="757" y="1350"/>
                      </a:lnTo>
                      <a:lnTo>
                        <a:pt x="751" y="1366"/>
                      </a:lnTo>
                      <a:lnTo>
                        <a:pt x="744" y="1380"/>
                      </a:lnTo>
                      <a:lnTo>
                        <a:pt x="736" y="1393"/>
                      </a:lnTo>
                      <a:lnTo>
                        <a:pt x="729" y="1405"/>
                      </a:lnTo>
                      <a:lnTo>
                        <a:pt x="721" y="1419"/>
                      </a:lnTo>
                      <a:lnTo>
                        <a:pt x="716" y="1432"/>
                      </a:lnTo>
                      <a:lnTo>
                        <a:pt x="713" y="1438"/>
                      </a:lnTo>
                      <a:lnTo>
                        <a:pt x="712" y="1445"/>
                      </a:lnTo>
                      <a:lnTo>
                        <a:pt x="711" y="1453"/>
                      </a:lnTo>
                      <a:lnTo>
                        <a:pt x="710" y="1460"/>
                      </a:lnTo>
                      <a:lnTo>
                        <a:pt x="711" y="1463"/>
                      </a:lnTo>
                      <a:lnTo>
                        <a:pt x="712" y="1465"/>
                      </a:lnTo>
                      <a:lnTo>
                        <a:pt x="714" y="1467"/>
                      </a:lnTo>
                      <a:lnTo>
                        <a:pt x="718" y="1469"/>
                      </a:lnTo>
                      <a:lnTo>
                        <a:pt x="724" y="1473"/>
                      </a:lnTo>
                      <a:lnTo>
                        <a:pt x="730" y="1474"/>
                      </a:lnTo>
                      <a:lnTo>
                        <a:pt x="730" y="1510"/>
                      </a:lnTo>
                      <a:lnTo>
                        <a:pt x="722" y="1524"/>
                      </a:lnTo>
                      <a:lnTo>
                        <a:pt x="716" y="1539"/>
                      </a:lnTo>
                      <a:lnTo>
                        <a:pt x="711" y="1545"/>
                      </a:lnTo>
                      <a:lnTo>
                        <a:pt x="706" y="1549"/>
                      </a:lnTo>
                      <a:lnTo>
                        <a:pt x="702" y="1551"/>
                      </a:lnTo>
                      <a:lnTo>
                        <a:pt x="699" y="1552"/>
                      </a:lnTo>
                      <a:lnTo>
                        <a:pt x="695" y="1553"/>
                      </a:lnTo>
                      <a:lnTo>
                        <a:pt x="690" y="1553"/>
                      </a:lnTo>
                      <a:lnTo>
                        <a:pt x="690" y="1561"/>
                      </a:lnTo>
                      <a:lnTo>
                        <a:pt x="691" y="1571"/>
                      </a:lnTo>
                      <a:lnTo>
                        <a:pt x="693" y="1576"/>
                      </a:lnTo>
                      <a:lnTo>
                        <a:pt x="694" y="1580"/>
                      </a:lnTo>
                      <a:lnTo>
                        <a:pt x="695" y="1583"/>
                      </a:lnTo>
                      <a:lnTo>
                        <a:pt x="697" y="1584"/>
                      </a:lnTo>
                      <a:lnTo>
                        <a:pt x="671" y="1605"/>
                      </a:lnTo>
                      <a:lnTo>
                        <a:pt x="649" y="1622"/>
                      </a:lnTo>
                      <a:lnTo>
                        <a:pt x="639" y="1632"/>
                      </a:lnTo>
                      <a:lnTo>
                        <a:pt x="630" y="1643"/>
                      </a:lnTo>
                      <a:lnTo>
                        <a:pt x="620" y="1656"/>
                      </a:lnTo>
                      <a:lnTo>
                        <a:pt x="611" y="1670"/>
                      </a:lnTo>
                      <a:lnTo>
                        <a:pt x="595" y="1663"/>
                      </a:lnTo>
                      <a:lnTo>
                        <a:pt x="584" y="1656"/>
                      </a:lnTo>
                      <a:lnTo>
                        <a:pt x="575" y="1649"/>
                      </a:lnTo>
                      <a:lnTo>
                        <a:pt x="568" y="1641"/>
                      </a:lnTo>
                      <a:lnTo>
                        <a:pt x="563" y="1631"/>
                      </a:lnTo>
                      <a:lnTo>
                        <a:pt x="560" y="1621"/>
                      </a:lnTo>
                      <a:lnTo>
                        <a:pt x="555" y="1609"/>
                      </a:lnTo>
                      <a:lnTo>
                        <a:pt x="551" y="1597"/>
                      </a:lnTo>
                      <a:lnTo>
                        <a:pt x="542" y="1574"/>
                      </a:lnTo>
                      <a:lnTo>
                        <a:pt x="530" y="1552"/>
                      </a:lnTo>
                      <a:lnTo>
                        <a:pt x="516" y="1529"/>
                      </a:lnTo>
                      <a:lnTo>
                        <a:pt x="501" y="1505"/>
                      </a:lnTo>
                      <a:lnTo>
                        <a:pt x="486" y="1483"/>
                      </a:lnTo>
                      <a:lnTo>
                        <a:pt x="473" y="1461"/>
                      </a:lnTo>
                      <a:lnTo>
                        <a:pt x="461" y="1441"/>
                      </a:lnTo>
                      <a:lnTo>
                        <a:pt x="451" y="1424"/>
                      </a:lnTo>
                      <a:lnTo>
                        <a:pt x="442" y="1405"/>
                      </a:lnTo>
                      <a:lnTo>
                        <a:pt x="436" y="1388"/>
                      </a:lnTo>
                      <a:lnTo>
                        <a:pt x="430" y="1370"/>
                      </a:lnTo>
                      <a:lnTo>
                        <a:pt x="425" y="1352"/>
                      </a:lnTo>
                      <a:lnTo>
                        <a:pt x="419" y="1334"/>
                      </a:lnTo>
                      <a:lnTo>
                        <a:pt x="414" y="1316"/>
                      </a:lnTo>
                      <a:lnTo>
                        <a:pt x="407" y="1296"/>
                      </a:lnTo>
                      <a:lnTo>
                        <a:pt x="398" y="1276"/>
                      </a:lnTo>
                      <a:lnTo>
                        <a:pt x="376" y="1244"/>
                      </a:lnTo>
                      <a:lnTo>
                        <a:pt x="352" y="1214"/>
                      </a:lnTo>
                      <a:lnTo>
                        <a:pt x="341" y="1200"/>
                      </a:lnTo>
                      <a:lnTo>
                        <a:pt x="330" y="1184"/>
                      </a:lnTo>
                      <a:lnTo>
                        <a:pt x="320" y="1169"/>
                      </a:lnTo>
                      <a:lnTo>
                        <a:pt x="312" y="1153"/>
                      </a:lnTo>
                      <a:lnTo>
                        <a:pt x="301" y="1114"/>
                      </a:lnTo>
                      <a:lnTo>
                        <a:pt x="292" y="1078"/>
                      </a:lnTo>
                      <a:lnTo>
                        <a:pt x="284" y="1043"/>
                      </a:lnTo>
                      <a:lnTo>
                        <a:pt x="280" y="1008"/>
                      </a:lnTo>
                      <a:lnTo>
                        <a:pt x="275" y="974"/>
                      </a:lnTo>
                      <a:lnTo>
                        <a:pt x="273" y="938"/>
                      </a:lnTo>
                      <a:lnTo>
                        <a:pt x="272" y="901"/>
                      </a:lnTo>
                      <a:lnTo>
                        <a:pt x="272" y="864"/>
                      </a:lnTo>
                      <a:lnTo>
                        <a:pt x="268" y="863"/>
                      </a:lnTo>
                      <a:lnTo>
                        <a:pt x="263" y="862"/>
                      </a:lnTo>
                      <a:lnTo>
                        <a:pt x="259" y="861"/>
                      </a:lnTo>
                      <a:lnTo>
                        <a:pt x="256" y="857"/>
                      </a:lnTo>
                      <a:lnTo>
                        <a:pt x="252" y="855"/>
                      </a:lnTo>
                      <a:lnTo>
                        <a:pt x="250" y="852"/>
                      </a:lnTo>
                      <a:lnTo>
                        <a:pt x="247" y="848"/>
                      </a:lnTo>
                      <a:lnTo>
                        <a:pt x="246" y="844"/>
                      </a:lnTo>
                      <a:lnTo>
                        <a:pt x="242" y="836"/>
                      </a:lnTo>
                      <a:lnTo>
                        <a:pt x="240" y="827"/>
                      </a:lnTo>
                      <a:lnTo>
                        <a:pt x="239" y="817"/>
                      </a:lnTo>
                      <a:lnTo>
                        <a:pt x="239" y="808"/>
                      </a:lnTo>
                      <a:lnTo>
                        <a:pt x="230" y="814"/>
                      </a:lnTo>
                      <a:lnTo>
                        <a:pt x="224" y="821"/>
                      </a:lnTo>
                      <a:lnTo>
                        <a:pt x="217" y="828"/>
                      </a:lnTo>
                      <a:lnTo>
                        <a:pt x="210" y="836"/>
                      </a:lnTo>
                      <a:lnTo>
                        <a:pt x="201" y="852"/>
                      </a:lnTo>
                      <a:lnTo>
                        <a:pt x="192" y="869"/>
                      </a:lnTo>
                      <a:lnTo>
                        <a:pt x="186" y="876"/>
                      </a:lnTo>
                      <a:lnTo>
                        <a:pt x="182" y="883"/>
                      </a:lnTo>
                      <a:lnTo>
                        <a:pt x="176" y="890"/>
                      </a:lnTo>
                      <a:lnTo>
                        <a:pt x="171" y="895"/>
                      </a:lnTo>
                      <a:lnTo>
                        <a:pt x="164" y="900"/>
                      </a:lnTo>
                      <a:lnTo>
                        <a:pt x="157" y="903"/>
                      </a:lnTo>
                      <a:lnTo>
                        <a:pt x="148" y="905"/>
                      </a:lnTo>
                      <a:lnTo>
                        <a:pt x="139" y="906"/>
                      </a:lnTo>
                      <a:lnTo>
                        <a:pt x="134" y="905"/>
                      </a:lnTo>
                      <a:lnTo>
                        <a:pt x="127" y="903"/>
                      </a:lnTo>
                      <a:lnTo>
                        <a:pt x="120" y="900"/>
                      </a:lnTo>
                      <a:lnTo>
                        <a:pt x="113" y="895"/>
                      </a:lnTo>
                      <a:lnTo>
                        <a:pt x="105" y="889"/>
                      </a:lnTo>
                      <a:lnTo>
                        <a:pt x="97" y="883"/>
                      </a:lnTo>
                      <a:lnTo>
                        <a:pt x="90" y="876"/>
                      </a:lnTo>
                      <a:lnTo>
                        <a:pt x="82" y="868"/>
                      </a:lnTo>
                      <a:lnTo>
                        <a:pt x="75" y="860"/>
                      </a:lnTo>
                      <a:lnTo>
                        <a:pt x="69" y="851"/>
                      </a:lnTo>
                      <a:lnTo>
                        <a:pt x="62" y="842"/>
                      </a:lnTo>
                      <a:lnTo>
                        <a:pt x="57" y="833"/>
                      </a:lnTo>
                      <a:lnTo>
                        <a:pt x="52" y="825"/>
                      </a:lnTo>
                      <a:lnTo>
                        <a:pt x="49" y="817"/>
                      </a:lnTo>
                      <a:lnTo>
                        <a:pt x="47" y="809"/>
                      </a:lnTo>
                      <a:lnTo>
                        <a:pt x="46" y="801"/>
                      </a:lnTo>
                      <a:lnTo>
                        <a:pt x="51" y="798"/>
                      </a:lnTo>
                      <a:lnTo>
                        <a:pt x="63" y="792"/>
                      </a:lnTo>
                      <a:lnTo>
                        <a:pt x="77" y="786"/>
                      </a:lnTo>
                      <a:lnTo>
                        <a:pt x="85" y="783"/>
                      </a:lnTo>
                      <a:lnTo>
                        <a:pt x="77" y="783"/>
                      </a:lnTo>
                      <a:lnTo>
                        <a:pt x="67" y="782"/>
                      </a:lnTo>
                      <a:lnTo>
                        <a:pt x="59" y="780"/>
                      </a:lnTo>
                      <a:lnTo>
                        <a:pt x="51" y="779"/>
                      </a:lnTo>
                      <a:lnTo>
                        <a:pt x="44" y="776"/>
                      </a:lnTo>
                      <a:lnTo>
                        <a:pt x="37" y="774"/>
                      </a:lnTo>
                      <a:lnTo>
                        <a:pt x="30" y="771"/>
                      </a:lnTo>
                      <a:lnTo>
                        <a:pt x="25" y="767"/>
                      </a:lnTo>
                      <a:lnTo>
                        <a:pt x="21" y="763"/>
                      </a:lnTo>
                      <a:lnTo>
                        <a:pt x="16" y="759"/>
                      </a:lnTo>
                      <a:lnTo>
                        <a:pt x="12" y="754"/>
                      </a:lnTo>
                      <a:lnTo>
                        <a:pt x="8" y="750"/>
                      </a:lnTo>
                      <a:lnTo>
                        <a:pt x="3" y="738"/>
                      </a:lnTo>
                      <a:lnTo>
                        <a:pt x="0" y="727"/>
                      </a:lnTo>
                      <a:lnTo>
                        <a:pt x="10" y="719"/>
                      </a:lnTo>
                      <a:lnTo>
                        <a:pt x="21" y="713"/>
                      </a:lnTo>
                      <a:lnTo>
                        <a:pt x="32" y="708"/>
                      </a:lnTo>
                      <a:lnTo>
                        <a:pt x="44" y="704"/>
                      </a:lnTo>
                      <a:lnTo>
                        <a:pt x="67" y="699"/>
                      </a:lnTo>
                      <a:lnTo>
                        <a:pt x="90" y="695"/>
                      </a:lnTo>
                      <a:lnTo>
                        <a:pt x="102" y="693"/>
                      </a:lnTo>
                      <a:lnTo>
                        <a:pt x="113" y="689"/>
                      </a:lnTo>
                      <a:lnTo>
                        <a:pt x="123" y="686"/>
                      </a:lnTo>
                      <a:lnTo>
                        <a:pt x="133" y="681"/>
                      </a:lnTo>
                      <a:lnTo>
                        <a:pt x="142" y="676"/>
                      </a:lnTo>
                      <a:lnTo>
                        <a:pt x="151" y="668"/>
                      </a:lnTo>
                      <a:lnTo>
                        <a:pt x="159" y="659"/>
                      </a:lnTo>
                      <a:lnTo>
                        <a:pt x="165" y="648"/>
                      </a:lnTo>
                      <a:lnTo>
                        <a:pt x="161" y="646"/>
                      </a:lnTo>
                      <a:lnTo>
                        <a:pt x="157" y="643"/>
                      </a:lnTo>
                      <a:lnTo>
                        <a:pt x="151" y="639"/>
                      </a:lnTo>
                      <a:lnTo>
                        <a:pt x="145" y="633"/>
                      </a:lnTo>
                      <a:lnTo>
                        <a:pt x="131" y="621"/>
                      </a:lnTo>
                      <a:lnTo>
                        <a:pt x="118" y="607"/>
                      </a:lnTo>
                      <a:lnTo>
                        <a:pt x="106" y="592"/>
                      </a:lnTo>
                      <a:lnTo>
                        <a:pt x="95" y="576"/>
                      </a:lnTo>
                      <a:lnTo>
                        <a:pt x="92" y="569"/>
                      </a:lnTo>
                      <a:lnTo>
                        <a:pt x="89" y="562"/>
                      </a:lnTo>
                      <a:lnTo>
                        <a:pt x="86" y="555"/>
                      </a:lnTo>
                      <a:lnTo>
                        <a:pt x="85" y="549"/>
                      </a:lnTo>
                      <a:lnTo>
                        <a:pt x="81" y="548"/>
                      </a:lnTo>
                      <a:lnTo>
                        <a:pt x="77" y="547"/>
                      </a:lnTo>
                      <a:lnTo>
                        <a:pt x="73" y="545"/>
                      </a:lnTo>
                      <a:lnTo>
                        <a:pt x="70" y="541"/>
                      </a:lnTo>
                      <a:lnTo>
                        <a:pt x="64" y="534"/>
                      </a:lnTo>
                      <a:lnTo>
                        <a:pt x="59" y="524"/>
                      </a:lnTo>
                      <a:lnTo>
                        <a:pt x="59" y="500"/>
                      </a:lnTo>
                      <a:lnTo>
                        <a:pt x="73" y="499"/>
                      </a:lnTo>
                      <a:lnTo>
                        <a:pt x="86" y="498"/>
                      </a:lnTo>
                      <a:lnTo>
                        <a:pt x="98" y="496"/>
                      </a:lnTo>
                      <a:lnTo>
                        <a:pt x="109" y="492"/>
                      </a:lnTo>
                      <a:lnTo>
                        <a:pt x="119" y="489"/>
                      </a:lnTo>
                      <a:lnTo>
                        <a:pt x="129" y="484"/>
                      </a:lnTo>
                      <a:lnTo>
                        <a:pt x="138" y="479"/>
                      </a:lnTo>
                      <a:lnTo>
                        <a:pt x="147" y="473"/>
                      </a:lnTo>
                      <a:lnTo>
                        <a:pt x="154" y="466"/>
                      </a:lnTo>
                      <a:lnTo>
                        <a:pt x="162" y="459"/>
                      </a:lnTo>
                      <a:lnTo>
                        <a:pt x="169" y="452"/>
                      </a:lnTo>
                      <a:lnTo>
                        <a:pt x="175" y="444"/>
                      </a:lnTo>
                      <a:lnTo>
                        <a:pt x="186" y="428"/>
                      </a:lnTo>
                      <a:lnTo>
                        <a:pt x="197" y="410"/>
                      </a:lnTo>
                      <a:lnTo>
                        <a:pt x="216" y="374"/>
                      </a:lnTo>
                      <a:lnTo>
                        <a:pt x="235" y="338"/>
                      </a:lnTo>
                      <a:lnTo>
                        <a:pt x="246" y="322"/>
                      </a:lnTo>
                      <a:lnTo>
                        <a:pt x="257" y="308"/>
                      </a:lnTo>
                      <a:lnTo>
                        <a:pt x="263" y="300"/>
                      </a:lnTo>
                      <a:lnTo>
                        <a:pt x="270" y="294"/>
                      </a:lnTo>
                      <a:lnTo>
                        <a:pt x="277" y="289"/>
                      </a:lnTo>
                      <a:lnTo>
                        <a:pt x="285" y="284"/>
                      </a:lnTo>
                      <a:lnTo>
                        <a:pt x="279" y="272"/>
                      </a:lnTo>
                      <a:lnTo>
                        <a:pt x="274" y="261"/>
                      </a:lnTo>
                      <a:lnTo>
                        <a:pt x="273" y="256"/>
                      </a:lnTo>
                      <a:lnTo>
                        <a:pt x="272" y="251"/>
                      </a:lnTo>
                      <a:lnTo>
                        <a:pt x="272" y="245"/>
                      </a:lnTo>
                      <a:lnTo>
                        <a:pt x="272" y="240"/>
                      </a:lnTo>
                      <a:lnTo>
                        <a:pt x="273" y="235"/>
                      </a:lnTo>
                      <a:lnTo>
                        <a:pt x="274" y="230"/>
                      </a:lnTo>
                      <a:lnTo>
                        <a:pt x="276" y="226"/>
                      </a:lnTo>
                      <a:lnTo>
                        <a:pt x="280" y="222"/>
                      </a:lnTo>
                      <a:lnTo>
                        <a:pt x="283" y="219"/>
                      </a:lnTo>
                      <a:lnTo>
                        <a:pt x="287" y="216"/>
                      </a:lnTo>
                      <a:lnTo>
                        <a:pt x="293" y="213"/>
                      </a:lnTo>
                      <a:lnTo>
                        <a:pt x="298" y="210"/>
                      </a:lnTo>
                      <a:lnTo>
                        <a:pt x="269" y="183"/>
                      </a:lnTo>
                      <a:lnTo>
                        <a:pt x="247" y="163"/>
                      </a:lnTo>
                      <a:lnTo>
                        <a:pt x="237" y="153"/>
                      </a:lnTo>
                      <a:lnTo>
                        <a:pt x="227" y="142"/>
                      </a:lnTo>
                      <a:lnTo>
                        <a:pt x="217" y="128"/>
                      </a:lnTo>
                      <a:lnTo>
                        <a:pt x="205" y="111"/>
                      </a:lnTo>
                      <a:lnTo>
                        <a:pt x="205" y="68"/>
                      </a:lnTo>
                      <a:lnTo>
                        <a:pt x="229" y="68"/>
                      </a:lnTo>
                      <a:lnTo>
                        <a:pt x="256" y="66"/>
                      </a:lnTo>
                      <a:lnTo>
                        <a:pt x="270" y="65"/>
                      </a:lnTo>
                      <a:lnTo>
                        <a:pt x="283" y="63"/>
                      </a:lnTo>
                      <a:lnTo>
                        <a:pt x="297" y="60"/>
                      </a:lnTo>
                      <a:lnTo>
                        <a:pt x="310" y="57"/>
                      </a:lnTo>
                      <a:lnTo>
                        <a:pt x="322" y="54"/>
                      </a:lnTo>
                      <a:lnTo>
                        <a:pt x="335" y="49"/>
                      </a:lnTo>
                      <a:lnTo>
                        <a:pt x="347" y="44"/>
                      </a:lnTo>
                      <a:lnTo>
                        <a:pt x="357" y="37"/>
                      </a:lnTo>
                      <a:lnTo>
                        <a:pt x="366" y="30"/>
                      </a:lnTo>
                      <a:lnTo>
                        <a:pt x="374" y="21"/>
                      </a:lnTo>
                      <a:lnTo>
                        <a:pt x="381" y="11"/>
                      </a:lnTo>
                      <a:lnTo>
                        <a:pt x="385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56" name="Freeform 465">
                  <a:extLst>
                    <a:ext uri="{FF2B5EF4-FFF2-40B4-BE49-F238E27FC236}">
                      <a16:creationId xmlns:a16="http://schemas.microsoft.com/office/drawing/2014/main" xmlns="" id="{38229192-30BC-4C5A-A448-966A179DB978}"/>
                    </a:ext>
                  </a:extLst>
                </p:cNvPr>
                <p:cNvSpPr>
                  <a:spLocks/>
                </p:cNvSpPr>
                <p:nvPr>
                  <p:custDataLst>
                    <p:tags r:id="rId303"/>
                  </p:custDataLst>
                </p:nvPr>
              </p:nvSpPr>
              <p:spPr bwMode="auto">
                <a:xfrm>
                  <a:off x="3798888" y="3325813"/>
                  <a:ext cx="158750" cy="206375"/>
                </a:xfrm>
                <a:custGeom>
                  <a:avLst/>
                  <a:gdLst>
                    <a:gd name="T0" fmla="*/ 2147483646 w 359"/>
                    <a:gd name="T1" fmla="*/ 2147483646 h 394"/>
                    <a:gd name="T2" fmla="*/ 2147483646 w 359"/>
                    <a:gd name="T3" fmla="*/ 2147483646 h 394"/>
                    <a:gd name="T4" fmla="*/ 2147483646 w 359"/>
                    <a:gd name="T5" fmla="*/ 2147483646 h 394"/>
                    <a:gd name="T6" fmla="*/ 2147483646 w 359"/>
                    <a:gd name="T7" fmla="*/ 2147483646 h 394"/>
                    <a:gd name="T8" fmla="*/ 2147483646 w 359"/>
                    <a:gd name="T9" fmla="*/ 2147483646 h 394"/>
                    <a:gd name="T10" fmla="*/ 2147483646 w 359"/>
                    <a:gd name="T11" fmla="*/ 2147483646 h 394"/>
                    <a:gd name="T12" fmla="*/ 2147483646 w 359"/>
                    <a:gd name="T13" fmla="*/ 2147483646 h 394"/>
                    <a:gd name="T14" fmla="*/ 0 w 359"/>
                    <a:gd name="T15" fmla="*/ 2147483646 h 394"/>
                    <a:gd name="T16" fmla="*/ 2147483646 w 359"/>
                    <a:gd name="T17" fmla="*/ 2147483646 h 394"/>
                    <a:gd name="T18" fmla="*/ 2147483646 w 359"/>
                    <a:gd name="T19" fmla="*/ 2147483646 h 394"/>
                    <a:gd name="T20" fmla="*/ 2147483646 w 359"/>
                    <a:gd name="T21" fmla="*/ 2147483646 h 394"/>
                    <a:gd name="T22" fmla="*/ 2147483646 w 359"/>
                    <a:gd name="T23" fmla="*/ 2147483646 h 394"/>
                    <a:gd name="T24" fmla="*/ 2147483646 w 359"/>
                    <a:gd name="T25" fmla="*/ 2147483646 h 394"/>
                    <a:gd name="T26" fmla="*/ 2147483646 w 359"/>
                    <a:gd name="T27" fmla="*/ 2147483646 h 394"/>
                    <a:gd name="T28" fmla="*/ 2147483646 w 359"/>
                    <a:gd name="T29" fmla="*/ 2147483646 h 394"/>
                    <a:gd name="T30" fmla="*/ 2147483646 w 359"/>
                    <a:gd name="T31" fmla="*/ 2147483646 h 394"/>
                    <a:gd name="T32" fmla="*/ 2147483646 w 359"/>
                    <a:gd name="T33" fmla="*/ 2147483646 h 394"/>
                    <a:gd name="T34" fmla="*/ 2147483646 w 359"/>
                    <a:gd name="T35" fmla="*/ 2147483646 h 394"/>
                    <a:gd name="T36" fmla="*/ 2147483646 w 359"/>
                    <a:gd name="T37" fmla="*/ 0 h 394"/>
                    <a:gd name="T38" fmla="*/ 2147483646 w 359"/>
                    <a:gd name="T39" fmla="*/ 2147483646 h 394"/>
                    <a:gd name="T40" fmla="*/ 2147483646 w 359"/>
                    <a:gd name="T41" fmla="*/ 2147483646 h 394"/>
                    <a:gd name="T42" fmla="*/ 2147483646 w 359"/>
                    <a:gd name="T43" fmla="*/ 2147483646 h 394"/>
                    <a:gd name="T44" fmla="*/ 2147483646 w 359"/>
                    <a:gd name="T45" fmla="*/ 2147483646 h 394"/>
                    <a:gd name="T46" fmla="*/ 2147483646 w 359"/>
                    <a:gd name="T47" fmla="*/ 2147483646 h 394"/>
                    <a:gd name="T48" fmla="*/ 2147483646 w 359"/>
                    <a:gd name="T49" fmla="*/ 2147483646 h 394"/>
                    <a:gd name="T50" fmla="*/ 2147483646 w 359"/>
                    <a:gd name="T51" fmla="*/ 2147483646 h 394"/>
                    <a:gd name="T52" fmla="*/ 2147483646 w 359"/>
                    <a:gd name="T53" fmla="*/ 2147483646 h 394"/>
                    <a:gd name="T54" fmla="*/ 2147483646 w 359"/>
                    <a:gd name="T55" fmla="*/ 2147483646 h 394"/>
                    <a:gd name="T56" fmla="*/ 2147483646 w 359"/>
                    <a:gd name="T57" fmla="*/ 2147483646 h 394"/>
                    <a:gd name="T58" fmla="*/ 2147483646 w 359"/>
                    <a:gd name="T59" fmla="*/ 2147483646 h 394"/>
                    <a:gd name="T60" fmla="*/ 2147483646 w 359"/>
                    <a:gd name="T61" fmla="*/ 2147483646 h 394"/>
                    <a:gd name="T62" fmla="*/ 2147483646 w 359"/>
                    <a:gd name="T63" fmla="*/ 2147483646 h 394"/>
                    <a:gd name="T64" fmla="*/ 2147483646 w 359"/>
                    <a:gd name="T65" fmla="*/ 2147483646 h 394"/>
                    <a:gd name="T66" fmla="*/ 2147483646 w 359"/>
                    <a:gd name="T67" fmla="*/ 2147483646 h 394"/>
                    <a:gd name="T68" fmla="*/ 2147483646 w 359"/>
                    <a:gd name="T69" fmla="*/ 2147483646 h 394"/>
                    <a:gd name="T70" fmla="*/ 2147483646 w 359"/>
                    <a:gd name="T71" fmla="*/ 2147483646 h 394"/>
                    <a:gd name="T72" fmla="*/ 2147483646 w 359"/>
                    <a:gd name="T73" fmla="*/ 2147483646 h 394"/>
                    <a:gd name="T74" fmla="*/ 2147483646 w 359"/>
                    <a:gd name="T75" fmla="*/ 2147483646 h 394"/>
                    <a:gd name="T76" fmla="*/ 2147483646 w 359"/>
                    <a:gd name="T77" fmla="*/ 2147483646 h 394"/>
                    <a:gd name="T78" fmla="*/ 2147483646 w 359"/>
                    <a:gd name="T79" fmla="*/ 2147483646 h 394"/>
                    <a:gd name="T80" fmla="*/ 2147483646 w 359"/>
                    <a:gd name="T81" fmla="*/ 2147483646 h 394"/>
                    <a:gd name="T82" fmla="*/ 2147483646 w 359"/>
                    <a:gd name="T83" fmla="*/ 2147483646 h 394"/>
                    <a:gd name="T84" fmla="*/ 2147483646 w 359"/>
                    <a:gd name="T85" fmla="*/ 2147483646 h 394"/>
                    <a:gd name="T86" fmla="*/ 2147483646 w 359"/>
                    <a:gd name="T87" fmla="*/ 2147483646 h 394"/>
                    <a:gd name="T88" fmla="*/ 2147483646 w 359"/>
                    <a:gd name="T89" fmla="*/ 2147483646 h 394"/>
                    <a:gd name="T90" fmla="*/ 2147483646 w 359"/>
                    <a:gd name="T91" fmla="*/ 2147483646 h 394"/>
                    <a:gd name="T92" fmla="*/ 2147483646 w 359"/>
                    <a:gd name="T93" fmla="*/ 2147483646 h 394"/>
                    <a:gd name="T94" fmla="*/ 2147483646 w 359"/>
                    <a:gd name="T95" fmla="*/ 2147483646 h 394"/>
                    <a:gd name="T96" fmla="*/ 2147483646 w 359"/>
                    <a:gd name="T97" fmla="*/ 2147483646 h 394"/>
                    <a:gd name="T98" fmla="*/ 2147483646 w 359"/>
                    <a:gd name="T99" fmla="*/ 2147483646 h 394"/>
                    <a:gd name="T100" fmla="*/ 2147483646 w 359"/>
                    <a:gd name="T101" fmla="*/ 2147483646 h 394"/>
                    <a:gd name="T102" fmla="*/ 2147483646 w 359"/>
                    <a:gd name="T103" fmla="*/ 2147483646 h 394"/>
                    <a:gd name="T104" fmla="*/ 2147483646 w 359"/>
                    <a:gd name="T105" fmla="*/ 2147483646 h 394"/>
                    <a:gd name="T106" fmla="*/ 2147483646 w 359"/>
                    <a:gd name="T107" fmla="*/ 2147483646 h 394"/>
                    <a:gd name="T108" fmla="*/ 2147483646 w 359"/>
                    <a:gd name="T109" fmla="*/ 2147483646 h 394"/>
                    <a:gd name="T110" fmla="*/ 2147483646 w 359"/>
                    <a:gd name="T111" fmla="*/ 2147483646 h 394"/>
                    <a:gd name="T112" fmla="*/ 2147483646 w 359"/>
                    <a:gd name="T113" fmla="*/ 2147483646 h 394"/>
                    <a:gd name="T114" fmla="*/ 2147483646 w 359"/>
                    <a:gd name="T115" fmla="*/ 2147483646 h 394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359"/>
                    <a:gd name="T175" fmla="*/ 0 h 394"/>
                    <a:gd name="T176" fmla="*/ 359 w 359"/>
                    <a:gd name="T177" fmla="*/ 394 h 394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359" h="394">
                      <a:moveTo>
                        <a:pt x="53" y="394"/>
                      </a:moveTo>
                      <a:lnTo>
                        <a:pt x="53" y="382"/>
                      </a:lnTo>
                      <a:lnTo>
                        <a:pt x="53" y="370"/>
                      </a:lnTo>
                      <a:lnTo>
                        <a:pt x="53" y="358"/>
                      </a:lnTo>
                      <a:lnTo>
                        <a:pt x="53" y="346"/>
                      </a:lnTo>
                      <a:lnTo>
                        <a:pt x="53" y="333"/>
                      </a:lnTo>
                      <a:lnTo>
                        <a:pt x="52" y="322"/>
                      </a:lnTo>
                      <a:lnTo>
                        <a:pt x="50" y="312"/>
                      </a:lnTo>
                      <a:lnTo>
                        <a:pt x="46" y="302"/>
                      </a:lnTo>
                      <a:lnTo>
                        <a:pt x="43" y="293"/>
                      </a:lnTo>
                      <a:lnTo>
                        <a:pt x="40" y="284"/>
                      </a:lnTo>
                      <a:lnTo>
                        <a:pt x="35" y="277"/>
                      </a:lnTo>
                      <a:lnTo>
                        <a:pt x="32" y="270"/>
                      </a:lnTo>
                      <a:lnTo>
                        <a:pt x="13" y="245"/>
                      </a:lnTo>
                      <a:lnTo>
                        <a:pt x="0" y="222"/>
                      </a:lnTo>
                      <a:lnTo>
                        <a:pt x="0" y="185"/>
                      </a:lnTo>
                      <a:lnTo>
                        <a:pt x="27" y="185"/>
                      </a:lnTo>
                      <a:lnTo>
                        <a:pt x="33" y="181"/>
                      </a:lnTo>
                      <a:lnTo>
                        <a:pt x="38" y="174"/>
                      </a:lnTo>
                      <a:lnTo>
                        <a:pt x="40" y="169"/>
                      </a:lnTo>
                      <a:lnTo>
                        <a:pt x="41" y="163"/>
                      </a:lnTo>
                      <a:lnTo>
                        <a:pt x="41" y="150"/>
                      </a:lnTo>
                      <a:lnTo>
                        <a:pt x="40" y="136"/>
                      </a:lnTo>
                      <a:lnTo>
                        <a:pt x="38" y="107"/>
                      </a:lnTo>
                      <a:lnTo>
                        <a:pt x="32" y="79"/>
                      </a:lnTo>
                      <a:lnTo>
                        <a:pt x="31" y="65"/>
                      </a:lnTo>
                      <a:lnTo>
                        <a:pt x="31" y="52"/>
                      </a:lnTo>
                      <a:lnTo>
                        <a:pt x="32" y="47"/>
                      </a:lnTo>
                      <a:lnTo>
                        <a:pt x="34" y="41"/>
                      </a:lnTo>
                      <a:lnTo>
                        <a:pt x="36" y="36"/>
                      </a:lnTo>
                      <a:lnTo>
                        <a:pt x="40" y="31"/>
                      </a:lnTo>
                      <a:lnTo>
                        <a:pt x="120" y="31"/>
                      </a:lnTo>
                      <a:lnTo>
                        <a:pt x="120" y="27"/>
                      </a:lnTo>
                      <a:lnTo>
                        <a:pt x="122" y="22"/>
                      </a:lnTo>
                      <a:lnTo>
                        <a:pt x="124" y="18"/>
                      </a:lnTo>
                      <a:lnTo>
                        <a:pt x="128" y="14"/>
                      </a:lnTo>
                      <a:lnTo>
                        <a:pt x="133" y="6"/>
                      </a:lnTo>
                      <a:lnTo>
                        <a:pt x="140" y="0"/>
                      </a:lnTo>
                      <a:lnTo>
                        <a:pt x="141" y="9"/>
                      </a:lnTo>
                      <a:lnTo>
                        <a:pt x="142" y="18"/>
                      </a:lnTo>
                      <a:lnTo>
                        <a:pt x="143" y="22"/>
                      </a:lnTo>
                      <a:lnTo>
                        <a:pt x="142" y="26"/>
                      </a:lnTo>
                      <a:lnTo>
                        <a:pt x="142" y="29"/>
                      </a:lnTo>
                      <a:lnTo>
                        <a:pt x="140" y="31"/>
                      </a:lnTo>
                      <a:lnTo>
                        <a:pt x="153" y="31"/>
                      </a:lnTo>
                      <a:lnTo>
                        <a:pt x="168" y="31"/>
                      </a:lnTo>
                      <a:lnTo>
                        <a:pt x="180" y="31"/>
                      </a:lnTo>
                      <a:lnTo>
                        <a:pt x="186" y="31"/>
                      </a:lnTo>
                      <a:lnTo>
                        <a:pt x="202" y="34"/>
                      </a:lnTo>
                      <a:lnTo>
                        <a:pt x="214" y="38"/>
                      </a:lnTo>
                      <a:lnTo>
                        <a:pt x="224" y="43"/>
                      </a:lnTo>
                      <a:lnTo>
                        <a:pt x="233" y="49"/>
                      </a:lnTo>
                      <a:lnTo>
                        <a:pt x="240" y="53"/>
                      </a:lnTo>
                      <a:lnTo>
                        <a:pt x="246" y="58"/>
                      </a:lnTo>
                      <a:lnTo>
                        <a:pt x="252" y="60"/>
                      </a:lnTo>
                      <a:lnTo>
                        <a:pt x="259" y="61"/>
                      </a:lnTo>
                      <a:lnTo>
                        <a:pt x="264" y="61"/>
                      </a:lnTo>
                      <a:lnTo>
                        <a:pt x="268" y="59"/>
                      </a:lnTo>
                      <a:lnTo>
                        <a:pt x="271" y="57"/>
                      </a:lnTo>
                      <a:lnTo>
                        <a:pt x="275" y="54"/>
                      </a:lnTo>
                      <a:lnTo>
                        <a:pt x="280" y="46"/>
                      </a:lnTo>
                      <a:lnTo>
                        <a:pt x="286" y="37"/>
                      </a:lnTo>
                      <a:lnTo>
                        <a:pt x="300" y="44"/>
                      </a:lnTo>
                      <a:lnTo>
                        <a:pt x="312" y="52"/>
                      </a:lnTo>
                      <a:lnTo>
                        <a:pt x="319" y="55"/>
                      </a:lnTo>
                      <a:lnTo>
                        <a:pt x="325" y="59"/>
                      </a:lnTo>
                      <a:lnTo>
                        <a:pt x="332" y="61"/>
                      </a:lnTo>
                      <a:lnTo>
                        <a:pt x="338" y="61"/>
                      </a:lnTo>
                      <a:lnTo>
                        <a:pt x="359" y="148"/>
                      </a:lnTo>
                      <a:lnTo>
                        <a:pt x="353" y="161"/>
                      </a:lnTo>
                      <a:lnTo>
                        <a:pt x="346" y="173"/>
                      </a:lnTo>
                      <a:lnTo>
                        <a:pt x="338" y="185"/>
                      </a:lnTo>
                      <a:lnTo>
                        <a:pt x="331" y="195"/>
                      </a:lnTo>
                      <a:lnTo>
                        <a:pt x="323" y="206"/>
                      </a:lnTo>
                      <a:lnTo>
                        <a:pt x="318" y="218"/>
                      </a:lnTo>
                      <a:lnTo>
                        <a:pt x="315" y="224"/>
                      </a:lnTo>
                      <a:lnTo>
                        <a:pt x="314" y="231"/>
                      </a:lnTo>
                      <a:lnTo>
                        <a:pt x="313" y="239"/>
                      </a:lnTo>
                      <a:lnTo>
                        <a:pt x="312" y="247"/>
                      </a:lnTo>
                      <a:lnTo>
                        <a:pt x="313" y="255"/>
                      </a:lnTo>
                      <a:lnTo>
                        <a:pt x="316" y="263"/>
                      </a:lnTo>
                      <a:lnTo>
                        <a:pt x="321" y="273"/>
                      </a:lnTo>
                      <a:lnTo>
                        <a:pt x="325" y="283"/>
                      </a:lnTo>
                      <a:lnTo>
                        <a:pt x="331" y="293"/>
                      </a:lnTo>
                      <a:lnTo>
                        <a:pt x="335" y="302"/>
                      </a:lnTo>
                      <a:lnTo>
                        <a:pt x="337" y="309"/>
                      </a:lnTo>
                      <a:lnTo>
                        <a:pt x="338" y="315"/>
                      </a:lnTo>
                      <a:lnTo>
                        <a:pt x="337" y="321"/>
                      </a:lnTo>
                      <a:lnTo>
                        <a:pt x="332" y="331"/>
                      </a:lnTo>
                      <a:lnTo>
                        <a:pt x="330" y="337"/>
                      </a:lnTo>
                      <a:lnTo>
                        <a:pt x="327" y="343"/>
                      </a:lnTo>
                      <a:lnTo>
                        <a:pt x="326" y="351"/>
                      </a:lnTo>
                      <a:lnTo>
                        <a:pt x="325" y="358"/>
                      </a:lnTo>
                      <a:lnTo>
                        <a:pt x="319" y="358"/>
                      </a:lnTo>
                      <a:lnTo>
                        <a:pt x="313" y="357"/>
                      </a:lnTo>
                      <a:lnTo>
                        <a:pt x="308" y="356"/>
                      </a:lnTo>
                      <a:lnTo>
                        <a:pt x="304" y="354"/>
                      </a:lnTo>
                      <a:lnTo>
                        <a:pt x="298" y="350"/>
                      </a:lnTo>
                      <a:lnTo>
                        <a:pt x="292" y="346"/>
                      </a:lnTo>
                      <a:lnTo>
                        <a:pt x="287" y="340"/>
                      </a:lnTo>
                      <a:lnTo>
                        <a:pt x="280" y="336"/>
                      </a:lnTo>
                      <a:lnTo>
                        <a:pt x="277" y="335"/>
                      </a:lnTo>
                      <a:lnTo>
                        <a:pt x="271" y="334"/>
                      </a:lnTo>
                      <a:lnTo>
                        <a:pt x="266" y="333"/>
                      </a:lnTo>
                      <a:lnTo>
                        <a:pt x="259" y="333"/>
                      </a:lnTo>
                      <a:lnTo>
                        <a:pt x="246" y="333"/>
                      </a:lnTo>
                      <a:lnTo>
                        <a:pt x="234" y="334"/>
                      </a:lnTo>
                      <a:lnTo>
                        <a:pt x="221" y="336"/>
                      </a:lnTo>
                      <a:lnTo>
                        <a:pt x="208" y="338"/>
                      </a:lnTo>
                      <a:lnTo>
                        <a:pt x="181" y="343"/>
                      </a:lnTo>
                      <a:lnTo>
                        <a:pt x="155" y="351"/>
                      </a:lnTo>
                      <a:lnTo>
                        <a:pt x="131" y="359"/>
                      </a:lnTo>
                      <a:lnTo>
                        <a:pt x="107" y="367"/>
                      </a:lnTo>
                      <a:lnTo>
                        <a:pt x="86" y="375"/>
                      </a:lnTo>
                      <a:lnTo>
                        <a:pt x="66" y="382"/>
                      </a:lnTo>
                      <a:lnTo>
                        <a:pt x="53" y="39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57" name="Freeform 466">
                  <a:extLst>
                    <a:ext uri="{FF2B5EF4-FFF2-40B4-BE49-F238E27FC236}">
                      <a16:creationId xmlns:a16="http://schemas.microsoft.com/office/drawing/2014/main" xmlns="" id="{65189173-38E9-4566-B3F0-3F9CC1F4AD90}"/>
                    </a:ext>
                  </a:extLst>
                </p:cNvPr>
                <p:cNvSpPr>
                  <a:spLocks/>
                </p:cNvSpPr>
                <p:nvPr>
                  <p:custDataLst>
                    <p:tags r:id="rId304"/>
                  </p:custDataLst>
                </p:nvPr>
              </p:nvSpPr>
              <p:spPr bwMode="auto">
                <a:xfrm>
                  <a:off x="4867275" y="3521075"/>
                  <a:ext cx="192088" cy="271463"/>
                </a:xfrm>
                <a:custGeom>
                  <a:avLst/>
                  <a:gdLst>
                    <a:gd name="T0" fmla="*/ 2147483646 w 449"/>
                    <a:gd name="T1" fmla="*/ 2147483646 h 523"/>
                    <a:gd name="T2" fmla="*/ 2147483646 w 449"/>
                    <a:gd name="T3" fmla="*/ 2147483646 h 523"/>
                    <a:gd name="T4" fmla="*/ 2147483646 w 449"/>
                    <a:gd name="T5" fmla="*/ 2147483646 h 523"/>
                    <a:gd name="T6" fmla="*/ 2147483646 w 449"/>
                    <a:gd name="T7" fmla="*/ 2147483646 h 523"/>
                    <a:gd name="T8" fmla="*/ 2147483646 w 449"/>
                    <a:gd name="T9" fmla="*/ 2147483646 h 523"/>
                    <a:gd name="T10" fmla="*/ 2147483646 w 449"/>
                    <a:gd name="T11" fmla="*/ 2147483646 h 523"/>
                    <a:gd name="T12" fmla="*/ 2147483646 w 449"/>
                    <a:gd name="T13" fmla="*/ 2147483646 h 523"/>
                    <a:gd name="T14" fmla="*/ 2147483646 w 449"/>
                    <a:gd name="T15" fmla="*/ 2147483646 h 523"/>
                    <a:gd name="T16" fmla="*/ 2147483646 w 449"/>
                    <a:gd name="T17" fmla="*/ 2147483646 h 523"/>
                    <a:gd name="T18" fmla="*/ 2147483646 w 449"/>
                    <a:gd name="T19" fmla="*/ 2147483646 h 523"/>
                    <a:gd name="T20" fmla="*/ 2147483646 w 449"/>
                    <a:gd name="T21" fmla="*/ 2147483646 h 523"/>
                    <a:gd name="T22" fmla="*/ 2147483646 w 449"/>
                    <a:gd name="T23" fmla="*/ 2147483646 h 523"/>
                    <a:gd name="T24" fmla="*/ 2147483646 w 449"/>
                    <a:gd name="T25" fmla="*/ 2147483646 h 523"/>
                    <a:gd name="T26" fmla="*/ 2147483646 w 449"/>
                    <a:gd name="T27" fmla="*/ 2147483646 h 523"/>
                    <a:gd name="T28" fmla="*/ 2147483646 w 449"/>
                    <a:gd name="T29" fmla="*/ 2147483646 h 523"/>
                    <a:gd name="T30" fmla="*/ 2147483646 w 449"/>
                    <a:gd name="T31" fmla="*/ 2147483646 h 523"/>
                    <a:gd name="T32" fmla="*/ 2147483646 w 449"/>
                    <a:gd name="T33" fmla="*/ 2147483646 h 523"/>
                    <a:gd name="T34" fmla="*/ 2147483646 w 449"/>
                    <a:gd name="T35" fmla="*/ 2147483646 h 523"/>
                    <a:gd name="T36" fmla="*/ 2147483646 w 449"/>
                    <a:gd name="T37" fmla="*/ 2147483646 h 523"/>
                    <a:gd name="T38" fmla="*/ 2147483646 w 449"/>
                    <a:gd name="T39" fmla="*/ 2147483646 h 523"/>
                    <a:gd name="T40" fmla="*/ 2147483646 w 449"/>
                    <a:gd name="T41" fmla="*/ 2147483646 h 523"/>
                    <a:gd name="T42" fmla="*/ 2147483646 w 449"/>
                    <a:gd name="T43" fmla="*/ 2147483646 h 523"/>
                    <a:gd name="T44" fmla="*/ 2147483646 w 449"/>
                    <a:gd name="T45" fmla="*/ 2147483646 h 523"/>
                    <a:gd name="T46" fmla="*/ 2147483646 w 449"/>
                    <a:gd name="T47" fmla="*/ 2147483646 h 523"/>
                    <a:gd name="T48" fmla="*/ 2147483646 w 449"/>
                    <a:gd name="T49" fmla="*/ 2147483646 h 523"/>
                    <a:gd name="T50" fmla="*/ 2147483646 w 449"/>
                    <a:gd name="T51" fmla="*/ 0 h 523"/>
                    <a:gd name="T52" fmla="*/ 2147483646 w 449"/>
                    <a:gd name="T53" fmla="*/ 0 h 523"/>
                    <a:gd name="T54" fmla="*/ 2147483646 w 449"/>
                    <a:gd name="T55" fmla="*/ 0 h 523"/>
                    <a:gd name="T56" fmla="*/ 2147483646 w 449"/>
                    <a:gd name="T57" fmla="*/ 2147483646 h 523"/>
                    <a:gd name="T58" fmla="*/ 2147483646 w 449"/>
                    <a:gd name="T59" fmla="*/ 2147483646 h 523"/>
                    <a:gd name="T60" fmla="*/ 2147483646 w 449"/>
                    <a:gd name="T61" fmla="*/ 2147483646 h 523"/>
                    <a:gd name="T62" fmla="*/ 2147483646 w 449"/>
                    <a:gd name="T63" fmla="*/ 2147483646 h 523"/>
                    <a:gd name="T64" fmla="*/ 2147483646 w 449"/>
                    <a:gd name="T65" fmla="*/ 2147483646 h 523"/>
                    <a:gd name="T66" fmla="*/ 2147483646 w 449"/>
                    <a:gd name="T67" fmla="*/ 2147483646 h 523"/>
                    <a:gd name="T68" fmla="*/ 2147483646 w 449"/>
                    <a:gd name="T69" fmla="*/ 2147483646 h 523"/>
                    <a:gd name="T70" fmla="*/ 2147483646 w 449"/>
                    <a:gd name="T71" fmla="*/ 2147483646 h 523"/>
                    <a:gd name="T72" fmla="*/ 2147483646 w 449"/>
                    <a:gd name="T73" fmla="*/ 2147483646 h 523"/>
                    <a:gd name="T74" fmla="*/ 2147483646 w 449"/>
                    <a:gd name="T75" fmla="*/ 2147483646 h 523"/>
                    <a:gd name="T76" fmla="*/ 2147483646 w 449"/>
                    <a:gd name="T77" fmla="*/ 2147483646 h 523"/>
                    <a:gd name="T78" fmla="*/ 2147483646 w 449"/>
                    <a:gd name="T79" fmla="*/ 2147483646 h 523"/>
                    <a:gd name="T80" fmla="*/ 2147483646 w 449"/>
                    <a:gd name="T81" fmla="*/ 2147483646 h 523"/>
                    <a:gd name="T82" fmla="*/ 2147483646 w 449"/>
                    <a:gd name="T83" fmla="*/ 2147483646 h 523"/>
                    <a:gd name="T84" fmla="*/ 2147483646 w 449"/>
                    <a:gd name="T85" fmla="*/ 2147483646 h 523"/>
                    <a:gd name="T86" fmla="*/ 2147483646 w 449"/>
                    <a:gd name="T87" fmla="*/ 2147483646 h 523"/>
                    <a:gd name="T88" fmla="*/ 2147483646 w 449"/>
                    <a:gd name="T89" fmla="*/ 2147483646 h 523"/>
                    <a:gd name="T90" fmla="*/ 2147483646 w 449"/>
                    <a:gd name="T91" fmla="*/ 2147483646 h 523"/>
                    <a:gd name="T92" fmla="*/ 2147483646 w 449"/>
                    <a:gd name="T93" fmla="*/ 2147483646 h 523"/>
                    <a:gd name="T94" fmla="*/ 2147483646 w 449"/>
                    <a:gd name="T95" fmla="*/ 2147483646 h 523"/>
                    <a:gd name="T96" fmla="*/ 2147483646 w 449"/>
                    <a:gd name="T97" fmla="*/ 2147483646 h 523"/>
                    <a:gd name="T98" fmla="*/ 2147483646 w 449"/>
                    <a:gd name="T99" fmla="*/ 2147483646 h 523"/>
                    <a:gd name="T100" fmla="*/ 2147483646 w 449"/>
                    <a:gd name="T101" fmla="*/ 2147483646 h 523"/>
                    <a:gd name="T102" fmla="*/ 2147483646 w 449"/>
                    <a:gd name="T103" fmla="*/ 2147483646 h 523"/>
                    <a:gd name="T104" fmla="*/ 2147483646 w 449"/>
                    <a:gd name="T105" fmla="*/ 2147483646 h 523"/>
                    <a:gd name="T106" fmla="*/ 2147483646 w 449"/>
                    <a:gd name="T107" fmla="*/ 2147483646 h 523"/>
                    <a:gd name="T108" fmla="*/ 2147483646 w 449"/>
                    <a:gd name="T109" fmla="*/ 2147483646 h 523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449"/>
                    <a:gd name="T166" fmla="*/ 0 h 523"/>
                    <a:gd name="T167" fmla="*/ 449 w 449"/>
                    <a:gd name="T168" fmla="*/ 523 h 523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449" h="523">
                      <a:moveTo>
                        <a:pt x="410" y="370"/>
                      </a:moveTo>
                      <a:lnTo>
                        <a:pt x="410" y="105"/>
                      </a:lnTo>
                      <a:lnTo>
                        <a:pt x="407" y="102"/>
                      </a:lnTo>
                      <a:lnTo>
                        <a:pt x="405" y="98"/>
                      </a:lnTo>
                      <a:lnTo>
                        <a:pt x="405" y="95"/>
                      </a:lnTo>
                      <a:lnTo>
                        <a:pt x="408" y="92"/>
                      </a:lnTo>
                      <a:lnTo>
                        <a:pt x="413" y="84"/>
                      </a:lnTo>
                      <a:lnTo>
                        <a:pt x="422" y="77"/>
                      </a:lnTo>
                      <a:lnTo>
                        <a:pt x="432" y="70"/>
                      </a:lnTo>
                      <a:lnTo>
                        <a:pt x="441" y="60"/>
                      </a:lnTo>
                      <a:lnTo>
                        <a:pt x="444" y="55"/>
                      </a:lnTo>
                      <a:lnTo>
                        <a:pt x="447" y="50"/>
                      </a:lnTo>
                      <a:lnTo>
                        <a:pt x="448" y="44"/>
                      </a:lnTo>
                      <a:lnTo>
                        <a:pt x="449" y="37"/>
                      </a:lnTo>
                      <a:lnTo>
                        <a:pt x="438" y="37"/>
                      </a:lnTo>
                      <a:lnTo>
                        <a:pt x="432" y="34"/>
                      </a:lnTo>
                      <a:lnTo>
                        <a:pt x="426" y="32"/>
                      </a:lnTo>
                      <a:lnTo>
                        <a:pt x="422" y="27"/>
                      </a:lnTo>
                      <a:lnTo>
                        <a:pt x="418" y="24"/>
                      </a:lnTo>
                      <a:lnTo>
                        <a:pt x="411" y="21"/>
                      </a:lnTo>
                      <a:lnTo>
                        <a:pt x="402" y="19"/>
                      </a:lnTo>
                      <a:lnTo>
                        <a:pt x="390" y="18"/>
                      </a:lnTo>
                      <a:lnTo>
                        <a:pt x="382" y="19"/>
                      </a:lnTo>
                      <a:lnTo>
                        <a:pt x="377" y="20"/>
                      </a:lnTo>
                      <a:lnTo>
                        <a:pt x="371" y="22"/>
                      </a:lnTo>
                      <a:lnTo>
                        <a:pt x="368" y="24"/>
                      </a:lnTo>
                      <a:lnTo>
                        <a:pt x="360" y="31"/>
                      </a:lnTo>
                      <a:lnTo>
                        <a:pt x="355" y="37"/>
                      </a:lnTo>
                      <a:lnTo>
                        <a:pt x="348" y="44"/>
                      </a:lnTo>
                      <a:lnTo>
                        <a:pt x="340" y="50"/>
                      </a:lnTo>
                      <a:lnTo>
                        <a:pt x="333" y="52"/>
                      </a:lnTo>
                      <a:lnTo>
                        <a:pt x="326" y="54"/>
                      </a:lnTo>
                      <a:lnTo>
                        <a:pt x="319" y="55"/>
                      </a:lnTo>
                      <a:lnTo>
                        <a:pt x="310" y="55"/>
                      </a:lnTo>
                      <a:lnTo>
                        <a:pt x="298" y="55"/>
                      </a:lnTo>
                      <a:lnTo>
                        <a:pt x="287" y="54"/>
                      </a:lnTo>
                      <a:lnTo>
                        <a:pt x="277" y="52"/>
                      </a:lnTo>
                      <a:lnTo>
                        <a:pt x="267" y="50"/>
                      </a:lnTo>
                      <a:lnTo>
                        <a:pt x="251" y="43"/>
                      </a:lnTo>
                      <a:lnTo>
                        <a:pt x="235" y="36"/>
                      </a:lnTo>
                      <a:lnTo>
                        <a:pt x="220" y="27"/>
                      </a:lnTo>
                      <a:lnTo>
                        <a:pt x="206" y="19"/>
                      </a:lnTo>
                      <a:lnTo>
                        <a:pt x="197" y="15"/>
                      </a:lnTo>
                      <a:lnTo>
                        <a:pt x="189" y="12"/>
                      </a:lnTo>
                      <a:lnTo>
                        <a:pt x="180" y="9"/>
                      </a:lnTo>
                      <a:lnTo>
                        <a:pt x="170" y="6"/>
                      </a:lnTo>
                      <a:lnTo>
                        <a:pt x="152" y="7"/>
                      </a:lnTo>
                      <a:lnTo>
                        <a:pt x="134" y="8"/>
                      </a:lnTo>
                      <a:lnTo>
                        <a:pt x="127" y="7"/>
                      </a:lnTo>
                      <a:lnTo>
                        <a:pt x="119" y="6"/>
                      </a:lnTo>
                      <a:lnTo>
                        <a:pt x="111" y="4"/>
                      </a:lnTo>
                      <a:lnTo>
                        <a:pt x="103" y="0"/>
                      </a:lnTo>
                      <a:lnTo>
                        <a:pt x="80" y="0"/>
                      </a:lnTo>
                      <a:lnTo>
                        <a:pt x="52" y="0"/>
                      </a:lnTo>
                      <a:lnTo>
                        <a:pt x="24" y="0"/>
                      </a:lnTo>
                      <a:lnTo>
                        <a:pt x="5" y="0"/>
                      </a:lnTo>
                      <a:lnTo>
                        <a:pt x="5" y="7"/>
                      </a:lnTo>
                      <a:lnTo>
                        <a:pt x="5" y="18"/>
                      </a:lnTo>
                      <a:lnTo>
                        <a:pt x="5" y="29"/>
                      </a:lnTo>
                      <a:lnTo>
                        <a:pt x="5" y="37"/>
                      </a:lnTo>
                      <a:lnTo>
                        <a:pt x="9" y="47"/>
                      </a:lnTo>
                      <a:lnTo>
                        <a:pt x="15" y="60"/>
                      </a:lnTo>
                      <a:lnTo>
                        <a:pt x="19" y="74"/>
                      </a:lnTo>
                      <a:lnTo>
                        <a:pt x="23" y="91"/>
                      </a:lnTo>
                      <a:lnTo>
                        <a:pt x="28" y="109"/>
                      </a:lnTo>
                      <a:lnTo>
                        <a:pt x="31" y="128"/>
                      </a:lnTo>
                      <a:lnTo>
                        <a:pt x="34" y="150"/>
                      </a:lnTo>
                      <a:lnTo>
                        <a:pt x="38" y="172"/>
                      </a:lnTo>
                      <a:lnTo>
                        <a:pt x="38" y="190"/>
                      </a:lnTo>
                      <a:lnTo>
                        <a:pt x="37" y="206"/>
                      </a:lnTo>
                      <a:lnTo>
                        <a:pt x="33" y="219"/>
                      </a:lnTo>
                      <a:lnTo>
                        <a:pt x="29" y="230"/>
                      </a:lnTo>
                      <a:lnTo>
                        <a:pt x="18" y="249"/>
                      </a:lnTo>
                      <a:lnTo>
                        <a:pt x="7" y="269"/>
                      </a:lnTo>
                      <a:lnTo>
                        <a:pt x="17" y="284"/>
                      </a:lnTo>
                      <a:lnTo>
                        <a:pt x="10" y="321"/>
                      </a:lnTo>
                      <a:lnTo>
                        <a:pt x="0" y="328"/>
                      </a:lnTo>
                      <a:lnTo>
                        <a:pt x="28" y="339"/>
                      </a:lnTo>
                      <a:lnTo>
                        <a:pt x="55" y="352"/>
                      </a:lnTo>
                      <a:lnTo>
                        <a:pt x="84" y="367"/>
                      </a:lnTo>
                      <a:lnTo>
                        <a:pt x="111" y="381"/>
                      </a:lnTo>
                      <a:lnTo>
                        <a:pt x="136" y="396"/>
                      </a:lnTo>
                      <a:lnTo>
                        <a:pt x="159" y="411"/>
                      </a:lnTo>
                      <a:lnTo>
                        <a:pt x="170" y="420"/>
                      </a:lnTo>
                      <a:lnTo>
                        <a:pt x="180" y="428"/>
                      </a:lnTo>
                      <a:lnTo>
                        <a:pt x="189" y="436"/>
                      </a:lnTo>
                      <a:lnTo>
                        <a:pt x="197" y="444"/>
                      </a:lnTo>
                      <a:lnTo>
                        <a:pt x="198" y="451"/>
                      </a:lnTo>
                      <a:lnTo>
                        <a:pt x="199" y="457"/>
                      </a:lnTo>
                      <a:lnTo>
                        <a:pt x="201" y="464"/>
                      </a:lnTo>
                      <a:lnTo>
                        <a:pt x="205" y="471"/>
                      </a:lnTo>
                      <a:lnTo>
                        <a:pt x="209" y="479"/>
                      </a:lnTo>
                      <a:lnTo>
                        <a:pt x="214" y="486"/>
                      </a:lnTo>
                      <a:lnTo>
                        <a:pt x="220" y="492"/>
                      </a:lnTo>
                      <a:lnTo>
                        <a:pt x="226" y="498"/>
                      </a:lnTo>
                      <a:lnTo>
                        <a:pt x="233" y="503"/>
                      </a:lnTo>
                      <a:lnTo>
                        <a:pt x="240" y="508"/>
                      </a:lnTo>
                      <a:lnTo>
                        <a:pt x="247" y="512"/>
                      </a:lnTo>
                      <a:lnTo>
                        <a:pt x="256" y="516"/>
                      </a:lnTo>
                      <a:lnTo>
                        <a:pt x="264" y="519"/>
                      </a:lnTo>
                      <a:lnTo>
                        <a:pt x="273" y="521"/>
                      </a:lnTo>
                      <a:lnTo>
                        <a:pt x="281" y="523"/>
                      </a:lnTo>
                      <a:lnTo>
                        <a:pt x="290" y="523"/>
                      </a:lnTo>
                      <a:lnTo>
                        <a:pt x="304" y="502"/>
                      </a:lnTo>
                      <a:lnTo>
                        <a:pt x="320" y="482"/>
                      </a:lnTo>
                      <a:lnTo>
                        <a:pt x="335" y="462"/>
                      </a:lnTo>
                      <a:lnTo>
                        <a:pt x="349" y="444"/>
                      </a:lnTo>
                      <a:lnTo>
                        <a:pt x="365" y="427"/>
                      </a:lnTo>
                      <a:lnTo>
                        <a:pt x="379" y="408"/>
                      </a:lnTo>
                      <a:lnTo>
                        <a:pt x="394" y="390"/>
                      </a:lnTo>
                      <a:lnTo>
                        <a:pt x="410" y="37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58" name="Freeform 467">
                  <a:extLst>
                    <a:ext uri="{FF2B5EF4-FFF2-40B4-BE49-F238E27FC236}">
                      <a16:creationId xmlns:a16="http://schemas.microsoft.com/office/drawing/2014/main" xmlns="" id="{F046435E-B940-4934-8E50-0E61FD9B2EE5}"/>
                    </a:ext>
                  </a:extLst>
                </p:cNvPr>
                <p:cNvSpPr>
                  <a:spLocks/>
                </p:cNvSpPr>
                <p:nvPr>
                  <p:custDataLst>
                    <p:tags r:id="rId305"/>
                  </p:custDataLst>
                </p:nvPr>
              </p:nvSpPr>
              <p:spPr bwMode="auto">
                <a:xfrm>
                  <a:off x="4849813" y="2606675"/>
                  <a:ext cx="101600" cy="130175"/>
                </a:xfrm>
                <a:custGeom>
                  <a:avLst/>
                  <a:gdLst>
                    <a:gd name="T0" fmla="*/ 2147483646 w 226"/>
                    <a:gd name="T1" fmla="*/ 2147483646 h 246"/>
                    <a:gd name="T2" fmla="*/ 2147483646 w 226"/>
                    <a:gd name="T3" fmla="*/ 2147483646 h 246"/>
                    <a:gd name="T4" fmla="*/ 2147483646 w 226"/>
                    <a:gd name="T5" fmla="*/ 2147483646 h 246"/>
                    <a:gd name="T6" fmla="*/ 2147483646 w 226"/>
                    <a:gd name="T7" fmla="*/ 2147483646 h 246"/>
                    <a:gd name="T8" fmla="*/ 2147483646 w 226"/>
                    <a:gd name="T9" fmla="*/ 2147483646 h 246"/>
                    <a:gd name="T10" fmla="*/ 2147483646 w 226"/>
                    <a:gd name="T11" fmla="*/ 2147483646 h 246"/>
                    <a:gd name="T12" fmla="*/ 2147483646 w 226"/>
                    <a:gd name="T13" fmla="*/ 2147483646 h 246"/>
                    <a:gd name="T14" fmla="*/ 2147483646 w 226"/>
                    <a:gd name="T15" fmla="*/ 2147483646 h 246"/>
                    <a:gd name="T16" fmla="*/ 2147483646 w 226"/>
                    <a:gd name="T17" fmla="*/ 2147483646 h 246"/>
                    <a:gd name="T18" fmla="*/ 2147483646 w 226"/>
                    <a:gd name="T19" fmla="*/ 2147483646 h 246"/>
                    <a:gd name="T20" fmla="*/ 2147483646 w 226"/>
                    <a:gd name="T21" fmla="*/ 2147483646 h 246"/>
                    <a:gd name="T22" fmla="*/ 2147483646 w 226"/>
                    <a:gd name="T23" fmla="*/ 2147483646 h 246"/>
                    <a:gd name="T24" fmla="*/ 2147483646 w 226"/>
                    <a:gd name="T25" fmla="*/ 2147483646 h 246"/>
                    <a:gd name="T26" fmla="*/ 2147483646 w 226"/>
                    <a:gd name="T27" fmla="*/ 2147483646 h 246"/>
                    <a:gd name="T28" fmla="*/ 2147483646 w 226"/>
                    <a:gd name="T29" fmla="*/ 2147483646 h 246"/>
                    <a:gd name="T30" fmla="*/ 2147483646 w 226"/>
                    <a:gd name="T31" fmla="*/ 2147483646 h 246"/>
                    <a:gd name="T32" fmla="*/ 2147483646 w 226"/>
                    <a:gd name="T33" fmla="*/ 2147483646 h 246"/>
                    <a:gd name="T34" fmla="*/ 2147483646 w 226"/>
                    <a:gd name="T35" fmla="*/ 2147483646 h 246"/>
                    <a:gd name="T36" fmla="*/ 2147483646 w 226"/>
                    <a:gd name="T37" fmla="*/ 2147483646 h 246"/>
                    <a:gd name="T38" fmla="*/ 2147483646 w 226"/>
                    <a:gd name="T39" fmla="*/ 2147483646 h 246"/>
                    <a:gd name="T40" fmla="*/ 2147483646 w 226"/>
                    <a:gd name="T41" fmla="*/ 2147483646 h 246"/>
                    <a:gd name="T42" fmla="*/ 2147483646 w 226"/>
                    <a:gd name="T43" fmla="*/ 2147483646 h 246"/>
                    <a:gd name="T44" fmla="*/ 2147483646 w 226"/>
                    <a:gd name="T45" fmla="*/ 2147483646 h 246"/>
                    <a:gd name="T46" fmla="*/ 2147483646 w 226"/>
                    <a:gd name="T47" fmla="*/ 2147483646 h 246"/>
                    <a:gd name="T48" fmla="*/ 2147483646 w 226"/>
                    <a:gd name="T49" fmla="*/ 2147483646 h 246"/>
                    <a:gd name="T50" fmla="*/ 2147483646 w 226"/>
                    <a:gd name="T51" fmla="*/ 2147483646 h 246"/>
                    <a:gd name="T52" fmla="*/ 2147483646 w 226"/>
                    <a:gd name="T53" fmla="*/ 2147483646 h 246"/>
                    <a:gd name="T54" fmla="*/ 2147483646 w 226"/>
                    <a:gd name="T55" fmla="*/ 2147483646 h 246"/>
                    <a:gd name="T56" fmla="*/ 2147483646 w 226"/>
                    <a:gd name="T57" fmla="*/ 2147483646 h 246"/>
                    <a:gd name="T58" fmla="*/ 2147483646 w 226"/>
                    <a:gd name="T59" fmla="*/ 2147483646 h 246"/>
                    <a:gd name="T60" fmla="*/ 2147483646 w 226"/>
                    <a:gd name="T61" fmla="*/ 2147483646 h 246"/>
                    <a:gd name="T62" fmla="*/ 2147483646 w 226"/>
                    <a:gd name="T63" fmla="*/ 2147483646 h 246"/>
                    <a:gd name="T64" fmla="*/ 2147483646 w 226"/>
                    <a:gd name="T65" fmla="*/ 2147483646 h 246"/>
                    <a:gd name="T66" fmla="*/ 2147483646 w 226"/>
                    <a:gd name="T67" fmla="*/ 2147483646 h 24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26"/>
                    <a:gd name="T103" fmla="*/ 0 h 246"/>
                    <a:gd name="T104" fmla="*/ 226 w 226"/>
                    <a:gd name="T105" fmla="*/ 246 h 24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26" h="246">
                      <a:moveTo>
                        <a:pt x="0" y="221"/>
                      </a:moveTo>
                      <a:lnTo>
                        <a:pt x="12" y="228"/>
                      </a:lnTo>
                      <a:lnTo>
                        <a:pt x="27" y="236"/>
                      </a:lnTo>
                      <a:lnTo>
                        <a:pt x="36" y="240"/>
                      </a:lnTo>
                      <a:lnTo>
                        <a:pt x="44" y="243"/>
                      </a:lnTo>
                      <a:lnTo>
                        <a:pt x="53" y="245"/>
                      </a:lnTo>
                      <a:lnTo>
                        <a:pt x="60" y="246"/>
                      </a:lnTo>
                      <a:lnTo>
                        <a:pt x="68" y="245"/>
                      </a:lnTo>
                      <a:lnTo>
                        <a:pt x="76" y="243"/>
                      </a:lnTo>
                      <a:lnTo>
                        <a:pt x="85" y="241"/>
                      </a:lnTo>
                      <a:lnTo>
                        <a:pt x="92" y="237"/>
                      </a:lnTo>
                      <a:lnTo>
                        <a:pt x="110" y="228"/>
                      </a:lnTo>
                      <a:lnTo>
                        <a:pt x="126" y="217"/>
                      </a:lnTo>
                      <a:lnTo>
                        <a:pt x="141" y="205"/>
                      </a:lnTo>
                      <a:lnTo>
                        <a:pt x="153" y="194"/>
                      </a:lnTo>
                      <a:lnTo>
                        <a:pt x="161" y="184"/>
                      </a:lnTo>
                      <a:lnTo>
                        <a:pt x="167" y="178"/>
                      </a:lnTo>
                      <a:lnTo>
                        <a:pt x="159" y="173"/>
                      </a:lnTo>
                      <a:lnTo>
                        <a:pt x="154" y="167"/>
                      </a:lnTo>
                      <a:lnTo>
                        <a:pt x="149" y="160"/>
                      </a:lnTo>
                      <a:lnTo>
                        <a:pt x="146" y="152"/>
                      </a:lnTo>
                      <a:lnTo>
                        <a:pt x="143" y="145"/>
                      </a:lnTo>
                      <a:lnTo>
                        <a:pt x="142" y="137"/>
                      </a:lnTo>
                      <a:lnTo>
                        <a:pt x="141" y="130"/>
                      </a:lnTo>
                      <a:lnTo>
                        <a:pt x="139" y="123"/>
                      </a:lnTo>
                      <a:lnTo>
                        <a:pt x="141" y="116"/>
                      </a:lnTo>
                      <a:lnTo>
                        <a:pt x="143" y="110"/>
                      </a:lnTo>
                      <a:lnTo>
                        <a:pt x="146" y="105"/>
                      </a:lnTo>
                      <a:lnTo>
                        <a:pt x="150" y="100"/>
                      </a:lnTo>
                      <a:lnTo>
                        <a:pt x="156" y="94"/>
                      </a:lnTo>
                      <a:lnTo>
                        <a:pt x="161" y="90"/>
                      </a:lnTo>
                      <a:lnTo>
                        <a:pt x="168" y="86"/>
                      </a:lnTo>
                      <a:lnTo>
                        <a:pt x="176" y="82"/>
                      </a:lnTo>
                      <a:lnTo>
                        <a:pt x="204" y="71"/>
                      </a:lnTo>
                      <a:lnTo>
                        <a:pt x="226" y="61"/>
                      </a:lnTo>
                      <a:lnTo>
                        <a:pt x="225" y="49"/>
                      </a:lnTo>
                      <a:lnTo>
                        <a:pt x="223" y="38"/>
                      </a:lnTo>
                      <a:lnTo>
                        <a:pt x="221" y="30"/>
                      </a:lnTo>
                      <a:lnTo>
                        <a:pt x="217" y="23"/>
                      </a:lnTo>
                      <a:lnTo>
                        <a:pt x="214" y="17"/>
                      </a:lnTo>
                      <a:lnTo>
                        <a:pt x="212" y="12"/>
                      </a:lnTo>
                      <a:lnTo>
                        <a:pt x="212" y="6"/>
                      </a:lnTo>
                      <a:lnTo>
                        <a:pt x="213" y="0"/>
                      </a:lnTo>
                      <a:lnTo>
                        <a:pt x="202" y="1"/>
                      </a:lnTo>
                      <a:lnTo>
                        <a:pt x="191" y="4"/>
                      </a:lnTo>
                      <a:lnTo>
                        <a:pt x="181" y="7"/>
                      </a:lnTo>
                      <a:lnTo>
                        <a:pt x="171" y="11"/>
                      </a:lnTo>
                      <a:lnTo>
                        <a:pt x="154" y="20"/>
                      </a:lnTo>
                      <a:lnTo>
                        <a:pt x="136" y="29"/>
                      </a:lnTo>
                      <a:lnTo>
                        <a:pt x="121" y="38"/>
                      </a:lnTo>
                      <a:lnTo>
                        <a:pt x="107" y="47"/>
                      </a:lnTo>
                      <a:lnTo>
                        <a:pt x="100" y="51"/>
                      </a:lnTo>
                      <a:lnTo>
                        <a:pt x="93" y="53"/>
                      </a:lnTo>
                      <a:lnTo>
                        <a:pt x="87" y="55"/>
                      </a:lnTo>
                      <a:lnTo>
                        <a:pt x="80" y="55"/>
                      </a:lnTo>
                      <a:lnTo>
                        <a:pt x="75" y="54"/>
                      </a:lnTo>
                      <a:lnTo>
                        <a:pt x="67" y="51"/>
                      </a:lnTo>
                      <a:lnTo>
                        <a:pt x="59" y="47"/>
                      </a:lnTo>
                      <a:lnTo>
                        <a:pt x="51" y="41"/>
                      </a:lnTo>
                      <a:lnTo>
                        <a:pt x="36" y="31"/>
                      </a:lnTo>
                      <a:lnTo>
                        <a:pt x="27" y="24"/>
                      </a:lnTo>
                      <a:lnTo>
                        <a:pt x="24" y="39"/>
                      </a:lnTo>
                      <a:lnTo>
                        <a:pt x="21" y="64"/>
                      </a:lnTo>
                      <a:lnTo>
                        <a:pt x="18" y="95"/>
                      </a:lnTo>
                      <a:lnTo>
                        <a:pt x="13" y="129"/>
                      </a:lnTo>
                      <a:lnTo>
                        <a:pt x="10" y="163"/>
                      </a:lnTo>
                      <a:lnTo>
                        <a:pt x="7" y="191"/>
                      </a:lnTo>
                      <a:lnTo>
                        <a:pt x="3" y="212"/>
                      </a:lnTo>
                      <a:lnTo>
                        <a:pt x="0" y="22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59" name="Freeform 468">
                  <a:extLst>
                    <a:ext uri="{FF2B5EF4-FFF2-40B4-BE49-F238E27FC236}">
                      <a16:creationId xmlns:a16="http://schemas.microsoft.com/office/drawing/2014/main" xmlns="" id="{1152A19E-AB52-43B3-AD6B-59AF20CD874E}"/>
                    </a:ext>
                  </a:extLst>
                </p:cNvPr>
                <p:cNvSpPr>
                  <a:spLocks/>
                </p:cNvSpPr>
                <p:nvPr>
                  <p:custDataLst>
                    <p:tags r:id="rId306"/>
                  </p:custDataLst>
                </p:nvPr>
              </p:nvSpPr>
              <p:spPr bwMode="auto">
                <a:xfrm>
                  <a:off x="5148263" y="2709863"/>
                  <a:ext cx="22225" cy="55562"/>
                </a:xfrm>
                <a:custGeom>
                  <a:avLst/>
                  <a:gdLst>
                    <a:gd name="T0" fmla="*/ 2147483646 w 60"/>
                    <a:gd name="T1" fmla="*/ 0 h 81"/>
                    <a:gd name="T2" fmla="*/ 2147483646 w 60"/>
                    <a:gd name="T3" fmla="*/ 2147483646 h 81"/>
                    <a:gd name="T4" fmla="*/ 2147483646 w 60"/>
                    <a:gd name="T5" fmla="*/ 2147483646 h 81"/>
                    <a:gd name="T6" fmla="*/ 2147483646 w 60"/>
                    <a:gd name="T7" fmla="*/ 2147483646 h 81"/>
                    <a:gd name="T8" fmla="*/ 2147483646 w 60"/>
                    <a:gd name="T9" fmla="*/ 2147483646 h 81"/>
                    <a:gd name="T10" fmla="*/ 2147483646 w 60"/>
                    <a:gd name="T11" fmla="*/ 2147483646 h 81"/>
                    <a:gd name="T12" fmla="*/ 2147483646 w 60"/>
                    <a:gd name="T13" fmla="*/ 0 h 81"/>
                    <a:gd name="T14" fmla="*/ 2147483646 w 60"/>
                    <a:gd name="T15" fmla="*/ 2147483646 h 81"/>
                    <a:gd name="T16" fmla="*/ 2147483646 w 60"/>
                    <a:gd name="T17" fmla="*/ 2147483646 h 81"/>
                    <a:gd name="T18" fmla="*/ 2147483646 w 60"/>
                    <a:gd name="T19" fmla="*/ 2147483646 h 81"/>
                    <a:gd name="T20" fmla="*/ 2147483646 w 60"/>
                    <a:gd name="T21" fmla="*/ 2147483646 h 81"/>
                    <a:gd name="T22" fmla="*/ 2147483646 w 60"/>
                    <a:gd name="T23" fmla="*/ 2147483646 h 81"/>
                    <a:gd name="T24" fmla="*/ 2147483646 w 60"/>
                    <a:gd name="T25" fmla="*/ 2147483646 h 81"/>
                    <a:gd name="T26" fmla="*/ 2147483646 w 60"/>
                    <a:gd name="T27" fmla="*/ 2147483646 h 81"/>
                    <a:gd name="T28" fmla="*/ 2147483646 w 60"/>
                    <a:gd name="T29" fmla="*/ 2147483646 h 81"/>
                    <a:gd name="T30" fmla="*/ 2147483646 w 60"/>
                    <a:gd name="T31" fmla="*/ 2147483646 h 81"/>
                    <a:gd name="T32" fmla="*/ 2147483646 w 60"/>
                    <a:gd name="T33" fmla="*/ 2147483646 h 81"/>
                    <a:gd name="T34" fmla="*/ 2147483646 w 60"/>
                    <a:gd name="T35" fmla="*/ 2147483646 h 81"/>
                    <a:gd name="T36" fmla="*/ 2147483646 w 60"/>
                    <a:gd name="T37" fmla="*/ 2147483646 h 81"/>
                    <a:gd name="T38" fmla="*/ 0 w 60"/>
                    <a:gd name="T39" fmla="*/ 2147483646 h 81"/>
                    <a:gd name="T40" fmla="*/ 2147483646 w 60"/>
                    <a:gd name="T41" fmla="*/ 2147483646 h 81"/>
                    <a:gd name="T42" fmla="*/ 2147483646 w 60"/>
                    <a:gd name="T43" fmla="*/ 2147483646 h 81"/>
                    <a:gd name="T44" fmla="*/ 2147483646 w 60"/>
                    <a:gd name="T45" fmla="*/ 0 h 81"/>
                    <a:gd name="T46" fmla="*/ 2147483646 w 60"/>
                    <a:gd name="T47" fmla="*/ 0 h 8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60"/>
                    <a:gd name="T73" fmla="*/ 0 h 81"/>
                    <a:gd name="T74" fmla="*/ 60 w 60"/>
                    <a:gd name="T75" fmla="*/ 81 h 8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60" h="81">
                      <a:moveTo>
                        <a:pt x="27" y="0"/>
                      </a:moveTo>
                      <a:lnTo>
                        <a:pt x="29" y="2"/>
                      </a:lnTo>
                      <a:lnTo>
                        <a:pt x="32" y="3"/>
                      </a:lnTo>
                      <a:lnTo>
                        <a:pt x="36" y="3"/>
                      </a:lnTo>
                      <a:lnTo>
                        <a:pt x="40" y="2"/>
                      </a:lnTo>
                      <a:lnTo>
                        <a:pt x="47" y="1"/>
                      </a:lnTo>
                      <a:lnTo>
                        <a:pt x="53" y="0"/>
                      </a:lnTo>
                      <a:lnTo>
                        <a:pt x="53" y="26"/>
                      </a:lnTo>
                      <a:lnTo>
                        <a:pt x="54" y="47"/>
                      </a:lnTo>
                      <a:lnTo>
                        <a:pt x="54" y="57"/>
                      </a:lnTo>
                      <a:lnTo>
                        <a:pt x="56" y="65"/>
                      </a:lnTo>
                      <a:lnTo>
                        <a:pt x="58" y="73"/>
                      </a:lnTo>
                      <a:lnTo>
                        <a:pt x="60" y="81"/>
                      </a:lnTo>
                      <a:lnTo>
                        <a:pt x="20" y="81"/>
                      </a:lnTo>
                      <a:lnTo>
                        <a:pt x="14" y="80"/>
                      </a:lnTo>
                      <a:lnTo>
                        <a:pt x="7" y="77"/>
                      </a:lnTo>
                      <a:lnTo>
                        <a:pt x="5" y="74"/>
                      </a:lnTo>
                      <a:lnTo>
                        <a:pt x="2" y="72"/>
                      </a:lnTo>
                      <a:lnTo>
                        <a:pt x="1" y="70"/>
                      </a:lnTo>
                      <a:lnTo>
                        <a:pt x="0" y="68"/>
                      </a:lnTo>
                      <a:lnTo>
                        <a:pt x="7" y="12"/>
                      </a:lnTo>
                      <a:lnTo>
                        <a:pt x="20" y="6"/>
                      </a:lnTo>
                      <a:lnTo>
                        <a:pt x="34" y="0"/>
                      </a:lnTo>
                      <a:lnTo>
                        <a:pt x="27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60" name="Freeform 469">
                  <a:extLst>
                    <a:ext uri="{FF2B5EF4-FFF2-40B4-BE49-F238E27FC236}">
                      <a16:creationId xmlns:a16="http://schemas.microsoft.com/office/drawing/2014/main" xmlns="" id="{BE7DFD07-C19A-4A65-8418-ED8B87986896}"/>
                    </a:ext>
                  </a:extLst>
                </p:cNvPr>
                <p:cNvSpPr>
                  <a:spLocks/>
                </p:cNvSpPr>
                <p:nvPr>
                  <p:custDataLst>
                    <p:tags r:id="rId307"/>
                  </p:custDataLst>
                </p:nvPr>
              </p:nvSpPr>
              <p:spPr bwMode="auto">
                <a:xfrm>
                  <a:off x="4435475" y="1844675"/>
                  <a:ext cx="161925" cy="66675"/>
                </a:xfrm>
                <a:custGeom>
                  <a:avLst/>
                  <a:gdLst>
                    <a:gd name="T0" fmla="*/ 2147483646 w 370"/>
                    <a:gd name="T1" fmla="*/ 2147483646 h 129"/>
                    <a:gd name="T2" fmla="*/ 2147483646 w 370"/>
                    <a:gd name="T3" fmla="*/ 2147483646 h 129"/>
                    <a:gd name="T4" fmla="*/ 2147483646 w 370"/>
                    <a:gd name="T5" fmla="*/ 2147483646 h 129"/>
                    <a:gd name="T6" fmla="*/ 2147483646 w 370"/>
                    <a:gd name="T7" fmla="*/ 2147483646 h 129"/>
                    <a:gd name="T8" fmla="*/ 2147483646 w 370"/>
                    <a:gd name="T9" fmla="*/ 2147483646 h 129"/>
                    <a:gd name="T10" fmla="*/ 2147483646 w 370"/>
                    <a:gd name="T11" fmla="*/ 2147483646 h 129"/>
                    <a:gd name="T12" fmla="*/ 2147483646 w 370"/>
                    <a:gd name="T13" fmla="*/ 2147483646 h 129"/>
                    <a:gd name="T14" fmla="*/ 2147483646 w 370"/>
                    <a:gd name="T15" fmla="*/ 2147483646 h 129"/>
                    <a:gd name="T16" fmla="*/ 2147483646 w 370"/>
                    <a:gd name="T17" fmla="*/ 2147483646 h 129"/>
                    <a:gd name="T18" fmla="*/ 2147483646 w 370"/>
                    <a:gd name="T19" fmla="*/ 2147483646 h 129"/>
                    <a:gd name="T20" fmla="*/ 2147483646 w 370"/>
                    <a:gd name="T21" fmla="*/ 2147483646 h 129"/>
                    <a:gd name="T22" fmla="*/ 2147483646 w 370"/>
                    <a:gd name="T23" fmla="*/ 2147483646 h 129"/>
                    <a:gd name="T24" fmla="*/ 2147483646 w 370"/>
                    <a:gd name="T25" fmla="*/ 2147483646 h 129"/>
                    <a:gd name="T26" fmla="*/ 2147483646 w 370"/>
                    <a:gd name="T27" fmla="*/ 0 h 129"/>
                    <a:gd name="T28" fmla="*/ 2147483646 w 370"/>
                    <a:gd name="T29" fmla="*/ 0 h 129"/>
                    <a:gd name="T30" fmla="*/ 2147483646 w 370"/>
                    <a:gd name="T31" fmla="*/ 2147483646 h 129"/>
                    <a:gd name="T32" fmla="*/ 2147483646 w 370"/>
                    <a:gd name="T33" fmla="*/ 2147483646 h 129"/>
                    <a:gd name="T34" fmla="*/ 2147483646 w 370"/>
                    <a:gd name="T35" fmla="*/ 2147483646 h 129"/>
                    <a:gd name="T36" fmla="*/ 2147483646 w 370"/>
                    <a:gd name="T37" fmla="*/ 2147483646 h 129"/>
                    <a:gd name="T38" fmla="*/ 2147483646 w 370"/>
                    <a:gd name="T39" fmla="*/ 2147483646 h 129"/>
                    <a:gd name="T40" fmla="*/ 2147483646 w 370"/>
                    <a:gd name="T41" fmla="*/ 2147483646 h 129"/>
                    <a:gd name="T42" fmla="*/ 2147483646 w 370"/>
                    <a:gd name="T43" fmla="*/ 2147483646 h 129"/>
                    <a:gd name="T44" fmla="*/ 2147483646 w 370"/>
                    <a:gd name="T45" fmla="*/ 2147483646 h 129"/>
                    <a:gd name="T46" fmla="*/ 2147483646 w 370"/>
                    <a:gd name="T47" fmla="*/ 2147483646 h 129"/>
                    <a:gd name="T48" fmla="*/ 2147483646 w 370"/>
                    <a:gd name="T49" fmla="*/ 2147483646 h 129"/>
                    <a:gd name="T50" fmla="*/ 2147483646 w 370"/>
                    <a:gd name="T51" fmla="*/ 2147483646 h 129"/>
                    <a:gd name="T52" fmla="*/ 2147483646 w 370"/>
                    <a:gd name="T53" fmla="*/ 2147483646 h 129"/>
                    <a:gd name="T54" fmla="*/ 2147483646 w 370"/>
                    <a:gd name="T55" fmla="*/ 2147483646 h 129"/>
                    <a:gd name="T56" fmla="*/ 2147483646 w 370"/>
                    <a:gd name="T57" fmla="*/ 2147483646 h 129"/>
                    <a:gd name="T58" fmla="*/ 2147483646 w 370"/>
                    <a:gd name="T59" fmla="*/ 2147483646 h 129"/>
                    <a:gd name="T60" fmla="*/ 2147483646 w 370"/>
                    <a:gd name="T61" fmla="*/ 2147483646 h 129"/>
                    <a:gd name="T62" fmla="*/ 2147483646 w 370"/>
                    <a:gd name="T63" fmla="*/ 2147483646 h 129"/>
                    <a:gd name="T64" fmla="*/ 2147483646 w 370"/>
                    <a:gd name="T65" fmla="*/ 2147483646 h 129"/>
                    <a:gd name="T66" fmla="*/ 2147483646 w 370"/>
                    <a:gd name="T67" fmla="*/ 2147483646 h 129"/>
                    <a:gd name="T68" fmla="*/ 2147483646 w 370"/>
                    <a:gd name="T69" fmla="*/ 2147483646 h 129"/>
                    <a:gd name="T70" fmla="*/ 2147483646 w 370"/>
                    <a:gd name="T71" fmla="*/ 2147483646 h 129"/>
                    <a:gd name="T72" fmla="*/ 2147483646 w 370"/>
                    <a:gd name="T73" fmla="*/ 2147483646 h 129"/>
                    <a:gd name="T74" fmla="*/ 2147483646 w 370"/>
                    <a:gd name="T75" fmla="*/ 2147483646 h 129"/>
                    <a:gd name="T76" fmla="*/ 0 w 370"/>
                    <a:gd name="T77" fmla="*/ 2147483646 h 129"/>
                    <a:gd name="T78" fmla="*/ 0 w 370"/>
                    <a:gd name="T79" fmla="*/ 2147483646 h 129"/>
                    <a:gd name="T80" fmla="*/ 2147483646 w 370"/>
                    <a:gd name="T81" fmla="*/ 2147483646 h 129"/>
                    <a:gd name="T82" fmla="*/ 2147483646 w 370"/>
                    <a:gd name="T83" fmla="*/ 2147483646 h 129"/>
                    <a:gd name="T84" fmla="*/ 2147483646 w 370"/>
                    <a:gd name="T85" fmla="*/ 2147483646 h 129"/>
                    <a:gd name="T86" fmla="*/ 2147483646 w 370"/>
                    <a:gd name="T87" fmla="*/ 2147483646 h 129"/>
                    <a:gd name="T88" fmla="*/ 2147483646 w 370"/>
                    <a:gd name="T89" fmla="*/ 2147483646 h 129"/>
                    <a:gd name="T90" fmla="*/ 2147483646 w 370"/>
                    <a:gd name="T91" fmla="*/ 2147483646 h 129"/>
                    <a:gd name="T92" fmla="*/ 2147483646 w 370"/>
                    <a:gd name="T93" fmla="*/ 2147483646 h 129"/>
                    <a:gd name="T94" fmla="*/ 2147483646 w 370"/>
                    <a:gd name="T95" fmla="*/ 2147483646 h 129"/>
                    <a:gd name="T96" fmla="*/ 2147483646 w 370"/>
                    <a:gd name="T97" fmla="*/ 2147483646 h 129"/>
                    <a:gd name="T98" fmla="*/ 2147483646 w 370"/>
                    <a:gd name="T99" fmla="*/ 2147483646 h 129"/>
                    <a:gd name="T100" fmla="*/ 2147483646 w 370"/>
                    <a:gd name="T101" fmla="*/ 2147483646 h 129"/>
                    <a:gd name="T102" fmla="*/ 2147483646 w 370"/>
                    <a:gd name="T103" fmla="*/ 2147483646 h 129"/>
                    <a:gd name="T104" fmla="*/ 2147483646 w 370"/>
                    <a:gd name="T105" fmla="*/ 2147483646 h 129"/>
                    <a:gd name="T106" fmla="*/ 2147483646 w 370"/>
                    <a:gd name="T107" fmla="*/ 2147483646 h 129"/>
                    <a:gd name="T108" fmla="*/ 2147483646 w 370"/>
                    <a:gd name="T109" fmla="*/ 2147483646 h 129"/>
                    <a:gd name="T110" fmla="*/ 2147483646 w 370"/>
                    <a:gd name="T111" fmla="*/ 2147483646 h 129"/>
                    <a:gd name="T112" fmla="*/ 2147483646 w 370"/>
                    <a:gd name="T113" fmla="*/ 2147483646 h 129"/>
                    <a:gd name="T114" fmla="*/ 2147483646 w 370"/>
                    <a:gd name="T115" fmla="*/ 2147483646 h 129"/>
                    <a:gd name="T116" fmla="*/ 2147483646 w 370"/>
                    <a:gd name="T117" fmla="*/ 2147483646 h 129"/>
                    <a:gd name="T118" fmla="*/ 2147483646 w 370"/>
                    <a:gd name="T119" fmla="*/ 2147483646 h 129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370"/>
                    <a:gd name="T181" fmla="*/ 0 h 129"/>
                    <a:gd name="T182" fmla="*/ 370 w 370"/>
                    <a:gd name="T183" fmla="*/ 129 h 129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370" h="129">
                      <a:moveTo>
                        <a:pt x="250" y="117"/>
                      </a:moveTo>
                      <a:lnTo>
                        <a:pt x="258" y="119"/>
                      </a:lnTo>
                      <a:lnTo>
                        <a:pt x="277" y="123"/>
                      </a:lnTo>
                      <a:lnTo>
                        <a:pt x="295" y="127"/>
                      </a:lnTo>
                      <a:lnTo>
                        <a:pt x="303" y="129"/>
                      </a:lnTo>
                      <a:lnTo>
                        <a:pt x="370" y="97"/>
                      </a:lnTo>
                      <a:lnTo>
                        <a:pt x="358" y="75"/>
                      </a:lnTo>
                      <a:lnTo>
                        <a:pt x="345" y="48"/>
                      </a:lnTo>
                      <a:lnTo>
                        <a:pt x="335" y="27"/>
                      </a:lnTo>
                      <a:lnTo>
                        <a:pt x="330" y="18"/>
                      </a:lnTo>
                      <a:lnTo>
                        <a:pt x="300" y="15"/>
                      </a:lnTo>
                      <a:lnTo>
                        <a:pt x="257" y="9"/>
                      </a:lnTo>
                      <a:lnTo>
                        <a:pt x="214" y="2"/>
                      </a:lnTo>
                      <a:lnTo>
                        <a:pt x="183" y="0"/>
                      </a:lnTo>
                      <a:lnTo>
                        <a:pt x="179" y="0"/>
                      </a:lnTo>
                      <a:lnTo>
                        <a:pt x="176" y="1"/>
                      </a:lnTo>
                      <a:lnTo>
                        <a:pt x="172" y="2"/>
                      </a:lnTo>
                      <a:lnTo>
                        <a:pt x="170" y="3"/>
                      </a:lnTo>
                      <a:lnTo>
                        <a:pt x="162" y="7"/>
                      </a:lnTo>
                      <a:lnTo>
                        <a:pt x="150" y="12"/>
                      </a:lnTo>
                      <a:lnTo>
                        <a:pt x="147" y="21"/>
                      </a:lnTo>
                      <a:lnTo>
                        <a:pt x="140" y="35"/>
                      </a:lnTo>
                      <a:lnTo>
                        <a:pt x="134" y="48"/>
                      </a:lnTo>
                      <a:lnTo>
                        <a:pt x="131" y="55"/>
                      </a:lnTo>
                      <a:lnTo>
                        <a:pt x="122" y="54"/>
                      </a:lnTo>
                      <a:lnTo>
                        <a:pt x="111" y="49"/>
                      </a:lnTo>
                      <a:lnTo>
                        <a:pt x="98" y="44"/>
                      </a:lnTo>
                      <a:lnTo>
                        <a:pt x="84" y="38"/>
                      </a:lnTo>
                      <a:lnTo>
                        <a:pt x="60" y="26"/>
                      </a:lnTo>
                      <a:lnTo>
                        <a:pt x="44" y="18"/>
                      </a:lnTo>
                      <a:lnTo>
                        <a:pt x="32" y="25"/>
                      </a:lnTo>
                      <a:lnTo>
                        <a:pt x="21" y="33"/>
                      </a:lnTo>
                      <a:lnTo>
                        <a:pt x="16" y="37"/>
                      </a:lnTo>
                      <a:lnTo>
                        <a:pt x="12" y="41"/>
                      </a:lnTo>
                      <a:lnTo>
                        <a:pt x="9" y="46"/>
                      </a:lnTo>
                      <a:lnTo>
                        <a:pt x="5" y="52"/>
                      </a:lnTo>
                      <a:lnTo>
                        <a:pt x="3" y="57"/>
                      </a:lnTo>
                      <a:lnTo>
                        <a:pt x="1" y="63"/>
                      </a:lnTo>
                      <a:lnTo>
                        <a:pt x="0" y="69"/>
                      </a:lnTo>
                      <a:lnTo>
                        <a:pt x="0" y="75"/>
                      </a:lnTo>
                      <a:lnTo>
                        <a:pt x="1" y="82"/>
                      </a:lnTo>
                      <a:lnTo>
                        <a:pt x="3" y="88"/>
                      </a:lnTo>
                      <a:lnTo>
                        <a:pt x="6" y="96"/>
                      </a:lnTo>
                      <a:lnTo>
                        <a:pt x="11" y="103"/>
                      </a:lnTo>
                      <a:lnTo>
                        <a:pt x="20" y="101"/>
                      </a:lnTo>
                      <a:lnTo>
                        <a:pt x="33" y="99"/>
                      </a:lnTo>
                      <a:lnTo>
                        <a:pt x="50" y="97"/>
                      </a:lnTo>
                      <a:lnTo>
                        <a:pt x="69" y="95"/>
                      </a:lnTo>
                      <a:lnTo>
                        <a:pt x="102" y="92"/>
                      </a:lnTo>
                      <a:lnTo>
                        <a:pt x="117" y="91"/>
                      </a:lnTo>
                      <a:lnTo>
                        <a:pt x="137" y="92"/>
                      </a:lnTo>
                      <a:lnTo>
                        <a:pt x="152" y="94"/>
                      </a:lnTo>
                      <a:lnTo>
                        <a:pt x="166" y="97"/>
                      </a:lnTo>
                      <a:lnTo>
                        <a:pt x="177" y="100"/>
                      </a:lnTo>
                      <a:lnTo>
                        <a:pt x="189" y="104"/>
                      </a:lnTo>
                      <a:lnTo>
                        <a:pt x="201" y="108"/>
                      </a:lnTo>
                      <a:lnTo>
                        <a:pt x="217" y="110"/>
                      </a:lnTo>
                      <a:lnTo>
                        <a:pt x="237" y="111"/>
                      </a:lnTo>
                      <a:lnTo>
                        <a:pt x="237" y="117"/>
                      </a:lnTo>
                      <a:lnTo>
                        <a:pt x="250" y="11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61" name="Freeform 470">
                  <a:extLst>
                    <a:ext uri="{FF2B5EF4-FFF2-40B4-BE49-F238E27FC236}">
                      <a16:creationId xmlns:a16="http://schemas.microsoft.com/office/drawing/2014/main" xmlns="" id="{F583AE05-EC2A-4373-8119-20217FCEE042}"/>
                    </a:ext>
                  </a:extLst>
                </p:cNvPr>
                <p:cNvSpPr>
                  <a:spLocks/>
                </p:cNvSpPr>
                <p:nvPr>
                  <p:custDataLst>
                    <p:tags r:id="rId308"/>
                  </p:custDataLst>
                </p:nvPr>
              </p:nvSpPr>
              <p:spPr bwMode="auto">
                <a:xfrm>
                  <a:off x="4846638" y="2565400"/>
                  <a:ext cx="30162" cy="57150"/>
                </a:xfrm>
                <a:custGeom>
                  <a:avLst/>
                  <a:gdLst>
                    <a:gd name="T0" fmla="*/ 2147483646 w 80"/>
                    <a:gd name="T1" fmla="*/ 2147483646 h 94"/>
                    <a:gd name="T2" fmla="*/ 2147483646 w 80"/>
                    <a:gd name="T3" fmla="*/ 0 h 94"/>
                    <a:gd name="T4" fmla="*/ 2147483646 w 80"/>
                    <a:gd name="T5" fmla="*/ 0 h 94"/>
                    <a:gd name="T6" fmla="*/ 2147483646 w 80"/>
                    <a:gd name="T7" fmla="*/ 2147483646 h 94"/>
                    <a:gd name="T8" fmla="*/ 2147483646 w 80"/>
                    <a:gd name="T9" fmla="*/ 2147483646 h 94"/>
                    <a:gd name="T10" fmla="*/ 2147483646 w 80"/>
                    <a:gd name="T11" fmla="*/ 2147483646 h 94"/>
                    <a:gd name="T12" fmla="*/ 2147483646 w 80"/>
                    <a:gd name="T13" fmla="*/ 2147483646 h 94"/>
                    <a:gd name="T14" fmla="*/ 2147483646 w 80"/>
                    <a:gd name="T15" fmla="*/ 2147483646 h 94"/>
                    <a:gd name="T16" fmla="*/ 2147483646 w 80"/>
                    <a:gd name="T17" fmla="*/ 2147483646 h 94"/>
                    <a:gd name="T18" fmla="*/ 2147483646 w 80"/>
                    <a:gd name="T19" fmla="*/ 2147483646 h 94"/>
                    <a:gd name="T20" fmla="*/ 2147483646 w 80"/>
                    <a:gd name="T21" fmla="*/ 2147483646 h 94"/>
                    <a:gd name="T22" fmla="*/ 2147483646 w 80"/>
                    <a:gd name="T23" fmla="*/ 2147483646 h 94"/>
                    <a:gd name="T24" fmla="*/ 2147483646 w 80"/>
                    <a:gd name="T25" fmla="*/ 2147483646 h 94"/>
                    <a:gd name="T26" fmla="*/ 2147483646 w 80"/>
                    <a:gd name="T27" fmla="*/ 2147483646 h 94"/>
                    <a:gd name="T28" fmla="*/ 2147483646 w 80"/>
                    <a:gd name="T29" fmla="*/ 2147483646 h 94"/>
                    <a:gd name="T30" fmla="*/ 2147483646 w 80"/>
                    <a:gd name="T31" fmla="*/ 2147483646 h 94"/>
                    <a:gd name="T32" fmla="*/ 2147483646 w 80"/>
                    <a:gd name="T33" fmla="*/ 2147483646 h 94"/>
                    <a:gd name="T34" fmla="*/ 2147483646 w 80"/>
                    <a:gd name="T35" fmla="*/ 2147483646 h 94"/>
                    <a:gd name="T36" fmla="*/ 2147483646 w 80"/>
                    <a:gd name="T37" fmla="*/ 2147483646 h 94"/>
                    <a:gd name="T38" fmla="*/ 2147483646 w 80"/>
                    <a:gd name="T39" fmla="*/ 2147483646 h 94"/>
                    <a:gd name="T40" fmla="*/ 2147483646 w 80"/>
                    <a:gd name="T41" fmla="*/ 2147483646 h 94"/>
                    <a:gd name="T42" fmla="*/ 2147483646 w 80"/>
                    <a:gd name="T43" fmla="*/ 2147483646 h 94"/>
                    <a:gd name="T44" fmla="*/ 2147483646 w 80"/>
                    <a:gd name="T45" fmla="*/ 2147483646 h 94"/>
                    <a:gd name="T46" fmla="*/ 2147483646 w 80"/>
                    <a:gd name="T47" fmla="*/ 2147483646 h 94"/>
                    <a:gd name="T48" fmla="*/ 2147483646 w 80"/>
                    <a:gd name="T49" fmla="*/ 2147483646 h 94"/>
                    <a:gd name="T50" fmla="*/ 0 w 80"/>
                    <a:gd name="T51" fmla="*/ 2147483646 h 94"/>
                    <a:gd name="T52" fmla="*/ 2147483646 w 80"/>
                    <a:gd name="T53" fmla="*/ 2147483646 h 94"/>
                    <a:gd name="T54" fmla="*/ 2147483646 w 80"/>
                    <a:gd name="T55" fmla="*/ 2147483646 h 94"/>
                    <a:gd name="T56" fmla="*/ 2147483646 w 80"/>
                    <a:gd name="T57" fmla="*/ 2147483646 h 94"/>
                    <a:gd name="T58" fmla="*/ 2147483646 w 80"/>
                    <a:gd name="T59" fmla="*/ 2147483646 h 9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80"/>
                    <a:gd name="T91" fmla="*/ 0 h 94"/>
                    <a:gd name="T92" fmla="*/ 80 w 80"/>
                    <a:gd name="T93" fmla="*/ 94 h 9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80" h="94">
                      <a:moveTo>
                        <a:pt x="27" y="1"/>
                      </a:moveTo>
                      <a:lnTo>
                        <a:pt x="34" y="0"/>
                      </a:lnTo>
                      <a:lnTo>
                        <a:pt x="41" y="0"/>
                      </a:lnTo>
                      <a:lnTo>
                        <a:pt x="47" y="2"/>
                      </a:lnTo>
                      <a:lnTo>
                        <a:pt x="54" y="4"/>
                      </a:lnTo>
                      <a:lnTo>
                        <a:pt x="60" y="6"/>
                      </a:lnTo>
                      <a:lnTo>
                        <a:pt x="66" y="8"/>
                      </a:lnTo>
                      <a:lnTo>
                        <a:pt x="73" y="8"/>
                      </a:lnTo>
                      <a:lnTo>
                        <a:pt x="80" y="7"/>
                      </a:lnTo>
                      <a:lnTo>
                        <a:pt x="80" y="38"/>
                      </a:lnTo>
                      <a:lnTo>
                        <a:pt x="75" y="44"/>
                      </a:lnTo>
                      <a:lnTo>
                        <a:pt x="69" y="51"/>
                      </a:lnTo>
                      <a:lnTo>
                        <a:pt x="64" y="59"/>
                      </a:lnTo>
                      <a:lnTo>
                        <a:pt x="58" y="68"/>
                      </a:lnTo>
                      <a:lnTo>
                        <a:pt x="51" y="84"/>
                      </a:lnTo>
                      <a:lnTo>
                        <a:pt x="47" y="94"/>
                      </a:lnTo>
                      <a:lnTo>
                        <a:pt x="43" y="93"/>
                      </a:lnTo>
                      <a:lnTo>
                        <a:pt x="40" y="92"/>
                      </a:lnTo>
                      <a:lnTo>
                        <a:pt x="37" y="91"/>
                      </a:lnTo>
                      <a:lnTo>
                        <a:pt x="34" y="89"/>
                      </a:lnTo>
                      <a:lnTo>
                        <a:pt x="29" y="84"/>
                      </a:lnTo>
                      <a:lnTo>
                        <a:pt x="23" y="78"/>
                      </a:lnTo>
                      <a:lnTo>
                        <a:pt x="19" y="72"/>
                      </a:lnTo>
                      <a:lnTo>
                        <a:pt x="13" y="65"/>
                      </a:lnTo>
                      <a:lnTo>
                        <a:pt x="7" y="60"/>
                      </a:lnTo>
                      <a:lnTo>
                        <a:pt x="0" y="56"/>
                      </a:lnTo>
                      <a:lnTo>
                        <a:pt x="8" y="41"/>
                      </a:lnTo>
                      <a:lnTo>
                        <a:pt x="13" y="29"/>
                      </a:lnTo>
                      <a:lnTo>
                        <a:pt x="19" y="17"/>
                      </a:lnTo>
                      <a:lnTo>
                        <a:pt x="27" y="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62" name="Freeform 471">
                  <a:extLst>
                    <a:ext uri="{FF2B5EF4-FFF2-40B4-BE49-F238E27FC236}">
                      <a16:creationId xmlns:a16="http://schemas.microsoft.com/office/drawing/2014/main" xmlns="" id="{DF326057-03E3-447D-BD5D-B713FB2B0F52}"/>
                    </a:ext>
                  </a:extLst>
                </p:cNvPr>
                <p:cNvSpPr>
                  <a:spLocks/>
                </p:cNvSpPr>
                <p:nvPr>
                  <p:custDataLst>
                    <p:tags r:id="rId309"/>
                  </p:custDataLst>
                </p:nvPr>
              </p:nvSpPr>
              <p:spPr bwMode="auto">
                <a:xfrm>
                  <a:off x="4662488" y="4576763"/>
                  <a:ext cx="61912" cy="57150"/>
                </a:xfrm>
                <a:custGeom>
                  <a:avLst/>
                  <a:gdLst>
                    <a:gd name="T0" fmla="*/ 2147483646 w 135"/>
                    <a:gd name="T1" fmla="*/ 2147483646 h 98"/>
                    <a:gd name="T2" fmla="*/ 2147483646 w 135"/>
                    <a:gd name="T3" fmla="*/ 2147483646 h 98"/>
                    <a:gd name="T4" fmla="*/ 2147483646 w 135"/>
                    <a:gd name="T5" fmla="*/ 2147483646 h 98"/>
                    <a:gd name="T6" fmla="*/ 2147483646 w 135"/>
                    <a:gd name="T7" fmla="*/ 2147483646 h 98"/>
                    <a:gd name="T8" fmla="*/ 2147483646 w 135"/>
                    <a:gd name="T9" fmla="*/ 2147483646 h 98"/>
                    <a:gd name="T10" fmla="*/ 2147483646 w 135"/>
                    <a:gd name="T11" fmla="*/ 2147483646 h 98"/>
                    <a:gd name="T12" fmla="*/ 2147483646 w 135"/>
                    <a:gd name="T13" fmla="*/ 2147483646 h 98"/>
                    <a:gd name="T14" fmla="*/ 2147483646 w 135"/>
                    <a:gd name="T15" fmla="*/ 2147483646 h 98"/>
                    <a:gd name="T16" fmla="*/ 2147483646 w 135"/>
                    <a:gd name="T17" fmla="*/ 2147483646 h 98"/>
                    <a:gd name="T18" fmla="*/ 2147483646 w 135"/>
                    <a:gd name="T19" fmla="*/ 2147483646 h 98"/>
                    <a:gd name="T20" fmla="*/ 2147483646 w 135"/>
                    <a:gd name="T21" fmla="*/ 2147483646 h 98"/>
                    <a:gd name="T22" fmla="*/ 2147483646 w 135"/>
                    <a:gd name="T23" fmla="*/ 0 h 98"/>
                    <a:gd name="T24" fmla="*/ 2147483646 w 135"/>
                    <a:gd name="T25" fmla="*/ 0 h 98"/>
                    <a:gd name="T26" fmla="*/ 2147483646 w 135"/>
                    <a:gd name="T27" fmla="*/ 0 h 98"/>
                    <a:gd name="T28" fmla="*/ 2147483646 w 135"/>
                    <a:gd name="T29" fmla="*/ 2147483646 h 98"/>
                    <a:gd name="T30" fmla="*/ 2147483646 w 135"/>
                    <a:gd name="T31" fmla="*/ 2147483646 h 98"/>
                    <a:gd name="T32" fmla="*/ 2147483646 w 135"/>
                    <a:gd name="T33" fmla="*/ 2147483646 h 98"/>
                    <a:gd name="T34" fmla="*/ 2147483646 w 135"/>
                    <a:gd name="T35" fmla="*/ 2147483646 h 98"/>
                    <a:gd name="T36" fmla="*/ 2147483646 w 135"/>
                    <a:gd name="T37" fmla="*/ 2147483646 h 98"/>
                    <a:gd name="T38" fmla="*/ 2147483646 w 135"/>
                    <a:gd name="T39" fmla="*/ 2147483646 h 98"/>
                    <a:gd name="T40" fmla="*/ 2147483646 w 135"/>
                    <a:gd name="T41" fmla="*/ 2147483646 h 98"/>
                    <a:gd name="T42" fmla="*/ 2147483646 w 135"/>
                    <a:gd name="T43" fmla="*/ 2147483646 h 98"/>
                    <a:gd name="T44" fmla="*/ 2147483646 w 135"/>
                    <a:gd name="T45" fmla="*/ 2147483646 h 98"/>
                    <a:gd name="T46" fmla="*/ 2147483646 w 135"/>
                    <a:gd name="T47" fmla="*/ 2147483646 h 98"/>
                    <a:gd name="T48" fmla="*/ 2147483646 w 135"/>
                    <a:gd name="T49" fmla="*/ 2147483646 h 98"/>
                    <a:gd name="T50" fmla="*/ 2147483646 w 135"/>
                    <a:gd name="T51" fmla="*/ 2147483646 h 98"/>
                    <a:gd name="T52" fmla="*/ 2147483646 w 135"/>
                    <a:gd name="T53" fmla="*/ 2147483646 h 98"/>
                    <a:gd name="T54" fmla="*/ 2147483646 w 135"/>
                    <a:gd name="T55" fmla="*/ 2147483646 h 98"/>
                    <a:gd name="T56" fmla="*/ 2147483646 w 135"/>
                    <a:gd name="T57" fmla="*/ 2147483646 h 98"/>
                    <a:gd name="T58" fmla="*/ 2147483646 w 135"/>
                    <a:gd name="T59" fmla="*/ 2147483646 h 98"/>
                    <a:gd name="T60" fmla="*/ 2147483646 w 135"/>
                    <a:gd name="T61" fmla="*/ 2147483646 h 98"/>
                    <a:gd name="T62" fmla="*/ 2147483646 w 135"/>
                    <a:gd name="T63" fmla="*/ 2147483646 h 98"/>
                    <a:gd name="T64" fmla="*/ 2147483646 w 135"/>
                    <a:gd name="T65" fmla="*/ 2147483646 h 98"/>
                    <a:gd name="T66" fmla="*/ 2147483646 w 135"/>
                    <a:gd name="T67" fmla="*/ 2147483646 h 98"/>
                    <a:gd name="T68" fmla="*/ 2147483646 w 135"/>
                    <a:gd name="T69" fmla="*/ 2147483646 h 98"/>
                    <a:gd name="T70" fmla="*/ 2147483646 w 135"/>
                    <a:gd name="T71" fmla="*/ 2147483646 h 98"/>
                    <a:gd name="T72" fmla="*/ 2147483646 w 135"/>
                    <a:gd name="T73" fmla="*/ 2147483646 h 98"/>
                    <a:gd name="T74" fmla="*/ 2147483646 w 135"/>
                    <a:gd name="T75" fmla="*/ 2147483646 h 98"/>
                    <a:gd name="T76" fmla="*/ 0 w 135"/>
                    <a:gd name="T77" fmla="*/ 2147483646 h 98"/>
                    <a:gd name="T78" fmla="*/ 0 w 135"/>
                    <a:gd name="T79" fmla="*/ 2147483646 h 98"/>
                    <a:gd name="T80" fmla="*/ 2147483646 w 135"/>
                    <a:gd name="T81" fmla="*/ 2147483646 h 9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135"/>
                    <a:gd name="T124" fmla="*/ 0 h 98"/>
                    <a:gd name="T125" fmla="*/ 135 w 135"/>
                    <a:gd name="T126" fmla="*/ 98 h 98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135" h="98">
                      <a:moveTo>
                        <a:pt x="3" y="55"/>
                      </a:moveTo>
                      <a:lnTo>
                        <a:pt x="11" y="54"/>
                      </a:lnTo>
                      <a:lnTo>
                        <a:pt x="18" y="53"/>
                      </a:lnTo>
                      <a:lnTo>
                        <a:pt x="24" y="50"/>
                      </a:lnTo>
                      <a:lnTo>
                        <a:pt x="31" y="47"/>
                      </a:lnTo>
                      <a:lnTo>
                        <a:pt x="42" y="38"/>
                      </a:lnTo>
                      <a:lnTo>
                        <a:pt x="52" y="28"/>
                      </a:lnTo>
                      <a:lnTo>
                        <a:pt x="61" y="18"/>
                      </a:lnTo>
                      <a:lnTo>
                        <a:pt x="71" y="8"/>
                      </a:lnTo>
                      <a:lnTo>
                        <a:pt x="76" y="5"/>
                      </a:lnTo>
                      <a:lnTo>
                        <a:pt x="82" y="2"/>
                      </a:lnTo>
                      <a:lnTo>
                        <a:pt x="88" y="0"/>
                      </a:lnTo>
                      <a:lnTo>
                        <a:pt x="96" y="0"/>
                      </a:lnTo>
                      <a:lnTo>
                        <a:pt x="102" y="0"/>
                      </a:lnTo>
                      <a:lnTo>
                        <a:pt x="110" y="3"/>
                      </a:lnTo>
                      <a:lnTo>
                        <a:pt x="117" y="6"/>
                      </a:lnTo>
                      <a:lnTo>
                        <a:pt x="123" y="11"/>
                      </a:lnTo>
                      <a:lnTo>
                        <a:pt x="128" y="16"/>
                      </a:lnTo>
                      <a:lnTo>
                        <a:pt x="132" y="24"/>
                      </a:lnTo>
                      <a:lnTo>
                        <a:pt x="134" y="30"/>
                      </a:lnTo>
                      <a:lnTo>
                        <a:pt x="135" y="37"/>
                      </a:lnTo>
                      <a:lnTo>
                        <a:pt x="134" y="40"/>
                      </a:lnTo>
                      <a:lnTo>
                        <a:pt x="132" y="43"/>
                      </a:lnTo>
                      <a:lnTo>
                        <a:pt x="129" y="47"/>
                      </a:lnTo>
                      <a:lnTo>
                        <a:pt x="124" y="51"/>
                      </a:lnTo>
                      <a:lnTo>
                        <a:pt x="113" y="61"/>
                      </a:lnTo>
                      <a:lnTo>
                        <a:pt x="100" y="72"/>
                      </a:lnTo>
                      <a:lnTo>
                        <a:pt x="87" y="82"/>
                      </a:lnTo>
                      <a:lnTo>
                        <a:pt x="74" y="91"/>
                      </a:lnTo>
                      <a:lnTo>
                        <a:pt x="63" y="96"/>
                      </a:lnTo>
                      <a:lnTo>
                        <a:pt x="55" y="98"/>
                      </a:lnTo>
                      <a:lnTo>
                        <a:pt x="51" y="97"/>
                      </a:lnTo>
                      <a:lnTo>
                        <a:pt x="43" y="92"/>
                      </a:lnTo>
                      <a:lnTo>
                        <a:pt x="32" y="85"/>
                      </a:lnTo>
                      <a:lnTo>
                        <a:pt x="21" y="77"/>
                      </a:lnTo>
                      <a:lnTo>
                        <a:pt x="11" y="68"/>
                      </a:lnTo>
                      <a:lnTo>
                        <a:pt x="5" y="62"/>
                      </a:lnTo>
                      <a:lnTo>
                        <a:pt x="1" y="59"/>
                      </a:lnTo>
                      <a:lnTo>
                        <a:pt x="0" y="57"/>
                      </a:lnTo>
                      <a:lnTo>
                        <a:pt x="0" y="56"/>
                      </a:lnTo>
                      <a:lnTo>
                        <a:pt x="3" y="5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63" name="Freeform 472">
                  <a:extLst>
                    <a:ext uri="{FF2B5EF4-FFF2-40B4-BE49-F238E27FC236}">
                      <a16:creationId xmlns:a16="http://schemas.microsoft.com/office/drawing/2014/main" xmlns="" id="{F536455E-9C08-48F2-9051-858100DE010E}"/>
                    </a:ext>
                  </a:extLst>
                </p:cNvPr>
                <p:cNvSpPr>
                  <a:spLocks/>
                </p:cNvSpPr>
                <p:nvPr>
                  <p:custDataLst>
                    <p:tags r:id="rId310"/>
                  </p:custDataLst>
                </p:nvPr>
              </p:nvSpPr>
              <p:spPr bwMode="auto">
                <a:xfrm>
                  <a:off x="4433888" y="1892300"/>
                  <a:ext cx="131762" cy="84138"/>
                </a:xfrm>
                <a:custGeom>
                  <a:avLst/>
                  <a:gdLst>
                    <a:gd name="T0" fmla="*/ 2147483646 w 312"/>
                    <a:gd name="T1" fmla="*/ 2147483646 h 155"/>
                    <a:gd name="T2" fmla="*/ 2147483646 w 312"/>
                    <a:gd name="T3" fmla="*/ 2147483646 h 155"/>
                    <a:gd name="T4" fmla="*/ 2147483646 w 312"/>
                    <a:gd name="T5" fmla="*/ 2147483646 h 155"/>
                    <a:gd name="T6" fmla="*/ 2147483646 w 312"/>
                    <a:gd name="T7" fmla="*/ 2147483646 h 155"/>
                    <a:gd name="T8" fmla="*/ 2147483646 w 312"/>
                    <a:gd name="T9" fmla="*/ 2147483646 h 155"/>
                    <a:gd name="T10" fmla="*/ 2147483646 w 312"/>
                    <a:gd name="T11" fmla="*/ 2147483646 h 155"/>
                    <a:gd name="T12" fmla="*/ 2147483646 w 312"/>
                    <a:gd name="T13" fmla="*/ 2147483646 h 155"/>
                    <a:gd name="T14" fmla="*/ 2147483646 w 312"/>
                    <a:gd name="T15" fmla="*/ 2147483646 h 155"/>
                    <a:gd name="T16" fmla="*/ 2147483646 w 312"/>
                    <a:gd name="T17" fmla="*/ 2147483646 h 155"/>
                    <a:gd name="T18" fmla="*/ 2147483646 w 312"/>
                    <a:gd name="T19" fmla="*/ 2147483646 h 155"/>
                    <a:gd name="T20" fmla="*/ 2147483646 w 312"/>
                    <a:gd name="T21" fmla="*/ 2147483646 h 155"/>
                    <a:gd name="T22" fmla="*/ 2147483646 w 312"/>
                    <a:gd name="T23" fmla="*/ 2147483646 h 155"/>
                    <a:gd name="T24" fmla="*/ 2147483646 w 312"/>
                    <a:gd name="T25" fmla="*/ 2147483646 h 155"/>
                    <a:gd name="T26" fmla="*/ 2147483646 w 312"/>
                    <a:gd name="T27" fmla="*/ 2147483646 h 155"/>
                    <a:gd name="T28" fmla="*/ 2147483646 w 312"/>
                    <a:gd name="T29" fmla="*/ 2147483646 h 155"/>
                    <a:gd name="T30" fmla="*/ 2147483646 w 312"/>
                    <a:gd name="T31" fmla="*/ 2147483646 h 155"/>
                    <a:gd name="T32" fmla="*/ 2147483646 w 312"/>
                    <a:gd name="T33" fmla="*/ 2147483646 h 155"/>
                    <a:gd name="T34" fmla="*/ 2147483646 w 312"/>
                    <a:gd name="T35" fmla="*/ 2147483646 h 155"/>
                    <a:gd name="T36" fmla="*/ 2147483646 w 312"/>
                    <a:gd name="T37" fmla="*/ 2147483646 h 155"/>
                    <a:gd name="T38" fmla="*/ 2147483646 w 312"/>
                    <a:gd name="T39" fmla="*/ 2147483646 h 155"/>
                    <a:gd name="T40" fmla="*/ 2147483646 w 312"/>
                    <a:gd name="T41" fmla="*/ 2147483646 h 155"/>
                    <a:gd name="T42" fmla="*/ 2147483646 w 312"/>
                    <a:gd name="T43" fmla="*/ 2147483646 h 155"/>
                    <a:gd name="T44" fmla="*/ 2147483646 w 312"/>
                    <a:gd name="T45" fmla="*/ 2147483646 h 155"/>
                    <a:gd name="T46" fmla="*/ 2147483646 w 312"/>
                    <a:gd name="T47" fmla="*/ 2147483646 h 155"/>
                    <a:gd name="T48" fmla="*/ 2147483646 w 312"/>
                    <a:gd name="T49" fmla="*/ 2147483646 h 155"/>
                    <a:gd name="T50" fmla="*/ 2147483646 w 312"/>
                    <a:gd name="T51" fmla="*/ 2147483646 h 155"/>
                    <a:gd name="T52" fmla="*/ 2147483646 w 312"/>
                    <a:gd name="T53" fmla="*/ 2147483646 h 155"/>
                    <a:gd name="T54" fmla="*/ 2147483646 w 312"/>
                    <a:gd name="T55" fmla="*/ 2147483646 h 155"/>
                    <a:gd name="T56" fmla="*/ 2147483646 w 312"/>
                    <a:gd name="T57" fmla="*/ 2147483646 h 155"/>
                    <a:gd name="T58" fmla="*/ 2147483646 w 312"/>
                    <a:gd name="T59" fmla="*/ 2147483646 h 155"/>
                    <a:gd name="T60" fmla="*/ 2147483646 w 312"/>
                    <a:gd name="T61" fmla="*/ 2147483646 h 155"/>
                    <a:gd name="T62" fmla="*/ 2147483646 w 312"/>
                    <a:gd name="T63" fmla="*/ 2147483646 h 155"/>
                    <a:gd name="T64" fmla="*/ 2147483646 w 312"/>
                    <a:gd name="T65" fmla="*/ 2147483646 h 155"/>
                    <a:gd name="T66" fmla="*/ 2147483646 w 312"/>
                    <a:gd name="T67" fmla="*/ 2147483646 h 155"/>
                    <a:gd name="T68" fmla="*/ 2147483646 w 312"/>
                    <a:gd name="T69" fmla="*/ 2147483646 h 155"/>
                    <a:gd name="T70" fmla="*/ 2147483646 w 312"/>
                    <a:gd name="T71" fmla="*/ 0 h 155"/>
                    <a:gd name="T72" fmla="*/ 2147483646 w 312"/>
                    <a:gd name="T73" fmla="*/ 2147483646 h 155"/>
                    <a:gd name="T74" fmla="*/ 2147483646 w 312"/>
                    <a:gd name="T75" fmla="*/ 2147483646 h 155"/>
                    <a:gd name="T76" fmla="*/ 2147483646 w 312"/>
                    <a:gd name="T77" fmla="*/ 2147483646 h 155"/>
                    <a:gd name="T78" fmla="*/ 2147483646 w 312"/>
                    <a:gd name="T79" fmla="*/ 2147483646 h 155"/>
                    <a:gd name="T80" fmla="*/ 2147483646 w 312"/>
                    <a:gd name="T81" fmla="*/ 2147483646 h 155"/>
                    <a:gd name="T82" fmla="*/ 2147483646 w 312"/>
                    <a:gd name="T83" fmla="*/ 2147483646 h 155"/>
                    <a:gd name="T84" fmla="*/ 2147483646 w 312"/>
                    <a:gd name="T85" fmla="*/ 2147483646 h 155"/>
                    <a:gd name="T86" fmla="*/ 2147483646 w 312"/>
                    <a:gd name="T87" fmla="*/ 2147483646 h 155"/>
                    <a:gd name="T88" fmla="*/ 2147483646 w 312"/>
                    <a:gd name="T89" fmla="*/ 2147483646 h 155"/>
                    <a:gd name="T90" fmla="*/ 2147483646 w 312"/>
                    <a:gd name="T91" fmla="*/ 2147483646 h 155"/>
                    <a:gd name="T92" fmla="*/ 2147483646 w 312"/>
                    <a:gd name="T93" fmla="*/ 2147483646 h 155"/>
                    <a:gd name="T94" fmla="*/ 2147483646 w 312"/>
                    <a:gd name="T95" fmla="*/ 2147483646 h 155"/>
                    <a:gd name="T96" fmla="*/ 2147483646 w 312"/>
                    <a:gd name="T97" fmla="*/ 2147483646 h 155"/>
                    <a:gd name="T98" fmla="*/ 2147483646 w 312"/>
                    <a:gd name="T99" fmla="*/ 2147483646 h 155"/>
                    <a:gd name="T100" fmla="*/ 2147483646 w 312"/>
                    <a:gd name="T101" fmla="*/ 2147483646 h 155"/>
                    <a:gd name="T102" fmla="*/ 2147483646 w 312"/>
                    <a:gd name="T103" fmla="*/ 2147483646 h 155"/>
                    <a:gd name="T104" fmla="*/ 2147483646 w 312"/>
                    <a:gd name="T105" fmla="*/ 2147483646 h 155"/>
                    <a:gd name="T106" fmla="*/ 2147483646 w 312"/>
                    <a:gd name="T107" fmla="*/ 2147483646 h 155"/>
                    <a:gd name="T108" fmla="*/ 2147483646 w 312"/>
                    <a:gd name="T109" fmla="*/ 2147483646 h 155"/>
                    <a:gd name="T110" fmla="*/ 2147483646 w 312"/>
                    <a:gd name="T111" fmla="*/ 2147483646 h 155"/>
                    <a:gd name="T112" fmla="*/ 2147483646 w 312"/>
                    <a:gd name="T113" fmla="*/ 2147483646 h 155"/>
                    <a:gd name="T114" fmla="*/ 0 w 312"/>
                    <a:gd name="T115" fmla="*/ 2147483646 h 155"/>
                    <a:gd name="T116" fmla="*/ 2147483646 w 312"/>
                    <a:gd name="T117" fmla="*/ 2147483646 h 155"/>
                    <a:gd name="T118" fmla="*/ 2147483646 w 312"/>
                    <a:gd name="T119" fmla="*/ 2147483646 h 155"/>
                    <a:gd name="T120" fmla="*/ 2147483646 w 312"/>
                    <a:gd name="T121" fmla="*/ 2147483646 h 155"/>
                    <a:gd name="T122" fmla="*/ 2147483646 w 312"/>
                    <a:gd name="T123" fmla="*/ 2147483646 h 155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12"/>
                    <a:gd name="T187" fmla="*/ 0 h 155"/>
                    <a:gd name="T188" fmla="*/ 312 w 312"/>
                    <a:gd name="T189" fmla="*/ 155 h 155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12" h="155">
                      <a:moveTo>
                        <a:pt x="192" y="155"/>
                      </a:moveTo>
                      <a:lnTo>
                        <a:pt x="194" y="151"/>
                      </a:lnTo>
                      <a:lnTo>
                        <a:pt x="197" y="148"/>
                      </a:lnTo>
                      <a:lnTo>
                        <a:pt x="200" y="145"/>
                      </a:lnTo>
                      <a:lnTo>
                        <a:pt x="203" y="142"/>
                      </a:lnTo>
                      <a:lnTo>
                        <a:pt x="211" y="137"/>
                      </a:lnTo>
                      <a:lnTo>
                        <a:pt x="220" y="132"/>
                      </a:lnTo>
                      <a:lnTo>
                        <a:pt x="238" y="123"/>
                      </a:lnTo>
                      <a:lnTo>
                        <a:pt x="253" y="117"/>
                      </a:lnTo>
                      <a:lnTo>
                        <a:pt x="255" y="109"/>
                      </a:lnTo>
                      <a:lnTo>
                        <a:pt x="260" y="97"/>
                      </a:lnTo>
                      <a:lnTo>
                        <a:pt x="264" y="91"/>
                      </a:lnTo>
                      <a:lnTo>
                        <a:pt x="267" y="86"/>
                      </a:lnTo>
                      <a:lnTo>
                        <a:pt x="269" y="82"/>
                      </a:lnTo>
                      <a:lnTo>
                        <a:pt x="272" y="81"/>
                      </a:lnTo>
                      <a:lnTo>
                        <a:pt x="312" y="44"/>
                      </a:lnTo>
                      <a:lnTo>
                        <a:pt x="312" y="39"/>
                      </a:lnTo>
                      <a:lnTo>
                        <a:pt x="310" y="35"/>
                      </a:lnTo>
                      <a:lnTo>
                        <a:pt x="306" y="32"/>
                      </a:lnTo>
                      <a:lnTo>
                        <a:pt x="302" y="30"/>
                      </a:lnTo>
                      <a:lnTo>
                        <a:pt x="291" y="28"/>
                      </a:lnTo>
                      <a:lnTo>
                        <a:pt x="280" y="27"/>
                      </a:lnTo>
                      <a:lnTo>
                        <a:pt x="268" y="27"/>
                      </a:lnTo>
                      <a:lnTo>
                        <a:pt x="259" y="27"/>
                      </a:lnTo>
                      <a:lnTo>
                        <a:pt x="256" y="26"/>
                      </a:lnTo>
                      <a:lnTo>
                        <a:pt x="253" y="25"/>
                      </a:lnTo>
                      <a:lnTo>
                        <a:pt x="252" y="23"/>
                      </a:lnTo>
                      <a:lnTo>
                        <a:pt x="253" y="20"/>
                      </a:lnTo>
                      <a:lnTo>
                        <a:pt x="232" y="19"/>
                      </a:lnTo>
                      <a:lnTo>
                        <a:pt x="216" y="17"/>
                      </a:lnTo>
                      <a:lnTo>
                        <a:pt x="202" y="13"/>
                      </a:lnTo>
                      <a:lnTo>
                        <a:pt x="189" y="9"/>
                      </a:lnTo>
                      <a:lnTo>
                        <a:pt x="177" y="6"/>
                      </a:lnTo>
                      <a:lnTo>
                        <a:pt x="163" y="3"/>
                      </a:lnTo>
                      <a:lnTo>
                        <a:pt x="146" y="1"/>
                      </a:lnTo>
                      <a:lnTo>
                        <a:pt x="126" y="0"/>
                      </a:lnTo>
                      <a:lnTo>
                        <a:pt x="110" y="1"/>
                      </a:lnTo>
                      <a:lnTo>
                        <a:pt x="74" y="4"/>
                      </a:lnTo>
                      <a:lnTo>
                        <a:pt x="53" y="6"/>
                      </a:lnTo>
                      <a:lnTo>
                        <a:pt x="34" y="8"/>
                      </a:lnTo>
                      <a:lnTo>
                        <a:pt x="18" y="10"/>
                      </a:lnTo>
                      <a:lnTo>
                        <a:pt x="7" y="12"/>
                      </a:lnTo>
                      <a:lnTo>
                        <a:pt x="9" y="17"/>
                      </a:lnTo>
                      <a:lnTo>
                        <a:pt x="11" y="19"/>
                      </a:lnTo>
                      <a:lnTo>
                        <a:pt x="13" y="19"/>
                      </a:lnTo>
                      <a:lnTo>
                        <a:pt x="15" y="20"/>
                      </a:lnTo>
                      <a:lnTo>
                        <a:pt x="18" y="20"/>
                      </a:lnTo>
                      <a:lnTo>
                        <a:pt x="19" y="20"/>
                      </a:lnTo>
                      <a:lnTo>
                        <a:pt x="20" y="22"/>
                      </a:lnTo>
                      <a:lnTo>
                        <a:pt x="20" y="26"/>
                      </a:lnTo>
                      <a:lnTo>
                        <a:pt x="20" y="30"/>
                      </a:lnTo>
                      <a:lnTo>
                        <a:pt x="19" y="35"/>
                      </a:lnTo>
                      <a:lnTo>
                        <a:pt x="18" y="39"/>
                      </a:lnTo>
                      <a:lnTo>
                        <a:pt x="15" y="42"/>
                      </a:lnTo>
                      <a:lnTo>
                        <a:pt x="12" y="45"/>
                      </a:lnTo>
                      <a:lnTo>
                        <a:pt x="9" y="48"/>
                      </a:lnTo>
                      <a:lnTo>
                        <a:pt x="4" y="49"/>
                      </a:lnTo>
                      <a:lnTo>
                        <a:pt x="0" y="50"/>
                      </a:lnTo>
                      <a:lnTo>
                        <a:pt x="74" y="68"/>
                      </a:lnTo>
                      <a:lnTo>
                        <a:pt x="87" y="111"/>
                      </a:lnTo>
                      <a:lnTo>
                        <a:pt x="166" y="123"/>
                      </a:lnTo>
                      <a:lnTo>
                        <a:pt x="192" y="15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64" name="Freeform 473">
                  <a:extLst>
                    <a:ext uri="{FF2B5EF4-FFF2-40B4-BE49-F238E27FC236}">
                      <a16:creationId xmlns:a16="http://schemas.microsoft.com/office/drawing/2014/main" xmlns="" id="{D8E97565-6053-42F7-9EFB-1F892025F479}"/>
                    </a:ext>
                  </a:extLst>
                </p:cNvPr>
                <p:cNvSpPr>
                  <a:spLocks/>
                </p:cNvSpPr>
                <p:nvPr>
                  <p:custDataLst>
                    <p:tags r:id="rId311"/>
                  </p:custDataLst>
                </p:nvPr>
              </p:nvSpPr>
              <p:spPr bwMode="auto">
                <a:xfrm>
                  <a:off x="4140200" y="2078038"/>
                  <a:ext cx="19050" cy="60325"/>
                </a:xfrm>
                <a:custGeom>
                  <a:avLst/>
                  <a:gdLst>
                    <a:gd name="T0" fmla="*/ 0 w 46"/>
                    <a:gd name="T1" fmla="*/ 2147483646 h 50"/>
                    <a:gd name="T2" fmla="*/ 2147483646 w 46"/>
                    <a:gd name="T3" fmla="*/ 2147483646 h 50"/>
                    <a:gd name="T4" fmla="*/ 2147483646 w 46"/>
                    <a:gd name="T5" fmla="*/ 2147483646 h 50"/>
                    <a:gd name="T6" fmla="*/ 2147483646 w 46"/>
                    <a:gd name="T7" fmla="*/ 2147483646 h 50"/>
                    <a:gd name="T8" fmla="*/ 2147483646 w 46"/>
                    <a:gd name="T9" fmla="*/ 2147483646 h 50"/>
                    <a:gd name="T10" fmla="*/ 2147483646 w 46"/>
                    <a:gd name="T11" fmla="*/ 2147483646 h 50"/>
                    <a:gd name="T12" fmla="*/ 2147483646 w 46"/>
                    <a:gd name="T13" fmla="*/ 2147483646 h 50"/>
                    <a:gd name="T14" fmla="*/ 2147483646 w 46"/>
                    <a:gd name="T15" fmla="*/ 0 h 50"/>
                    <a:gd name="T16" fmla="*/ 2147483646 w 46"/>
                    <a:gd name="T17" fmla="*/ 2147483646 h 50"/>
                    <a:gd name="T18" fmla="*/ 2147483646 w 46"/>
                    <a:gd name="T19" fmla="*/ 2147483646 h 50"/>
                    <a:gd name="T20" fmla="*/ 2147483646 w 46"/>
                    <a:gd name="T21" fmla="*/ 2147483646 h 50"/>
                    <a:gd name="T22" fmla="*/ 2147483646 w 46"/>
                    <a:gd name="T23" fmla="*/ 2147483646 h 50"/>
                    <a:gd name="T24" fmla="*/ 2147483646 w 46"/>
                    <a:gd name="T25" fmla="*/ 2147483646 h 50"/>
                    <a:gd name="T26" fmla="*/ 2147483646 w 46"/>
                    <a:gd name="T27" fmla="*/ 2147483646 h 50"/>
                    <a:gd name="T28" fmla="*/ 0 w 46"/>
                    <a:gd name="T29" fmla="*/ 2147483646 h 5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6"/>
                    <a:gd name="T46" fmla="*/ 0 h 50"/>
                    <a:gd name="T47" fmla="*/ 46 w 46"/>
                    <a:gd name="T48" fmla="*/ 50 h 5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6" h="50">
                      <a:moveTo>
                        <a:pt x="0" y="25"/>
                      </a:moveTo>
                      <a:lnTo>
                        <a:pt x="2" y="18"/>
                      </a:lnTo>
                      <a:lnTo>
                        <a:pt x="1" y="14"/>
                      </a:lnTo>
                      <a:lnTo>
                        <a:pt x="2" y="13"/>
                      </a:lnTo>
                      <a:lnTo>
                        <a:pt x="3" y="13"/>
                      </a:lnTo>
                      <a:lnTo>
                        <a:pt x="6" y="12"/>
                      </a:lnTo>
                      <a:lnTo>
                        <a:pt x="13" y="12"/>
                      </a:lnTo>
                      <a:lnTo>
                        <a:pt x="46" y="0"/>
                      </a:lnTo>
                      <a:lnTo>
                        <a:pt x="46" y="50"/>
                      </a:lnTo>
                      <a:lnTo>
                        <a:pt x="40" y="49"/>
                      </a:lnTo>
                      <a:lnTo>
                        <a:pt x="33" y="45"/>
                      </a:lnTo>
                      <a:lnTo>
                        <a:pt x="25" y="41"/>
                      </a:lnTo>
                      <a:lnTo>
                        <a:pt x="17" y="37"/>
                      </a:lnTo>
                      <a:lnTo>
                        <a:pt x="5" y="28"/>
                      </a:lnTo>
                      <a:lnTo>
                        <a:pt x="0" y="2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65" name="Freeform 474">
                  <a:extLst>
                    <a:ext uri="{FF2B5EF4-FFF2-40B4-BE49-F238E27FC236}">
                      <a16:creationId xmlns:a16="http://schemas.microsoft.com/office/drawing/2014/main" xmlns="" id="{81CAF717-8E85-428D-AB23-FB9958FC3836}"/>
                    </a:ext>
                  </a:extLst>
                </p:cNvPr>
                <p:cNvSpPr>
                  <a:spLocks/>
                </p:cNvSpPr>
                <p:nvPr>
                  <p:custDataLst>
                    <p:tags r:id="rId312"/>
                  </p:custDataLst>
                </p:nvPr>
              </p:nvSpPr>
              <p:spPr bwMode="auto">
                <a:xfrm>
                  <a:off x="4837113" y="3962400"/>
                  <a:ext cx="69850" cy="241300"/>
                </a:xfrm>
                <a:custGeom>
                  <a:avLst/>
                  <a:gdLst>
                    <a:gd name="T0" fmla="*/ 2147483646 w 166"/>
                    <a:gd name="T1" fmla="*/ 2147483646 h 456"/>
                    <a:gd name="T2" fmla="*/ 2147483646 w 166"/>
                    <a:gd name="T3" fmla="*/ 2147483646 h 456"/>
                    <a:gd name="T4" fmla="*/ 2147483646 w 166"/>
                    <a:gd name="T5" fmla="*/ 2147483646 h 456"/>
                    <a:gd name="T6" fmla="*/ 2147483646 w 166"/>
                    <a:gd name="T7" fmla="*/ 2147483646 h 456"/>
                    <a:gd name="T8" fmla="*/ 2147483646 w 166"/>
                    <a:gd name="T9" fmla="*/ 2147483646 h 456"/>
                    <a:gd name="T10" fmla="*/ 2147483646 w 166"/>
                    <a:gd name="T11" fmla="*/ 2147483646 h 456"/>
                    <a:gd name="T12" fmla="*/ 2147483646 w 166"/>
                    <a:gd name="T13" fmla="*/ 2147483646 h 456"/>
                    <a:gd name="T14" fmla="*/ 2147483646 w 166"/>
                    <a:gd name="T15" fmla="*/ 2147483646 h 456"/>
                    <a:gd name="T16" fmla="*/ 2147483646 w 166"/>
                    <a:gd name="T17" fmla="*/ 2147483646 h 456"/>
                    <a:gd name="T18" fmla="*/ 2147483646 w 166"/>
                    <a:gd name="T19" fmla="*/ 2147483646 h 456"/>
                    <a:gd name="T20" fmla="*/ 2147483646 w 166"/>
                    <a:gd name="T21" fmla="*/ 2147483646 h 456"/>
                    <a:gd name="T22" fmla="*/ 2147483646 w 166"/>
                    <a:gd name="T23" fmla="*/ 2147483646 h 456"/>
                    <a:gd name="T24" fmla="*/ 2147483646 w 166"/>
                    <a:gd name="T25" fmla="*/ 2147483646 h 456"/>
                    <a:gd name="T26" fmla="*/ 2147483646 w 166"/>
                    <a:gd name="T27" fmla="*/ 2147483646 h 456"/>
                    <a:gd name="T28" fmla="*/ 2147483646 w 166"/>
                    <a:gd name="T29" fmla="*/ 2147483646 h 456"/>
                    <a:gd name="T30" fmla="*/ 2147483646 w 166"/>
                    <a:gd name="T31" fmla="*/ 2147483646 h 456"/>
                    <a:gd name="T32" fmla="*/ 2147483646 w 166"/>
                    <a:gd name="T33" fmla="*/ 2147483646 h 456"/>
                    <a:gd name="T34" fmla="*/ 2147483646 w 166"/>
                    <a:gd name="T35" fmla="*/ 2147483646 h 456"/>
                    <a:gd name="T36" fmla="*/ 2147483646 w 166"/>
                    <a:gd name="T37" fmla="*/ 2147483646 h 456"/>
                    <a:gd name="T38" fmla="*/ 2147483646 w 166"/>
                    <a:gd name="T39" fmla="*/ 2147483646 h 456"/>
                    <a:gd name="T40" fmla="*/ 2147483646 w 166"/>
                    <a:gd name="T41" fmla="*/ 2147483646 h 456"/>
                    <a:gd name="T42" fmla="*/ 2147483646 w 166"/>
                    <a:gd name="T43" fmla="*/ 2147483646 h 456"/>
                    <a:gd name="T44" fmla="*/ 2147483646 w 166"/>
                    <a:gd name="T45" fmla="*/ 2147483646 h 456"/>
                    <a:gd name="T46" fmla="*/ 2147483646 w 166"/>
                    <a:gd name="T47" fmla="*/ 2147483646 h 456"/>
                    <a:gd name="T48" fmla="*/ 2147483646 w 166"/>
                    <a:gd name="T49" fmla="*/ 2147483646 h 456"/>
                    <a:gd name="T50" fmla="*/ 2147483646 w 166"/>
                    <a:gd name="T51" fmla="*/ 2147483646 h 456"/>
                    <a:gd name="T52" fmla="*/ 2147483646 w 166"/>
                    <a:gd name="T53" fmla="*/ 2147483646 h 456"/>
                    <a:gd name="T54" fmla="*/ 2147483646 w 166"/>
                    <a:gd name="T55" fmla="*/ 2147483646 h 456"/>
                    <a:gd name="T56" fmla="*/ 2147483646 w 166"/>
                    <a:gd name="T57" fmla="*/ 2147483646 h 456"/>
                    <a:gd name="T58" fmla="*/ 2147483646 w 166"/>
                    <a:gd name="T59" fmla="*/ 2147483646 h 456"/>
                    <a:gd name="T60" fmla="*/ 2147483646 w 166"/>
                    <a:gd name="T61" fmla="*/ 2147483646 h 456"/>
                    <a:gd name="T62" fmla="*/ 2147483646 w 166"/>
                    <a:gd name="T63" fmla="*/ 2147483646 h 456"/>
                    <a:gd name="T64" fmla="*/ 2147483646 w 166"/>
                    <a:gd name="T65" fmla="*/ 2147483646 h 456"/>
                    <a:gd name="T66" fmla="*/ 2147483646 w 166"/>
                    <a:gd name="T67" fmla="*/ 2147483646 h 456"/>
                    <a:gd name="T68" fmla="*/ 2147483646 w 166"/>
                    <a:gd name="T69" fmla="*/ 2147483646 h 456"/>
                    <a:gd name="T70" fmla="*/ 2147483646 w 166"/>
                    <a:gd name="T71" fmla="*/ 2147483646 h 456"/>
                    <a:gd name="T72" fmla="*/ 2147483646 w 166"/>
                    <a:gd name="T73" fmla="*/ 2147483646 h 456"/>
                    <a:gd name="T74" fmla="*/ 2147483646 w 166"/>
                    <a:gd name="T75" fmla="*/ 2147483646 h 456"/>
                    <a:gd name="T76" fmla="*/ 2147483646 w 166"/>
                    <a:gd name="T77" fmla="*/ 2147483646 h 456"/>
                    <a:gd name="T78" fmla="*/ 2147483646 w 166"/>
                    <a:gd name="T79" fmla="*/ 2147483646 h 456"/>
                    <a:gd name="T80" fmla="*/ 2147483646 w 166"/>
                    <a:gd name="T81" fmla="*/ 2147483646 h 456"/>
                    <a:gd name="T82" fmla="*/ 2147483646 w 166"/>
                    <a:gd name="T83" fmla="*/ 2147483646 h 456"/>
                    <a:gd name="T84" fmla="*/ 2147483646 w 166"/>
                    <a:gd name="T85" fmla="*/ 2147483646 h 456"/>
                    <a:gd name="T86" fmla="*/ 2147483646 w 166"/>
                    <a:gd name="T87" fmla="*/ 2147483646 h 456"/>
                    <a:gd name="T88" fmla="*/ 2147483646 w 166"/>
                    <a:gd name="T89" fmla="*/ 2147483646 h 456"/>
                    <a:gd name="T90" fmla="*/ 2147483646 w 166"/>
                    <a:gd name="T91" fmla="*/ 2147483646 h 456"/>
                    <a:gd name="T92" fmla="*/ 2147483646 w 166"/>
                    <a:gd name="T93" fmla="*/ 2147483646 h 456"/>
                    <a:gd name="T94" fmla="*/ 2147483646 w 166"/>
                    <a:gd name="T95" fmla="*/ 2147483646 h 456"/>
                    <a:gd name="T96" fmla="*/ 2147483646 w 166"/>
                    <a:gd name="T97" fmla="*/ 2147483646 h 456"/>
                    <a:gd name="T98" fmla="*/ 2147483646 w 166"/>
                    <a:gd name="T99" fmla="*/ 2147483646 h 456"/>
                    <a:gd name="T100" fmla="*/ 2147483646 w 166"/>
                    <a:gd name="T101" fmla="*/ 2147483646 h 45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66"/>
                    <a:gd name="T154" fmla="*/ 0 h 456"/>
                    <a:gd name="T155" fmla="*/ 166 w 166"/>
                    <a:gd name="T156" fmla="*/ 456 h 45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66" h="456">
                      <a:moveTo>
                        <a:pt x="7" y="277"/>
                      </a:moveTo>
                      <a:lnTo>
                        <a:pt x="10" y="282"/>
                      </a:lnTo>
                      <a:lnTo>
                        <a:pt x="14" y="287"/>
                      </a:lnTo>
                      <a:lnTo>
                        <a:pt x="19" y="290"/>
                      </a:lnTo>
                      <a:lnTo>
                        <a:pt x="25" y="294"/>
                      </a:lnTo>
                      <a:lnTo>
                        <a:pt x="37" y="300"/>
                      </a:lnTo>
                      <a:lnTo>
                        <a:pt x="52" y="304"/>
                      </a:lnTo>
                      <a:lnTo>
                        <a:pt x="58" y="306"/>
                      </a:lnTo>
                      <a:lnTo>
                        <a:pt x="65" y="309"/>
                      </a:lnTo>
                      <a:lnTo>
                        <a:pt x="70" y="312"/>
                      </a:lnTo>
                      <a:lnTo>
                        <a:pt x="76" y="316"/>
                      </a:lnTo>
                      <a:lnTo>
                        <a:pt x="80" y="320"/>
                      </a:lnTo>
                      <a:lnTo>
                        <a:pt x="84" y="325"/>
                      </a:lnTo>
                      <a:lnTo>
                        <a:pt x="86" y="331"/>
                      </a:lnTo>
                      <a:lnTo>
                        <a:pt x="87" y="339"/>
                      </a:lnTo>
                      <a:lnTo>
                        <a:pt x="86" y="347"/>
                      </a:lnTo>
                      <a:lnTo>
                        <a:pt x="82" y="356"/>
                      </a:lnTo>
                      <a:lnTo>
                        <a:pt x="78" y="363"/>
                      </a:lnTo>
                      <a:lnTo>
                        <a:pt x="74" y="369"/>
                      </a:lnTo>
                      <a:lnTo>
                        <a:pt x="68" y="375"/>
                      </a:lnTo>
                      <a:lnTo>
                        <a:pt x="64" y="381"/>
                      </a:lnTo>
                      <a:lnTo>
                        <a:pt x="62" y="388"/>
                      </a:lnTo>
                      <a:lnTo>
                        <a:pt x="60" y="394"/>
                      </a:lnTo>
                      <a:lnTo>
                        <a:pt x="60" y="400"/>
                      </a:lnTo>
                      <a:lnTo>
                        <a:pt x="62" y="405"/>
                      </a:lnTo>
                      <a:lnTo>
                        <a:pt x="64" y="411"/>
                      </a:lnTo>
                      <a:lnTo>
                        <a:pt x="67" y="416"/>
                      </a:lnTo>
                      <a:lnTo>
                        <a:pt x="76" y="424"/>
                      </a:lnTo>
                      <a:lnTo>
                        <a:pt x="85" y="432"/>
                      </a:lnTo>
                      <a:lnTo>
                        <a:pt x="104" y="445"/>
                      </a:lnTo>
                      <a:lnTo>
                        <a:pt x="120" y="456"/>
                      </a:lnTo>
                      <a:lnTo>
                        <a:pt x="120" y="443"/>
                      </a:lnTo>
                      <a:lnTo>
                        <a:pt x="120" y="432"/>
                      </a:lnTo>
                      <a:lnTo>
                        <a:pt x="120" y="423"/>
                      </a:lnTo>
                      <a:lnTo>
                        <a:pt x="120" y="413"/>
                      </a:lnTo>
                      <a:lnTo>
                        <a:pt x="131" y="413"/>
                      </a:lnTo>
                      <a:lnTo>
                        <a:pt x="141" y="410"/>
                      </a:lnTo>
                      <a:lnTo>
                        <a:pt x="145" y="407"/>
                      </a:lnTo>
                      <a:lnTo>
                        <a:pt x="149" y="405"/>
                      </a:lnTo>
                      <a:lnTo>
                        <a:pt x="153" y="402"/>
                      </a:lnTo>
                      <a:lnTo>
                        <a:pt x="155" y="399"/>
                      </a:lnTo>
                      <a:lnTo>
                        <a:pt x="160" y="393"/>
                      </a:lnTo>
                      <a:lnTo>
                        <a:pt x="164" y="384"/>
                      </a:lnTo>
                      <a:lnTo>
                        <a:pt x="166" y="375"/>
                      </a:lnTo>
                      <a:lnTo>
                        <a:pt x="166" y="364"/>
                      </a:lnTo>
                      <a:lnTo>
                        <a:pt x="165" y="350"/>
                      </a:lnTo>
                      <a:lnTo>
                        <a:pt x="163" y="339"/>
                      </a:lnTo>
                      <a:lnTo>
                        <a:pt x="158" y="328"/>
                      </a:lnTo>
                      <a:lnTo>
                        <a:pt x="153" y="318"/>
                      </a:lnTo>
                      <a:lnTo>
                        <a:pt x="148" y="307"/>
                      </a:lnTo>
                      <a:lnTo>
                        <a:pt x="144" y="296"/>
                      </a:lnTo>
                      <a:lnTo>
                        <a:pt x="141" y="284"/>
                      </a:lnTo>
                      <a:lnTo>
                        <a:pt x="140" y="271"/>
                      </a:lnTo>
                      <a:lnTo>
                        <a:pt x="135" y="269"/>
                      </a:lnTo>
                      <a:lnTo>
                        <a:pt x="127" y="261"/>
                      </a:lnTo>
                      <a:lnTo>
                        <a:pt x="118" y="251"/>
                      </a:lnTo>
                      <a:lnTo>
                        <a:pt x="108" y="238"/>
                      </a:lnTo>
                      <a:lnTo>
                        <a:pt x="97" y="224"/>
                      </a:lnTo>
                      <a:lnTo>
                        <a:pt x="88" y="211"/>
                      </a:lnTo>
                      <a:lnTo>
                        <a:pt x="85" y="206"/>
                      </a:lnTo>
                      <a:lnTo>
                        <a:pt x="82" y="200"/>
                      </a:lnTo>
                      <a:lnTo>
                        <a:pt x="80" y="195"/>
                      </a:lnTo>
                      <a:lnTo>
                        <a:pt x="80" y="192"/>
                      </a:lnTo>
                      <a:lnTo>
                        <a:pt x="81" y="177"/>
                      </a:lnTo>
                      <a:lnTo>
                        <a:pt x="85" y="157"/>
                      </a:lnTo>
                      <a:lnTo>
                        <a:pt x="88" y="147"/>
                      </a:lnTo>
                      <a:lnTo>
                        <a:pt x="91" y="138"/>
                      </a:lnTo>
                      <a:lnTo>
                        <a:pt x="96" y="129"/>
                      </a:lnTo>
                      <a:lnTo>
                        <a:pt x="100" y="123"/>
                      </a:lnTo>
                      <a:lnTo>
                        <a:pt x="98" y="113"/>
                      </a:lnTo>
                      <a:lnTo>
                        <a:pt x="96" y="99"/>
                      </a:lnTo>
                      <a:lnTo>
                        <a:pt x="95" y="82"/>
                      </a:lnTo>
                      <a:lnTo>
                        <a:pt x="93" y="63"/>
                      </a:lnTo>
                      <a:lnTo>
                        <a:pt x="92" y="45"/>
                      </a:lnTo>
                      <a:lnTo>
                        <a:pt x="90" y="30"/>
                      </a:lnTo>
                      <a:lnTo>
                        <a:pt x="89" y="18"/>
                      </a:lnTo>
                      <a:lnTo>
                        <a:pt x="87" y="12"/>
                      </a:lnTo>
                      <a:lnTo>
                        <a:pt x="71" y="8"/>
                      </a:lnTo>
                      <a:lnTo>
                        <a:pt x="54" y="6"/>
                      </a:lnTo>
                      <a:lnTo>
                        <a:pt x="33" y="4"/>
                      </a:lnTo>
                      <a:lnTo>
                        <a:pt x="7" y="0"/>
                      </a:lnTo>
                      <a:lnTo>
                        <a:pt x="12" y="10"/>
                      </a:lnTo>
                      <a:lnTo>
                        <a:pt x="19" y="21"/>
                      </a:lnTo>
                      <a:lnTo>
                        <a:pt x="22" y="25"/>
                      </a:lnTo>
                      <a:lnTo>
                        <a:pt x="28" y="28"/>
                      </a:lnTo>
                      <a:lnTo>
                        <a:pt x="33" y="30"/>
                      </a:lnTo>
                      <a:lnTo>
                        <a:pt x="40" y="31"/>
                      </a:lnTo>
                      <a:lnTo>
                        <a:pt x="40" y="44"/>
                      </a:lnTo>
                      <a:lnTo>
                        <a:pt x="40" y="55"/>
                      </a:lnTo>
                      <a:lnTo>
                        <a:pt x="40" y="64"/>
                      </a:lnTo>
                      <a:lnTo>
                        <a:pt x="40" y="74"/>
                      </a:lnTo>
                      <a:lnTo>
                        <a:pt x="40" y="78"/>
                      </a:lnTo>
                      <a:lnTo>
                        <a:pt x="39" y="81"/>
                      </a:lnTo>
                      <a:lnTo>
                        <a:pt x="36" y="85"/>
                      </a:lnTo>
                      <a:lnTo>
                        <a:pt x="35" y="88"/>
                      </a:lnTo>
                      <a:lnTo>
                        <a:pt x="29" y="95"/>
                      </a:lnTo>
                      <a:lnTo>
                        <a:pt x="22" y="102"/>
                      </a:lnTo>
                      <a:lnTo>
                        <a:pt x="15" y="109"/>
                      </a:lnTo>
                      <a:lnTo>
                        <a:pt x="9" y="115"/>
                      </a:lnTo>
                      <a:lnTo>
                        <a:pt x="3" y="122"/>
                      </a:lnTo>
                      <a:lnTo>
                        <a:pt x="0" y="129"/>
                      </a:lnTo>
                      <a:lnTo>
                        <a:pt x="7" y="27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66" name="Freeform 475">
                  <a:extLst>
                    <a:ext uri="{FF2B5EF4-FFF2-40B4-BE49-F238E27FC236}">
                      <a16:creationId xmlns:a16="http://schemas.microsoft.com/office/drawing/2014/main" xmlns="" id="{00CD7DAC-BC2C-4269-9567-8AEDFBBE9718}"/>
                    </a:ext>
                  </a:extLst>
                </p:cNvPr>
                <p:cNvSpPr>
                  <a:spLocks/>
                </p:cNvSpPr>
                <p:nvPr>
                  <p:custDataLst>
                    <p:tags r:id="rId313"/>
                  </p:custDataLst>
                </p:nvPr>
              </p:nvSpPr>
              <p:spPr bwMode="auto">
                <a:xfrm>
                  <a:off x="4329113" y="2533650"/>
                  <a:ext cx="14287" cy="57150"/>
                </a:xfrm>
                <a:custGeom>
                  <a:avLst/>
                  <a:gdLst>
                    <a:gd name="T0" fmla="*/ 2147483646 w 27"/>
                    <a:gd name="T1" fmla="*/ 0 h 19"/>
                    <a:gd name="T2" fmla="*/ 2147483646 w 27"/>
                    <a:gd name="T3" fmla="*/ 2147483646 h 19"/>
                    <a:gd name="T4" fmla="*/ 2147483646 w 27"/>
                    <a:gd name="T5" fmla="*/ 2147483646 h 19"/>
                    <a:gd name="T6" fmla="*/ 2147483646 w 27"/>
                    <a:gd name="T7" fmla="*/ 2147483646 h 19"/>
                    <a:gd name="T8" fmla="*/ 0 w 27"/>
                    <a:gd name="T9" fmla="*/ 2147483646 h 19"/>
                    <a:gd name="T10" fmla="*/ 2147483646 w 27"/>
                    <a:gd name="T11" fmla="*/ 2147483646 h 19"/>
                    <a:gd name="T12" fmla="*/ 2147483646 w 27"/>
                    <a:gd name="T13" fmla="*/ 0 h 1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7"/>
                    <a:gd name="T22" fmla="*/ 0 h 19"/>
                    <a:gd name="T23" fmla="*/ 27 w 27"/>
                    <a:gd name="T24" fmla="*/ 19 h 19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7" h="19">
                      <a:moveTo>
                        <a:pt x="27" y="0"/>
                      </a:moveTo>
                      <a:lnTo>
                        <a:pt x="27" y="12"/>
                      </a:lnTo>
                      <a:lnTo>
                        <a:pt x="27" y="19"/>
                      </a:lnTo>
                      <a:lnTo>
                        <a:pt x="9" y="19"/>
                      </a:lnTo>
                      <a:lnTo>
                        <a:pt x="0" y="19"/>
                      </a:lnTo>
                      <a:lnTo>
                        <a:pt x="9" y="12"/>
                      </a:lnTo>
                      <a:lnTo>
                        <a:pt x="27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67" name="Freeform 476">
                  <a:extLst>
                    <a:ext uri="{FF2B5EF4-FFF2-40B4-BE49-F238E27FC236}">
                      <a16:creationId xmlns:a16="http://schemas.microsoft.com/office/drawing/2014/main" xmlns="" id="{69641901-DBC7-47C4-8376-84E78FE4AB6F}"/>
                    </a:ext>
                  </a:extLst>
                </p:cNvPr>
                <p:cNvSpPr>
                  <a:spLocks/>
                </p:cNvSpPr>
                <p:nvPr>
                  <p:custDataLst>
                    <p:tags r:id="rId314"/>
                  </p:custDataLst>
                </p:nvPr>
              </p:nvSpPr>
              <p:spPr bwMode="auto">
                <a:xfrm>
                  <a:off x="4648200" y="4154488"/>
                  <a:ext cx="188913" cy="217487"/>
                </a:xfrm>
                <a:custGeom>
                  <a:avLst/>
                  <a:gdLst>
                    <a:gd name="T0" fmla="*/ 2147483646 w 438"/>
                    <a:gd name="T1" fmla="*/ 2147483646 h 406"/>
                    <a:gd name="T2" fmla="*/ 2147483646 w 438"/>
                    <a:gd name="T3" fmla="*/ 2147483646 h 406"/>
                    <a:gd name="T4" fmla="*/ 2147483646 w 438"/>
                    <a:gd name="T5" fmla="*/ 2147483646 h 406"/>
                    <a:gd name="T6" fmla="*/ 2147483646 w 438"/>
                    <a:gd name="T7" fmla="*/ 2147483646 h 406"/>
                    <a:gd name="T8" fmla="*/ 2147483646 w 438"/>
                    <a:gd name="T9" fmla="*/ 2147483646 h 406"/>
                    <a:gd name="T10" fmla="*/ 2147483646 w 438"/>
                    <a:gd name="T11" fmla="*/ 2147483646 h 406"/>
                    <a:gd name="T12" fmla="*/ 2147483646 w 438"/>
                    <a:gd name="T13" fmla="*/ 2147483646 h 406"/>
                    <a:gd name="T14" fmla="*/ 2147483646 w 438"/>
                    <a:gd name="T15" fmla="*/ 2147483646 h 406"/>
                    <a:gd name="T16" fmla="*/ 2147483646 w 438"/>
                    <a:gd name="T17" fmla="*/ 2147483646 h 406"/>
                    <a:gd name="T18" fmla="*/ 2147483646 w 438"/>
                    <a:gd name="T19" fmla="*/ 2147483646 h 406"/>
                    <a:gd name="T20" fmla="*/ 2147483646 w 438"/>
                    <a:gd name="T21" fmla="*/ 2147483646 h 406"/>
                    <a:gd name="T22" fmla="*/ 2147483646 w 438"/>
                    <a:gd name="T23" fmla="*/ 2147483646 h 406"/>
                    <a:gd name="T24" fmla="*/ 2147483646 w 438"/>
                    <a:gd name="T25" fmla="*/ 2147483646 h 406"/>
                    <a:gd name="T26" fmla="*/ 2147483646 w 438"/>
                    <a:gd name="T27" fmla="*/ 2147483646 h 406"/>
                    <a:gd name="T28" fmla="*/ 2147483646 w 438"/>
                    <a:gd name="T29" fmla="*/ 2147483646 h 406"/>
                    <a:gd name="T30" fmla="*/ 2147483646 w 438"/>
                    <a:gd name="T31" fmla="*/ 2147483646 h 406"/>
                    <a:gd name="T32" fmla="*/ 2147483646 w 438"/>
                    <a:gd name="T33" fmla="*/ 2147483646 h 406"/>
                    <a:gd name="T34" fmla="*/ 2147483646 w 438"/>
                    <a:gd name="T35" fmla="*/ 2147483646 h 406"/>
                    <a:gd name="T36" fmla="*/ 2147483646 w 438"/>
                    <a:gd name="T37" fmla="*/ 2147483646 h 406"/>
                    <a:gd name="T38" fmla="*/ 2147483646 w 438"/>
                    <a:gd name="T39" fmla="*/ 2147483646 h 406"/>
                    <a:gd name="T40" fmla="*/ 2147483646 w 438"/>
                    <a:gd name="T41" fmla="*/ 2147483646 h 406"/>
                    <a:gd name="T42" fmla="*/ 2147483646 w 438"/>
                    <a:gd name="T43" fmla="*/ 2147483646 h 406"/>
                    <a:gd name="T44" fmla="*/ 2147483646 w 438"/>
                    <a:gd name="T45" fmla="*/ 2147483646 h 406"/>
                    <a:gd name="T46" fmla="*/ 2147483646 w 438"/>
                    <a:gd name="T47" fmla="*/ 2147483646 h 406"/>
                    <a:gd name="T48" fmla="*/ 2147483646 w 438"/>
                    <a:gd name="T49" fmla="*/ 2147483646 h 406"/>
                    <a:gd name="T50" fmla="*/ 2147483646 w 438"/>
                    <a:gd name="T51" fmla="*/ 2147483646 h 406"/>
                    <a:gd name="T52" fmla="*/ 2147483646 w 438"/>
                    <a:gd name="T53" fmla="*/ 2147483646 h 406"/>
                    <a:gd name="T54" fmla="*/ 2147483646 w 438"/>
                    <a:gd name="T55" fmla="*/ 2147483646 h 406"/>
                    <a:gd name="T56" fmla="*/ 2147483646 w 438"/>
                    <a:gd name="T57" fmla="*/ 2147483646 h 406"/>
                    <a:gd name="T58" fmla="*/ 2147483646 w 438"/>
                    <a:gd name="T59" fmla="*/ 2147483646 h 406"/>
                    <a:gd name="T60" fmla="*/ 2147483646 w 438"/>
                    <a:gd name="T61" fmla="*/ 2147483646 h 406"/>
                    <a:gd name="T62" fmla="*/ 2147483646 w 438"/>
                    <a:gd name="T63" fmla="*/ 2147483646 h 406"/>
                    <a:gd name="T64" fmla="*/ 0 w 438"/>
                    <a:gd name="T65" fmla="*/ 2147483646 h 406"/>
                    <a:gd name="T66" fmla="*/ 2147483646 w 438"/>
                    <a:gd name="T67" fmla="*/ 2147483646 h 406"/>
                    <a:gd name="T68" fmla="*/ 2147483646 w 438"/>
                    <a:gd name="T69" fmla="*/ 2147483646 h 406"/>
                    <a:gd name="T70" fmla="*/ 2147483646 w 438"/>
                    <a:gd name="T71" fmla="*/ 2147483646 h 406"/>
                    <a:gd name="T72" fmla="*/ 2147483646 w 438"/>
                    <a:gd name="T73" fmla="*/ 2147483646 h 406"/>
                    <a:gd name="T74" fmla="*/ 2147483646 w 438"/>
                    <a:gd name="T75" fmla="*/ 2147483646 h 406"/>
                    <a:gd name="T76" fmla="*/ 2147483646 w 438"/>
                    <a:gd name="T77" fmla="*/ 2147483646 h 406"/>
                    <a:gd name="T78" fmla="*/ 2147483646 w 438"/>
                    <a:gd name="T79" fmla="*/ 2147483646 h 406"/>
                    <a:gd name="T80" fmla="*/ 2147483646 w 438"/>
                    <a:gd name="T81" fmla="*/ 2147483646 h 406"/>
                    <a:gd name="T82" fmla="*/ 2147483646 w 438"/>
                    <a:gd name="T83" fmla="*/ 2147483646 h 406"/>
                    <a:gd name="T84" fmla="*/ 2147483646 w 438"/>
                    <a:gd name="T85" fmla="*/ 2147483646 h 406"/>
                    <a:gd name="T86" fmla="*/ 2147483646 w 438"/>
                    <a:gd name="T87" fmla="*/ 2147483646 h 406"/>
                    <a:gd name="T88" fmla="*/ 2147483646 w 438"/>
                    <a:gd name="T89" fmla="*/ 2147483646 h 406"/>
                    <a:gd name="T90" fmla="*/ 2147483646 w 438"/>
                    <a:gd name="T91" fmla="*/ 2147483646 h 406"/>
                    <a:gd name="T92" fmla="*/ 2147483646 w 438"/>
                    <a:gd name="T93" fmla="*/ 2147483646 h 406"/>
                    <a:gd name="T94" fmla="*/ 2147483646 w 438"/>
                    <a:gd name="T95" fmla="*/ 2147483646 h 406"/>
                    <a:gd name="T96" fmla="*/ 2147483646 w 438"/>
                    <a:gd name="T97" fmla="*/ 2147483646 h 406"/>
                    <a:gd name="T98" fmla="*/ 2147483646 w 438"/>
                    <a:gd name="T99" fmla="*/ 2147483646 h 406"/>
                    <a:gd name="T100" fmla="*/ 2147483646 w 438"/>
                    <a:gd name="T101" fmla="*/ 2147483646 h 406"/>
                    <a:gd name="T102" fmla="*/ 2147483646 w 438"/>
                    <a:gd name="T103" fmla="*/ 2147483646 h 406"/>
                    <a:gd name="T104" fmla="*/ 2147483646 w 438"/>
                    <a:gd name="T105" fmla="*/ 2147483646 h 406"/>
                    <a:gd name="T106" fmla="*/ 2147483646 w 438"/>
                    <a:gd name="T107" fmla="*/ 2147483646 h 406"/>
                    <a:gd name="T108" fmla="*/ 2147483646 w 438"/>
                    <a:gd name="T109" fmla="*/ 2147483646 h 40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438"/>
                    <a:gd name="T166" fmla="*/ 0 h 406"/>
                    <a:gd name="T167" fmla="*/ 438 w 438"/>
                    <a:gd name="T168" fmla="*/ 406 h 40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438" h="406">
                      <a:moveTo>
                        <a:pt x="272" y="0"/>
                      </a:moveTo>
                      <a:lnTo>
                        <a:pt x="284" y="8"/>
                      </a:lnTo>
                      <a:lnTo>
                        <a:pt x="301" y="17"/>
                      </a:lnTo>
                      <a:lnTo>
                        <a:pt x="320" y="27"/>
                      </a:lnTo>
                      <a:lnTo>
                        <a:pt x="341" y="37"/>
                      </a:lnTo>
                      <a:lnTo>
                        <a:pt x="363" y="47"/>
                      </a:lnTo>
                      <a:lnTo>
                        <a:pt x="385" y="55"/>
                      </a:lnTo>
                      <a:lnTo>
                        <a:pt x="395" y="58"/>
                      </a:lnTo>
                      <a:lnTo>
                        <a:pt x="406" y="60"/>
                      </a:lnTo>
                      <a:lnTo>
                        <a:pt x="416" y="61"/>
                      </a:lnTo>
                      <a:lnTo>
                        <a:pt x="425" y="61"/>
                      </a:lnTo>
                      <a:lnTo>
                        <a:pt x="425" y="81"/>
                      </a:lnTo>
                      <a:lnTo>
                        <a:pt x="427" y="101"/>
                      </a:lnTo>
                      <a:lnTo>
                        <a:pt x="429" y="120"/>
                      </a:lnTo>
                      <a:lnTo>
                        <a:pt x="432" y="138"/>
                      </a:lnTo>
                      <a:lnTo>
                        <a:pt x="434" y="157"/>
                      </a:lnTo>
                      <a:lnTo>
                        <a:pt x="436" y="176"/>
                      </a:lnTo>
                      <a:lnTo>
                        <a:pt x="438" y="195"/>
                      </a:lnTo>
                      <a:lnTo>
                        <a:pt x="438" y="216"/>
                      </a:lnTo>
                      <a:lnTo>
                        <a:pt x="438" y="223"/>
                      </a:lnTo>
                      <a:lnTo>
                        <a:pt x="436" y="230"/>
                      </a:lnTo>
                      <a:lnTo>
                        <a:pt x="435" y="237"/>
                      </a:lnTo>
                      <a:lnTo>
                        <a:pt x="432" y="245"/>
                      </a:lnTo>
                      <a:lnTo>
                        <a:pt x="425" y="259"/>
                      </a:lnTo>
                      <a:lnTo>
                        <a:pt x="416" y="274"/>
                      </a:lnTo>
                      <a:lnTo>
                        <a:pt x="407" y="287"/>
                      </a:lnTo>
                      <a:lnTo>
                        <a:pt x="399" y="298"/>
                      </a:lnTo>
                      <a:lnTo>
                        <a:pt x="391" y="307"/>
                      </a:lnTo>
                      <a:lnTo>
                        <a:pt x="385" y="314"/>
                      </a:lnTo>
                      <a:lnTo>
                        <a:pt x="381" y="320"/>
                      </a:lnTo>
                      <a:lnTo>
                        <a:pt x="378" y="326"/>
                      </a:lnTo>
                      <a:lnTo>
                        <a:pt x="374" y="332"/>
                      </a:lnTo>
                      <a:lnTo>
                        <a:pt x="373" y="339"/>
                      </a:lnTo>
                      <a:lnTo>
                        <a:pt x="372" y="352"/>
                      </a:lnTo>
                      <a:lnTo>
                        <a:pt x="372" y="363"/>
                      </a:lnTo>
                      <a:lnTo>
                        <a:pt x="359" y="372"/>
                      </a:lnTo>
                      <a:lnTo>
                        <a:pt x="339" y="387"/>
                      </a:lnTo>
                      <a:lnTo>
                        <a:pt x="321" y="401"/>
                      </a:lnTo>
                      <a:lnTo>
                        <a:pt x="312" y="406"/>
                      </a:lnTo>
                      <a:lnTo>
                        <a:pt x="205" y="388"/>
                      </a:lnTo>
                      <a:lnTo>
                        <a:pt x="192" y="382"/>
                      </a:lnTo>
                      <a:lnTo>
                        <a:pt x="182" y="379"/>
                      </a:lnTo>
                      <a:lnTo>
                        <a:pt x="172" y="376"/>
                      </a:lnTo>
                      <a:lnTo>
                        <a:pt x="165" y="370"/>
                      </a:lnTo>
                      <a:lnTo>
                        <a:pt x="157" y="365"/>
                      </a:lnTo>
                      <a:lnTo>
                        <a:pt x="150" y="359"/>
                      </a:lnTo>
                      <a:lnTo>
                        <a:pt x="145" y="353"/>
                      </a:lnTo>
                      <a:lnTo>
                        <a:pt x="139" y="346"/>
                      </a:lnTo>
                      <a:lnTo>
                        <a:pt x="134" y="338"/>
                      </a:lnTo>
                      <a:lnTo>
                        <a:pt x="124" y="322"/>
                      </a:lnTo>
                      <a:lnTo>
                        <a:pt x="114" y="304"/>
                      </a:lnTo>
                      <a:lnTo>
                        <a:pt x="108" y="296"/>
                      </a:lnTo>
                      <a:lnTo>
                        <a:pt x="101" y="288"/>
                      </a:lnTo>
                      <a:lnTo>
                        <a:pt x="94" y="279"/>
                      </a:lnTo>
                      <a:lnTo>
                        <a:pt x="86" y="271"/>
                      </a:lnTo>
                      <a:lnTo>
                        <a:pt x="72" y="259"/>
                      </a:lnTo>
                      <a:lnTo>
                        <a:pt x="58" y="247"/>
                      </a:lnTo>
                      <a:lnTo>
                        <a:pt x="44" y="234"/>
                      </a:lnTo>
                      <a:lnTo>
                        <a:pt x="31" y="220"/>
                      </a:lnTo>
                      <a:lnTo>
                        <a:pt x="24" y="213"/>
                      </a:lnTo>
                      <a:lnTo>
                        <a:pt x="19" y="204"/>
                      </a:lnTo>
                      <a:lnTo>
                        <a:pt x="13" y="195"/>
                      </a:lnTo>
                      <a:lnTo>
                        <a:pt x="9" y="186"/>
                      </a:lnTo>
                      <a:lnTo>
                        <a:pt x="4" y="176"/>
                      </a:lnTo>
                      <a:lnTo>
                        <a:pt x="2" y="166"/>
                      </a:lnTo>
                      <a:lnTo>
                        <a:pt x="0" y="154"/>
                      </a:lnTo>
                      <a:lnTo>
                        <a:pt x="0" y="141"/>
                      </a:lnTo>
                      <a:lnTo>
                        <a:pt x="18" y="141"/>
                      </a:lnTo>
                      <a:lnTo>
                        <a:pt x="31" y="141"/>
                      </a:lnTo>
                      <a:lnTo>
                        <a:pt x="40" y="141"/>
                      </a:lnTo>
                      <a:lnTo>
                        <a:pt x="46" y="141"/>
                      </a:lnTo>
                      <a:lnTo>
                        <a:pt x="53" y="141"/>
                      </a:lnTo>
                      <a:lnTo>
                        <a:pt x="58" y="140"/>
                      </a:lnTo>
                      <a:lnTo>
                        <a:pt x="63" y="138"/>
                      </a:lnTo>
                      <a:lnTo>
                        <a:pt x="68" y="136"/>
                      </a:lnTo>
                      <a:lnTo>
                        <a:pt x="77" y="131"/>
                      </a:lnTo>
                      <a:lnTo>
                        <a:pt x="85" y="124"/>
                      </a:lnTo>
                      <a:lnTo>
                        <a:pt x="99" y="108"/>
                      </a:lnTo>
                      <a:lnTo>
                        <a:pt x="113" y="92"/>
                      </a:lnTo>
                      <a:lnTo>
                        <a:pt x="117" y="87"/>
                      </a:lnTo>
                      <a:lnTo>
                        <a:pt x="124" y="83"/>
                      </a:lnTo>
                      <a:lnTo>
                        <a:pt x="130" y="80"/>
                      </a:lnTo>
                      <a:lnTo>
                        <a:pt x="136" y="77"/>
                      </a:lnTo>
                      <a:lnTo>
                        <a:pt x="150" y="71"/>
                      </a:lnTo>
                      <a:lnTo>
                        <a:pt x="165" y="65"/>
                      </a:lnTo>
                      <a:lnTo>
                        <a:pt x="179" y="60"/>
                      </a:lnTo>
                      <a:lnTo>
                        <a:pt x="192" y="55"/>
                      </a:lnTo>
                      <a:lnTo>
                        <a:pt x="203" y="50"/>
                      </a:lnTo>
                      <a:lnTo>
                        <a:pt x="212" y="43"/>
                      </a:lnTo>
                      <a:lnTo>
                        <a:pt x="211" y="43"/>
                      </a:lnTo>
                      <a:lnTo>
                        <a:pt x="210" y="41"/>
                      </a:lnTo>
                      <a:lnTo>
                        <a:pt x="210" y="38"/>
                      </a:lnTo>
                      <a:lnTo>
                        <a:pt x="210" y="36"/>
                      </a:lnTo>
                      <a:lnTo>
                        <a:pt x="211" y="30"/>
                      </a:lnTo>
                      <a:lnTo>
                        <a:pt x="212" y="24"/>
                      </a:lnTo>
                      <a:lnTo>
                        <a:pt x="213" y="17"/>
                      </a:lnTo>
                      <a:lnTo>
                        <a:pt x="214" y="14"/>
                      </a:lnTo>
                      <a:lnTo>
                        <a:pt x="217" y="12"/>
                      </a:lnTo>
                      <a:lnTo>
                        <a:pt x="221" y="12"/>
                      </a:lnTo>
                      <a:lnTo>
                        <a:pt x="225" y="12"/>
                      </a:lnTo>
                      <a:lnTo>
                        <a:pt x="229" y="11"/>
                      </a:lnTo>
                      <a:lnTo>
                        <a:pt x="232" y="9"/>
                      </a:lnTo>
                      <a:lnTo>
                        <a:pt x="234" y="7"/>
                      </a:lnTo>
                      <a:lnTo>
                        <a:pt x="236" y="4"/>
                      </a:lnTo>
                      <a:lnTo>
                        <a:pt x="239" y="0"/>
                      </a:lnTo>
                      <a:lnTo>
                        <a:pt x="244" y="2"/>
                      </a:lnTo>
                      <a:lnTo>
                        <a:pt x="248" y="3"/>
                      </a:lnTo>
                      <a:lnTo>
                        <a:pt x="251" y="3"/>
                      </a:lnTo>
                      <a:lnTo>
                        <a:pt x="256" y="2"/>
                      </a:lnTo>
                      <a:lnTo>
                        <a:pt x="264" y="1"/>
                      </a:lnTo>
                      <a:lnTo>
                        <a:pt x="272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68" name="Freeform 477">
                  <a:extLst>
                    <a:ext uri="{FF2B5EF4-FFF2-40B4-BE49-F238E27FC236}">
                      <a16:creationId xmlns:a16="http://schemas.microsoft.com/office/drawing/2014/main" xmlns="" id="{B1D5C134-06B3-4AAE-B8D9-8F4746F0E80A}"/>
                    </a:ext>
                  </a:extLst>
                </p:cNvPr>
                <p:cNvSpPr>
                  <a:spLocks/>
                </p:cNvSpPr>
                <p:nvPr>
                  <p:custDataLst>
                    <p:tags r:id="rId315"/>
                  </p:custDataLst>
                </p:nvPr>
              </p:nvSpPr>
              <p:spPr bwMode="auto">
                <a:xfrm>
                  <a:off x="4560888" y="3930650"/>
                  <a:ext cx="293687" cy="300038"/>
                </a:xfrm>
                <a:custGeom>
                  <a:avLst/>
                  <a:gdLst>
                    <a:gd name="T0" fmla="*/ 2147483646 w 678"/>
                    <a:gd name="T1" fmla="*/ 2147483646 h 574"/>
                    <a:gd name="T2" fmla="*/ 2147483646 w 678"/>
                    <a:gd name="T3" fmla="*/ 2147483646 h 574"/>
                    <a:gd name="T4" fmla="*/ 2147483646 w 678"/>
                    <a:gd name="T5" fmla="*/ 2147483646 h 574"/>
                    <a:gd name="T6" fmla="*/ 2147483646 w 678"/>
                    <a:gd name="T7" fmla="*/ 2147483646 h 574"/>
                    <a:gd name="T8" fmla="*/ 2147483646 w 678"/>
                    <a:gd name="T9" fmla="*/ 2147483646 h 574"/>
                    <a:gd name="T10" fmla="*/ 2147483646 w 678"/>
                    <a:gd name="T11" fmla="*/ 2147483646 h 574"/>
                    <a:gd name="T12" fmla="*/ 2147483646 w 678"/>
                    <a:gd name="T13" fmla="*/ 2147483646 h 574"/>
                    <a:gd name="T14" fmla="*/ 2147483646 w 678"/>
                    <a:gd name="T15" fmla="*/ 2147483646 h 574"/>
                    <a:gd name="T16" fmla="*/ 2147483646 w 678"/>
                    <a:gd name="T17" fmla="*/ 2147483646 h 574"/>
                    <a:gd name="T18" fmla="*/ 2147483646 w 678"/>
                    <a:gd name="T19" fmla="*/ 2147483646 h 574"/>
                    <a:gd name="T20" fmla="*/ 2147483646 w 678"/>
                    <a:gd name="T21" fmla="*/ 2147483646 h 574"/>
                    <a:gd name="T22" fmla="*/ 2147483646 w 678"/>
                    <a:gd name="T23" fmla="*/ 2147483646 h 574"/>
                    <a:gd name="T24" fmla="*/ 2147483646 w 678"/>
                    <a:gd name="T25" fmla="*/ 2147483646 h 574"/>
                    <a:gd name="T26" fmla="*/ 2147483646 w 678"/>
                    <a:gd name="T27" fmla="*/ 2147483646 h 574"/>
                    <a:gd name="T28" fmla="*/ 2147483646 w 678"/>
                    <a:gd name="T29" fmla="*/ 2147483646 h 574"/>
                    <a:gd name="T30" fmla="*/ 2147483646 w 678"/>
                    <a:gd name="T31" fmla="*/ 2147483646 h 574"/>
                    <a:gd name="T32" fmla="*/ 2147483646 w 678"/>
                    <a:gd name="T33" fmla="*/ 2147483646 h 574"/>
                    <a:gd name="T34" fmla="*/ 2147483646 w 678"/>
                    <a:gd name="T35" fmla="*/ 2147483646 h 574"/>
                    <a:gd name="T36" fmla="*/ 2147483646 w 678"/>
                    <a:gd name="T37" fmla="*/ 2147483646 h 574"/>
                    <a:gd name="T38" fmla="*/ 2147483646 w 678"/>
                    <a:gd name="T39" fmla="*/ 2147483646 h 574"/>
                    <a:gd name="T40" fmla="*/ 2147483646 w 678"/>
                    <a:gd name="T41" fmla="*/ 2147483646 h 574"/>
                    <a:gd name="T42" fmla="*/ 2147483646 w 678"/>
                    <a:gd name="T43" fmla="*/ 2147483646 h 574"/>
                    <a:gd name="T44" fmla="*/ 2147483646 w 678"/>
                    <a:gd name="T45" fmla="*/ 2147483646 h 574"/>
                    <a:gd name="T46" fmla="*/ 2147483646 w 678"/>
                    <a:gd name="T47" fmla="*/ 2147483646 h 574"/>
                    <a:gd name="T48" fmla="*/ 2147483646 w 678"/>
                    <a:gd name="T49" fmla="*/ 2147483646 h 574"/>
                    <a:gd name="T50" fmla="*/ 2147483646 w 678"/>
                    <a:gd name="T51" fmla="*/ 2147483646 h 574"/>
                    <a:gd name="T52" fmla="*/ 2147483646 w 678"/>
                    <a:gd name="T53" fmla="*/ 2147483646 h 574"/>
                    <a:gd name="T54" fmla="*/ 2147483646 w 678"/>
                    <a:gd name="T55" fmla="*/ 2147483646 h 574"/>
                    <a:gd name="T56" fmla="*/ 2147483646 w 678"/>
                    <a:gd name="T57" fmla="*/ 2147483646 h 574"/>
                    <a:gd name="T58" fmla="*/ 2147483646 w 678"/>
                    <a:gd name="T59" fmla="*/ 2147483646 h 574"/>
                    <a:gd name="T60" fmla="*/ 2147483646 w 678"/>
                    <a:gd name="T61" fmla="*/ 2147483646 h 574"/>
                    <a:gd name="T62" fmla="*/ 2147483646 w 678"/>
                    <a:gd name="T63" fmla="*/ 2147483646 h 574"/>
                    <a:gd name="T64" fmla="*/ 0 w 678"/>
                    <a:gd name="T65" fmla="*/ 2147483646 h 574"/>
                    <a:gd name="T66" fmla="*/ 2147483646 w 678"/>
                    <a:gd name="T67" fmla="*/ 2147483646 h 574"/>
                    <a:gd name="T68" fmla="*/ 2147483646 w 678"/>
                    <a:gd name="T69" fmla="*/ 2147483646 h 574"/>
                    <a:gd name="T70" fmla="*/ 2147483646 w 678"/>
                    <a:gd name="T71" fmla="*/ 2147483646 h 574"/>
                    <a:gd name="T72" fmla="*/ 2147483646 w 678"/>
                    <a:gd name="T73" fmla="*/ 2147483646 h 574"/>
                    <a:gd name="T74" fmla="*/ 2147483646 w 678"/>
                    <a:gd name="T75" fmla="*/ 2147483646 h 574"/>
                    <a:gd name="T76" fmla="*/ 2147483646 w 678"/>
                    <a:gd name="T77" fmla="*/ 2147483646 h 574"/>
                    <a:gd name="T78" fmla="*/ 2147483646 w 678"/>
                    <a:gd name="T79" fmla="*/ 2147483646 h 574"/>
                    <a:gd name="T80" fmla="*/ 2147483646 w 678"/>
                    <a:gd name="T81" fmla="*/ 2147483646 h 574"/>
                    <a:gd name="T82" fmla="*/ 2147483646 w 678"/>
                    <a:gd name="T83" fmla="*/ 2147483646 h 574"/>
                    <a:gd name="T84" fmla="*/ 2147483646 w 678"/>
                    <a:gd name="T85" fmla="*/ 2147483646 h 574"/>
                    <a:gd name="T86" fmla="*/ 2147483646 w 678"/>
                    <a:gd name="T87" fmla="*/ 2147483646 h 574"/>
                    <a:gd name="T88" fmla="*/ 2147483646 w 678"/>
                    <a:gd name="T89" fmla="*/ 2147483646 h 574"/>
                    <a:gd name="T90" fmla="*/ 2147483646 w 678"/>
                    <a:gd name="T91" fmla="*/ 2147483646 h 574"/>
                    <a:gd name="T92" fmla="*/ 2147483646 w 678"/>
                    <a:gd name="T93" fmla="*/ 2147483646 h 574"/>
                    <a:gd name="T94" fmla="*/ 2147483646 w 678"/>
                    <a:gd name="T95" fmla="*/ 2147483646 h 574"/>
                    <a:gd name="T96" fmla="*/ 2147483646 w 678"/>
                    <a:gd name="T97" fmla="*/ 2147483646 h 574"/>
                    <a:gd name="T98" fmla="*/ 2147483646 w 678"/>
                    <a:gd name="T99" fmla="*/ 2147483646 h 574"/>
                    <a:gd name="T100" fmla="*/ 2147483646 w 678"/>
                    <a:gd name="T101" fmla="*/ 2147483646 h 574"/>
                    <a:gd name="T102" fmla="*/ 2147483646 w 678"/>
                    <a:gd name="T103" fmla="*/ 2147483646 h 574"/>
                    <a:gd name="T104" fmla="*/ 2147483646 w 678"/>
                    <a:gd name="T105" fmla="*/ 2147483646 h 574"/>
                    <a:gd name="T106" fmla="*/ 2147483646 w 678"/>
                    <a:gd name="T107" fmla="*/ 2147483646 h 574"/>
                    <a:gd name="T108" fmla="*/ 2147483646 w 678"/>
                    <a:gd name="T109" fmla="*/ 2147483646 h 574"/>
                    <a:gd name="T110" fmla="*/ 2147483646 w 678"/>
                    <a:gd name="T111" fmla="*/ 2147483646 h 574"/>
                    <a:gd name="T112" fmla="*/ 2147483646 w 678"/>
                    <a:gd name="T113" fmla="*/ 2147483646 h 574"/>
                    <a:gd name="T114" fmla="*/ 2147483646 w 678"/>
                    <a:gd name="T115" fmla="*/ 2147483646 h 574"/>
                    <a:gd name="T116" fmla="*/ 2147483646 w 678"/>
                    <a:gd name="T117" fmla="*/ 2147483646 h 574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678"/>
                    <a:gd name="T178" fmla="*/ 0 h 574"/>
                    <a:gd name="T179" fmla="*/ 678 w 678"/>
                    <a:gd name="T180" fmla="*/ 574 h 574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678" h="574">
                      <a:moveTo>
                        <a:pt x="505" y="1"/>
                      </a:moveTo>
                      <a:lnTo>
                        <a:pt x="507" y="4"/>
                      </a:lnTo>
                      <a:lnTo>
                        <a:pt x="513" y="8"/>
                      </a:lnTo>
                      <a:lnTo>
                        <a:pt x="521" y="12"/>
                      </a:lnTo>
                      <a:lnTo>
                        <a:pt x="529" y="16"/>
                      </a:lnTo>
                      <a:lnTo>
                        <a:pt x="552" y="26"/>
                      </a:lnTo>
                      <a:lnTo>
                        <a:pt x="578" y="37"/>
                      </a:lnTo>
                      <a:lnTo>
                        <a:pt x="624" y="55"/>
                      </a:lnTo>
                      <a:lnTo>
                        <a:pt x="645" y="63"/>
                      </a:lnTo>
                      <a:lnTo>
                        <a:pt x="650" y="73"/>
                      </a:lnTo>
                      <a:lnTo>
                        <a:pt x="657" y="84"/>
                      </a:lnTo>
                      <a:lnTo>
                        <a:pt x="660" y="88"/>
                      </a:lnTo>
                      <a:lnTo>
                        <a:pt x="666" y="91"/>
                      </a:lnTo>
                      <a:lnTo>
                        <a:pt x="671" y="93"/>
                      </a:lnTo>
                      <a:lnTo>
                        <a:pt x="678" y="94"/>
                      </a:lnTo>
                      <a:lnTo>
                        <a:pt x="678" y="107"/>
                      </a:lnTo>
                      <a:lnTo>
                        <a:pt x="678" y="118"/>
                      </a:lnTo>
                      <a:lnTo>
                        <a:pt x="678" y="127"/>
                      </a:lnTo>
                      <a:lnTo>
                        <a:pt x="678" y="137"/>
                      </a:lnTo>
                      <a:lnTo>
                        <a:pt x="678" y="141"/>
                      </a:lnTo>
                      <a:lnTo>
                        <a:pt x="677" y="144"/>
                      </a:lnTo>
                      <a:lnTo>
                        <a:pt x="674" y="148"/>
                      </a:lnTo>
                      <a:lnTo>
                        <a:pt x="673" y="151"/>
                      </a:lnTo>
                      <a:lnTo>
                        <a:pt x="667" y="158"/>
                      </a:lnTo>
                      <a:lnTo>
                        <a:pt x="660" y="165"/>
                      </a:lnTo>
                      <a:lnTo>
                        <a:pt x="653" y="172"/>
                      </a:lnTo>
                      <a:lnTo>
                        <a:pt x="647" y="178"/>
                      </a:lnTo>
                      <a:lnTo>
                        <a:pt x="641" y="185"/>
                      </a:lnTo>
                      <a:lnTo>
                        <a:pt x="638" y="192"/>
                      </a:lnTo>
                      <a:lnTo>
                        <a:pt x="638" y="346"/>
                      </a:lnTo>
                      <a:lnTo>
                        <a:pt x="466" y="378"/>
                      </a:lnTo>
                      <a:lnTo>
                        <a:pt x="464" y="382"/>
                      </a:lnTo>
                      <a:lnTo>
                        <a:pt x="461" y="388"/>
                      </a:lnTo>
                      <a:lnTo>
                        <a:pt x="460" y="394"/>
                      </a:lnTo>
                      <a:lnTo>
                        <a:pt x="460" y="400"/>
                      </a:lnTo>
                      <a:lnTo>
                        <a:pt x="461" y="415"/>
                      </a:lnTo>
                      <a:lnTo>
                        <a:pt x="466" y="433"/>
                      </a:lnTo>
                      <a:lnTo>
                        <a:pt x="460" y="434"/>
                      </a:lnTo>
                      <a:lnTo>
                        <a:pt x="455" y="435"/>
                      </a:lnTo>
                      <a:lnTo>
                        <a:pt x="451" y="436"/>
                      </a:lnTo>
                      <a:lnTo>
                        <a:pt x="448" y="436"/>
                      </a:lnTo>
                      <a:lnTo>
                        <a:pt x="444" y="435"/>
                      </a:lnTo>
                      <a:lnTo>
                        <a:pt x="439" y="433"/>
                      </a:lnTo>
                      <a:lnTo>
                        <a:pt x="436" y="437"/>
                      </a:lnTo>
                      <a:lnTo>
                        <a:pt x="434" y="440"/>
                      </a:lnTo>
                      <a:lnTo>
                        <a:pt x="432" y="442"/>
                      </a:lnTo>
                      <a:lnTo>
                        <a:pt x="429" y="444"/>
                      </a:lnTo>
                      <a:lnTo>
                        <a:pt x="425" y="445"/>
                      </a:lnTo>
                      <a:lnTo>
                        <a:pt x="421" y="445"/>
                      </a:lnTo>
                      <a:lnTo>
                        <a:pt x="417" y="445"/>
                      </a:lnTo>
                      <a:lnTo>
                        <a:pt x="414" y="447"/>
                      </a:lnTo>
                      <a:lnTo>
                        <a:pt x="413" y="450"/>
                      </a:lnTo>
                      <a:lnTo>
                        <a:pt x="412" y="457"/>
                      </a:lnTo>
                      <a:lnTo>
                        <a:pt x="411" y="463"/>
                      </a:lnTo>
                      <a:lnTo>
                        <a:pt x="410" y="469"/>
                      </a:lnTo>
                      <a:lnTo>
                        <a:pt x="410" y="471"/>
                      </a:lnTo>
                      <a:lnTo>
                        <a:pt x="410" y="474"/>
                      </a:lnTo>
                      <a:lnTo>
                        <a:pt x="411" y="476"/>
                      </a:lnTo>
                      <a:lnTo>
                        <a:pt x="412" y="476"/>
                      </a:lnTo>
                      <a:lnTo>
                        <a:pt x="403" y="483"/>
                      </a:lnTo>
                      <a:lnTo>
                        <a:pt x="392" y="488"/>
                      </a:lnTo>
                      <a:lnTo>
                        <a:pt x="379" y="493"/>
                      </a:lnTo>
                      <a:lnTo>
                        <a:pt x="365" y="498"/>
                      </a:lnTo>
                      <a:lnTo>
                        <a:pt x="350" y="504"/>
                      </a:lnTo>
                      <a:lnTo>
                        <a:pt x="336" y="510"/>
                      </a:lnTo>
                      <a:lnTo>
                        <a:pt x="330" y="513"/>
                      </a:lnTo>
                      <a:lnTo>
                        <a:pt x="324" y="516"/>
                      </a:lnTo>
                      <a:lnTo>
                        <a:pt x="317" y="520"/>
                      </a:lnTo>
                      <a:lnTo>
                        <a:pt x="313" y="525"/>
                      </a:lnTo>
                      <a:lnTo>
                        <a:pt x="299" y="541"/>
                      </a:lnTo>
                      <a:lnTo>
                        <a:pt x="285" y="557"/>
                      </a:lnTo>
                      <a:lnTo>
                        <a:pt x="277" y="564"/>
                      </a:lnTo>
                      <a:lnTo>
                        <a:pt x="268" y="569"/>
                      </a:lnTo>
                      <a:lnTo>
                        <a:pt x="263" y="571"/>
                      </a:lnTo>
                      <a:lnTo>
                        <a:pt x="258" y="573"/>
                      </a:lnTo>
                      <a:lnTo>
                        <a:pt x="253" y="574"/>
                      </a:lnTo>
                      <a:lnTo>
                        <a:pt x="246" y="574"/>
                      </a:lnTo>
                      <a:lnTo>
                        <a:pt x="238" y="574"/>
                      </a:lnTo>
                      <a:lnTo>
                        <a:pt x="227" y="574"/>
                      </a:lnTo>
                      <a:lnTo>
                        <a:pt x="212" y="574"/>
                      </a:lnTo>
                      <a:lnTo>
                        <a:pt x="193" y="574"/>
                      </a:lnTo>
                      <a:lnTo>
                        <a:pt x="192" y="569"/>
                      </a:lnTo>
                      <a:lnTo>
                        <a:pt x="189" y="564"/>
                      </a:lnTo>
                      <a:lnTo>
                        <a:pt x="186" y="559"/>
                      </a:lnTo>
                      <a:lnTo>
                        <a:pt x="180" y="554"/>
                      </a:lnTo>
                      <a:lnTo>
                        <a:pt x="173" y="550"/>
                      </a:lnTo>
                      <a:lnTo>
                        <a:pt x="165" y="547"/>
                      </a:lnTo>
                      <a:lnTo>
                        <a:pt x="156" y="545"/>
                      </a:lnTo>
                      <a:lnTo>
                        <a:pt x="146" y="544"/>
                      </a:lnTo>
                      <a:lnTo>
                        <a:pt x="133" y="545"/>
                      </a:lnTo>
                      <a:lnTo>
                        <a:pt x="120" y="548"/>
                      </a:lnTo>
                      <a:lnTo>
                        <a:pt x="108" y="552"/>
                      </a:lnTo>
                      <a:lnTo>
                        <a:pt x="93" y="556"/>
                      </a:lnTo>
                      <a:lnTo>
                        <a:pt x="61" y="556"/>
                      </a:lnTo>
                      <a:lnTo>
                        <a:pt x="48" y="544"/>
                      </a:lnTo>
                      <a:lnTo>
                        <a:pt x="33" y="527"/>
                      </a:lnTo>
                      <a:lnTo>
                        <a:pt x="17" y="510"/>
                      </a:lnTo>
                      <a:lnTo>
                        <a:pt x="0" y="494"/>
                      </a:lnTo>
                      <a:lnTo>
                        <a:pt x="0" y="285"/>
                      </a:lnTo>
                      <a:lnTo>
                        <a:pt x="21" y="286"/>
                      </a:lnTo>
                      <a:lnTo>
                        <a:pt x="54" y="286"/>
                      </a:lnTo>
                      <a:lnTo>
                        <a:pt x="73" y="286"/>
                      </a:lnTo>
                      <a:lnTo>
                        <a:pt x="89" y="285"/>
                      </a:lnTo>
                      <a:lnTo>
                        <a:pt x="97" y="284"/>
                      </a:lnTo>
                      <a:lnTo>
                        <a:pt x="103" y="282"/>
                      </a:lnTo>
                      <a:lnTo>
                        <a:pt x="109" y="281"/>
                      </a:lnTo>
                      <a:lnTo>
                        <a:pt x="113" y="279"/>
                      </a:lnTo>
                      <a:lnTo>
                        <a:pt x="119" y="275"/>
                      </a:lnTo>
                      <a:lnTo>
                        <a:pt x="123" y="269"/>
                      </a:lnTo>
                      <a:lnTo>
                        <a:pt x="126" y="263"/>
                      </a:lnTo>
                      <a:lnTo>
                        <a:pt x="129" y="256"/>
                      </a:lnTo>
                      <a:lnTo>
                        <a:pt x="130" y="247"/>
                      </a:lnTo>
                      <a:lnTo>
                        <a:pt x="131" y="238"/>
                      </a:lnTo>
                      <a:lnTo>
                        <a:pt x="131" y="229"/>
                      </a:lnTo>
                      <a:lnTo>
                        <a:pt x="130" y="220"/>
                      </a:lnTo>
                      <a:lnTo>
                        <a:pt x="129" y="202"/>
                      </a:lnTo>
                      <a:lnTo>
                        <a:pt x="126" y="185"/>
                      </a:lnTo>
                      <a:lnTo>
                        <a:pt x="125" y="171"/>
                      </a:lnTo>
                      <a:lnTo>
                        <a:pt x="126" y="162"/>
                      </a:lnTo>
                      <a:lnTo>
                        <a:pt x="130" y="165"/>
                      </a:lnTo>
                      <a:lnTo>
                        <a:pt x="132" y="168"/>
                      </a:lnTo>
                      <a:lnTo>
                        <a:pt x="136" y="170"/>
                      </a:lnTo>
                      <a:lnTo>
                        <a:pt x="140" y="171"/>
                      </a:lnTo>
                      <a:lnTo>
                        <a:pt x="147" y="174"/>
                      </a:lnTo>
                      <a:lnTo>
                        <a:pt x="156" y="175"/>
                      </a:lnTo>
                      <a:lnTo>
                        <a:pt x="174" y="175"/>
                      </a:lnTo>
                      <a:lnTo>
                        <a:pt x="187" y="174"/>
                      </a:lnTo>
                      <a:lnTo>
                        <a:pt x="187" y="180"/>
                      </a:lnTo>
                      <a:lnTo>
                        <a:pt x="188" y="186"/>
                      </a:lnTo>
                      <a:lnTo>
                        <a:pt x="190" y="191"/>
                      </a:lnTo>
                      <a:lnTo>
                        <a:pt x="192" y="197"/>
                      </a:lnTo>
                      <a:lnTo>
                        <a:pt x="195" y="201"/>
                      </a:lnTo>
                      <a:lnTo>
                        <a:pt x="199" y="204"/>
                      </a:lnTo>
                      <a:lnTo>
                        <a:pt x="202" y="207"/>
                      </a:lnTo>
                      <a:lnTo>
                        <a:pt x="208" y="210"/>
                      </a:lnTo>
                      <a:lnTo>
                        <a:pt x="218" y="213"/>
                      </a:lnTo>
                      <a:lnTo>
                        <a:pt x="229" y="216"/>
                      </a:lnTo>
                      <a:lnTo>
                        <a:pt x="241" y="217"/>
                      </a:lnTo>
                      <a:lnTo>
                        <a:pt x="253" y="217"/>
                      </a:lnTo>
                      <a:lnTo>
                        <a:pt x="260" y="216"/>
                      </a:lnTo>
                      <a:lnTo>
                        <a:pt x="269" y="214"/>
                      </a:lnTo>
                      <a:lnTo>
                        <a:pt x="277" y="211"/>
                      </a:lnTo>
                      <a:lnTo>
                        <a:pt x="286" y="207"/>
                      </a:lnTo>
                      <a:lnTo>
                        <a:pt x="301" y="199"/>
                      </a:lnTo>
                      <a:lnTo>
                        <a:pt x="313" y="192"/>
                      </a:lnTo>
                      <a:lnTo>
                        <a:pt x="315" y="195"/>
                      </a:lnTo>
                      <a:lnTo>
                        <a:pt x="319" y="196"/>
                      </a:lnTo>
                      <a:lnTo>
                        <a:pt x="322" y="196"/>
                      </a:lnTo>
                      <a:lnTo>
                        <a:pt x="325" y="195"/>
                      </a:lnTo>
                      <a:lnTo>
                        <a:pt x="331" y="193"/>
                      </a:lnTo>
                      <a:lnTo>
                        <a:pt x="333" y="192"/>
                      </a:lnTo>
                      <a:lnTo>
                        <a:pt x="338" y="192"/>
                      </a:lnTo>
                      <a:lnTo>
                        <a:pt x="343" y="190"/>
                      </a:lnTo>
                      <a:lnTo>
                        <a:pt x="348" y="188"/>
                      </a:lnTo>
                      <a:lnTo>
                        <a:pt x="353" y="185"/>
                      </a:lnTo>
                      <a:lnTo>
                        <a:pt x="357" y="182"/>
                      </a:lnTo>
                      <a:lnTo>
                        <a:pt x="360" y="178"/>
                      </a:lnTo>
                      <a:lnTo>
                        <a:pt x="364" y="173"/>
                      </a:lnTo>
                      <a:lnTo>
                        <a:pt x="368" y="168"/>
                      </a:lnTo>
                      <a:lnTo>
                        <a:pt x="373" y="156"/>
                      </a:lnTo>
                      <a:lnTo>
                        <a:pt x="379" y="142"/>
                      </a:lnTo>
                      <a:lnTo>
                        <a:pt x="383" y="126"/>
                      </a:lnTo>
                      <a:lnTo>
                        <a:pt x="388" y="111"/>
                      </a:lnTo>
                      <a:lnTo>
                        <a:pt x="395" y="78"/>
                      </a:lnTo>
                      <a:lnTo>
                        <a:pt x="403" y="47"/>
                      </a:lnTo>
                      <a:lnTo>
                        <a:pt x="406" y="33"/>
                      </a:lnTo>
                      <a:lnTo>
                        <a:pt x="410" y="20"/>
                      </a:lnTo>
                      <a:lnTo>
                        <a:pt x="414" y="10"/>
                      </a:lnTo>
                      <a:lnTo>
                        <a:pt x="418" y="1"/>
                      </a:lnTo>
                      <a:lnTo>
                        <a:pt x="425" y="4"/>
                      </a:lnTo>
                      <a:lnTo>
                        <a:pt x="431" y="6"/>
                      </a:lnTo>
                      <a:lnTo>
                        <a:pt x="436" y="8"/>
                      </a:lnTo>
                      <a:lnTo>
                        <a:pt x="442" y="8"/>
                      </a:lnTo>
                      <a:lnTo>
                        <a:pt x="453" y="8"/>
                      </a:lnTo>
                      <a:lnTo>
                        <a:pt x="462" y="6"/>
                      </a:lnTo>
                      <a:lnTo>
                        <a:pt x="472" y="4"/>
                      </a:lnTo>
                      <a:lnTo>
                        <a:pt x="482" y="1"/>
                      </a:lnTo>
                      <a:lnTo>
                        <a:pt x="493" y="0"/>
                      </a:lnTo>
                      <a:lnTo>
                        <a:pt x="505" y="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69" name="Freeform 478">
                  <a:extLst>
                    <a:ext uri="{FF2B5EF4-FFF2-40B4-BE49-F238E27FC236}">
                      <a16:creationId xmlns:a16="http://schemas.microsoft.com/office/drawing/2014/main" xmlns="" id="{1D916F0B-C640-4FC0-936E-83C771B7C184}"/>
                    </a:ext>
                  </a:extLst>
                </p:cNvPr>
                <p:cNvSpPr>
                  <a:spLocks/>
                </p:cNvSpPr>
                <p:nvPr>
                  <p:custDataLst>
                    <p:tags r:id="rId316"/>
                  </p:custDataLst>
                </p:nvPr>
              </p:nvSpPr>
              <p:spPr bwMode="auto">
                <a:xfrm>
                  <a:off x="4297363" y="4203700"/>
                  <a:ext cx="350837" cy="381000"/>
                </a:xfrm>
                <a:custGeom>
                  <a:avLst/>
                  <a:gdLst>
                    <a:gd name="T0" fmla="*/ 2147483646 w 810"/>
                    <a:gd name="T1" fmla="*/ 2147483646 h 727"/>
                    <a:gd name="T2" fmla="*/ 2147483646 w 810"/>
                    <a:gd name="T3" fmla="*/ 2147483646 h 727"/>
                    <a:gd name="T4" fmla="*/ 2147483646 w 810"/>
                    <a:gd name="T5" fmla="*/ 2147483646 h 727"/>
                    <a:gd name="T6" fmla="*/ 2147483646 w 810"/>
                    <a:gd name="T7" fmla="*/ 2147483646 h 727"/>
                    <a:gd name="T8" fmla="*/ 2147483646 w 810"/>
                    <a:gd name="T9" fmla="*/ 2147483646 h 727"/>
                    <a:gd name="T10" fmla="*/ 2147483646 w 810"/>
                    <a:gd name="T11" fmla="*/ 2147483646 h 727"/>
                    <a:gd name="T12" fmla="*/ 2147483646 w 810"/>
                    <a:gd name="T13" fmla="*/ 2147483646 h 727"/>
                    <a:gd name="T14" fmla="*/ 2147483646 w 810"/>
                    <a:gd name="T15" fmla="*/ 2147483646 h 727"/>
                    <a:gd name="T16" fmla="*/ 2147483646 w 810"/>
                    <a:gd name="T17" fmla="*/ 0 h 727"/>
                    <a:gd name="T18" fmla="*/ 2147483646 w 810"/>
                    <a:gd name="T19" fmla="*/ 2147483646 h 727"/>
                    <a:gd name="T20" fmla="*/ 2147483646 w 810"/>
                    <a:gd name="T21" fmla="*/ 2147483646 h 727"/>
                    <a:gd name="T22" fmla="*/ 0 w 810"/>
                    <a:gd name="T23" fmla="*/ 2147483646 h 727"/>
                    <a:gd name="T24" fmla="*/ 2147483646 w 810"/>
                    <a:gd name="T25" fmla="*/ 2147483646 h 727"/>
                    <a:gd name="T26" fmla="*/ 2147483646 w 810"/>
                    <a:gd name="T27" fmla="*/ 2147483646 h 727"/>
                    <a:gd name="T28" fmla="*/ 2147483646 w 810"/>
                    <a:gd name="T29" fmla="*/ 2147483646 h 727"/>
                    <a:gd name="T30" fmla="*/ 2147483646 w 810"/>
                    <a:gd name="T31" fmla="*/ 2147483646 h 727"/>
                    <a:gd name="T32" fmla="*/ 2147483646 w 810"/>
                    <a:gd name="T33" fmla="*/ 2147483646 h 727"/>
                    <a:gd name="T34" fmla="*/ 2147483646 w 810"/>
                    <a:gd name="T35" fmla="*/ 2147483646 h 727"/>
                    <a:gd name="T36" fmla="*/ 2147483646 w 810"/>
                    <a:gd name="T37" fmla="*/ 2147483646 h 727"/>
                    <a:gd name="T38" fmla="*/ 2147483646 w 810"/>
                    <a:gd name="T39" fmla="*/ 2147483646 h 727"/>
                    <a:gd name="T40" fmla="*/ 2147483646 w 810"/>
                    <a:gd name="T41" fmla="*/ 2147483646 h 727"/>
                    <a:gd name="T42" fmla="*/ 2147483646 w 810"/>
                    <a:gd name="T43" fmla="*/ 2147483646 h 727"/>
                    <a:gd name="T44" fmla="*/ 2147483646 w 810"/>
                    <a:gd name="T45" fmla="*/ 2147483646 h 727"/>
                    <a:gd name="T46" fmla="*/ 2147483646 w 810"/>
                    <a:gd name="T47" fmla="*/ 2147483646 h 727"/>
                    <a:gd name="T48" fmla="*/ 2147483646 w 810"/>
                    <a:gd name="T49" fmla="*/ 2147483646 h 727"/>
                    <a:gd name="T50" fmla="*/ 2147483646 w 810"/>
                    <a:gd name="T51" fmla="*/ 2147483646 h 727"/>
                    <a:gd name="T52" fmla="*/ 2147483646 w 810"/>
                    <a:gd name="T53" fmla="*/ 2147483646 h 727"/>
                    <a:gd name="T54" fmla="*/ 2147483646 w 810"/>
                    <a:gd name="T55" fmla="*/ 2147483646 h 727"/>
                    <a:gd name="T56" fmla="*/ 2147483646 w 810"/>
                    <a:gd name="T57" fmla="*/ 2147483646 h 727"/>
                    <a:gd name="T58" fmla="*/ 2147483646 w 810"/>
                    <a:gd name="T59" fmla="*/ 2147483646 h 727"/>
                    <a:gd name="T60" fmla="*/ 2147483646 w 810"/>
                    <a:gd name="T61" fmla="*/ 2147483646 h 727"/>
                    <a:gd name="T62" fmla="*/ 2147483646 w 810"/>
                    <a:gd name="T63" fmla="*/ 2147483646 h 727"/>
                    <a:gd name="T64" fmla="*/ 2147483646 w 810"/>
                    <a:gd name="T65" fmla="*/ 2147483646 h 727"/>
                    <a:gd name="T66" fmla="*/ 2147483646 w 810"/>
                    <a:gd name="T67" fmla="*/ 2147483646 h 727"/>
                    <a:gd name="T68" fmla="*/ 2147483646 w 810"/>
                    <a:gd name="T69" fmla="*/ 2147483646 h 727"/>
                    <a:gd name="T70" fmla="*/ 2147483646 w 810"/>
                    <a:gd name="T71" fmla="*/ 2147483646 h 727"/>
                    <a:gd name="T72" fmla="*/ 2147483646 w 810"/>
                    <a:gd name="T73" fmla="*/ 2147483646 h 727"/>
                    <a:gd name="T74" fmla="*/ 2147483646 w 810"/>
                    <a:gd name="T75" fmla="*/ 2147483646 h 727"/>
                    <a:gd name="T76" fmla="*/ 2147483646 w 810"/>
                    <a:gd name="T77" fmla="*/ 2147483646 h 727"/>
                    <a:gd name="T78" fmla="*/ 2147483646 w 810"/>
                    <a:gd name="T79" fmla="*/ 2147483646 h 727"/>
                    <a:gd name="T80" fmla="*/ 2147483646 w 810"/>
                    <a:gd name="T81" fmla="*/ 2147483646 h 727"/>
                    <a:gd name="T82" fmla="*/ 2147483646 w 810"/>
                    <a:gd name="T83" fmla="*/ 2147483646 h 727"/>
                    <a:gd name="T84" fmla="*/ 2147483646 w 810"/>
                    <a:gd name="T85" fmla="*/ 2147483646 h 727"/>
                    <a:gd name="T86" fmla="*/ 2147483646 w 810"/>
                    <a:gd name="T87" fmla="*/ 2147483646 h 727"/>
                    <a:gd name="T88" fmla="*/ 2147483646 w 810"/>
                    <a:gd name="T89" fmla="*/ 2147483646 h 727"/>
                    <a:gd name="T90" fmla="*/ 2147483646 w 810"/>
                    <a:gd name="T91" fmla="*/ 2147483646 h 727"/>
                    <a:gd name="T92" fmla="*/ 2147483646 w 810"/>
                    <a:gd name="T93" fmla="*/ 2147483646 h 727"/>
                    <a:gd name="T94" fmla="*/ 2147483646 w 810"/>
                    <a:gd name="T95" fmla="*/ 2147483646 h 727"/>
                    <a:gd name="T96" fmla="*/ 2147483646 w 810"/>
                    <a:gd name="T97" fmla="*/ 2147483646 h 727"/>
                    <a:gd name="T98" fmla="*/ 2147483646 w 810"/>
                    <a:gd name="T99" fmla="*/ 2147483646 h 727"/>
                    <a:gd name="T100" fmla="*/ 2147483646 w 810"/>
                    <a:gd name="T101" fmla="*/ 2147483646 h 727"/>
                    <a:gd name="T102" fmla="*/ 2147483646 w 810"/>
                    <a:gd name="T103" fmla="*/ 2147483646 h 727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810"/>
                    <a:gd name="T157" fmla="*/ 0 h 727"/>
                    <a:gd name="T158" fmla="*/ 810 w 810"/>
                    <a:gd name="T159" fmla="*/ 727 h 727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810" h="727">
                      <a:moveTo>
                        <a:pt x="810" y="61"/>
                      </a:moveTo>
                      <a:lnTo>
                        <a:pt x="807" y="54"/>
                      </a:lnTo>
                      <a:lnTo>
                        <a:pt x="802" y="48"/>
                      </a:lnTo>
                      <a:lnTo>
                        <a:pt x="797" y="42"/>
                      </a:lnTo>
                      <a:lnTo>
                        <a:pt x="790" y="36"/>
                      </a:lnTo>
                      <a:lnTo>
                        <a:pt x="784" y="32"/>
                      </a:lnTo>
                      <a:lnTo>
                        <a:pt x="775" y="28"/>
                      </a:lnTo>
                      <a:lnTo>
                        <a:pt x="766" y="26"/>
                      </a:lnTo>
                      <a:lnTo>
                        <a:pt x="756" y="25"/>
                      </a:lnTo>
                      <a:lnTo>
                        <a:pt x="743" y="26"/>
                      </a:lnTo>
                      <a:lnTo>
                        <a:pt x="730" y="29"/>
                      </a:lnTo>
                      <a:lnTo>
                        <a:pt x="718" y="33"/>
                      </a:lnTo>
                      <a:lnTo>
                        <a:pt x="703" y="37"/>
                      </a:lnTo>
                      <a:lnTo>
                        <a:pt x="671" y="37"/>
                      </a:lnTo>
                      <a:lnTo>
                        <a:pt x="651" y="41"/>
                      </a:lnTo>
                      <a:lnTo>
                        <a:pt x="634" y="44"/>
                      </a:lnTo>
                      <a:lnTo>
                        <a:pt x="627" y="46"/>
                      </a:lnTo>
                      <a:lnTo>
                        <a:pt x="619" y="48"/>
                      </a:lnTo>
                      <a:lnTo>
                        <a:pt x="611" y="51"/>
                      </a:lnTo>
                      <a:lnTo>
                        <a:pt x="604" y="55"/>
                      </a:lnTo>
                      <a:lnTo>
                        <a:pt x="411" y="55"/>
                      </a:lnTo>
                      <a:lnTo>
                        <a:pt x="411" y="37"/>
                      </a:lnTo>
                      <a:lnTo>
                        <a:pt x="292" y="37"/>
                      </a:lnTo>
                      <a:lnTo>
                        <a:pt x="280" y="40"/>
                      </a:lnTo>
                      <a:lnTo>
                        <a:pt x="269" y="41"/>
                      </a:lnTo>
                      <a:lnTo>
                        <a:pt x="257" y="40"/>
                      </a:lnTo>
                      <a:lnTo>
                        <a:pt x="245" y="39"/>
                      </a:lnTo>
                      <a:lnTo>
                        <a:pt x="232" y="37"/>
                      </a:lnTo>
                      <a:lnTo>
                        <a:pt x="220" y="34"/>
                      </a:lnTo>
                      <a:lnTo>
                        <a:pt x="208" y="30"/>
                      </a:lnTo>
                      <a:lnTo>
                        <a:pt x="196" y="26"/>
                      </a:lnTo>
                      <a:lnTo>
                        <a:pt x="172" y="17"/>
                      </a:lnTo>
                      <a:lnTo>
                        <a:pt x="149" y="8"/>
                      </a:lnTo>
                      <a:lnTo>
                        <a:pt x="137" y="5"/>
                      </a:lnTo>
                      <a:lnTo>
                        <a:pt x="126" y="2"/>
                      </a:lnTo>
                      <a:lnTo>
                        <a:pt x="116" y="0"/>
                      </a:lnTo>
                      <a:lnTo>
                        <a:pt x="105" y="0"/>
                      </a:lnTo>
                      <a:lnTo>
                        <a:pt x="97" y="0"/>
                      </a:lnTo>
                      <a:lnTo>
                        <a:pt x="91" y="2"/>
                      </a:lnTo>
                      <a:lnTo>
                        <a:pt x="83" y="5"/>
                      </a:lnTo>
                      <a:lnTo>
                        <a:pt x="75" y="8"/>
                      </a:lnTo>
                      <a:lnTo>
                        <a:pt x="68" y="13"/>
                      </a:lnTo>
                      <a:lnTo>
                        <a:pt x="60" y="19"/>
                      </a:lnTo>
                      <a:lnTo>
                        <a:pt x="53" y="24"/>
                      </a:lnTo>
                      <a:lnTo>
                        <a:pt x="46" y="31"/>
                      </a:lnTo>
                      <a:lnTo>
                        <a:pt x="6" y="31"/>
                      </a:lnTo>
                      <a:lnTo>
                        <a:pt x="3" y="45"/>
                      </a:lnTo>
                      <a:lnTo>
                        <a:pt x="0" y="55"/>
                      </a:lnTo>
                      <a:lnTo>
                        <a:pt x="0" y="58"/>
                      </a:lnTo>
                      <a:lnTo>
                        <a:pt x="2" y="61"/>
                      </a:lnTo>
                      <a:lnTo>
                        <a:pt x="4" y="64"/>
                      </a:lnTo>
                      <a:lnTo>
                        <a:pt x="7" y="68"/>
                      </a:lnTo>
                      <a:lnTo>
                        <a:pt x="12" y="70"/>
                      </a:lnTo>
                      <a:lnTo>
                        <a:pt x="16" y="72"/>
                      </a:lnTo>
                      <a:lnTo>
                        <a:pt x="21" y="74"/>
                      </a:lnTo>
                      <a:lnTo>
                        <a:pt x="26" y="74"/>
                      </a:lnTo>
                      <a:lnTo>
                        <a:pt x="26" y="86"/>
                      </a:lnTo>
                      <a:lnTo>
                        <a:pt x="28" y="99"/>
                      </a:lnTo>
                      <a:lnTo>
                        <a:pt x="32" y="113"/>
                      </a:lnTo>
                      <a:lnTo>
                        <a:pt x="36" y="129"/>
                      </a:lnTo>
                      <a:lnTo>
                        <a:pt x="40" y="144"/>
                      </a:lnTo>
                      <a:lnTo>
                        <a:pt x="47" y="160"/>
                      </a:lnTo>
                      <a:lnTo>
                        <a:pt x="53" y="175"/>
                      </a:lnTo>
                      <a:lnTo>
                        <a:pt x="60" y="192"/>
                      </a:lnTo>
                      <a:lnTo>
                        <a:pt x="77" y="223"/>
                      </a:lnTo>
                      <a:lnTo>
                        <a:pt x="93" y="252"/>
                      </a:lnTo>
                      <a:lnTo>
                        <a:pt x="102" y="265"/>
                      </a:lnTo>
                      <a:lnTo>
                        <a:pt x="109" y="276"/>
                      </a:lnTo>
                      <a:lnTo>
                        <a:pt x="117" y="286"/>
                      </a:lnTo>
                      <a:lnTo>
                        <a:pt x="125" y="296"/>
                      </a:lnTo>
                      <a:lnTo>
                        <a:pt x="128" y="298"/>
                      </a:lnTo>
                      <a:lnTo>
                        <a:pt x="133" y="300"/>
                      </a:lnTo>
                      <a:lnTo>
                        <a:pt x="137" y="301"/>
                      </a:lnTo>
                      <a:lnTo>
                        <a:pt x="142" y="301"/>
                      </a:lnTo>
                      <a:lnTo>
                        <a:pt x="151" y="302"/>
                      </a:lnTo>
                      <a:lnTo>
                        <a:pt x="159" y="302"/>
                      </a:lnTo>
                      <a:lnTo>
                        <a:pt x="159" y="309"/>
                      </a:lnTo>
                      <a:lnTo>
                        <a:pt x="159" y="317"/>
                      </a:lnTo>
                      <a:lnTo>
                        <a:pt x="159" y="326"/>
                      </a:lnTo>
                      <a:lnTo>
                        <a:pt x="159" y="332"/>
                      </a:lnTo>
                      <a:lnTo>
                        <a:pt x="158" y="339"/>
                      </a:lnTo>
                      <a:lnTo>
                        <a:pt x="157" y="346"/>
                      </a:lnTo>
                      <a:lnTo>
                        <a:pt x="154" y="353"/>
                      </a:lnTo>
                      <a:lnTo>
                        <a:pt x="152" y="359"/>
                      </a:lnTo>
                      <a:lnTo>
                        <a:pt x="149" y="366"/>
                      </a:lnTo>
                      <a:lnTo>
                        <a:pt x="147" y="374"/>
                      </a:lnTo>
                      <a:lnTo>
                        <a:pt x="146" y="383"/>
                      </a:lnTo>
                      <a:lnTo>
                        <a:pt x="146" y="394"/>
                      </a:lnTo>
                      <a:lnTo>
                        <a:pt x="146" y="403"/>
                      </a:lnTo>
                      <a:lnTo>
                        <a:pt x="147" y="410"/>
                      </a:lnTo>
                      <a:lnTo>
                        <a:pt x="148" y="418"/>
                      </a:lnTo>
                      <a:lnTo>
                        <a:pt x="150" y="425"/>
                      </a:lnTo>
                      <a:lnTo>
                        <a:pt x="156" y="439"/>
                      </a:lnTo>
                      <a:lnTo>
                        <a:pt x="162" y="453"/>
                      </a:lnTo>
                      <a:lnTo>
                        <a:pt x="168" y="469"/>
                      </a:lnTo>
                      <a:lnTo>
                        <a:pt x="173" y="484"/>
                      </a:lnTo>
                      <a:lnTo>
                        <a:pt x="175" y="491"/>
                      </a:lnTo>
                      <a:lnTo>
                        <a:pt x="178" y="500"/>
                      </a:lnTo>
                      <a:lnTo>
                        <a:pt x="179" y="508"/>
                      </a:lnTo>
                      <a:lnTo>
                        <a:pt x="179" y="518"/>
                      </a:lnTo>
                      <a:lnTo>
                        <a:pt x="179" y="542"/>
                      </a:lnTo>
                      <a:lnTo>
                        <a:pt x="180" y="564"/>
                      </a:lnTo>
                      <a:lnTo>
                        <a:pt x="183" y="586"/>
                      </a:lnTo>
                      <a:lnTo>
                        <a:pt x="187" y="606"/>
                      </a:lnTo>
                      <a:lnTo>
                        <a:pt x="191" y="616"/>
                      </a:lnTo>
                      <a:lnTo>
                        <a:pt x="194" y="627"/>
                      </a:lnTo>
                      <a:lnTo>
                        <a:pt x="198" y="637"/>
                      </a:lnTo>
                      <a:lnTo>
                        <a:pt x="204" y="647"/>
                      </a:lnTo>
                      <a:lnTo>
                        <a:pt x="209" y="657"/>
                      </a:lnTo>
                      <a:lnTo>
                        <a:pt x="216" y="667"/>
                      </a:lnTo>
                      <a:lnTo>
                        <a:pt x="224" y="679"/>
                      </a:lnTo>
                      <a:lnTo>
                        <a:pt x="231" y="690"/>
                      </a:lnTo>
                      <a:lnTo>
                        <a:pt x="235" y="696"/>
                      </a:lnTo>
                      <a:lnTo>
                        <a:pt x="238" y="698"/>
                      </a:lnTo>
                      <a:lnTo>
                        <a:pt x="241" y="700"/>
                      </a:lnTo>
                      <a:lnTo>
                        <a:pt x="245" y="700"/>
                      </a:lnTo>
                      <a:lnTo>
                        <a:pt x="249" y="701"/>
                      </a:lnTo>
                      <a:lnTo>
                        <a:pt x="252" y="703"/>
                      </a:lnTo>
                      <a:lnTo>
                        <a:pt x="256" y="707"/>
                      </a:lnTo>
                      <a:lnTo>
                        <a:pt x="259" y="715"/>
                      </a:lnTo>
                      <a:lnTo>
                        <a:pt x="259" y="708"/>
                      </a:lnTo>
                      <a:lnTo>
                        <a:pt x="262" y="699"/>
                      </a:lnTo>
                      <a:lnTo>
                        <a:pt x="264" y="688"/>
                      </a:lnTo>
                      <a:lnTo>
                        <a:pt x="265" y="678"/>
                      </a:lnTo>
                      <a:lnTo>
                        <a:pt x="298" y="678"/>
                      </a:lnTo>
                      <a:lnTo>
                        <a:pt x="301" y="685"/>
                      </a:lnTo>
                      <a:lnTo>
                        <a:pt x="304" y="691"/>
                      </a:lnTo>
                      <a:lnTo>
                        <a:pt x="308" y="696"/>
                      </a:lnTo>
                      <a:lnTo>
                        <a:pt x="313" y="701"/>
                      </a:lnTo>
                      <a:lnTo>
                        <a:pt x="317" y="706"/>
                      </a:lnTo>
                      <a:lnTo>
                        <a:pt x="322" y="710"/>
                      </a:lnTo>
                      <a:lnTo>
                        <a:pt x="328" y="713"/>
                      </a:lnTo>
                      <a:lnTo>
                        <a:pt x="333" y="716"/>
                      </a:lnTo>
                      <a:lnTo>
                        <a:pt x="346" y="721"/>
                      </a:lnTo>
                      <a:lnTo>
                        <a:pt x="359" y="724"/>
                      </a:lnTo>
                      <a:lnTo>
                        <a:pt x="372" y="726"/>
                      </a:lnTo>
                      <a:lnTo>
                        <a:pt x="384" y="727"/>
                      </a:lnTo>
                      <a:lnTo>
                        <a:pt x="393" y="726"/>
                      </a:lnTo>
                      <a:lnTo>
                        <a:pt x="400" y="725"/>
                      </a:lnTo>
                      <a:lnTo>
                        <a:pt x="407" y="723"/>
                      </a:lnTo>
                      <a:lnTo>
                        <a:pt x="414" y="721"/>
                      </a:lnTo>
                      <a:lnTo>
                        <a:pt x="419" y="718"/>
                      </a:lnTo>
                      <a:lnTo>
                        <a:pt x="425" y="714"/>
                      </a:lnTo>
                      <a:lnTo>
                        <a:pt x="429" y="710"/>
                      </a:lnTo>
                      <a:lnTo>
                        <a:pt x="433" y="706"/>
                      </a:lnTo>
                      <a:lnTo>
                        <a:pt x="441" y="696"/>
                      </a:lnTo>
                      <a:lnTo>
                        <a:pt x="447" y="686"/>
                      </a:lnTo>
                      <a:lnTo>
                        <a:pt x="452" y="675"/>
                      </a:lnTo>
                      <a:lnTo>
                        <a:pt x="458" y="665"/>
                      </a:lnTo>
                      <a:lnTo>
                        <a:pt x="458" y="554"/>
                      </a:lnTo>
                      <a:lnTo>
                        <a:pt x="462" y="542"/>
                      </a:lnTo>
                      <a:lnTo>
                        <a:pt x="463" y="529"/>
                      </a:lnTo>
                      <a:lnTo>
                        <a:pt x="464" y="516"/>
                      </a:lnTo>
                      <a:lnTo>
                        <a:pt x="464" y="502"/>
                      </a:lnTo>
                      <a:lnTo>
                        <a:pt x="464" y="490"/>
                      </a:lnTo>
                      <a:lnTo>
                        <a:pt x="465" y="480"/>
                      </a:lnTo>
                      <a:lnTo>
                        <a:pt x="466" y="476"/>
                      </a:lnTo>
                      <a:lnTo>
                        <a:pt x="467" y="473"/>
                      </a:lnTo>
                      <a:lnTo>
                        <a:pt x="469" y="470"/>
                      </a:lnTo>
                      <a:lnTo>
                        <a:pt x="471" y="469"/>
                      </a:lnTo>
                      <a:lnTo>
                        <a:pt x="466" y="456"/>
                      </a:lnTo>
                      <a:lnTo>
                        <a:pt x="464" y="444"/>
                      </a:lnTo>
                      <a:lnTo>
                        <a:pt x="463" y="435"/>
                      </a:lnTo>
                      <a:lnTo>
                        <a:pt x="463" y="426"/>
                      </a:lnTo>
                      <a:lnTo>
                        <a:pt x="463" y="409"/>
                      </a:lnTo>
                      <a:lnTo>
                        <a:pt x="464" y="388"/>
                      </a:lnTo>
                      <a:lnTo>
                        <a:pt x="465" y="378"/>
                      </a:lnTo>
                      <a:lnTo>
                        <a:pt x="469" y="368"/>
                      </a:lnTo>
                      <a:lnTo>
                        <a:pt x="474" y="358"/>
                      </a:lnTo>
                      <a:lnTo>
                        <a:pt x="482" y="348"/>
                      </a:lnTo>
                      <a:lnTo>
                        <a:pt x="490" y="338"/>
                      </a:lnTo>
                      <a:lnTo>
                        <a:pt x="500" y="330"/>
                      </a:lnTo>
                      <a:lnTo>
                        <a:pt x="506" y="327"/>
                      </a:lnTo>
                      <a:lnTo>
                        <a:pt x="511" y="324"/>
                      </a:lnTo>
                      <a:lnTo>
                        <a:pt x="518" y="322"/>
                      </a:lnTo>
                      <a:lnTo>
                        <a:pt x="525" y="320"/>
                      </a:lnTo>
                      <a:lnTo>
                        <a:pt x="526" y="298"/>
                      </a:lnTo>
                      <a:lnTo>
                        <a:pt x="528" y="275"/>
                      </a:lnTo>
                      <a:lnTo>
                        <a:pt x="532" y="254"/>
                      </a:lnTo>
                      <a:lnTo>
                        <a:pt x="538" y="232"/>
                      </a:lnTo>
                      <a:lnTo>
                        <a:pt x="542" y="211"/>
                      </a:lnTo>
                      <a:lnTo>
                        <a:pt x="546" y="190"/>
                      </a:lnTo>
                      <a:lnTo>
                        <a:pt x="550" y="168"/>
                      </a:lnTo>
                      <a:lnTo>
                        <a:pt x="551" y="148"/>
                      </a:lnTo>
                      <a:lnTo>
                        <a:pt x="550" y="141"/>
                      </a:lnTo>
                      <a:lnTo>
                        <a:pt x="548" y="135"/>
                      </a:lnTo>
                      <a:lnTo>
                        <a:pt x="544" y="129"/>
                      </a:lnTo>
                      <a:lnTo>
                        <a:pt x="541" y="124"/>
                      </a:lnTo>
                      <a:lnTo>
                        <a:pt x="537" y="117"/>
                      </a:lnTo>
                      <a:lnTo>
                        <a:pt x="533" y="111"/>
                      </a:lnTo>
                      <a:lnTo>
                        <a:pt x="531" y="105"/>
                      </a:lnTo>
                      <a:lnTo>
                        <a:pt x="531" y="99"/>
                      </a:lnTo>
                      <a:lnTo>
                        <a:pt x="531" y="94"/>
                      </a:lnTo>
                      <a:lnTo>
                        <a:pt x="532" y="91"/>
                      </a:lnTo>
                      <a:lnTo>
                        <a:pt x="535" y="88"/>
                      </a:lnTo>
                      <a:lnTo>
                        <a:pt x="539" y="86"/>
                      </a:lnTo>
                      <a:lnTo>
                        <a:pt x="548" y="84"/>
                      </a:lnTo>
                      <a:lnTo>
                        <a:pt x="559" y="83"/>
                      </a:lnTo>
                      <a:lnTo>
                        <a:pt x="587" y="82"/>
                      </a:lnTo>
                      <a:lnTo>
                        <a:pt x="617" y="80"/>
                      </a:lnTo>
                      <a:lnTo>
                        <a:pt x="640" y="74"/>
                      </a:lnTo>
                      <a:lnTo>
                        <a:pt x="662" y="70"/>
                      </a:lnTo>
                      <a:lnTo>
                        <a:pt x="685" y="67"/>
                      </a:lnTo>
                      <a:lnTo>
                        <a:pt x="708" y="63"/>
                      </a:lnTo>
                      <a:lnTo>
                        <a:pt x="731" y="62"/>
                      </a:lnTo>
                      <a:lnTo>
                        <a:pt x="754" y="61"/>
                      </a:lnTo>
                      <a:lnTo>
                        <a:pt x="778" y="61"/>
                      </a:lnTo>
                      <a:lnTo>
                        <a:pt x="803" y="61"/>
                      </a:lnTo>
                      <a:lnTo>
                        <a:pt x="810" y="6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70" name="Freeform 479">
                  <a:extLst>
                    <a:ext uri="{FF2B5EF4-FFF2-40B4-BE49-F238E27FC236}">
                      <a16:creationId xmlns:a16="http://schemas.microsoft.com/office/drawing/2014/main" xmlns="" id="{FCECD642-496E-4288-963D-8B8A163CFDA7}"/>
                    </a:ext>
                  </a:extLst>
                </p:cNvPr>
                <p:cNvSpPr>
                  <a:spLocks/>
                </p:cNvSpPr>
                <p:nvPr>
                  <p:custDataLst>
                    <p:tags r:id="rId317"/>
                  </p:custDataLst>
                </p:nvPr>
              </p:nvSpPr>
              <p:spPr bwMode="auto">
                <a:xfrm>
                  <a:off x="3576638" y="3133725"/>
                  <a:ext cx="161925" cy="141288"/>
                </a:xfrm>
                <a:custGeom>
                  <a:avLst/>
                  <a:gdLst>
                    <a:gd name="T0" fmla="*/ 2147483646 w 365"/>
                    <a:gd name="T1" fmla="*/ 2147483646 h 271"/>
                    <a:gd name="T2" fmla="*/ 2147483646 w 365"/>
                    <a:gd name="T3" fmla="*/ 2147483646 h 271"/>
                    <a:gd name="T4" fmla="*/ 2147483646 w 365"/>
                    <a:gd name="T5" fmla="*/ 2147483646 h 271"/>
                    <a:gd name="T6" fmla="*/ 2147483646 w 365"/>
                    <a:gd name="T7" fmla="*/ 2147483646 h 271"/>
                    <a:gd name="T8" fmla="*/ 2147483646 w 365"/>
                    <a:gd name="T9" fmla="*/ 2147483646 h 271"/>
                    <a:gd name="T10" fmla="*/ 2147483646 w 365"/>
                    <a:gd name="T11" fmla="*/ 2147483646 h 271"/>
                    <a:gd name="T12" fmla="*/ 2147483646 w 365"/>
                    <a:gd name="T13" fmla="*/ 2147483646 h 271"/>
                    <a:gd name="T14" fmla="*/ 2147483646 w 365"/>
                    <a:gd name="T15" fmla="*/ 2147483646 h 271"/>
                    <a:gd name="T16" fmla="*/ 2147483646 w 365"/>
                    <a:gd name="T17" fmla="*/ 2147483646 h 271"/>
                    <a:gd name="T18" fmla="*/ 2147483646 w 365"/>
                    <a:gd name="T19" fmla="*/ 2147483646 h 271"/>
                    <a:gd name="T20" fmla="*/ 2147483646 w 365"/>
                    <a:gd name="T21" fmla="*/ 2147483646 h 271"/>
                    <a:gd name="T22" fmla="*/ 2147483646 w 365"/>
                    <a:gd name="T23" fmla="*/ 2147483646 h 271"/>
                    <a:gd name="T24" fmla="*/ 2147483646 w 365"/>
                    <a:gd name="T25" fmla="*/ 2147483646 h 271"/>
                    <a:gd name="T26" fmla="*/ 2147483646 w 365"/>
                    <a:gd name="T27" fmla="*/ 2147483646 h 271"/>
                    <a:gd name="T28" fmla="*/ 2147483646 w 365"/>
                    <a:gd name="T29" fmla="*/ 2147483646 h 271"/>
                    <a:gd name="T30" fmla="*/ 2147483646 w 365"/>
                    <a:gd name="T31" fmla="*/ 2147483646 h 271"/>
                    <a:gd name="T32" fmla="*/ 2147483646 w 365"/>
                    <a:gd name="T33" fmla="*/ 2147483646 h 271"/>
                    <a:gd name="T34" fmla="*/ 2147483646 w 365"/>
                    <a:gd name="T35" fmla="*/ 2147483646 h 271"/>
                    <a:gd name="T36" fmla="*/ 2147483646 w 365"/>
                    <a:gd name="T37" fmla="*/ 2147483646 h 271"/>
                    <a:gd name="T38" fmla="*/ 2147483646 w 365"/>
                    <a:gd name="T39" fmla="*/ 2147483646 h 271"/>
                    <a:gd name="T40" fmla="*/ 2147483646 w 365"/>
                    <a:gd name="T41" fmla="*/ 2147483646 h 271"/>
                    <a:gd name="T42" fmla="*/ 2147483646 w 365"/>
                    <a:gd name="T43" fmla="*/ 2147483646 h 271"/>
                    <a:gd name="T44" fmla="*/ 2147483646 w 365"/>
                    <a:gd name="T45" fmla="*/ 2147483646 h 271"/>
                    <a:gd name="T46" fmla="*/ 2147483646 w 365"/>
                    <a:gd name="T47" fmla="*/ 2147483646 h 271"/>
                    <a:gd name="T48" fmla="*/ 2147483646 w 365"/>
                    <a:gd name="T49" fmla="*/ 2147483646 h 271"/>
                    <a:gd name="T50" fmla="*/ 2147483646 w 365"/>
                    <a:gd name="T51" fmla="*/ 2147483646 h 271"/>
                    <a:gd name="T52" fmla="*/ 2147483646 w 365"/>
                    <a:gd name="T53" fmla="*/ 2147483646 h 271"/>
                    <a:gd name="T54" fmla="*/ 2147483646 w 365"/>
                    <a:gd name="T55" fmla="*/ 2147483646 h 271"/>
                    <a:gd name="T56" fmla="*/ 2147483646 w 365"/>
                    <a:gd name="T57" fmla="*/ 2147483646 h 271"/>
                    <a:gd name="T58" fmla="*/ 2147483646 w 365"/>
                    <a:gd name="T59" fmla="*/ 2147483646 h 271"/>
                    <a:gd name="T60" fmla="*/ 2147483646 w 365"/>
                    <a:gd name="T61" fmla="*/ 2147483646 h 271"/>
                    <a:gd name="T62" fmla="*/ 2147483646 w 365"/>
                    <a:gd name="T63" fmla="*/ 2147483646 h 271"/>
                    <a:gd name="T64" fmla="*/ 0 w 365"/>
                    <a:gd name="T65" fmla="*/ 2147483646 h 271"/>
                    <a:gd name="T66" fmla="*/ 2147483646 w 365"/>
                    <a:gd name="T67" fmla="*/ 2147483646 h 271"/>
                    <a:gd name="T68" fmla="*/ 2147483646 w 365"/>
                    <a:gd name="T69" fmla="*/ 2147483646 h 271"/>
                    <a:gd name="T70" fmla="*/ 2147483646 w 365"/>
                    <a:gd name="T71" fmla="*/ 2147483646 h 271"/>
                    <a:gd name="T72" fmla="*/ 2147483646 w 365"/>
                    <a:gd name="T73" fmla="*/ 2147483646 h 271"/>
                    <a:gd name="T74" fmla="*/ 2147483646 w 365"/>
                    <a:gd name="T75" fmla="*/ 2147483646 h 271"/>
                    <a:gd name="T76" fmla="*/ 2147483646 w 365"/>
                    <a:gd name="T77" fmla="*/ 2147483646 h 271"/>
                    <a:gd name="T78" fmla="*/ 2147483646 w 365"/>
                    <a:gd name="T79" fmla="*/ 2147483646 h 271"/>
                    <a:gd name="T80" fmla="*/ 2147483646 w 365"/>
                    <a:gd name="T81" fmla="*/ 2147483646 h 271"/>
                    <a:gd name="T82" fmla="*/ 2147483646 w 365"/>
                    <a:gd name="T83" fmla="*/ 2147483646 h 271"/>
                    <a:gd name="T84" fmla="*/ 2147483646 w 365"/>
                    <a:gd name="T85" fmla="*/ 0 h 271"/>
                    <a:gd name="T86" fmla="*/ 2147483646 w 365"/>
                    <a:gd name="T87" fmla="*/ 2147483646 h 271"/>
                    <a:gd name="T88" fmla="*/ 2147483646 w 365"/>
                    <a:gd name="T89" fmla="*/ 2147483646 h 271"/>
                    <a:gd name="T90" fmla="*/ 2147483646 w 365"/>
                    <a:gd name="T91" fmla="*/ 2147483646 h 271"/>
                    <a:gd name="T92" fmla="*/ 2147483646 w 365"/>
                    <a:gd name="T93" fmla="*/ 2147483646 h 271"/>
                    <a:gd name="T94" fmla="*/ 2147483646 w 365"/>
                    <a:gd name="T95" fmla="*/ 2147483646 h 271"/>
                    <a:gd name="T96" fmla="*/ 2147483646 w 365"/>
                    <a:gd name="T97" fmla="*/ 2147483646 h 271"/>
                    <a:gd name="T98" fmla="*/ 2147483646 w 365"/>
                    <a:gd name="T99" fmla="*/ 2147483646 h 271"/>
                    <a:gd name="T100" fmla="*/ 2147483646 w 365"/>
                    <a:gd name="T101" fmla="*/ 2147483646 h 271"/>
                    <a:gd name="T102" fmla="*/ 2147483646 w 365"/>
                    <a:gd name="T103" fmla="*/ 2147483646 h 271"/>
                    <a:gd name="T104" fmla="*/ 2147483646 w 365"/>
                    <a:gd name="T105" fmla="*/ 2147483646 h 271"/>
                    <a:gd name="T106" fmla="*/ 2147483646 w 365"/>
                    <a:gd name="T107" fmla="*/ 2147483646 h 271"/>
                    <a:gd name="T108" fmla="*/ 2147483646 w 365"/>
                    <a:gd name="T109" fmla="*/ 2147483646 h 271"/>
                    <a:gd name="T110" fmla="*/ 2147483646 w 365"/>
                    <a:gd name="T111" fmla="*/ 2147483646 h 271"/>
                    <a:gd name="T112" fmla="*/ 2147483646 w 365"/>
                    <a:gd name="T113" fmla="*/ 2147483646 h 271"/>
                    <a:gd name="T114" fmla="*/ 2147483646 w 365"/>
                    <a:gd name="T115" fmla="*/ 2147483646 h 271"/>
                    <a:gd name="T116" fmla="*/ 2147483646 w 365"/>
                    <a:gd name="T117" fmla="*/ 2147483646 h 271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365"/>
                    <a:gd name="T178" fmla="*/ 0 h 271"/>
                    <a:gd name="T179" fmla="*/ 365 w 365"/>
                    <a:gd name="T180" fmla="*/ 271 h 271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365" h="271">
                      <a:moveTo>
                        <a:pt x="219" y="252"/>
                      </a:moveTo>
                      <a:lnTo>
                        <a:pt x="203" y="250"/>
                      </a:lnTo>
                      <a:lnTo>
                        <a:pt x="184" y="248"/>
                      </a:lnTo>
                      <a:lnTo>
                        <a:pt x="163" y="246"/>
                      </a:lnTo>
                      <a:lnTo>
                        <a:pt x="142" y="246"/>
                      </a:lnTo>
                      <a:lnTo>
                        <a:pt x="121" y="247"/>
                      </a:lnTo>
                      <a:lnTo>
                        <a:pt x="101" y="249"/>
                      </a:lnTo>
                      <a:lnTo>
                        <a:pt x="92" y="250"/>
                      </a:lnTo>
                      <a:lnTo>
                        <a:pt x="82" y="252"/>
                      </a:lnTo>
                      <a:lnTo>
                        <a:pt x="74" y="255"/>
                      </a:lnTo>
                      <a:lnTo>
                        <a:pt x="65" y="258"/>
                      </a:lnTo>
                      <a:lnTo>
                        <a:pt x="26" y="271"/>
                      </a:lnTo>
                      <a:lnTo>
                        <a:pt x="23" y="271"/>
                      </a:lnTo>
                      <a:lnTo>
                        <a:pt x="20" y="270"/>
                      </a:lnTo>
                      <a:lnTo>
                        <a:pt x="18" y="268"/>
                      </a:lnTo>
                      <a:lnTo>
                        <a:pt x="17" y="266"/>
                      </a:lnTo>
                      <a:lnTo>
                        <a:pt x="17" y="260"/>
                      </a:lnTo>
                      <a:lnTo>
                        <a:pt x="18" y="254"/>
                      </a:lnTo>
                      <a:lnTo>
                        <a:pt x="24" y="240"/>
                      </a:lnTo>
                      <a:lnTo>
                        <a:pt x="26" y="228"/>
                      </a:lnTo>
                      <a:lnTo>
                        <a:pt x="45" y="227"/>
                      </a:lnTo>
                      <a:lnTo>
                        <a:pt x="61" y="226"/>
                      </a:lnTo>
                      <a:lnTo>
                        <a:pt x="75" y="224"/>
                      </a:lnTo>
                      <a:lnTo>
                        <a:pt x="89" y="222"/>
                      </a:lnTo>
                      <a:lnTo>
                        <a:pt x="102" y="220"/>
                      </a:lnTo>
                      <a:lnTo>
                        <a:pt x="115" y="218"/>
                      </a:lnTo>
                      <a:lnTo>
                        <a:pt x="129" y="216"/>
                      </a:lnTo>
                      <a:lnTo>
                        <a:pt x="146" y="216"/>
                      </a:lnTo>
                      <a:lnTo>
                        <a:pt x="164" y="217"/>
                      </a:lnTo>
                      <a:lnTo>
                        <a:pt x="182" y="218"/>
                      </a:lnTo>
                      <a:lnTo>
                        <a:pt x="191" y="218"/>
                      </a:lnTo>
                      <a:lnTo>
                        <a:pt x="199" y="218"/>
                      </a:lnTo>
                      <a:lnTo>
                        <a:pt x="209" y="217"/>
                      </a:lnTo>
                      <a:lnTo>
                        <a:pt x="219" y="216"/>
                      </a:lnTo>
                      <a:lnTo>
                        <a:pt x="217" y="211"/>
                      </a:lnTo>
                      <a:lnTo>
                        <a:pt x="215" y="208"/>
                      </a:lnTo>
                      <a:lnTo>
                        <a:pt x="213" y="203"/>
                      </a:lnTo>
                      <a:lnTo>
                        <a:pt x="210" y="201"/>
                      </a:lnTo>
                      <a:lnTo>
                        <a:pt x="204" y="196"/>
                      </a:lnTo>
                      <a:lnTo>
                        <a:pt x="195" y="194"/>
                      </a:lnTo>
                      <a:lnTo>
                        <a:pt x="186" y="192"/>
                      </a:lnTo>
                      <a:lnTo>
                        <a:pt x="175" y="191"/>
                      </a:lnTo>
                      <a:lnTo>
                        <a:pt x="164" y="191"/>
                      </a:lnTo>
                      <a:lnTo>
                        <a:pt x="152" y="190"/>
                      </a:lnTo>
                      <a:lnTo>
                        <a:pt x="120" y="191"/>
                      </a:lnTo>
                      <a:lnTo>
                        <a:pt x="93" y="192"/>
                      </a:lnTo>
                      <a:lnTo>
                        <a:pt x="79" y="193"/>
                      </a:lnTo>
                      <a:lnTo>
                        <a:pt x="64" y="196"/>
                      </a:lnTo>
                      <a:lnTo>
                        <a:pt x="49" y="199"/>
                      </a:lnTo>
                      <a:lnTo>
                        <a:pt x="33" y="203"/>
                      </a:lnTo>
                      <a:lnTo>
                        <a:pt x="37" y="191"/>
                      </a:lnTo>
                      <a:lnTo>
                        <a:pt x="38" y="183"/>
                      </a:lnTo>
                      <a:lnTo>
                        <a:pt x="39" y="177"/>
                      </a:lnTo>
                      <a:lnTo>
                        <a:pt x="39" y="172"/>
                      </a:lnTo>
                      <a:lnTo>
                        <a:pt x="34" y="168"/>
                      </a:lnTo>
                      <a:lnTo>
                        <a:pt x="26" y="164"/>
                      </a:lnTo>
                      <a:lnTo>
                        <a:pt x="18" y="161"/>
                      </a:lnTo>
                      <a:lnTo>
                        <a:pt x="13" y="160"/>
                      </a:lnTo>
                      <a:lnTo>
                        <a:pt x="13" y="153"/>
                      </a:lnTo>
                      <a:lnTo>
                        <a:pt x="11" y="147"/>
                      </a:lnTo>
                      <a:lnTo>
                        <a:pt x="8" y="144"/>
                      </a:lnTo>
                      <a:lnTo>
                        <a:pt x="6" y="143"/>
                      </a:lnTo>
                      <a:lnTo>
                        <a:pt x="4" y="142"/>
                      </a:lnTo>
                      <a:lnTo>
                        <a:pt x="2" y="141"/>
                      </a:lnTo>
                      <a:lnTo>
                        <a:pt x="0" y="139"/>
                      </a:lnTo>
                      <a:lnTo>
                        <a:pt x="0" y="135"/>
                      </a:lnTo>
                      <a:lnTo>
                        <a:pt x="1" y="125"/>
                      </a:lnTo>
                      <a:lnTo>
                        <a:pt x="5" y="115"/>
                      </a:lnTo>
                      <a:lnTo>
                        <a:pt x="11" y="104"/>
                      </a:lnTo>
                      <a:lnTo>
                        <a:pt x="17" y="92"/>
                      </a:lnTo>
                      <a:lnTo>
                        <a:pt x="24" y="80"/>
                      </a:lnTo>
                      <a:lnTo>
                        <a:pt x="30" y="69"/>
                      </a:lnTo>
                      <a:lnTo>
                        <a:pt x="36" y="59"/>
                      </a:lnTo>
                      <a:lnTo>
                        <a:pt x="39" y="49"/>
                      </a:lnTo>
                      <a:lnTo>
                        <a:pt x="45" y="43"/>
                      </a:lnTo>
                      <a:lnTo>
                        <a:pt x="48" y="42"/>
                      </a:lnTo>
                      <a:lnTo>
                        <a:pt x="49" y="44"/>
                      </a:lnTo>
                      <a:lnTo>
                        <a:pt x="49" y="48"/>
                      </a:lnTo>
                      <a:lnTo>
                        <a:pt x="48" y="51"/>
                      </a:lnTo>
                      <a:lnTo>
                        <a:pt x="52" y="36"/>
                      </a:lnTo>
                      <a:lnTo>
                        <a:pt x="61" y="35"/>
                      </a:lnTo>
                      <a:lnTo>
                        <a:pt x="75" y="31"/>
                      </a:lnTo>
                      <a:lnTo>
                        <a:pt x="94" y="25"/>
                      </a:lnTo>
                      <a:lnTo>
                        <a:pt x="114" y="18"/>
                      </a:lnTo>
                      <a:lnTo>
                        <a:pt x="150" y="6"/>
                      </a:lnTo>
                      <a:lnTo>
                        <a:pt x="165" y="0"/>
                      </a:lnTo>
                      <a:lnTo>
                        <a:pt x="175" y="8"/>
                      </a:lnTo>
                      <a:lnTo>
                        <a:pt x="184" y="15"/>
                      </a:lnTo>
                      <a:lnTo>
                        <a:pt x="194" y="20"/>
                      </a:lnTo>
                      <a:lnTo>
                        <a:pt x="202" y="24"/>
                      </a:lnTo>
                      <a:lnTo>
                        <a:pt x="210" y="27"/>
                      </a:lnTo>
                      <a:lnTo>
                        <a:pt x="220" y="29"/>
                      </a:lnTo>
                      <a:lnTo>
                        <a:pt x="229" y="30"/>
                      </a:lnTo>
                      <a:lnTo>
                        <a:pt x="239" y="30"/>
                      </a:lnTo>
                      <a:lnTo>
                        <a:pt x="239" y="42"/>
                      </a:lnTo>
                      <a:lnTo>
                        <a:pt x="241" y="52"/>
                      </a:lnTo>
                      <a:lnTo>
                        <a:pt x="243" y="61"/>
                      </a:lnTo>
                      <a:lnTo>
                        <a:pt x="247" y="69"/>
                      </a:lnTo>
                      <a:lnTo>
                        <a:pt x="250" y="77"/>
                      </a:lnTo>
                      <a:lnTo>
                        <a:pt x="254" y="84"/>
                      </a:lnTo>
                      <a:lnTo>
                        <a:pt x="259" y="90"/>
                      </a:lnTo>
                      <a:lnTo>
                        <a:pt x="264" y="95"/>
                      </a:lnTo>
                      <a:lnTo>
                        <a:pt x="286" y="115"/>
                      </a:lnTo>
                      <a:lnTo>
                        <a:pt x="305" y="129"/>
                      </a:lnTo>
                      <a:lnTo>
                        <a:pt x="305" y="210"/>
                      </a:lnTo>
                      <a:lnTo>
                        <a:pt x="352" y="234"/>
                      </a:lnTo>
                      <a:lnTo>
                        <a:pt x="353" y="245"/>
                      </a:lnTo>
                      <a:lnTo>
                        <a:pt x="359" y="257"/>
                      </a:lnTo>
                      <a:lnTo>
                        <a:pt x="363" y="267"/>
                      </a:lnTo>
                      <a:lnTo>
                        <a:pt x="365" y="271"/>
                      </a:lnTo>
                      <a:lnTo>
                        <a:pt x="353" y="267"/>
                      </a:lnTo>
                      <a:lnTo>
                        <a:pt x="321" y="259"/>
                      </a:lnTo>
                      <a:lnTo>
                        <a:pt x="300" y="255"/>
                      </a:lnTo>
                      <a:lnTo>
                        <a:pt x="275" y="252"/>
                      </a:lnTo>
                      <a:lnTo>
                        <a:pt x="262" y="251"/>
                      </a:lnTo>
                      <a:lnTo>
                        <a:pt x="248" y="251"/>
                      </a:lnTo>
                      <a:lnTo>
                        <a:pt x="233" y="251"/>
                      </a:lnTo>
                      <a:lnTo>
                        <a:pt x="219" y="25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71" name="Freeform 480">
                  <a:extLst>
                    <a:ext uri="{FF2B5EF4-FFF2-40B4-BE49-F238E27FC236}">
                      <a16:creationId xmlns:a16="http://schemas.microsoft.com/office/drawing/2014/main" xmlns="" id="{E866EFA6-B049-40A7-A4E6-A3E2D70B1E85}"/>
                    </a:ext>
                  </a:extLst>
                </p:cNvPr>
                <p:cNvSpPr>
                  <a:spLocks/>
                </p:cNvSpPr>
                <p:nvPr>
                  <p:custDataLst>
                    <p:tags r:id="rId318"/>
                  </p:custDataLst>
                </p:nvPr>
              </p:nvSpPr>
              <p:spPr bwMode="auto">
                <a:xfrm>
                  <a:off x="4749800" y="3695700"/>
                  <a:ext cx="269875" cy="334963"/>
                </a:xfrm>
                <a:custGeom>
                  <a:avLst/>
                  <a:gdLst>
                    <a:gd name="T0" fmla="*/ 2147483646 w 624"/>
                    <a:gd name="T1" fmla="*/ 2147483646 h 640"/>
                    <a:gd name="T2" fmla="*/ 2147483646 w 624"/>
                    <a:gd name="T3" fmla="*/ 2147483646 h 640"/>
                    <a:gd name="T4" fmla="*/ 2147483646 w 624"/>
                    <a:gd name="T5" fmla="*/ 2147483646 h 640"/>
                    <a:gd name="T6" fmla="*/ 2147483646 w 624"/>
                    <a:gd name="T7" fmla="*/ 2147483646 h 640"/>
                    <a:gd name="T8" fmla="*/ 2147483646 w 624"/>
                    <a:gd name="T9" fmla="*/ 2147483646 h 640"/>
                    <a:gd name="T10" fmla="*/ 2147483646 w 624"/>
                    <a:gd name="T11" fmla="*/ 2147483646 h 640"/>
                    <a:gd name="T12" fmla="*/ 2147483646 w 624"/>
                    <a:gd name="T13" fmla="*/ 2147483646 h 640"/>
                    <a:gd name="T14" fmla="*/ 2147483646 w 624"/>
                    <a:gd name="T15" fmla="*/ 2147483646 h 640"/>
                    <a:gd name="T16" fmla="*/ 2147483646 w 624"/>
                    <a:gd name="T17" fmla="*/ 2147483646 h 640"/>
                    <a:gd name="T18" fmla="*/ 2147483646 w 624"/>
                    <a:gd name="T19" fmla="*/ 2147483646 h 640"/>
                    <a:gd name="T20" fmla="*/ 2147483646 w 624"/>
                    <a:gd name="T21" fmla="*/ 2147483646 h 640"/>
                    <a:gd name="T22" fmla="*/ 2147483646 w 624"/>
                    <a:gd name="T23" fmla="*/ 2147483646 h 640"/>
                    <a:gd name="T24" fmla="*/ 2147483646 w 624"/>
                    <a:gd name="T25" fmla="*/ 2147483646 h 640"/>
                    <a:gd name="T26" fmla="*/ 2147483646 w 624"/>
                    <a:gd name="T27" fmla="*/ 2147483646 h 640"/>
                    <a:gd name="T28" fmla="*/ 2147483646 w 624"/>
                    <a:gd name="T29" fmla="*/ 2147483646 h 640"/>
                    <a:gd name="T30" fmla="*/ 2147483646 w 624"/>
                    <a:gd name="T31" fmla="*/ 2147483646 h 640"/>
                    <a:gd name="T32" fmla="*/ 2147483646 w 624"/>
                    <a:gd name="T33" fmla="*/ 2147483646 h 640"/>
                    <a:gd name="T34" fmla="*/ 2147483646 w 624"/>
                    <a:gd name="T35" fmla="*/ 2147483646 h 640"/>
                    <a:gd name="T36" fmla="*/ 2147483646 w 624"/>
                    <a:gd name="T37" fmla="*/ 2147483646 h 640"/>
                    <a:gd name="T38" fmla="*/ 2147483646 w 624"/>
                    <a:gd name="T39" fmla="*/ 2147483646 h 640"/>
                    <a:gd name="T40" fmla="*/ 2147483646 w 624"/>
                    <a:gd name="T41" fmla="*/ 2147483646 h 640"/>
                    <a:gd name="T42" fmla="*/ 2147483646 w 624"/>
                    <a:gd name="T43" fmla="*/ 2147483646 h 640"/>
                    <a:gd name="T44" fmla="*/ 2147483646 w 624"/>
                    <a:gd name="T45" fmla="*/ 2147483646 h 640"/>
                    <a:gd name="T46" fmla="*/ 2147483646 w 624"/>
                    <a:gd name="T47" fmla="*/ 2147483646 h 640"/>
                    <a:gd name="T48" fmla="*/ 2147483646 w 624"/>
                    <a:gd name="T49" fmla="*/ 2147483646 h 640"/>
                    <a:gd name="T50" fmla="*/ 2147483646 w 624"/>
                    <a:gd name="T51" fmla="*/ 2147483646 h 640"/>
                    <a:gd name="T52" fmla="*/ 2147483646 w 624"/>
                    <a:gd name="T53" fmla="*/ 2147483646 h 640"/>
                    <a:gd name="T54" fmla="*/ 2147483646 w 624"/>
                    <a:gd name="T55" fmla="*/ 2147483646 h 640"/>
                    <a:gd name="T56" fmla="*/ 2147483646 w 624"/>
                    <a:gd name="T57" fmla="*/ 2147483646 h 640"/>
                    <a:gd name="T58" fmla="*/ 2147483646 w 624"/>
                    <a:gd name="T59" fmla="*/ 2147483646 h 640"/>
                    <a:gd name="T60" fmla="*/ 2147483646 w 624"/>
                    <a:gd name="T61" fmla="*/ 2147483646 h 640"/>
                    <a:gd name="T62" fmla="*/ 2147483646 w 624"/>
                    <a:gd name="T63" fmla="*/ 2147483646 h 640"/>
                    <a:gd name="T64" fmla="*/ 2147483646 w 624"/>
                    <a:gd name="T65" fmla="*/ 2147483646 h 640"/>
                    <a:gd name="T66" fmla="*/ 2147483646 w 624"/>
                    <a:gd name="T67" fmla="*/ 2147483646 h 640"/>
                    <a:gd name="T68" fmla="*/ 2147483646 w 624"/>
                    <a:gd name="T69" fmla="*/ 2147483646 h 640"/>
                    <a:gd name="T70" fmla="*/ 2147483646 w 624"/>
                    <a:gd name="T71" fmla="*/ 2147483646 h 640"/>
                    <a:gd name="T72" fmla="*/ 2147483646 w 624"/>
                    <a:gd name="T73" fmla="*/ 2147483646 h 640"/>
                    <a:gd name="T74" fmla="*/ 2147483646 w 624"/>
                    <a:gd name="T75" fmla="*/ 2147483646 h 640"/>
                    <a:gd name="T76" fmla="*/ 2147483646 w 624"/>
                    <a:gd name="T77" fmla="*/ 2147483646 h 640"/>
                    <a:gd name="T78" fmla="*/ 2147483646 w 624"/>
                    <a:gd name="T79" fmla="*/ 2147483646 h 640"/>
                    <a:gd name="T80" fmla="*/ 2147483646 w 624"/>
                    <a:gd name="T81" fmla="*/ 2147483646 h 640"/>
                    <a:gd name="T82" fmla="*/ 2147483646 w 624"/>
                    <a:gd name="T83" fmla="*/ 2147483646 h 640"/>
                    <a:gd name="T84" fmla="*/ 2147483646 w 624"/>
                    <a:gd name="T85" fmla="*/ 2147483646 h 640"/>
                    <a:gd name="T86" fmla="*/ 2147483646 w 624"/>
                    <a:gd name="T87" fmla="*/ 2147483646 h 640"/>
                    <a:gd name="T88" fmla="*/ 2147483646 w 624"/>
                    <a:gd name="T89" fmla="*/ 2147483646 h 640"/>
                    <a:gd name="T90" fmla="*/ 0 w 624"/>
                    <a:gd name="T91" fmla="*/ 2147483646 h 640"/>
                    <a:gd name="T92" fmla="*/ 0 w 624"/>
                    <a:gd name="T93" fmla="*/ 2147483646 h 640"/>
                    <a:gd name="T94" fmla="*/ 2147483646 w 624"/>
                    <a:gd name="T95" fmla="*/ 2147483646 h 640"/>
                    <a:gd name="T96" fmla="*/ 2147483646 w 624"/>
                    <a:gd name="T97" fmla="*/ 2147483646 h 640"/>
                    <a:gd name="T98" fmla="*/ 2147483646 w 624"/>
                    <a:gd name="T99" fmla="*/ 2147483646 h 640"/>
                    <a:gd name="T100" fmla="*/ 2147483646 w 624"/>
                    <a:gd name="T101" fmla="*/ 2147483646 h 640"/>
                    <a:gd name="T102" fmla="*/ 2147483646 w 624"/>
                    <a:gd name="T103" fmla="*/ 2147483646 h 640"/>
                    <a:gd name="T104" fmla="*/ 2147483646 w 624"/>
                    <a:gd name="T105" fmla="*/ 2147483646 h 64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624"/>
                    <a:gd name="T160" fmla="*/ 0 h 640"/>
                    <a:gd name="T161" fmla="*/ 624 w 624"/>
                    <a:gd name="T162" fmla="*/ 640 h 64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624" h="640">
                      <a:moveTo>
                        <a:pt x="79" y="0"/>
                      </a:moveTo>
                      <a:lnTo>
                        <a:pt x="146" y="0"/>
                      </a:lnTo>
                      <a:lnTo>
                        <a:pt x="146" y="12"/>
                      </a:lnTo>
                      <a:lnTo>
                        <a:pt x="173" y="43"/>
                      </a:lnTo>
                      <a:lnTo>
                        <a:pt x="232" y="43"/>
                      </a:lnTo>
                      <a:lnTo>
                        <a:pt x="239" y="12"/>
                      </a:lnTo>
                      <a:lnTo>
                        <a:pt x="259" y="0"/>
                      </a:lnTo>
                      <a:lnTo>
                        <a:pt x="273" y="0"/>
                      </a:lnTo>
                      <a:lnTo>
                        <a:pt x="287" y="5"/>
                      </a:lnTo>
                      <a:lnTo>
                        <a:pt x="301" y="10"/>
                      </a:lnTo>
                      <a:lnTo>
                        <a:pt x="314" y="16"/>
                      </a:lnTo>
                      <a:lnTo>
                        <a:pt x="326" y="22"/>
                      </a:lnTo>
                      <a:lnTo>
                        <a:pt x="351" y="36"/>
                      </a:lnTo>
                      <a:lnTo>
                        <a:pt x="374" y="51"/>
                      </a:lnTo>
                      <a:lnTo>
                        <a:pt x="396" y="66"/>
                      </a:lnTo>
                      <a:lnTo>
                        <a:pt x="418" y="81"/>
                      </a:lnTo>
                      <a:lnTo>
                        <a:pt x="441" y="97"/>
                      </a:lnTo>
                      <a:lnTo>
                        <a:pt x="465" y="111"/>
                      </a:lnTo>
                      <a:lnTo>
                        <a:pt x="465" y="118"/>
                      </a:lnTo>
                      <a:lnTo>
                        <a:pt x="467" y="124"/>
                      </a:lnTo>
                      <a:lnTo>
                        <a:pt x="469" y="131"/>
                      </a:lnTo>
                      <a:lnTo>
                        <a:pt x="471" y="138"/>
                      </a:lnTo>
                      <a:lnTo>
                        <a:pt x="476" y="146"/>
                      </a:lnTo>
                      <a:lnTo>
                        <a:pt x="480" y="153"/>
                      </a:lnTo>
                      <a:lnTo>
                        <a:pt x="485" y="159"/>
                      </a:lnTo>
                      <a:lnTo>
                        <a:pt x="491" y="165"/>
                      </a:lnTo>
                      <a:lnTo>
                        <a:pt x="497" y="170"/>
                      </a:lnTo>
                      <a:lnTo>
                        <a:pt x="503" y="175"/>
                      </a:lnTo>
                      <a:lnTo>
                        <a:pt x="511" y="179"/>
                      </a:lnTo>
                      <a:lnTo>
                        <a:pt x="519" y="183"/>
                      </a:lnTo>
                      <a:lnTo>
                        <a:pt x="526" y="186"/>
                      </a:lnTo>
                      <a:lnTo>
                        <a:pt x="534" y="188"/>
                      </a:lnTo>
                      <a:lnTo>
                        <a:pt x="543" y="190"/>
                      </a:lnTo>
                      <a:lnTo>
                        <a:pt x="552" y="190"/>
                      </a:lnTo>
                      <a:lnTo>
                        <a:pt x="552" y="193"/>
                      </a:lnTo>
                      <a:lnTo>
                        <a:pt x="554" y="195"/>
                      </a:lnTo>
                      <a:lnTo>
                        <a:pt x="556" y="198"/>
                      </a:lnTo>
                      <a:lnTo>
                        <a:pt x="559" y="200"/>
                      </a:lnTo>
                      <a:lnTo>
                        <a:pt x="565" y="205"/>
                      </a:lnTo>
                      <a:lnTo>
                        <a:pt x="571" y="209"/>
                      </a:lnTo>
                      <a:lnTo>
                        <a:pt x="567" y="219"/>
                      </a:lnTo>
                      <a:lnTo>
                        <a:pt x="561" y="227"/>
                      </a:lnTo>
                      <a:lnTo>
                        <a:pt x="554" y="236"/>
                      </a:lnTo>
                      <a:lnTo>
                        <a:pt x="545" y="244"/>
                      </a:lnTo>
                      <a:lnTo>
                        <a:pt x="537" y="252"/>
                      </a:lnTo>
                      <a:lnTo>
                        <a:pt x="531" y="260"/>
                      </a:lnTo>
                      <a:lnTo>
                        <a:pt x="526" y="266"/>
                      </a:lnTo>
                      <a:lnTo>
                        <a:pt x="525" y="271"/>
                      </a:lnTo>
                      <a:lnTo>
                        <a:pt x="526" y="277"/>
                      </a:lnTo>
                      <a:lnTo>
                        <a:pt x="528" y="283"/>
                      </a:lnTo>
                      <a:lnTo>
                        <a:pt x="533" y="287"/>
                      </a:lnTo>
                      <a:lnTo>
                        <a:pt x="538" y="291"/>
                      </a:lnTo>
                      <a:lnTo>
                        <a:pt x="543" y="295"/>
                      </a:lnTo>
                      <a:lnTo>
                        <a:pt x="547" y="299"/>
                      </a:lnTo>
                      <a:lnTo>
                        <a:pt x="550" y="303"/>
                      </a:lnTo>
                      <a:lnTo>
                        <a:pt x="552" y="307"/>
                      </a:lnTo>
                      <a:lnTo>
                        <a:pt x="552" y="425"/>
                      </a:lnTo>
                      <a:lnTo>
                        <a:pt x="549" y="430"/>
                      </a:lnTo>
                      <a:lnTo>
                        <a:pt x="549" y="434"/>
                      </a:lnTo>
                      <a:lnTo>
                        <a:pt x="550" y="439"/>
                      </a:lnTo>
                      <a:lnTo>
                        <a:pt x="552" y="443"/>
                      </a:lnTo>
                      <a:lnTo>
                        <a:pt x="556" y="452"/>
                      </a:lnTo>
                      <a:lnTo>
                        <a:pt x="558" y="462"/>
                      </a:lnTo>
                      <a:lnTo>
                        <a:pt x="558" y="475"/>
                      </a:lnTo>
                      <a:lnTo>
                        <a:pt x="558" y="483"/>
                      </a:lnTo>
                      <a:lnTo>
                        <a:pt x="558" y="489"/>
                      </a:lnTo>
                      <a:lnTo>
                        <a:pt x="558" y="499"/>
                      </a:lnTo>
                      <a:lnTo>
                        <a:pt x="559" y="507"/>
                      </a:lnTo>
                      <a:lnTo>
                        <a:pt x="561" y="515"/>
                      </a:lnTo>
                      <a:lnTo>
                        <a:pt x="567" y="523"/>
                      </a:lnTo>
                      <a:lnTo>
                        <a:pt x="574" y="532"/>
                      </a:lnTo>
                      <a:lnTo>
                        <a:pt x="594" y="549"/>
                      </a:lnTo>
                      <a:lnTo>
                        <a:pt x="624" y="572"/>
                      </a:lnTo>
                      <a:lnTo>
                        <a:pt x="622" y="575"/>
                      </a:lnTo>
                      <a:lnTo>
                        <a:pt x="616" y="579"/>
                      </a:lnTo>
                      <a:lnTo>
                        <a:pt x="609" y="583"/>
                      </a:lnTo>
                      <a:lnTo>
                        <a:pt x="599" y="589"/>
                      </a:lnTo>
                      <a:lnTo>
                        <a:pt x="575" y="600"/>
                      </a:lnTo>
                      <a:lnTo>
                        <a:pt x="546" y="611"/>
                      </a:lnTo>
                      <a:lnTo>
                        <a:pt x="518" y="622"/>
                      </a:lnTo>
                      <a:lnTo>
                        <a:pt x="491" y="631"/>
                      </a:lnTo>
                      <a:lnTo>
                        <a:pt x="470" y="638"/>
                      </a:lnTo>
                      <a:lnTo>
                        <a:pt x="458" y="640"/>
                      </a:lnTo>
                      <a:lnTo>
                        <a:pt x="443" y="638"/>
                      </a:lnTo>
                      <a:lnTo>
                        <a:pt x="423" y="634"/>
                      </a:lnTo>
                      <a:lnTo>
                        <a:pt x="403" y="630"/>
                      </a:lnTo>
                      <a:lnTo>
                        <a:pt x="392" y="628"/>
                      </a:lnTo>
                      <a:lnTo>
                        <a:pt x="369" y="630"/>
                      </a:lnTo>
                      <a:lnTo>
                        <a:pt x="348" y="632"/>
                      </a:lnTo>
                      <a:lnTo>
                        <a:pt x="339" y="633"/>
                      </a:lnTo>
                      <a:lnTo>
                        <a:pt x="329" y="633"/>
                      </a:lnTo>
                      <a:lnTo>
                        <a:pt x="318" y="631"/>
                      </a:lnTo>
                      <a:lnTo>
                        <a:pt x="306" y="628"/>
                      </a:lnTo>
                      <a:lnTo>
                        <a:pt x="303" y="625"/>
                      </a:lnTo>
                      <a:lnTo>
                        <a:pt x="301" y="620"/>
                      </a:lnTo>
                      <a:lnTo>
                        <a:pt x="299" y="614"/>
                      </a:lnTo>
                      <a:lnTo>
                        <a:pt x="298" y="608"/>
                      </a:lnTo>
                      <a:lnTo>
                        <a:pt x="295" y="592"/>
                      </a:lnTo>
                      <a:lnTo>
                        <a:pt x="294" y="573"/>
                      </a:lnTo>
                      <a:lnTo>
                        <a:pt x="291" y="556"/>
                      </a:lnTo>
                      <a:lnTo>
                        <a:pt x="289" y="541"/>
                      </a:lnTo>
                      <a:lnTo>
                        <a:pt x="288" y="529"/>
                      </a:lnTo>
                      <a:lnTo>
                        <a:pt x="286" y="523"/>
                      </a:lnTo>
                      <a:lnTo>
                        <a:pt x="270" y="519"/>
                      </a:lnTo>
                      <a:lnTo>
                        <a:pt x="253" y="517"/>
                      </a:lnTo>
                      <a:lnTo>
                        <a:pt x="232" y="515"/>
                      </a:lnTo>
                      <a:lnTo>
                        <a:pt x="206" y="511"/>
                      </a:lnTo>
                      <a:lnTo>
                        <a:pt x="185" y="502"/>
                      </a:lnTo>
                      <a:lnTo>
                        <a:pt x="139" y="482"/>
                      </a:lnTo>
                      <a:lnTo>
                        <a:pt x="113" y="470"/>
                      </a:lnTo>
                      <a:lnTo>
                        <a:pt x="90" y="459"/>
                      </a:lnTo>
                      <a:lnTo>
                        <a:pt x="82" y="454"/>
                      </a:lnTo>
                      <a:lnTo>
                        <a:pt x="74" y="450"/>
                      </a:lnTo>
                      <a:lnTo>
                        <a:pt x="68" y="446"/>
                      </a:lnTo>
                      <a:lnTo>
                        <a:pt x="66" y="443"/>
                      </a:lnTo>
                      <a:lnTo>
                        <a:pt x="66" y="437"/>
                      </a:lnTo>
                      <a:lnTo>
                        <a:pt x="66" y="428"/>
                      </a:lnTo>
                      <a:lnTo>
                        <a:pt x="66" y="419"/>
                      </a:lnTo>
                      <a:lnTo>
                        <a:pt x="66" y="412"/>
                      </a:lnTo>
                      <a:lnTo>
                        <a:pt x="65" y="402"/>
                      </a:lnTo>
                      <a:lnTo>
                        <a:pt x="62" y="392"/>
                      </a:lnTo>
                      <a:lnTo>
                        <a:pt x="57" y="384"/>
                      </a:lnTo>
                      <a:lnTo>
                        <a:pt x="53" y="377"/>
                      </a:lnTo>
                      <a:lnTo>
                        <a:pt x="48" y="371"/>
                      </a:lnTo>
                      <a:lnTo>
                        <a:pt x="44" y="363"/>
                      </a:lnTo>
                      <a:lnTo>
                        <a:pt x="41" y="357"/>
                      </a:lnTo>
                      <a:lnTo>
                        <a:pt x="40" y="351"/>
                      </a:lnTo>
                      <a:lnTo>
                        <a:pt x="32" y="350"/>
                      </a:lnTo>
                      <a:lnTo>
                        <a:pt x="27" y="347"/>
                      </a:lnTo>
                      <a:lnTo>
                        <a:pt x="21" y="343"/>
                      </a:lnTo>
                      <a:lnTo>
                        <a:pt x="17" y="338"/>
                      </a:lnTo>
                      <a:lnTo>
                        <a:pt x="12" y="332"/>
                      </a:lnTo>
                      <a:lnTo>
                        <a:pt x="9" y="325"/>
                      </a:lnTo>
                      <a:lnTo>
                        <a:pt x="7" y="317"/>
                      </a:lnTo>
                      <a:lnTo>
                        <a:pt x="5" y="308"/>
                      </a:lnTo>
                      <a:lnTo>
                        <a:pt x="1" y="291"/>
                      </a:lnTo>
                      <a:lnTo>
                        <a:pt x="0" y="276"/>
                      </a:lnTo>
                      <a:lnTo>
                        <a:pt x="0" y="262"/>
                      </a:lnTo>
                      <a:lnTo>
                        <a:pt x="0" y="252"/>
                      </a:lnTo>
                      <a:lnTo>
                        <a:pt x="0" y="243"/>
                      </a:lnTo>
                      <a:lnTo>
                        <a:pt x="0" y="234"/>
                      </a:lnTo>
                      <a:lnTo>
                        <a:pt x="0" y="225"/>
                      </a:lnTo>
                      <a:lnTo>
                        <a:pt x="0" y="215"/>
                      </a:lnTo>
                      <a:lnTo>
                        <a:pt x="10" y="212"/>
                      </a:lnTo>
                      <a:lnTo>
                        <a:pt x="20" y="208"/>
                      </a:lnTo>
                      <a:lnTo>
                        <a:pt x="29" y="202"/>
                      </a:lnTo>
                      <a:lnTo>
                        <a:pt x="38" y="195"/>
                      </a:lnTo>
                      <a:lnTo>
                        <a:pt x="46" y="188"/>
                      </a:lnTo>
                      <a:lnTo>
                        <a:pt x="54" y="180"/>
                      </a:lnTo>
                      <a:lnTo>
                        <a:pt x="61" y="173"/>
                      </a:lnTo>
                      <a:lnTo>
                        <a:pt x="66" y="166"/>
                      </a:lnTo>
                      <a:lnTo>
                        <a:pt x="73" y="85"/>
                      </a:lnTo>
                      <a:lnTo>
                        <a:pt x="77" y="77"/>
                      </a:lnTo>
                      <a:lnTo>
                        <a:pt x="81" y="67"/>
                      </a:lnTo>
                      <a:lnTo>
                        <a:pt x="83" y="55"/>
                      </a:lnTo>
                      <a:lnTo>
                        <a:pt x="84" y="43"/>
                      </a:lnTo>
                      <a:lnTo>
                        <a:pt x="84" y="30"/>
                      </a:lnTo>
                      <a:lnTo>
                        <a:pt x="83" y="18"/>
                      </a:lnTo>
                      <a:lnTo>
                        <a:pt x="82" y="8"/>
                      </a:lnTo>
                      <a:lnTo>
                        <a:pt x="79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72" name="Freeform 481">
                  <a:extLst>
                    <a:ext uri="{FF2B5EF4-FFF2-40B4-BE49-F238E27FC236}">
                      <a16:creationId xmlns:a16="http://schemas.microsoft.com/office/drawing/2014/main" xmlns="" id="{B4D82ADD-9EFC-4248-A4BF-0276D6EF1FEA}"/>
                    </a:ext>
                  </a:extLst>
                </p:cNvPr>
                <p:cNvSpPr>
                  <a:spLocks/>
                </p:cNvSpPr>
                <p:nvPr>
                  <p:custDataLst>
                    <p:tags r:id="rId319"/>
                  </p:custDataLst>
                </p:nvPr>
              </p:nvSpPr>
              <p:spPr bwMode="auto">
                <a:xfrm>
                  <a:off x="7313613" y="2209800"/>
                  <a:ext cx="19050" cy="57150"/>
                </a:xfrm>
                <a:custGeom>
                  <a:avLst/>
                  <a:gdLst>
                    <a:gd name="T0" fmla="*/ 2147483646 w 52"/>
                    <a:gd name="T1" fmla="*/ 2147483646 h 50"/>
                    <a:gd name="T2" fmla="*/ 0 w 52"/>
                    <a:gd name="T3" fmla="*/ 2147483646 h 50"/>
                    <a:gd name="T4" fmla="*/ 2147483646 w 52"/>
                    <a:gd name="T5" fmla="*/ 2147483646 h 50"/>
                    <a:gd name="T6" fmla="*/ 2147483646 w 52"/>
                    <a:gd name="T7" fmla="*/ 2147483646 h 50"/>
                    <a:gd name="T8" fmla="*/ 2147483646 w 52"/>
                    <a:gd name="T9" fmla="*/ 2147483646 h 50"/>
                    <a:gd name="T10" fmla="*/ 2147483646 w 52"/>
                    <a:gd name="T11" fmla="*/ 2147483646 h 50"/>
                    <a:gd name="T12" fmla="*/ 2147483646 w 52"/>
                    <a:gd name="T13" fmla="*/ 2147483646 h 50"/>
                    <a:gd name="T14" fmla="*/ 2147483646 w 52"/>
                    <a:gd name="T15" fmla="*/ 2147483646 h 50"/>
                    <a:gd name="T16" fmla="*/ 2147483646 w 52"/>
                    <a:gd name="T17" fmla="*/ 2147483646 h 50"/>
                    <a:gd name="T18" fmla="*/ 2147483646 w 52"/>
                    <a:gd name="T19" fmla="*/ 0 h 50"/>
                    <a:gd name="T20" fmla="*/ 2147483646 w 52"/>
                    <a:gd name="T21" fmla="*/ 2147483646 h 50"/>
                    <a:gd name="T22" fmla="*/ 2147483646 w 52"/>
                    <a:gd name="T23" fmla="*/ 2147483646 h 50"/>
                    <a:gd name="T24" fmla="*/ 2147483646 w 52"/>
                    <a:gd name="T25" fmla="*/ 2147483646 h 50"/>
                    <a:gd name="T26" fmla="*/ 2147483646 w 52"/>
                    <a:gd name="T27" fmla="*/ 2147483646 h 50"/>
                    <a:gd name="T28" fmla="*/ 2147483646 w 52"/>
                    <a:gd name="T29" fmla="*/ 2147483646 h 50"/>
                    <a:gd name="T30" fmla="*/ 2147483646 w 52"/>
                    <a:gd name="T31" fmla="*/ 2147483646 h 5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52"/>
                    <a:gd name="T49" fmla="*/ 0 h 50"/>
                    <a:gd name="T50" fmla="*/ 52 w 52"/>
                    <a:gd name="T51" fmla="*/ 50 h 50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52" h="50">
                      <a:moveTo>
                        <a:pt x="13" y="50"/>
                      </a:moveTo>
                      <a:lnTo>
                        <a:pt x="0" y="32"/>
                      </a:lnTo>
                      <a:lnTo>
                        <a:pt x="2" y="25"/>
                      </a:lnTo>
                      <a:lnTo>
                        <a:pt x="6" y="18"/>
                      </a:lnTo>
                      <a:lnTo>
                        <a:pt x="12" y="13"/>
                      </a:lnTo>
                      <a:lnTo>
                        <a:pt x="18" y="9"/>
                      </a:lnTo>
                      <a:lnTo>
                        <a:pt x="26" y="5"/>
                      </a:lnTo>
                      <a:lnTo>
                        <a:pt x="34" y="3"/>
                      </a:lnTo>
                      <a:lnTo>
                        <a:pt x="43" y="1"/>
                      </a:lnTo>
                      <a:lnTo>
                        <a:pt x="52" y="0"/>
                      </a:lnTo>
                      <a:lnTo>
                        <a:pt x="40" y="11"/>
                      </a:lnTo>
                      <a:lnTo>
                        <a:pt x="27" y="22"/>
                      </a:lnTo>
                      <a:lnTo>
                        <a:pt x="22" y="30"/>
                      </a:lnTo>
                      <a:lnTo>
                        <a:pt x="17" y="36"/>
                      </a:lnTo>
                      <a:lnTo>
                        <a:pt x="14" y="43"/>
                      </a:lnTo>
                      <a:lnTo>
                        <a:pt x="13" y="5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73" name="Freeform 482">
                  <a:extLst>
                    <a:ext uri="{FF2B5EF4-FFF2-40B4-BE49-F238E27FC236}">
                      <a16:creationId xmlns:a16="http://schemas.microsoft.com/office/drawing/2014/main" xmlns="" id="{404A2238-8CB2-4047-A92B-00880338E342}"/>
                    </a:ext>
                  </a:extLst>
                </p:cNvPr>
                <p:cNvSpPr>
                  <a:spLocks/>
                </p:cNvSpPr>
                <p:nvPr>
                  <p:custDataLst>
                    <p:tags r:id="rId320"/>
                  </p:custDataLst>
                </p:nvPr>
              </p:nvSpPr>
              <p:spPr bwMode="auto">
                <a:xfrm>
                  <a:off x="7172325" y="2211388"/>
                  <a:ext cx="141288" cy="125412"/>
                </a:xfrm>
                <a:custGeom>
                  <a:avLst/>
                  <a:gdLst>
                    <a:gd name="T0" fmla="*/ 2147483646 w 320"/>
                    <a:gd name="T1" fmla="*/ 2147483646 h 234"/>
                    <a:gd name="T2" fmla="*/ 2147483646 w 320"/>
                    <a:gd name="T3" fmla="*/ 2147483646 h 234"/>
                    <a:gd name="T4" fmla="*/ 2147483646 w 320"/>
                    <a:gd name="T5" fmla="*/ 2147483646 h 234"/>
                    <a:gd name="T6" fmla="*/ 2147483646 w 320"/>
                    <a:gd name="T7" fmla="*/ 2147483646 h 234"/>
                    <a:gd name="T8" fmla="*/ 2147483646 w 320"/>
                    <a:gd name="T9" fmla="*/ 2147483646 h 234"/>
                    <a:gd name="T10" fmla="*/ 2147483646 w 320"/>
                    <a:gd name="T11" fmla="*/ 2147483646 h 234"/>
                    <a:gd name="T12" fmla="*/ 2147483646 w 320"/>
                    <a:gd name="T13" fmla="*/ 2147483646 h 234"/>
                    <a:gd name="T14" fmla="*/ 2147483646 w 320"/>
                    <a:gd name="T15" fmla="*/ 2147483646 h 234"/>
                    <a:gd name="T16" fmla="*/ 2147483646 w 320"/>
                    <a:gd name="T17" fmla="*/ 2147483646 h 234"/>
                    <a:gd name="T18" fmla="*/ 2147483646 w 320"/>
                    <a:gd name="T19" fmla="*/ 2147483646 h 234"/>
                    <a:gd name="T20" fmla="*/ 2147483646 w 320"/>
                    <a:gd name="T21" fmla="*/ 2147483646 h 234"/>
                    <a:gd name="T22" fmla="*/ 2147483646 w 320"/>
                    <a:gd name="T23" fmla="*/ 2147483646 h 234"/>
                    <a:gd name="T24" fmla="*/ 2147483646 w 320"/>
                    <a:gd name="T25" fmla="*/ 2147483646 h 234"/>
                    <a:gd name="T26" fmla="*/ 2147483646 w 320"/>
                    <a:gd name="T27" fmla="*/ 2147483646 h 234"/>
                    <a:gd name="T28" fmla="*/ 2147483646 w 320"/>
                    <a:gd name="T29" fmla="*/ 2147483646 h 234"/>
                    <a:gd name="T30" fmla="*/ 2147483646 w 320"/>
                    <a:gd name="T31" fmla="*/ 2147483646 h 234"/>
                    <a:gd name="T32" fmla="*/ 2147483646 w 320"/>
                    <a:gd name="T33" fmla="*/ 2147483646 h 234"/>
                    <a:gd name="T34" fmla="*/ 2147483646 w 320"/>
                    <a:gd name="T35" fmla="*/ 2147483646 h 234"/>
                    <a:gd name="T36" fmla="*/ 2147483646 w 320"/>
                    <a:gd name="T37" fmla="*/ 2147483646 h 234"/>
                    <a:gd name="T38" fmla="*/ 2147483646 w 320"/>
                    <a:gd name="T39" fmla="*/ 2147483646 h 234"/>
                    <a:gd name="T40" fmla="*/ 2147483646 w 320"/>
                    <a:gd name="T41" fmla="*/ 2147483646 h 234"/>
                    <a:gd name="T42" fmla="*/ 2147483646 w 320"/>
                    <a:gd name="T43" fmla="*/ 2147483646 h 234"/>
                    <a:gd name="T44" fmla="*/ 2147483646 w 320"/>
                    <a:gd name="T45" fmla="*/ 0 h 234"/>
                    <a:gd name="T46" fmla="*/ 2147483646 w 320"/>
                    <a:gd name="T47" fmla="*/ 0 h 234"/>
                    <a:gd name="T48" fmla="*/ 2147483646 w 320"/>
                    <a:gd name="T49" fmla="*/ 2147483646 h 234"/>
                    <a:gd name="T50" fmla="*/ 2147483646 w 320"/>
                    <a:gd name="T51" fmla="*/ 2147483646 h 234"/>
                    <a:gd name="T52" fmla="*/ 2147483646 w 320"/>
                    <a:gd name="T53" fmla="*/ 2147483646 h 234"/>
                    <a:gd name="T54" fmla="*/ 2147483646 w 320"/>
                    <a:gd name="T55" fmla="*/ 2147483646 h 234"/>
                    <a:gd name="T56" fmla="*/ 2147483646 w 320"/>
                    <a:gd name="T57" fmla="*/ 2147483646 h 234"/>
                    <a:gd name="T58" fmla="*/ 2147483646 w 320"/>
                    <a:gd name="T59" fmla="*/ 2147483646 h 234"/>
                    <a:gd name="T60" fmla="*/ 2147483646 w 320"/>
                    <a:gd name="T61" fmla="*/ 2147483646 h 234"/>
                    <a:gd name="T62" fmla="*/ 2147483646 w 320"/>
                    <a:gd name="T63" fmla="*/ 2147483646 h 234"/>
                    <a:gd name="T64" fmla="*/ 2147483646 w 320"/>
                    <a:gd name="T65" fmla="*/ 2147483646 h 234"/>
                    <a:gd name="T66" fmla="*/ 2147483646 w 320"/>
                    <a:gd name="T67" fmla="*/ 2147483646 h 234"/>
                    <a:gd name="T68" fmla="*/ 2147483646 w 320"/>
                    <a:gd name="T69" fmla="*/ 2147483646 h 234"/>
                    <a:gd name="T70" fmla="*/ 2147483646 w 320"/>
                    <a:gd name="T71" fmla="*/ 2147483646 h 234"/>
                    <a:gd name="T72" fmla="*/ 2147483646 w 320"/>
                    <a:gd name="T73" fmla="*/ 2147483646 h 234"/>
                    <a:gd name="T74" fmla="*/ 2147483646 w 320"/>
                    <a:gd name="T75" fmla="*/ 2147483646 h 234"/>
                    <a:gd name="T76" fmla="*/ 2147483646 w 320"/>
                    <a:gd name="T77" fmla="*/ 2147483646 h 234"/>
                    <a:gd name="T78" fmla="*/ 2147483646 w 320"/>
                    <a:gd name="T79" fmla="*/ 2147483646 h 234"/>
                    <a:gd name="T80" fmla="*/ 2147483646 w 320"/>
                    <a:gd name="T81" fmla="*/ 2147483646 h 234"/>
                    <a:gd name="T82" fmla="*/ 2147483646 w 320"/>
                    <a:gd name="T83" fmla="*/ 2147483646 h 234"/>
                    <a:gd name="T84" fmla="*/ 2147483646 w 320"/>
                    <a:gd name="T85" fmla="*/ 2147483646 h 234"/>
                    <a:gd name="T86" fmla="*/ 2147483646 w 320"/>
                    <a:gd name="T87" fmla="*/ 2147483646 h 234"/>
                    <a:gd name="T88" fmla="*/ 2147483646 w 320"/>
                    <a:gd name="T89" fmla="*/ 2147483646 h 234"/>
                    <a:gd name="T90" fmla="*/ 2147483646 w 320"/>
                    <a:gd name="T91" fmla="*/ 2147483646 h 234"/>
                    <a:gd name="T92" fmla="*/ 2147483646 w 320"/>
                    <a:gd name="T93" fmla="*/ 2147483646 h 234"/>
                    <a:gd name="T94" fmla="*/ 2147483646 w 320"/>
                    <a:gd name="T95" fmla="*/ 2147483646 h 234"/>
                    <a:gd name="T96" fmla="*/ 2147483646 w 320"/>
                    <a:gd name="T97" fmla="*/ 2147483646 h 234"/>
                    <a:gd name="T98" fmla="*/ 2147483646 w 320"/>
                    <a:gd name="T99" fmla="*/ 2147483646 h 234"/>
                    <a:gd name="T100" fmla="*/ 2147483646 w 320"/>
                    <a:gd name="T101" fmla="*/ 2147483646 h 234"/>
                    <a:gd name="T102" fmla="*/ 2147483646 w 320"/>
                    <a:gd name="T103" fmla="*/ 2147483646 h 234"/>
                    <a:gd name="T104" fmla="*/ 2147483646 w 320"/>
                    <a:gd name="T105" fmla="*/ 2147483646 h 234"/>
                    <a:gd name="T106" fmla="*/ 2147483646 w 320"/>
                    <a:gd name="T107" fmla="*/ 2147483646 h 234"/>
                    <a:gd name="T108" fmla="*/ 2147483646 w 320"/>
                    <a:gd name="T109" fmla="*/ 2147483646 h 234"/>
                    <a:gd name="T110" fmla="*/ 2147483646 w 320"/>
                    <a:gd name="T111" fmla="*/ 2147483646 h 234"/>
                    <a:gd name="T112" fmla="*/ 2147483646 w 320"/>
                    <a:gd name="T113" fmla="*/ 2147483646 h 234"/>
                    <a:gd name="T114" fmla="*/ 2147483646 w 320"/>
                    <a:gd name="T115" fmla="*/ 2147483646 h 234"/>
                    <a:gd name="T116" fmla="*/ 2147483646 w 320"/>
                    <a:gd name="T117" fmla="*/ 2147483646 h 234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320"/>
                    <a:gd name="T178" fmla="*/ 0 h 234"/>
                    <a:gd name="T179" fmla="*/ 320 w 320"/>
                    <a:gd name="T180" fmla="*/ 234 h 234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320" h="234">
                      <a:moveTo>
                        <a:pt x="87" y="234"/>
                      </a:moveTo>
                      <a:lnTo>
                        <a:pt x="76" y="231"/>
                      </a:lnTo>
                      <a:lnTo>
                        <a:pt x="61" y="228"/>
                      </a:lnTo>
                      <a:lnTo>
                        <a:pt x="61" y="226"/>
                      </a:lnTo>
                      <a:lnTo>
                        <a:pt x="63" y="224"/>
                      </a:lnTo>
                      <a:lnTo>
                        <a:pt x="66" y="222"/>
                      </a:lnTo>
                      <a:lnTo>
                        <a:pt x="70" y="220"/>
                      </a:lnTo>
                      <a:lnTo>
                        <a:pt x="77" y="217"/>
                      </a:lnTo>
                      <a:lnTo>
                        <a:pt x="80" y="216"/>
                      </a:lnTo>
                      <a:lnTo>
                        <a:pt x="64" y="204"/>
                      </a:lnTo>
                      <a:lnTo>
                        <a:pt x="50" y="194"/>
                      </a:lnTo>
                      <a:lnTo>
                        <a:pt x="43" y="189"/>
                      </a:lnTo>
                      <a:lnTo>
                        <a:pt x="38" y="182"/>
                      </a:lnTo>
                      <a:lnTo>
                        <a:pt x="36" y="179"/>
                      </a:lnTo>
                      <a:lnTo>
                        <a:pt x="34" y="175"/>
                      </a:lnTo>
                      <a:lnTo>
                        <a:pt x="34" y="171"/>
                      </a:lnTo>
                      <a:lnTo>
                        <a:pt x="33" y="167"/>
                      </a:lnTo>
                      <a:lnTo>
                        <a:pt x="34" y="164"/>
                      </a:lnTo>
                      <a:lnTo>
                        <a:pt x="34" y="160"/>
                      </a:lnTo>
                      <a:lnTo>
                        <a:pt x="36" y="157"/>
                      </a:lnTo>
                      <a:lnTo>
                        <a:pt x="38" y="154"/>
                      </a:lnTo>
                      <a:lnTo>
                        <a:pt x="43" y="149"/>
                      </a:lnTo>
                      <a:lnTo>
                        <a:pt x="50" y="145"/>
                      </a:lnTo>
                      <a:lnTo>
                        <a:pt x="56" y="141"/>
                      </a:lnTo>
                      <a:lnTo>
                        <a:pt x="64" y="139"/>
                      </a:lnTo>
                      <a:lnTo>
                        <a:pt x="73" y="137"/>
                      </a:lnTo>
                      <a:lnTo>
                        <a:pt x="80" y="137"/>
                      </a:lnTo>
                      <a:lnTo>
                        <a:pt x="80" y="126"/>
                      </a:lnTo>
                      <a:lnTo>
                        <a:pt x="80" y="111"/>
                      </a:lnTo>
                      <a:lnTo>
                        <a:pt x="67" y="111"/>
                      </a:lnTo>
                      <a:lnTo>
                        <a:pt x="61" y="111"/>
                      </a:lnTo>
                      <a:lnTo>
                        <a:pt x="61" y="102"/>
                      </a:lnTo>
                      <a:lnTo>
                        <a:pt x="61" y="93"/>
                      </a:lnTo>
                      <a:lnTo>
                        <a:pt x="60" y="86"/>
                      </a:lnTo>
                      <a:lnTo>
                        <a:pt x="58" y="79"/>
                      </a:lnTo>
                      <a:lnTo>
                        <a:pt x="55" y="70"/>
                      </a:lnTo>
                      <a:lnTo>
                        <a:pt x="53" y="62"/>
                      </a:lnTo>
                      <a:lnTo>
                        <a:pt x="46" y="46"/>
                      </a:lnTo>
                      <a:lnTo>
                        <a:pt x="40" y="32"/>
                      </a:lnTo>
                      <a:lnTo>
                        <a:pt x="33" y="31"/>
                      </a:lnTo>
                      <a:lnTo>
                        <a:pt x="27" y="29"/>
                      </a:lnTo>
                      <a:lnTo>
                        <a:pt x="20" y="25"/>
                      </a:lnTo>
                      <a:lnTo>
                        <a:pt x="16" y="21"/>
                      </a:lnTo>
                      <a:lnTo>
                        <a:pt x="7" y="10"/>
                      </a:lnTo>
                      <a:lnTo>
                        <a:pt x="0" y="0"/>
                      </a:lnTo>
                      <a:lnTo>
                        <a:pt x="9" y="0"/>
                      </a:lnTo>
                      <a:lnTo>
                        <a:pt x="17" y="0"/>
                      </a:lnTo>
                      <a:lnTo>
                        <a:pt x="24" y="0"/>
                      </a:lnTo>
                      <a:lnTo>
                        <a:pt x="33" y="0"/>
                      </a:lnTo>
                      <a:lnTo>
                        <a:pt x="38" y="3"/>
                      </a:lnTo>
                      <a:lnTo>
                        <a:pt x="45" y="8"/>
                      </a:lnTo>
                      <a:lnTo>
                        <a:pt x="56" y="16"/>
                      </a:lnTo>
                      <a:lnTo>
                        <a:pt x="67" y="26"/>
                      </a:lnTo>
                      <a:lnTo>
                        <a:pt x="78" y="35"/>
                      </a:lnTo>
                      <a:lnTo>
                        <a:pt x="88" y="42"/>
                      </a:lnTo>
                      <a:lnTo>
                        <a:pt x="96" y="48"/>
                      </a:lnTo>
                      <a:lnTo>
                        <a:pt x="100" y="50"/>
                      </a:lnTo>
                      <a:lnTo>
                        <a:pt x="119" y="58"/>
                      </a:lnTo>
                      <a:lnTo>
                        <a:pt x="135" y="65"/>
                      </a:lnTo>
                      <a:lnTo>
                        <a:pt x="152" y="70"/>
                      </a:lnTo>
                      <a:lnTo>
                        <a:pt x="166" y="76"/>
                      </a:lnTo>
                      <a:lnTo>
                        <a:pt x="181" y="79"/>
                      </a:lnTo>
                      <a:lnTo>
                        <a:pt x="197" y="82"/>
                      </a:lnTo>
                      <a:lnTo>
                        <a:pt x="214" y="85"/>
                      </a:lnTo>
                      <a:lnTo>
                        <a:pt x="233" y="87"/>
                      </a:lnTo>
                      <a:lnTo>
                        <a:pt x="236" y="77"/>
                      </a:lnTo>
                      <a:lnTo>
                        <a:pt x="240" y="62"/>
                      </a:lnTo>
                      <a:lnTo>
                        <a:pt x="257" y="83"/>
                      </a:lnTo>
                      <a:lnTo>
                        <a:pt x="275" y="100"/>
                      </a:lnTo>
                      <a:lnTo>
                        <a:pt x="284" y="107"/>
                      </a:lnTo>
                      <a:lnTo>
                        <a:pt x="293" y="113"/>
                      </a:lnTo>
                      <a:lnTo>
                        <a:pt x="305" y="119"/>
                      </a:lnTo>
                      <a:lnTo>
                        <a:pt x="320" y="123"/>
                      </a:lnTo>
                      <a:lnTo>
                        <a:pt x="297" y="133"/>
                      </a:lnTo>
                      <a:lnTo>
                        <a:pt x="277" y="141"/>
                      </a:lnTo>
                      <a:lnTo>
                        <a:pt x="268" y="144"/>
                      </a:lnTo>
                      <a:lnTo>
                        <a:pt x="258" y="147"/>
                      </a:lnTo>
                      <a:lnTo>
                        <a:pt x="249" y="148"/>
                      </a:lnTo>
                      <a:lnTo>
                        <a:pt x="240" y="149"/>
                      </a:lnTo>
                      <a:lnTo>
                        <a:pt x="237" y="159"/>
                      </a:lnTo>
                      <a:lnTo>
                        <a:pt x="234" y="170"/>
                      </a:lnTo>
                      <a:lnTo>
                        <a:pt x="232" y="176"/>
                      </a:lnTo>
                      <a:lnTo>
                        <a:pt x="231" y="181"/>
                      </a:lnTo>
                      <a:lnTo>
                        <a:pt x="231" y="187"/>
                      </a:lnTo>
                      <a:lnTo>
                        <a:pt x="233" y="192"/>
                      </a:lnTo>
                      <a:lnTo>
                        <a:pt x="222" y="192"/>
                      </a:lnTo>
                      <a:lnTo>
                        <a:pt x="213" y="191"/>
                      </a:lnTo>
                      <a:lnTo>
                        <a:pt x="204" y="189"/>
                      </a:lnTo>
                      <a:lnTo>
                        <a:pt x="198" y="187"/>
                      </a:lnTo>
                      <a:lnTo>
                        <a:pt x="186" y="181"/>
                      </a:lnTo>
                      <a:lnTo>
                        <a:pt x="176" y="176"/>
                      </a:lnTo>
                      <a:lnTo>
                        <a:pt x="168" y="170"/>
                      </a:lnTo>
                      <a:lnTo>
                        <a:pt x="159" y="165"/>
                      </a:lnTo>
                      <a:lnTo>
                        <a:pt x="155" y="164"/>
                      </a:lnTo>
                      <a:lnTo>
                        <a:pt x="151" y="162"/>
                      </a:lnTo>
                      <a:lnTo>
                        <a:pt x="145" y="161"/>
                      </a:lnTo>
                      <a:lnTo>
                        <a:pt x="140" y="161"/>
                      </a:lnTo>
                      <a:lnTo>
                        <a:pt x="131" y="162"/>
                      </a:lnTo>
                      <a:lnTo>
                        <a:pt x="122" y="164"/>
                      </a:lnTo>
                      <a:lnTo>
                        <a:pt x="114" y="167"/>
                      </a:lnTo>
                      <a:lnTo>
                        <a:pt x="108" y="170"/>
                      </a:lnTo>
                      <a:lnTo>
                        <a:pt x="100" y="173"/>
                      </a:lnTo>
                      <a:lnTo>
                        <a:pt x="94" y="176"/>
                      </a:lnTo>
                      <a:lnTo>
                        <a:pt x="87" y="178"/>
                      </a:lnTo>
                      <a:lnTo>
                        <a:pt x="80" y="179"/>
                      </a:lnTo>
                      <a:lnTo>
                        <a:pt x="85" y="183"/>
                      </a:lnTo>
                      <a:lnTo>
                        <a:pt x="90" y="188"/>
                      </a:lnTo>
                      <a:lnTo>
                        <a:pt x="96" y="191"/>
                      </a:lnTo>
                      <a:lnTo>
                        <a:pt x="101" y="194"/>
                      </a:lnTo>
                      <a:lnTo>
                        <a:pt x="116" y="200"/>
                      </a:lnTo>
                      <a:lnTo>
                        <a:pt x="133" y="204"/>
                      </a:lnTo>
                      <a:lnTo>
                        <a:pt x="126" y="212"/>
                      </a:lnTo>
                      <a:lnTo>
                        <a:pt x="119" y="219"/>
                      </a:lnTo>
                      <a:lnTo>
                        <a:pt x="113" y="224"/>
                      </a:lnTo>
                      <a:lnTo>
                        <a:pt x="108" y="228"/>
                      </a:lnTo>
                      <a:lnTo>
                        <a:pt x="102" y="231"/>
                      </a:lnTo>
                      <a:lnTo>
                        <a:pt x="97" y="233"/>
                      </a:lnTo>
                      <a:lnTo>
                        <a:pt x="91" y="234"/>
                      </a:lnTo>
                      <a:lnTo>
                        <a:pt x="87" y="23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74" name="Freeform 483">
                  <a:extLst>
                    <a:ext uri="{FF2B5EF4-FFF2-40B4-BE49-F238E27FC236}">
                      <a16:creationId xmlns:a16="http://schemas.microsoft.com/office/drawing/2014/main" xmlns="" id="{EF24951B-23AC-4F78-9455-6215DB284009}"/>
                    </a:ext>
                  </a:extLst>
                </p:cNvPr>
                <p:cNvSpPr>
                  <a:spLocks/>
                </p:cNvSpPr>
                <p:nvPr>
                  <p:custDataLst>
                    <p:tags r:id="rId321"/>
                  </p:custDataLst>
                </p:nvPr>
              </p:nvSpPr>
              <p:spPr bwMode="auto">
                <a:xfrm>
                  <a:off x="7142163" y="2565400"/>
                  <a:ext cx="52387" cy="57150"/>
                </a:xfrm>
                <a:custGeom>
                  <a:avLst/>
                  <a:gdLst>
                    <a:gd name="T0" fmla="*/ 2147483646 w 125"/>
                    <a:gd name="T1" fmla="*/ 2147483646 h 93"/>
                    <a:gd name="T2" fmla="*/ 2147483646 w 125"/>
                    <a:gd name="T3" fmla="*/ 2147483646 h 93"/>
                    <a:gd name="T4" fmla="*/ 2147483646 w 125"/>
                    <a:gd name="T5" fmla="*/ 2147483646 h 93"/>
                    <a:gd name="T6" fmla="*/ 2147483646 w 125"/>
                    <a:gd name="T7" fmla="*/ 2147483646 h 93"/>
                    <a:gd name="T8" fmla="*/ 2147483646 w 125"/>
                    <a:gd name="T9" fmla="*/ 2147483646 h 93"/>
                    <a:gd name="T10" fmla="*/ 2147483646 w 125"/>
                    <a:gd name="T11" fmla="*/ 2147483646 h 93"/>
                    <a:gd name="T12" fmla="*/ 2147483646 w 125"/>
                    <a:gd name="T13" fmla="*/ 2147483646 h 93"/>
                    <a:gd name="T14" fmla="*/ 2147483646 w 125"/>
                    <a:gd name="T15" fmla="*/ 2147483646 h 93"/>
                    <a:gd name="T16" fmla="*/ 2147483646 w 125"/>
                    <a:gd name="T17" fmla="*/ 2147483646 h 93"/>
                    <a:gd name="T18" fmla="*/ 2147483646 w 125"/>
                    <a:gd name="T19" fmla="*/ 2147483646 h 93"/>
                    <a:gd name="T20" fmla="*/ 2147483646 w 125"/>
                    <a:gd name="T21" fmla="*/ 0 h 93"/>
                    <a:gd name="T22" fmla="*/ 2147483646 w 125"/>
                    <a:gd name="T23" fmla="*/ 0 h 93"/>
                    <a:gd name="T24" fmla="*/ 2147483646 w 125"/>
                    <a:gd name="T25" fmla="*/ 2147483646 h 93"/>
                    <a:gd name="T26" fmla="*/ 2147483646 w 125"/>
                    <a:gd name="T27" fmla="*/ 2147483646 h 93"/>
                    <a:gd name="T28" fmla="*/ 2147483646 w 125"/>
                    <a:gd name="T29" fmla="*/ 2147483646 h 93"/>
                    <a:gd name="T30" fmla="*/ 2147483646 w 125"/>
                    <a:gd name="T31" fmla="*/ 2147483646 h 93"/>
                    <a:gd name="T32" fmla="*/ 2147483646 w 125"/>
                    <a:gd name="T33" fmla="*/ 2147483646 h 93"/>
                    <a:gd name="T34" fmla="*/ 2147483646 w 125"/>
                    <a:gd name="T35" fmla="*/ 2147483646 h 93"/>
                    <a:gd name="T36" fmla="*/ 2147483646 w 125"/>
                    <a:gd name="T37" fmla="*/ 2147483646 h 93"/>
                    <a:gd name="T38" fmla="*/ 2147483646 w 125"/>
                    <a:gd name="T39" fmla="*/ 2147483646 h 93"/>
                    <a:gd name="T40" fmla="*/ 2147483646 w 125"/>
                    <a:gd name="T41" fmla="*/ 2147483646 h 93"/>
                    <a:gd name="T42" fmla="*/ 2147483646 w 125"/>
                    <a:gd name="T43" fmla="*/ 2147483646 h 93"/>
                    <a:gd name="T44" fmla="*/ 2147483646 w 125"/>
                    <a:gd name="T45" fmla="*/ 2147483646 h 93"/>
                    <a:gd name="T46" fmla="*/ 2147483646 w 125"/>
                    <a:gd name="T47" fmla="*/ 2147483646 h 93"/>
                    <a:gd name="T48" fmla="*/ 2147483646 w 125"/>
                    <a:gd name="T49" fmla="*/ 2147483646 h 93"/>
                    <a:gd name="T50" fmla="*/ 2147483646 w 125"/>
                    <a:gd name="T51" fmla="*/ 2147483646 h 93"/>
                    <a:gd name="T52" fmla="*/ 2147483646 w 125"/>
                    <a:gd name="T53" fmla="*/ 2147483646 h 93"/>
                    <a:gd name="T54" fmla="*/ 2147483646 w 125"/>
                    <a:gd name="T55" fmla="*/ 2147483646 h 93"/>
                    <a:gd name="T56" fmla="*/ 2147483646 w 125"/>
                    <a:gd name="T57" fmla="*/ 2147483646 h 93"/>
                    <a:gd name="T58" fmla="*/ 2147483646 w 125"/>
                    <a:gd name="T59" fmla="*/ 2147483646 h 93"/>
                    <a:gd name="T60" fmla="*/ 2147483646 w 125"/>
                    <a:gd name="T61" fmla="*/ 2147483646 h 93"/>
                    <a:gd name="T62" fmla="*/ 2147483646 w 125"/>
                    <a:gd name="T63" fmla="*/ 2147483646 h 93"/>
                    <a:gd name="T64" fmla="*/ 2147483646 w 125"/>
                    <a:gd name="T65" fmla="*/ 2147483646 h 93"/>
                    <a:gd name="T66" fmla="*/ 2147483646 w 125"/>
                    <a:gd name="T67" fmla="*/ 2147483646 h 93"/>
                    <a:gd name="T68" fmla="*/ 0 w 125"/>
                    <a:gd name="T69" fmla="*/ 2147483646 h 93"/>
                    <a:gd name="T70" fmla="*/ 0 w 125"/>
                    <a:gd name="T71" fmla="*/ 2147483646 h 93"/>
                    <a:gd name="T72" fmla="*/ 2147483646 w 125"/>
                    <a:gd name="T73" fmla="*/ 2147483646 h 93"/>
                    <a:gd name="T74" fmla="*/ 2147483646 w 125"/>
                    <a:gd name="T75" fmla="*/ 2147483646 h 93"/>
                    <a:gd name="T76" fmla="*/ 2147483646 w 125"/>
                    <a:gd name="T77" fmla="*/ 2147483646 h 93"/>
                    <a:gd name="T78" fmla="*/ 2147483646 w 125"/>
                    <a:gd name="T79" fmla="*/ 2147483646 h 93"/>
                    <a:gd name="T80" fmla="*/ 2147483646 w 125"/>
                    <a:gd name="T81" fmla="*/ 2147483646 h 93"/>
                    <a:gd name="T82" fmla="*/ 2147483646 w 125"/>
                    <a:gd name="T83" fmla="*/ 2147483646 h 93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125"/>
                    <a:gd name="T127" fmla="*/ 0 h 93"/>
                    <a:gd name="T128" fmla="*/ 125 w 125"/>
                    <a:gd name="T129" fmla="*/ 93 h 93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125" h="93">
                      <a:moveTo>
                        <a:pt x="33" y="19"/>
                      </a:moveTo>
                      <a:lnTo>
                        <a:pt x="43" y="19"/>
                      </a:lnTo>
                      <a:lnTo>
                        <a:pt x="52" y="19"/>
                      </a:lnTo>
                      <a:lnTo>
                        <a:pt x="55" y="19"/>
                      </a:lnTo>
                      <a:lnTo>
                        <a:pt x="58" y="17"/>
                      </a:lnTo>
                      <a:lnTo>
                        <a:pt x="61" y="15"/>
                      </a:lnTo>
                      <a:lnTo>
                        <a:pt x="65" y="11"/>
                      </a:lnTo>
                      <a:lnTo>
                        <a:pt x="68" y="8"/>
                      </a:lnTo>
                      <a:lnTo>
                        <a:pt x="70" y="5"/>
                      </a:lnTo>
                      <a:lnTo>
                        <a:pt x="72" y="3"/>
                      </a:lnTo>
                      <a:lnTo>
                        <a:pt x="72" y="0"/>
                      </a:lnTo>
                      <a:lnTo>
                        <a:pt x="118" y="0"/>
                      </a:lnTo>
                      <a:lnTo>
                        <a:pt x="122" y="15"/>
                      </a:lnTo>
                      <a:lnTo>
                        <a:pt x="125" y="25"/>
                      </a:lnTo>
                      <a:lnTo>
                        <a:pt x="124" y="29"/>
                      </a:lnTo>
                      <a:lnTo>
                        <a:pt x="122" y="33"/>
                      </a:lnTo>
                      <a:lnTo>
                        <a:pt x="119" y="35"/>
                      </a:lnTo>
                      <a:lnTo>
                        <a:pt x="117" y="37"/>
                      </a:lnTo>
                      <a:lnTo>
                        <a:pt x="111" y="40"/>
                      </a:lnTo>
                      <a:lnTo>
                        <a:pt x="104" y="41"/>
                      </a:lnTo>
                      <a:lnTo>
                        <a:pt x="88" y="41"/>
                      </a:lnTo>
                      <a:lnTo>
                        <a:pt x="72" y="43"/>
                      </a:lnTo>
                      <a:lnTo>
                        <a:pt x="70" y="47"/>
                      </a:lnTo>
                      <a:lnTo>
                        <a:pt x="69" y="53"/>
                      </a:lnTo>
                      <a:lnTo>
                        <a:pt x="67" y="61"/>
                      </a:lnTo>
                      <a:lnTo>
                        <a:pt x="67" y="71"/>
                      </a:lnTo>
                      <a:lnTo>
                        <a:pt x="66" y="86"/>
                      </a:lnTo>
                      <a:lnTo>
                        <a:pt x="66" y="93"/>
                      </a:lnTo>
                      <a:lnTo>
                        <a:pt x="49" y="85"/>
                      </a:lnTo>
                      <a:lnTo>
                        <a:pt x="27" y="73"/>
                      </a:lnTo>
                      <a:lnTo>
                        <a:pt x="16" y="65"/>
                      </a:lnTo>
                      <a:lnTo>
                        <a:pt x="7" y="58"/>
                      </a:lnTo>
                      <a:lnTo>
                        <a:pt x="4" y="54"/>
                      </a:lnTo>
                      <a:lnTo>
                        <a:pt x="2" y="50"/>
                      </a:lnTo>
                      <a:lnTo>
                        <a:pt x="0" y="47"/>
                      </a:lnTo>
                      <a:lnTo>
                        <a:pt x="0" y="43"/>
                      </a:lnTo>
                      <a:lnTo>
                        <a:pt x="7" y="43"/>
                      </a:lnTo>
                      <a:lnTo>
                        <a:pt x="15" y="41"/>
                      </a:lnTo>
                      <a:lnTo>
                        <a:pt x="20" y="39"/>
                      </a:lnTo>
                      <a:lnTo>
                        <a:pt x="23" y="36"/>
                      </a:lnTo>
                      <a:lnTo>
                        <a:pt x="28" y="28"/>
                      </a:lnTo>
                      <a:lnTo>
                        <a:pt x="33" y="1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75" name="Freeform 484">
                  <a:extLst>
                    <a:ext uri="{FF2B5EF4-FFF2-40B4-BE49-F238E27FC236}">
                      <a16:creationId xmlns:a16="http://schemas.microsoft.com/office/drawing/2014/main" xmlns="" id="{DF065472-32E0-431F-B274-F6C855B419B0}"/>
                    </a:ext>
                  </a:extLst>
                </p:cNvPr>
                <p:cNvSpPr>
                  <a:spLocks/>
                </p:cNvSpPr>
                <p:nvPr>
                  <p:custDataLst>
                    <p:tags r:id="rId322"/>
                  </p:custDataLst>
                </p:nvPr>
              </p:nvSpPr>
              <p:spPr bwMode="auto">
                <a:xfrm>
                  <a:off x="7088188" y="2579688"/>
                  <a:ext cx="60325" cy="84137"/>
                </a:xfrm>
                <a:custGeom>
                  <a:avLst/>
                  <a:gdLst>
                    <a:gd name="T0" fmla="*/ 2147483646 w 133"/>
                    <a:gd name="T1" fmla="*/ 2147483646 h 154"/>
                    <a:gd name="T2" fmla="*/ 2147483646 w 133"/>
                    <a:gd name="T3" fmla="*/ 2147483646 h 154"/>
                    <a:gd name="T4" fmla="*/ 2147483646 w 133"/>
                    <a:gd name="T5" fmla="*/ 2147483646 h 154"/>
                    <a:gd name="T6" fmla="*/ 2147483646 w 133"/>
                    <a:gd name="T7" fmla="*/ 2147483646 h 154"/>
                    <a:gd name="T8" fmla="*/ 2147483646 w 133"/>
                    <a:gd name="T9" fmla="*/ 2147483646 h 154"/>
                    <a:gd name="T10" fmla="*/ 2147483646 w 133"/>
                    <a:gd name="T11" fmla="*/ 2147483646 h 154"/>
                    <a:gd name="T12" fmla="*/ 2147483646 w 133"/>
                    <a:gd name="T13" fmla="*/ 0 h 154"/>
                    <a:gd name="T14" fmla="*/ 2147483646 w 133"/>
                    <a:gd name="T15" fmla="*/ 2147483646 h 154"/>
                    <a:gd name="T16" fmla="*/ 2147483646 w 133"/>
                    <a:gd name="T17" fmla="*/ 2147483646 h 154"/>
                    <a:gd name="T18" fmla="*/ 2147483646 w 133"/>
                    <a:gd name="T19" fmla="*/ 2147483646 h 154"/>
                    <a:gd name="T20" fmla="*/ 2147483646 w 133"/>
                    <a:gd name="T21" fmla="*/ 2147483646 h 154"/>
                    <a:gd name="T22" fmla="*/ 2147483646 w 133"/>
                    <a:gd name="T23" fmla="*/ 2147483646 h 154"/>
                    <a:gd name="T24" fmla="*/ 2147483646 w 133"/>
                    <a:gd name="T25" fmla="*/ 2147483646 h 154"/>
                    <a:gd name="T26" fmla="*/ 2147483646 w 133"/>
                    <a:gd name="T27" fmla="*/ 2147483646 h 154"/>
                    <a:gd name="T28" fmla="*/ 2147483646 w 133"/>
                    <a:gd name="T29" fmla="*/ 2147483646 h 154"/>
                    <a:gd name="T30" fmla="*/ 2147483646 w 133"/>
                    <a:gd name="T31" fmla="*/ 2147483646 h 154"/>
                    <a:gd name="T32" fmla="*/ 2147483646 w 133"/>
                    <a:gd name="T33" fmla="*/ 2147483646 h 154"/>
                    <a:gd name="T34" fmla="*/ 2147483646 w 133"/>
                    <a:gd name="T35" fmla="*/ 2147483646 h 154"/>
                    <a:gd name="T36" fmla="*/ 2147483646 w 133"/>
                    <a:gd name="T37" fmla="*/ 2147483646 h 154"/>
                    <a:gd name="T38" fmla="*/ 2147483646 w 133"/>
                    <a:gd name="T39" fmla="*/ 2147483646 h 154"/>
                    <a:gd name="T40" fmla="*/ 2147483646 w 133"/>
                    <a:gd name="T41" fmla="*/ 2147483646 h 154"/>
                    <a:gd name="T42" fmla="*/ 2147483646 w 133"/>
                    <a:gd name="T43" fmla="*/ 2147483646 h 154"/>
                    <a:gd name="T44" fmla="*/ 2147483646 w 133"/>
                    <a:gd name="T45" fmla="*/ 2147483646 h 154"/>
                    <a:gd name="T46" fmla="*/ 2147483646 w 133"/>
                    <a:gd name="T47" fmla="*/ 2147483646 h 154"/>
                    <a:gd name="T48" fmla="*/ 2147483646 w 133"/>
                    <a:gd name="T49" fmla="*/ 2147483646 h 154"/>
                    <a:gd name="T50" fmla="*/ 2147483646 w 133"/>
                    <a:gd name="T51" fmla="*/ 2147483646 h 154"/>
                    <a:gd name="T52" fmla="*/ 2147483646 w 133"/>
                    <a:gd name="T53" fmla="*/ 2147483646 h 154"/>
                    <a:gd name="T54" fmla="*/ 2147483646 w 133"/>
                    <a:gd name="T55" fmla="*/ 2147483646 h 154"/>
                    <a:gd name="T56" fmla="*/ 2147483646 w 133"/>
                    <a:gd name="T57" fmla="*/ 2147483646 h 154"/>
                    <a:gd name="T58" fmla="*/ 2147483646 w 133"/>
                    <a:gd name="T59" fmla="*/ 2147483646 h 154"/>
                    <a:gd name="T60" fmla="*/ 2147483646 w 133"/>
                    <a:gd name="T61" fmla="*/ 2147483646 h 154"/>
                    <a:gd name="T62" fmla="*/ 2147483646 w 133"/>
                    <a:gd name="T63" fmla="*/ 2147483646 h 154"/>
                    <a:gd name="T64" fmla="*/ 2147483646 w 133"/>
                    <a:gd name="T65" fmla="*/ 2147483646 h 154"/>
                    <a:gd name="T66" fmla="*/ 2147483646 w 133"/>
                    <a:gd name="T67" fmla="*/ 2147483646 h 154"/>
                    <a:gd name="T68" fmla="*/ 2147483646 w 133"/>
                    <a:gd name="T69" fmla="*/ 2147483646 h 154"/>
                    <a:gd name="T70" fmla="*/ 2147483646 w 133"/>
                    <a:gd name="T71" fmla="*/ 2147483646 h 154"/>
                    <a:gd name="T72" fmla="*/ 2147483646 w 133"/>
                    <a:gd name="T73" fmla="*/ 2147483646 h 154"/>
                    <a:gd name="T74" fmla="*/ 2147483646 w 133"/>
                    <a:gd name="T75" fmla="*/ 2147483646 h 154"/>
                    <a:gd name="T76" fmla="*/ 2147483646 w 133"/>
                    <a:gd name="T77" fmla="*/ 2147483646 h 154"/>
                    <a:gd name="T78" fmla="*/ 2147483646 w 133"/>
                    <a:gd name="T79" fmla="*/ 2147483646 h 154"/>
                    <a:gd name="T80" fmla="*/ 2147483646 w 133"/>
                    <a:gd name="T81" fmla="*/ 2147483646 h 154"/>
                    <a:gd name="T82" fmla="*/ 2147483646 w 133"/>
                    <a:gd name="T83" fmla="*/ 2147483646 h 154"/>
                    <a:gd name="T84" fmla="*/ 2147483646 w 133"/>
                    <a:gd name="T85" fmla="*/ 2147483646 h 154"/>
                    <a:gd name="T86" fmla="*/ 2147483646 w 133"/>
                    <a:gd name="T87" fmla="*/ 2147483646 h 154"/>
                    <a:gd name="T88" fmla="*/ 2147483646 w 133"/>
                    <a:gd name="T89" fmla="*/ 2147483646 h 154"/>
                    <a:gd name="T90" fmla="*/ 2147483646 w 133"/>
                    <a:gd name="T91" fmla="*/ 2147483646 h 154"/>
                    <a:gd name="T92" fmla="*/ 2147483646 w 133"/>
                    <a:gd name="T93" fmla="*/ 2147483646 h 154"/>
                    <a:gd name="T94" fmla="*/ 2147483646 w 133"/>
                    <a:gd name="T95" fmla="*/ 2147483646 h 154"/>
                    <a:gd name="T96" fmla="*/ 2147483646 w 133"/>
                    <a:gd name="T97" fmla="*/ 2147483646 h 154"/>
                    <a:gd name="T98" fmla="*/ 2147483646 w 133"/>
                    <a:gd name="T99" fmla="*/ 2147483646 h 154"/>
                    <a:gd name="T100" fmla="*/ 2147483646 w 133"/>
                    <a:gd name="T101" fmla="*/ 2147483646 h 154"/>
                    <a:gd name="T102" fmla="*/ 0 w 133"/>
                    <a:gd name="T103" fmla="*/ 2147483646 h 154"/>
                    <a:gd name="T104" fmla="*/ 0 w 133"/>
                    <a:gd name="T105" fmla="*/ 2147483646 h 154"/>
                    <a:gd name="T106" fmla="*/ 2147483646 w 133"/>
                    <a:gd name="T107" fmla="*/ 2147483646 h 154"/>
                    <a:gd name="T108" fmla="*/ 2147483646 w 133"/>
                    <a:gd name="T109" fmla="*/ 2147483646 h 15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33"/>
                    <a:gd name="T166" fmla="*/ 0 h 154"/>
                    <a:gd name="T167" fmla="*/ 133 w 133"/>
                    <a:gd name="T168" fmla="*/ 154 h 15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33" h="154">
                      <a:moveTo>
                        <a:pt x="20" y="12"/>
                      </a:moveTo>
                      <a:lnTo>
                        <a:pt x="24" y="10"/>
                      </a:lnTo>
                      <a:lnTo>
                        <a:pt x="31" y="6"/>
                      </a:lnTo>
                      <a:lnTo>
                        <a:pt x="34" y="4"/>
                      </a:lnTo>
                      <a:lnTo>
                        <a:pt x="37" y="2"/>
                      </a:lnTo>
                      <a:lnTo>
                        <a:pt x="42" y="1"/>
                      </a:lnTo>
                      <a:lnTo>
                        <a:pt x="46" y="0"/>
                      </a:lnTo>
                      <a:lnTo>
                        <a:pt x="59" y="1"/>
                      </a:lnTo>
                      <a:lnTo>
                        <a:pt x="70" y="4"/>
                      </a:lnTo>
                      <a:lnTo>
                        <a:pt x="81" y="8"/>
                      </a:lnTo>
                      <a:lnTo>
                        <a:pt x="90" y="14"/>
                      </a:lnTo>
                      <a:lnTo>
                        <a:pt x="99" y="21"/>
                      </a:lnTo>
                      <a:lnTo>
                        <a:pt x="105" y="30"/>
                      </a:lnTo>
                      <a:lnTo>
                        <a:pt x="112" y="40"/>
                      </a:lnTo>
                      <a:lnTo>
                        <a:pt x="116" y="50"/>
                      </a:lnTo>
                      <a:lnTo>
                        <a:pt x="121" y="60"/>
                      </a:lnTo>
                      <a:lnTo>
                        <a:pt x="124" y="71"/>
                      </a:lnTo>
                      <a:lnTo>
                        <a:pt x="127" y="82"/>
                      </a:lnTo>
                      <a:lnTo>
                        <a:pt x="130" y="94"/>
                      </a:lnTo>
                      <a:lnTo>
                        <a:pt x="132" y="116"/>
                      </a:lnTo>
                      <a:lnTo>
                        <a:pt x="133" y="135"/>
                      </a:lnTo>
                      <a:lnTo>
                        <a:pt x="132" y="138"/>
                      </a:lnTo>
                      <a:lnTo>
                        <a:pt x="130" y="141"/>
                      </a:lnTo>
                      <a:lnTo>
                        <a:pt x="125" y="144"/>
                      </a:lnTo>
                      <a:lnTo>
                        <a:pt x="121" y="147"/>
                      </a:lnTo>
                      <a:lnTo>
                        <a:pt x="115" y="150"/>
                      </a:lnTo>
                      <a:lnTo>
                        <a:pt x="110" y="153"/>
                      </a:lnTo>
                      <a:lnTo>
                        <a:pt x="104" y="154"/>
                      </a:lnTo>
                      <a:lnTo>
                        <a:pt x="99" y="154"/>
                      </a:lnTo>
                      <a:lnTo>
                        <a:pt x="93" y="153"/>
                      </a:lnTo>
                      <a:lnTo>
                        <a:pt x="87" y="149"/>
                      </a:lnTo>
                      <a:lnTo>
                        <a:pt x="79" y="141"/>
                      </a:lnTo>
                      <a:lnTo>
                        <a:pt x="71" y="134"/>
                      </a:lnTo>
                      <a:lnTo>
                        <a:pt x="64" y="126"/>
                      </a:lnTo>
                      <a:lnTo>
                        <a:pt x="58" y="118"/>
                      </a:lnTo>
                      <a:lnTo>
                        <a:pt x="54" y="111"/>
                      </a:lnTo>
                      <a:lnTo>
                        <a:pt x="53" y="105"/>
                      </a:lnTo>
                      <a:lnTo>
                        <a:pt x="54" y="98"/>
                      </a:lnTo>
                      <a:lnTo>
                        <a:pt x="56" y="83"/>
                      </a:lnTo>
                      <a:lnTo>
                        <a:pt x="58" y="68"/>
                      </a:lnTo>
                      <a:lnTo>
                        <a:pt x="59" y="62"/>
                      </a:lnTo>
                      <a:lnTo>
                        <a:pt x="47" y="61"/>
                      </a:lnTo>
                      <a:lnTo>
                        <a:pt x="36" y="59"/>
                      </a:lnTo>
                      <a:lnTo>
                        <a:pt x="25" y="56"/>
                      </a:lnTo>
                      <a:lnTo>
                        <a:pt x="17" y="52"/>
                      </a:lnTo>
                      <a:lnTo>
                        <a:pt x="13" y="49"/>
                      </a:lnTo>
                      <a:lnTo>
                        <a:pt x="10" y="46"/>
                      </a:lnTo>
                      <a:lnTo>
                        <a:pt x="7" y="43"/>
                      </a:lnTo>
                      <a:lnTo>
                        <a:pt x="4" y="39"/>
                      </a:lnTo>
                      <a:lnTo>
                        <a:pt x="2" y="34"/>
                      </a:lnTo>
                      <a:lnTo>
                        <a:pt x="1" y="29"/>
                      </a:lnTo>
                      <a:lnTo>
                        <a:pt x="0" y="24"/>
                      </a:lnTo>
                      <a:lnTo>
                        <a:pt x="0" y="18"/>
                      </a:lnTo>
                      <a:lnTo>
                        <a:pt x="7" y="15"/>
                      </a:lnTo>
                      <a:lnTo>
                        <a:pt x="20" y="1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76" name="Freeform 485">
                  <a:extLst>
                    <a:ext uri="{FF2B5EF4-FFF2-40B4-BE49-F238E27FC236}">
                      <a16:creationId xmlns:a16="http://schemas.microsoft.com/office/drawing/2014/main" xmlns="" id="{BCA9BC48-49D2-4345-9D11-2AD72A6E3282}"/>
                    </a:ext>
                  </a:extLst>
                </p:cNvPr>
                <p:cNvSpPr>
                  <a:spLocks/>
                </p:cNvSpPr>
                <p:nvPr>
                  <p:custDataLst>
                    <p:tags r:id="rId323"/>
                  </p:custDataLst>
                </p:nvPr>
              </p:nvSpPr>
              <p:spPr bwMode="auto">
                <a:xfrm>
                  <a:off x="7104063" y="2341563"/>
                  <a:ext cx="209550" cy="244475"/>
                </a:xfrm>
                <a:custGeom>
                  <a:avLst/>
                  <a:gdLst>
                    <a:gd name="T0" fmla="*/ 2147483646 w 485"/>
                    <a:gd name="T1" fmla="*/ 2147483646 h 468"/>
                    <a:gd name="T2" fmla="*/ 2147483646 w 485"/>
                    <a:gd name="T3" fmla="*/ 2147483646 h 468"/>
                    <a:gd name="T4" fmla="*/ 2147483646 w 485"/>
                    <a:gd name="T5" fmla="*/ 2147483646 h 468"/>
                    <a:gd name="T6" fmla="*/ 2147483646 w 485"/>
                    <a:gd name="T7" fmla="*/ 2147483646 h 468"/>
                    <a:gd name="T8" fmla="*/ 2147483646 w 485"/>
                    <a:gd name="T9" fmla="*/ 2147483646 h 468"/>
                    <a:gd name="T10" fmla="*/ 2147483646 w 485"/>
                    <a:gd name="T11" fmla="*/ 2147483646 h 468"/>
                    <a:gd name="T12" fmla="*/ 2147483646 w 485"/>
                    <a:gd name="T13" fmla="*/ 2147483646 h 468"/>
                    <a:gd name="T14" fmla="*/ 2147483646 w 485"/>
                    <a:gd name="T15" fmla="*/ 2147483646 h 468"/>
                    <a:gd name="T16" fmla="*/ 2147483646 w 485"/>
                    <a:gd name="T17" fmla="*/ 2147483646 h 468"/>
                    <a:gd name="T18" fmla="*/ 2147483646 w 485"/>
                    <a:gd name="T19" fmla="*/ 2147483646 h 468"/>
                    <a:gd name="T20" fmla="*/ 2147483646 w 485"/>
                    <a:gd name="T21" fmla="*/ 2147483646 h 468"/>
                    <a:gd name="T22" fmla="*/ 2147483646 w 485"/>
                    <a:gd name="T23" fmla="*/ 2147483646 h 468"/>
                    <a:gd name="T24" fmla="*/ 2147483646 w 485"/>
                    <a:gd name="T25" fmla="*/ 2147483646 h 468"/>
                    <a:gd name="T26" fmla="*/ 2147483646 w 485"/>
                    <a:gd name="T27" fmla="*/ 2147483646 h 468"/>
                    <a:gd name="T28" fmla="*/ 2147483646 w 485"/>
                    <a:gd name="T29" fmla="*/ 2147483646 h 468"/>
                    <a:gd name="T30" fmla="*/ 2147483646 w 485"/>
                    <a:gd name="T31" fmla="*/ 2147483646 h 468"/>
                    <a:gd name="T32" fmla="*/ 2147483646 w 485"/>
                    <a:gd name="T33" fmla="*/ 2147483646 h 468"/>
                    <a:gd name="T34" fmla="*/ 2147483646 w 485"/>
                    <a:gd name="T35" fmla="*/ 2147483646 h 468"/>
                    <a:gd name="T36" fmla="*/ 2147483646 w 485"/>
                    <a:gd name="T37" fmla="*/ 2147483646 h 468"/>
                    <a:gd name="T38" fmla="*/ 2147483646 w 485"/>
                    <a:gd name="T39" fmla="*/ 2147483646 h 468"/>
                    <a:gd name="T40" fmla="*/ 2147483646 w 485"/>
                    <a:gd name="T41" fmla="*/ 2147483646 h 468"/>
                    <a:gd name="T42" fmla="*/ 2147483646 w 485"/>
                    <a:gd name="T43" fmla="*/ 2147483646 h 468"/>
                    <a:gd name="T44" fmla="*/ 2147483646 w 485"/>
                    <a:gd name="T45" fmla="*/ 2147483646 h 468"/>
                    <a:gd name="T46" fmla="*/ 2147483646 w 485"/>
                    <a:gd name="T47" fmla="*/ 2147483646 h 468"/>
                    <a:gd name="T48" fmla="*/ 2147483646 w 485"/>
                    <a:gd name="T49" fmla="*/ 2147483646 h 468"/>
                    <a:gd name="T50" fmla="*/ 2147483646 w 485"/>
                    <a:gd name="T51" fmla="*/ 2147483646 h 468"/>
                    <a:gd name="T52" fmla="*/ 2147483646 w 485"/>
                    <a:gd name="T53" fmla="*/ 2147483646 h 468"/>
                    <a:gd name="T54" fmla="*/ 2147483646 w 485"/>
                    <a:gd name="T55" fmla="*/ 2147483646 h 468"/>
                    <a:gd name="T56" fmla="*/ 2147483646 w 485"/>
                    <a:gd name="T57" fmla="*/ 2147483646 h 468"/>
                    <a:gd name="T58" fmla="*/ 2147483646 w 485"/>
                    <a:gd name="T59" fmla="*/ 2147483646 h 468"/>
                    <a:gd name="T60" fmla="*/ 2147483646 w 485"/>
                    <a:gd name="T61" fmla="*/ 2147483646 h 468"/>
                    <a:gd name="T62" fmla="*/ 2147483646 w 485"/>
                    <a:gd name="T63" fmla="*/ 2147483646 h 468"/>
                    <a:gd name="T64" fmla="*/ 2147483646 w 485"/>
                    <a:gd name="T65" fmla="*/ 2147483646 h 468"/>
                    <a:gd name="T66" fmla="*/ 2147483646 w 485"/>
                    <a:gd name="T67" fmla="*/ 2147483646 h 468"/>
                    <a:gd name="T68" fmla="*/ 2147483646 w 485"/>
                    <a:gd name="T69" fmla="*/ 2147483646 h 468"/>
                    <a:gd name="T70" fmla="*/ 2147483646 w 485"/>
                    <a:gd name="T71" fmla="*/ 2147483646 h 468"/>
                    <a:gd name="T72" fmla="*/ 2147483646 w 485"/>
                    <a:gd name="T73" fmla="*/ 2147483646 h 468"/>
                    <a:gd name="T74" fmla="*/ 2147483646 w 485"/>
                    <a:gd name="T75" fmla="*/ 2147483646 h 468"/>
                    <a:gd name="T76" fmla="*/ 2147483646 w 485"/>
                    <a:gd name="T77" fmla="*/ 2147483646 h 468"/>
                    <a:gd name="T78" fmla="*/ 2147483646 w 485"/>
                    <a:gd name="T79" fmla="*/ 2147483646 h 468"/>
                    <a:gd name="T80" fmla="*/ 2147483646 w 485"/>
                    <a:gd name="T81" fmla="*/ 2147483646 h 468"/>
                    <a:gd name="T82" fmla="*/ 2147483646 w 485"/>
                    <a:gd name="T83" fmla="*/ 2147483646 h 468"/>
                    <a:gd name="T84" fmla="*/ 2147483646 w 485"/>
                    <a:gd name="T85" fmla="*/ 2147483646 h 468"/>
                    <a:gd name="T86" fmla="*/ 2147483646 w 485"/>
                    <a:gd name="T87" fmla="*/ 2147483646 h 468"/>
                    <a:gd name="T88" fmla="*/ 2147483646 w 485"/>
                    <a:gd name="T89" fmla="*/ 2147483646 h 468"/>
                    <a:gd name="T90" fmla="*/ 2147483646 w 485"/>
                    <a:gd name="T91" fmla="*/ 2147483646 h 468"/>
                    <a:gd name="T92" fmla="*/ 2147483646 w 485"/>
                    <a:gd name="T93" fmla="*/ 2147483646 h 468"/>
                    <a:gd name="T94" fmla="*/ 2147483646 w 485"/>
                    <a:gd name="T95" fmla="*/ 2147483646 h 468"/>
                    <a:gd name="T96" fmla="*/ 2147483646 w 485"/>
                    <a:gd name="T97" fmla="*/ 2147483646 h 468"/>
                    <a:gd name="T98" fmla="*/ 2147483646 w 485"/>
                    <a:gd name="T99" fmla="*/ 2147483646 h 468"/>
                    <a:gd name="T100" fmla="*/ 2147483646 w 485"/>
                    <a:gd name="T101" fmla="*/ 2147483646 h 468"/>
                    <a:gd name="T102" fmla="*/ 2147483646 w 485"/>
                    <a:gd name="T103" fmla="*/ 2147483646 h 468"/>
                    <a:gd name="T104" fmla="*/ 2147483646 w 485"/>
                    <a:gd name="T105" fmla="*/ 2147483646 h 468"/>
                    <a:gd name="T106" fmla="*/ 2147483646 w 485"/>
                    <a:gd name="T107" fmla="*/ 2147483646 h 468"/>
                    <a:gd name="T108" fmla="*/ 2147483646 w 485"/>
                    <a:gd name="T109" fmla="*/ 2147483646 h 468"/>
                    <a:gd name="T110" fmla="*/ 2147483646 w 485"/>
                    <a:gd name="T111" fmla="*/ 2147483646 h 468"/>
                    <a:gd name="T112" fmla="*/ 2147483646 w 485"/>
                    <a:gd name="T113" fmla="*/ 2147483646 h 468"/>
                    <a:gd name="T114" fmla="*/ 0 w 485"/>
                    <a:gd name="T115" fmla="*/ 2147483646 h 468"/>
                    <a:gd name="T116" fmla="*/ 2147483646 w 485"/>
                    <a:gd name="T117" fmla="*/ 2147483646 h 468"/>
                    <a:gd name="T118" fmla="*/ 2147483646 w 485"/>
                    <a:gd name="T119" fmla="*/ 2147483646 h 468"/>
                    <a:gd name="T120" fmla="*/ 2147483646 w 485"/>
                    <a:gd name="T121" fmla="*/ 2147483646 h 468"/>
                    <a:gd name="T122" fmla="*/ 2147483646 w 485"/>
                    <a:gd name="T123" fmla="*/ 2147483646 h 468"/>
                    <a:gd name="T124" fmla="*/ 2147483646 w 485"/>
                    <a:gd name="T125" fmla="*/ 2147483646 h 468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485"/>
                    <a:gd name="T190" fmla="*/ 0 h 468"/>
                    <a:gd name="T191" fmla="*/ 485 w 485"/>
                    <a:gd name="T192" fmla="*/ 468 h 468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485" h="468">
                      <a:moveTo>
                        <a:pt x="100" y="351"/>
                      </a:moveTo>
                      <a:lnTo>
                        <a:pt x="113" y="351"/>
                      </a:lnTo>
                      <a:lnTo>
                        <a:pt x="126" y="351"/>
                      </a:lnTo>
                      <a:lnTo>
                        <a:pt x="134" y="351"/>
                      </a:lnTo>
                      <a:lnTo>
                        <a:pt x="142" y="348"/>
                      </a:lnTo>
                      <a:lnTo>
                        <a:pt x="149" y="346"/>
                      </a:lnTo>
                      <a:lnTo>
                        <a:pt x="158" y="342"/>
                      </a:lnTo>
                      <a:lnTo>
                        <a:pt x="167" y="339"/>
                      </a:lnTo>
                      <a:lnTo>
                        <a:pt x="177" y="336"/>
                      </a:lnTo>
                      <a:lnTo>
                        <a:pt x="188" y="334"/>
                      </a:lnTo>
                      <a:lnTo>
                        <a:pt x="199" y="333"/>
                      </a:lnTo>
                      <a:lnTo>
                        <a:pt x="200" y="339"/>
                      </a:lnTo>
                      <a:lnTo>
                        <a:pt x="203" y="345"/>
                      </a:lnTo>
                      <a:lnTo>
                        <a:pt x="208" y="352"/>
                      </a:lnTo>
                      <a:lnTo>
                        <a:pt x="212" y="357"/>
                      </a:lnTo>
                      <a:lnTo>
                        <a:pt x="226" y="348"/>
                      </a:lnTo>
                      <a:lnTo>
                        <a:pt x="239" y="339"/>
                      </a:lnTo>
                      <a:lnTo>
                        <a:pt x="233" y="335"/>
                      </a:lnTo>
                      <a:lnTo>
                        <a:pt x="226" y="329"/>
                      </a:lnTo>
                      <a:lnTo>
                        <a:pt x="224" y="327"/>
                      </a:lnTo>
                      <a:lnTo>
                        <a:pt x="221" y="325"/>
                      </a:lnTo>
                      <a:lnTo>
                        <a:pt x="220" y="322"/>
                      </a:lnTo>
                      <a:lnTo>
                        <a:pt x="220" y="320"/>
                      </a:lnTo>
                      <a:lnTo>
                        <a:pt x="220" y="316"/>
                      </a:lnTo>
                      <a:lnTo>
                        <a:pt x="222" y="312"/>
                      </a:lnTo>
                      <a:lnTo>
                        <a:pt x="225" y="309"/>
                      </a:lnTo>
                      <a:lnTo>
                        <a:pt x="229" y="306"/>
                      </a:lnTo>
                      <a:lnTo>
                        <a:pt x="233" y="303"/>
                      </a:lnTo>
                      <a:lnTo>
                        <a:pt x="236" y="301"/>
                      </a:lnTo>
                      <a:lnTo>
                        <a:pt x="238" y="298"/>
                      </a:lnTo>
                      <a:lnTo>
                        <a:pt x="239" y="296"/>
                      </a:lnTo>
                      <a:lnTo>
                        <a:pt x="239" y="276"/>
                      </a:lnTo>
                      <a:lnTo>
                        <a:pt x="239" y="268"/>
                      </a:lnTo>
                      <a:lnTo>
                        <a:pt x="239" y="259"/>
                      </a:lnTo>
                      <a:lnTo>
                        <a:pt x="239" y="240"/>
                      </a:lnTo>
                      <a:lnTo>
                        <a:pt x="242" y="246"/>
                      </a:lnTo>
                      <a:lnTo>
                        <a:pt x="246" y="253"/>
                      </a:lnTo>
                      <a:lnTo>
                        <a:pt x="253" y="259"/>
                      </a:lnTo>
                      <a:lnTo>
                        <a:pt x="259" y="265"/>
                      </a:lnTo>
                      <a:lnTo>
                        <a:pt x="268" y="255"/>
                      </a:lnTo>
                      <a:lnTo>
                        <a:pt x="277" y="249"/>
                      </a:lnTo>
                      <a:lnTo>
                        <a:pt x="284" y="244"/>
                      </a:lnTo>
                      <a:lnTo>
                        <a:pt x="292" y="241"/>
                      </a:lnTo>
                      <a:lnTo>
                        <a:pt x="300" y="238"/>
                      </a:lnTo>
                      <a:lnTo>
                        <a:pt x="307" y="235"/>
                      </a:lnTo>
                      <a:lnTo>
                        <a:pt x="316" y="230"/>
                      </a:lnTo>
                      <a:lnTo>
                        <a:pt x="325" y="222"/>
                      </a:lnTo>
                      <a:lnTo>
                        <a:pt x="316" y="217"/>
                      </a:lnTo>
                      <a:lnTo>
                        <a:pt x="310" y="212"/>
                      </a:lnTo>
                      <a:lnTo>
                        <a:pt x="304" y="208"/>
                      </a:lnTo>
                      <a:lnTo>
                        <a:pt x="301" y="203"/>
                      </a:lnTo>
                      <a:lnTo>
                        <a:pt x="293" y="194"/>
                      </a:lnTo>
                      <a:lnTo>
                        <a:pt x="285" y="185"/>
                      </a:lnTo>
                      <a:lnTo>
                        <a:pt x="300" y="190"/>
                      </a:lnTo>
                      <a:lnTo>
                        <a:pt x="312" y="196"/>
                      </a:lnTo>
                      <a:lnTo>
                        <a:pt x="318" y="199"/>
                      </a:lnTo>
                      <a:lnTo>
                        <a:pt x="325" y="201"/>
                      </a:lnTo>
                      <a:lnTo>
                        <a:pt x="332" y="203"/>
                      </a:lnTo>
                      <a:lnTo>
                        <a:pt x="338" y="203"/>
                      </a:lnTo>
                      <a:lnTo>
                        <a:pt x="343" y="202"/>
                      </a:lnTo>
                      <a:lnTo>
                        <a:pt x="345" y="200"/>
                      </a:lnTo>
                      <a:lnTo>
                        <a:pt x="347" y="197"/>
                      </a:lnTo>
                      <a:lnTo>
                        <a:pt x="347" y="193"/>
                      </a:lnTo>
                      <a:lnTo>
                        <a:pt x="346" y="185"/>
                      </a:lnTo>
                      <a:lnTo>
                        <a:pt x="345" y="179"/>
                      </a:lnTo>
                      <a:lnTo>
                        <a:pt x="322" y="142"/>
                      </a:lnTo>
                      <a:lnTo>
                        <a:pt x="303" y="111"/>
                      </a:lnTo>
                      <a:lnTo>
                        <a:pt x="295" y="96"/>
                      </a:lnTo>
                      <a:lnTo>
                        <a:pt x="290" y="80"/>
                      </a:lnTo>
                      <a:lnTo>
                        <a:pt x="288" y="72"/>
                      </a:lnTo>
                      <a:lnTo>
                        <a:pt x="287" y="63"/>
                      </a:lnTo>
                      <a:lnTo>
                        <a:pt x="285" y="53"/>
                      </a:lnTo>
                      <a:lnTo>
                        <a:pt x="285" y="43"/>
                      </a:lnTo>
                      <a:lnTo>
                        <a:pt x="287" y="34"/>
                      </a:lnTo>
                      <a:lnTo>
                        <a:pt x="288" y="26"/>
                      </a:lnTo>
                      <a:lnTo>
                        <a:pt x="291" y="19"/>
                      </a:lnTo>
                      <a:lnTo>
                        <a:pt x="295" y="13"/>
                      </a:lnTo>
                      <a:lnTo>
                        <a:pt x="301" y="7"/>
                      </a:lnTo>
                      <a:lnTo>
                        <a:pt x="307" y="4"/>
                      </a:lnTo>
                      <a:lnTo>
                        <a:pt x="316" y="1"/>
                      </a:lnTo>
                      <a:lnTo>
                        <a:pt x="325" y="0"/>
                      </a:lnTo>
                      <a:lnTo>
                        <a:pt x="328" y="7"/>
                      </a:lnTo>
                      <a:lnTo>
                        <a:pt x="332" y="13"/>
                      </a:lnTo>
                      <a:lnTo>
                        <a:pt x="336" y="18"/>
                      </a:lnTo>
                      <a:lnTo>
                        <a:pt x="340" y="23"/>
                      </a:lnTo>
                      <a:lnTo>
                        <a:pt x="351" y="31"/>
                      </a:lnTo>
                      <a:lnTo>
                        <a:pt x="363" y="38"/>
                      </a:lnTo>
                      <a:lnTo>
                        <a:pt x="377" y="45"/>
                      </a:lnTo>
                      <a:lnTo>
                        <a:pt x="389" y="51"/>
                      </a:lnTo>
                      <a:lnTo>
                        <a:pt x="401" y="60"/>
                      </a:lnTo>
                      <a:lnTo>
                        <a:pt x="412" y="68"/>
                      </a:lnTo>
                      <a:lnTo>
                        <a:pt x="415" y="72"/>
                      </a:lnTo>
                      <a:lnTo>
                        <a:pt x="418" y="76"/>
                      </a:lnTo>
                      <a:lnTo>
                        <a:pt x="421" y="81"/>
                      </a:lnTo>
                      <a:lnTo>
                        <a:pt x="423" y="86"/>
                      </a:lnTo>
                      <a:lnTo>
                        <a:pt x="426" y="98"/>
                      </a:lnTo>
                      <a:lnTo>
                        <a:pt x="428" y="111"/>
                      </a:lnTo>
                      <a:lnTo>
                        <a:pt x="430" y="122"/>
                      </a:lnTo>
                      <a:lnTo>
                        <a:pt x="434" y="133"/>
                      </a:lnTo>
                      <a:lnTo>
                        <a:pt x="436" y="137"/>
                      </a:lnTo>
                      <a:lnTo>
                        <a:pt x="438" y="142"/>
                      </a:lnTo>
                      <a:lnTo>
                        <a:pt x="441" y="145"/>
                      </a:lnTo>
                      <a:lnTo>
                        <a:pt x="445" y="148"/>
                      </a:lnTo>
                      <a:lnTo>
                        <a:pt x="445" y="173"/>
                      </a:lnTo>
                      <a:lnTo>
                        <a:pt x="440" y="173"/>
                      </a:lnTo>
                      <a:lnTo>
                        <a:pt x="436" y="175"/>
                      </a:lnTo>
                      <a:lnTo>
                        <a:pt x="432" y="177"/>
                      </a:lnTo>
                      <a:lnTo>
                        <a:pt x="428" y="179"/>
                      </a:lnTo>
                      <a:lnTo>
                        <a:pt x="425" y="181"/>
                      </a:lnTo>
                      <a:lnTo>
                        <a:pt x="421" y="183"/>
                      </a:lnTo>
                      <a:lnTo>
                        <a:pt x="416" y="184"/>
                      </a:lnTo>
                      <a:lnTo>
                        <a:pt x="412" y="185"/>
                      </a:lnTo>
                      <a:lnTo>
                        <a:pt x="415" y="189"/>
                      </a:lnTo>
                      <a:lnTo>
                        <a:pt x="418" y="193"/>
                      </a:lnTo>
                      <a:lnTo>
                        <a:pt x="422" y="196"/>
                      </a:lnTo>
                      <a:lnTo>
                        <a:pt x="426" y="199"/>
                      </a:lnTo>
                      <a:lnTo>
                        <a:pt x="430" y="201"/>
                      </a:lnTo>
                      <a:lnTo>
                        <a:pt x="435" y="202"/>
                      </a:lnTo>
                      <a:lnTo>
                        <a:pt x="440" y="203"/>
                      </a:lnTo>
                      <a:lnTo>
                        <a:pt x="445" y="203"/>
                      </a:lnTo>
                      <a:lnTo>
                        <a:pt x="446" y="211"/>
                      </a:lnTo>
                      <a:lnTo>
                        <a:pt x="447" y="225"/>
                      </a:lnTo>
                      <a:lnTo>
                        <a:pt x="450" y="243"/>
                      </a:lnTo>
                      <a:lnTo>
                        <a:pt x="455" y="262"/>
                      </a:lnTo>
                      <a:lnTo>
                        <a:pt x="460" y="282"/>
                      </a:lnTo>
                      <a:lnTo>
                        <a:pt x="468" y="299"/>
                      </a:lnTo>
                      <a:lnTo>
                        <a:pt x="471" y="306"/>
                      </a:lnTo>
                      <a:lnTo>
                        <a:pt x="475" y="312"/>
                      </a:lnTo>
                      <a:lnTo>
                        <a:pt x="480" y="317"/>
                      </a:lnTo>
                      <a:lnTo>
                        <a:pt x="485" y="320"/>
                      </a:lnTo>
                      <a:lnTo>
                        <a:pt x="485" y="382"/>
                      </a:lnTo>
                      <a:lnTo>
                        <a:pt x="480" y="381"/>
                      </a:lnTo>
                      <a:lnTo>
                        <a:pt x="475" y="378"/>
                      </a:lnTo>
                      <a:lnTo>
                        <a:pt x="471" y="374"/>
                      </a:lnTo>
                      <a:lnTo>
                        <a:pt x="467" y="369"/>
                      </a:lnTo>
                      <a:lnTo>
                        <a:pt x="463" y="364"/>
                      </a:lnTo>
                      <a:lnTo>
                        <a:pt x="460" y="359"/>
                      </a:lnTo>
                      <a:lnTo>
                        <a:pt x="459" y="354"/>
                      </a:lnTo>
                      <a:lnTo>
                        <a:pt x="458" y="351"/>
                      </a:lnTo>
                      <a:lnTo>
                        <a:pt x="453" y="356"/>
                      </a:lnTo>
                      <a:lnTo>
                        <a:pt x="448" y="360"/>
                      </a:lnTo>
                      <a:lnTo>
                        <a:pt x="444" y="361"/>
                      </a:lnTo>
                      <a:lnTo>
                        <a:pt x="440" y="362"/>
                      </a:lnTo>
                      <a:lnTo>
                        <a:pt x="436" y="363"/>
                      </a:lnTo>
                      <a:lnTo>
                        <a:pt x="432" y="363"/>
                      </a:lnTo>
                      <a:lnTo>
                        <a:pt x="432" y="380"/>
                      </a:lnTo>
                      <a:lnTo>
                        <a:pt x="430" y="391"/>
                      </a:lnTo>
                      <a:lnTo>
                        <a:pt x="429" y="399"/>
                      </a:lnTo>
                      <a:lnTo>
                        <a:pt x="425" y="413"/>
                      </a:lnTo>
                      <a:lnTo>
                        <a:pt x="419" y="403"/>
                      </a:lnTo>
                      <a:lnTo>
                        <a:pt x="412" y="393"/>
                      </a:lnTo>
                      <a:lnTo>
                        <a:pt x="408" y="389"/>
                      </a:lnTo>
                      <a:lnTo>
                        <a:pt x="404" y="385"/>
                      </a:lnTo>
                      <a:lnTo>
                        <a:pt x="401" y="382"/>
                      </a:lnTo>
                      <a:lnTo>
                        <a:pt x="399" y="382"/>
                      </a:lnTo>
                      <a:lnTo>
                        <a:pt x="389" y="382"/>
                      </a:lnTo>
                      <a:lnTo>
                        <a:pt x="379" y="382"/>
                      </a:lnTo>
                      <a:lnTo>
                        <a:pt x="378" y="389"/>
                      </a:lnTo>
                      <a:lnTo>
                        <a:pt x="376" y="398"/>
                      </a:lnTo>
                      <a:lnTo>
                        <a:pt x="376" y="402"/>
                      </a:lnTo>
                      <a:lnTo>
                        <a:pt x="376" y="406"/>
                      </a:lnTo>
                      <a:lnTo>
                        <a:pt x="377" y="410"/>
                      </a:lnTo>
                      <a:lnTo>
                        <a:pt x="379" y="413"/>
                      </a:lnTo>
                      <a:lnTo>
                        <a:pt x="345" y="413"/>
                      </a:lnTo>
                      <a:lnTo>
                        <a:pt x="340" y="410"/>
                      </a:lnTo>
                      <a:lnTo>
                        <a:pt x="337" y="407"/>
                      </a:lnTo>
                      <a:lnTo>
                        <a:pt x="335" y="404"/>
                      </a:lnTo>
                      <a:lnTo>
                        <a:pt x="334" y="400"/>
                      </a:lnTo>
                      <a:lnTo>
                        <a:pt x="333" y="392"/>
                      </a:lnTo>
                      <a:lnTo>
                        <a:pt x="332" y="382"/>
                      </a:lnTo>
                      <a:lnTo>
                        <a:pt x="312" y="382"/>
                      </a:lnTo>
                      <a:lnTo>
                        <a:pt x="312" y="395"/>
                      </a:lnTo>
                      <a:lnTo>
                        <a:pt x="310" y="405"/>
                      </a:lnTo>
                      <a:lnTo>
                        <a:pt x="307" y="413"/>
                      </a:lnTo>
                      <a:lnTo>
                        <a:pt x="305" y="420"/>
                      </a:lnTo>
                      <a:lnTo>
                        <a:pt x="303" y="426"/>
                      </a:lnTo>
                      <a:lnTo>
                        <a:pt x="301" y="431"/>
                      </a:lnTo>
                      <a:lnTo>
                        <a:pt x="300" y="437"/>
                      </a:lnTo>
                      <a:lnTo>
                        <a:pt x="299" y="443"/>
                      </a:lnTo>
                      <a:lnTo>
                        <a:pt x="299" y="450"/>
                      </a:lnTo>
                      <a:lnTo>
                        <a:pt x="301" y="456"/>
                      </a:lnTo>
                      <a:lnTo>
                        <a:pt x="302" y="460"/>
                      </a:lnTo>
                      <a:lnTo>
                        <a:pt x="304" y="463"/>
                      </a:lnTo>
                      <a:lnTo>
                        <a:pt x="307" y="466"/>
                      </a:lnTo>
                      <a:lnTo>
                        <a:pt x="312" y="468"/>
                      </a:lnTo>
                      <a:lnTo>
                        <a:pt x="298" y="468"/>
                      </a:lnTo>
                      <a:lnTo>
                        <a:pt x="284" y="468"/>
                      </a:lnTo>
                      <a:lnTo>
                        <a:pt x="272" y="468"/>
                      </a:lnTo>
                      <a:lnTo>
                        <a:pt x="266" y="468"/>
                      </a:lnTo>
                      <a:lnTo>
                        <a:pt x="264" y="468"/>
                      </a:lnTo>
                      <a:lnTo>
                        <a:pt x="260" y="467"/>
                      </a:lnTo>
                      <a:lnTo>
                        <a:pt x="258" y="465"/>
                      </a:lnTo>
                      <a:lnTo>
                        <a:pt x="256" y="462"/>
                      </a:lnTo>
                      <a:lnTo>
                        <a:pt x="251" y="456"/>
                      </a:lnTo>
                      <a:lnTo>
                        <a:pt x="247" y="449"/>
                      </a:lnTo>
                      <a:lnTo>
                        <a:pt x="244" y="440"/>
                      </a:lnTo>
                      <a:lnTo>
                        <a:pt x="242" y="432"/>
                      </a:lnTo>
                      <a:lnTo>
                        <a:pt x="239" y="424"/>
                      </a:lnTo>
                      <a:lnTo>
                        <a:pt x="239" y="419"/>
                      </a:lnTo>
                      <a:lnTo>
                        <a:pt x="229" y="418"/>
                      </a:lnTo>
                      <a:lnTo>
                        <a:pt x="222" y="417"/>
                      </a:lnTo>
                      <a:lnTo>
                        <a:pt x="215" y="414"/>
                      </a:lnTo>
                      <a:lnTo>
                        <a:pt x="209" y="411"/>
                      </a:lnTo>
                      <a:lnTo>
                        <a:pt x="204" y="406"/>
                      </a:lnTo>
                      <a:lnTo>
                        <a:pt x="202" y="401"/>
                      </a:lnTo>
                      <a:lnTo>
                        <a:pt x="200" y="395"/>
                      </a:lnTo>
                      <a:lnTo>
                        <a:pt x="199" y="389"/>
                      </a:lnTo>
                      <a:lnTo>
                        <a:pt x="190" y="394"/>
                      </a:lnTo>
                      <a:lnTo>
                        <a:pt x="179" y="399"/>
                      </a:lnTo>
                      <a:lnTo>
                        <a:pt x="166" y="405"/>
                      </a:lnTo>
                      <a:lnTo>
                        <a:pt x="150" y="411"/>
                      </a:lnTo>
                      <a:lnTo>
                        <a:pt x="136" y="417"/>
                      </a:lnTo>
                      <a:lnTo>
                        <a:pt x="121" y="421"/>
                      </a:lnTo>
                      <a:lnTo>
                        <a:pt x="107" y="424"/>
                      </a:lnTo>
                      <a:lnTo>
                        <a:pt x="93" y="425"/>
                      </a:lnTo>
                      <a:lnTo>
                        <a:pt x="90" y="435"/>
                      </a:lnTo>
                      <a:lnTo>
                        <a:pt x="86" y="443"/>
                      </a:lnTo>
                      <a:lnTo>
                        <a:pt x="80" y="451"/>
                      </a:lnTo>
                      <a:lnTo>
                        <a:pt x="72" y="455"/>
                      </a:lnTo>
                      <a:lnTo>
                        <a:pt x="65" y="459"/>
                      </a:lnTo>
                      <a:lnTo>
                        <a:pt x="56" y="461"/>
                      </a:lnTo>
                      <a:lnTo>
                        <a:pt x="45" y="462"/>
                      </a:lnTo>
                      <a:lnTo>
                        <a:pt x="33" y="462"/>
                      </a:lnTo>
                      <a:lnTo>
                        <a:pt x="27" y="461"/>
                      </a:lnTo>
                      <a:lnTo>
                        <a:pt x="22" y="457"/>
                      </a:lnTo>
                      <a:lnTo>
                        <a:pt x="16" y="452"/>
                      </a:lnTo>
                      <a:lnTo>
                        <a:pt x="11" y="446"/>
                      </a:lnTo>
                      <a:lnTo>
                        <a:pt x="7" y="438"/>
                      </a:lnTo>
                      <a:lnTo>
                        <a:pt x="3" y="431"/>
                      </a:lnTo>
                      <a:lnTo>
                        <a:pt x="1" y="424"/>
                      </a:lnTo>
                      <a:lnTo>
                        <a:pt x="0" y="419"/>
                      </a:lnTo>
                      <a:lnTo>
                        <a:pt x="0" y="417"/>
                      </a:lnTo>
                      <a:lnTo>
                        <a:pt x="1" y="415"/>
                      </a:lnTo>
                      <a:lnTo>
                        <a:pt x="2" y="414"/>
                      </a:lnTo>
                      <a:lnTo>
                        <a:pt x="3" y="414"/>
                      </a:lnTo>
                      <a:lnTo>
                        <a:pt x="7" y="413"/>
                      </a:lnTo>
                      <a:lnTo>
                        <a:pt x="11" y="414"/>
                      </a:lnTo>
                      <a:lnTo>
                        <a:pt x="16" y="414"/>
                      </a:lnTo>
                      <a:lnTo>
                        <a:pt x="22" y="415"/>
                      </a:lnTo>
                      <a:lnTo>
                        <a:pt x="27" y="414"/>
                      </a:lnTo>
                      <a:lnTo>
                        <a:pt x="33" y="413"/>
                      </a:lnTo>
                      <a:lnTo>
                        <a:pt x="38" y="411"/>
                      </a:lnTo>
                      <a:lnTo>
                        <a:pt x="44" y="409"/>
                      </a:lnTo>
                      <a:lnTo>
                        <a:pt x="48" y="405"/>
                      </a:lnTo>
                      <a:lnTo>
                        <a:pt x="53" y="401"/>
                      </a:lnTo>
                      <a:lnTo>
                        <a:pt x="60" y="391"/>
                      </a:lnTo>
                      <a:lnTo>
                        <a:pt x="66" y="379"/>
                      </a:lnTo>
                      <a:lnTo>
                        <a:pt x="72" y="369"/>
                      </a:lnTo>
                      <a:lnTo>
                        <a:pt x="80" y="360"/>
                      </a:lnTo>
                      <a:lnTo>
                        <a:pt x="83" y="356"/>
                      </a:lnTo>
                      <a:lnTo>
                        <a:pt x="89" y="354"/>
                      </a:lnTo>
                      <a:lnTo>
                        <a:pt x="93" y="352"/>
                      </a:lnTo>
                      <a:lnTo>
                        <a:pt x="100" y="35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77" name="Freeform 486">
                  <a:extLst>
                    <a:ext uri="{FF2B5EF4-FFF2-40B4-BE49-F238E27FC236}">
                      <a16:creationId xmlns:a16="http://schemas.microsoft.com/office/drawing/2014/main" xmlns="" id="{44DF4501-E52B-4051-A6CE-6B8FFB1620B7}"/>
                    </a:ext>
                  </a:extLst>
                </p:cNvPr>
                <p:cNvSpPr>
                  <a:spLocks/>
                </p:cNvSpPr>
                <p:nvPr>
                  <p:custDataLst>
                    <p:tags r:id="rId324"/>
                  </p:custDataLst>
                </p:nvPr>
              </p:nvSpPr>
              <p:spPr bwMode="auto">
                <a:xfrm>
                  <a:off x="4687888" y="1231900"/>
                  <a:ext cx="107950" cy="60325"/>
                </a:xfrm>
                <a:custGeom>
                  <a:avLst/>
                  <a:gdLst>
                    <a:gd name="T0" fmla="*/ 2147483646 w 246"/>
                    <a:gd name="T1" fmla="*/ 2147483646 h 42"/>
                    <a:gd name="T2" fmla="*/ 2147483646 w 246"/>
                    <a:gd name="T3" fmla="*/ 2147483646 h 42"/>
                    <a:gd name="T4" fmla="*/ 2147483646 w 246"/>
                    <a:gd name="T5" fmla="*/ 2147483646 h 42"/>
                    <a:gd name="T6" fmla="*/ 2147483646 w 246"/>
                    <a:gd name="T7" fmla="*/ 2147483646 h 42"/>
                    <a:gd name="T8" fmla="*/ 2147483646 w 246"/>
                    <a:gd name="T9" fmla="*/ 2147483646 h 42"/>
                    <a:gd name="T10" fmla="*/ 2147483646 w 246"/>
                    <a:gd name="T11" fmla="*/ 2147483646 h 42"/>
                    <a:gd name="T12" fmla="*/ 2147483646 w 246"/>
                    <a:gd name="T13" fmla="*/ 2147483646 h 42"/>
                    <a:gd name="T14" fmla="*/ 2147483646 w 246"/>
                    <a:gd name="T15" fmla="*/ 2147483646 h 42"/>
                    <a:gd name="T16" fmla="*/ 2147483646 w 246"/>
                    <a:gd name="T17" fmla="*/ 2147483646 h 42"/>
                    <a:gd name="T18" fmla="*/ 2147483646 w 246"/>
                    <a:gd name="T19" fmla="*/ 2147483646 h 42"/>
                    <a:gd name="T20" fmla="*/ 2147483646 w 246"/>
                    <a:gd name="T21" fmla="*/ 2147483646 h 42"/>
                    <a:gd name="T22" fmla="*/ 2147483646 w 246"/>
                    <a:gd name="T23" fmla="*/ 2147483646 h 42"/>
                    <a:gd name="T24" fmla="*/ 2147483646 w 246"/>
                    <a:gd name="T25" fmla="*/ 2147483646 h 42"/>
                    <a:gd name="T26" fmla="*/ 2147483646 w 246"/>
                    <a:gd name="T27" fmla="*/ 2147483646 h 42"/>
                    <a:gd name="T28" fmla="*/ 2147483646 w 246"/>
                    <a:gd name="T29" fmla="*/ 2147483646 h 42"/>
                    <a:gd name="T30" fmla="*/ 2147483646 w 246"/>
                    <a:gd name="T31" fmla="*/ 2147483646 h 42"/>
                    <a:gd name="T32" fmla="*/ 2147483646 w 246"/>
                    <a:gd name="T33" fmla="*/ 2147483646 h 42"/>
                    <a:gd name="T34" fmla="*/ 2147483646 w 246"/>
                    <a:gd name="T35" fmla="*/ 2147483646 h 42"/>
                    <a:gd name="T36" fmla="*/ 2147483646 w 246"/>
                    <a:gd name="T37" fmla="*/ 2147483646 h 42"/>
                    <a:gd name="T38" fmla="*/ 2147483646 w 246"/>
                    <a:gd name="T39" fmla="*/ 2147483646 h 42"/>
                    <a:gd name="T40" fmla="*/ 2147483646 w 246"/>
                    <a:gd name="T41" fmla="*/ 2147483646 h 42"/>
                    <a:gd name="T42" fmla="*/ 2147483646 w 246"/>
                    <a:gd name="T43" fmla="*/ 2147483646 h 42"/>
                    <a:gd name="T44" fmla="*/ 2147483646 w 246"/>
                    <a:gd name="T45" fmla="*/ 2147483646 h 42"/>
                    <a:gd name="T46" fmla="*/ 2147483646 w 246"/>
                    <a:gd name="T47" fmla="*/ 2147483646 h 42"/>
                    <a:gd name="T48" fmla="*/ 2147483646 w 246"/>
                    <a:gd name="T49" fmla="*/ 2147483646 h 42"/>
                    <a:gd name="T50" fmla="*/ 2147483646 w 246"/>
                    <a:gd name="T51" fmla="*/ 2147483646 h 42"/>
                    <a:gd name="T52" fmla="*/ 2147483646 w 246"/>
                    <a:gd name="T53" fmla="*/ 2147483646 h 42"/>
                    <a:gd name="T54" fmla="*/ 2147483646 w 246"/>
                    <a:gd name="T55" fmla="*/ 2147483646 h 42"/>
                    <a:gd name="T56" fmla="*/ 2147483646 w 246"/>
                    <a:gd name="T57" fmla="*/ 2147483646 h 42"/>
                    <a:gd name="T58" fmla="*/ 2147483646 w 246"/>
                    <a:gd name="T59" fmla="*/ 2147483646 h 42"/>
                    <a:gd name="T60" fmla="*/ 2147483646 w 246"/>
                    <a:gd name="T61" fmla="*/ 2147483646 h 42"/>
                    <a:gd name="T62" fmla="*/ 2147483646 w 246"/>
                    <a:gd name="T63" fmla="*/ 2147483646 h 42"/>
                    <a:gd name="T64" fmla="*/ 2147483646 w 246"/>
                    <a:gd name="T65" fmla="*/ 0 h 42"/>
                    <a:gd name="T66" fmla="*/ 2147483646 w 246"/>
                    <a:gd name="T67" fmla="*/ 2147483646 h 42"/>
                    <a:gd name="T68" fmla="*/ 2147483646 w 246"/>
                    <a:gd name="T69" fmla="*/ 2147483646 h 42"/>
                    <a:gd name="T70" fmla="*/ 2147483646 w 246"/>
                    <a:gd name="T71" fmla="*/ 2147483646 h 42"/>
                    <a:gd name="T72" fmla="*/ 2147483646 w 246"/>
                    <a:gd name="T73" fmla="*/ 2147483646 h 42"/>
                    <a:gd name="T74" fmla="*/ 2147483646 w 246"/>
                    <a:gd name="T75" fmla="*/ 2147483646 h 42"/>
                    <a:gd name="T76" fmla="*/ 2147483646 w 246"/>
                    <a:gd name="T77" fmla="*/ 2147483646 h 42"/>
                    <a:gd name="T78" fmla="*/ 2147483646 w 246"/>
                    <a:gd name="T79" fmla="*/ 2147483646 h 42"/>
                    <a:gd name="T80" fmla="*/ 2147483646 w 246"/>
                    <a:gd name="T81" fmla="*/ 2147483646 h 42"/>
                    <a:gd name="T82" fmla="*/ 2147483646 w 246"/>
                    <a:gd name="T83" fmla="*/ 2147483646 h 42"/>
                    <a:gd name="T84" fmla="*/ 2147483646 w 246"/>
                    <a:gd name="T85" fmla="*/ 2147483646 h 42"/>
                    <a:gd name="T86" fmla="*/ 2147483646 w 246"/>
                    <a:gd name="T87" fmla="*/ 2147483646 h 42"/>
                    <a:gd name="T88" fmla="*/ 2147483646 w 246"/>
                    <a:gd name="T89" fmla="*/ 2147483646 h 42"/>
                    <a:gd name="T90" fmla="*/ 2147483646 w 246"/>
                    <a:gd name="T91" fmla="*/ 2147483646 h 42"/>
                    <a:gd name="T92" fmla="*/ 0 w 246"/>
                    <a:gd name="T93" fmla="*/ 2147483646 h 42"/>
                    <a:gd name="T94" fmla="*/ 2147483646 w 246"/>
                    <a:gd name="T95" fmla="*/ 2147483646 h 42"/>
                    <a:gd name="T96" fmla="*/ 2147483646 w 246"/>
                    <a:gd name="T97" fmla="*/ 2147483646 h 42"/>
                    <a:gd name="T98" fmla="*/ 2147483646 w 246"/>
                    <a:gd name="T99" fmla="*/ 2147483646 h 42"/>
                    <a:gd name="T100" fmla="*/ 2147483646 w 246"/>
                    <a:gd name="T101" fmla="*/ 2147483646 h 42"/>
                    <a:gd name="T102" fmla="*/ 2147483646 w 246"/>
                    <a:gd name="T103" fmla="*/ 2147483646 h 42"/>
                    <a:gd name="T104" fmla="*/ 2147483646 w 246"/>
                    <a:gd name="T105" fmla="*/ 2147483646 h 42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46"/>
                    <a:gd name="T160" fmla="*/ 0 h 42"/>
                    <a:gd name="T161" fmla="*/ 246 w 246"/>
                    <a:gd name="T162" fmla="*/ 42 h 42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46" h="42">
                      <a:moveTo>
                        <a:pt x="27" y="36"/>
                      </a:moveTo>
                      <a:lnTo>
                        <a:pt x="36" y="36"/>
                      </a:lnTo>
                      <a:lnTo>
                        <a:pt x="45" y="35"/>
                      </a:lnTo>
                      <a:lnTo>
                        <a:pt x="53" y="33"/>
                      </a:lnTo>
                      <a:lnTo>
                        <a:pt x="59" y="31"/>
                      </a:lnTo>
                      <a:lnTo>
                        <a:pt x="66" y="30"/>
                      </a:lnTo>
                      <a:lnTo>
                        <a:pt x="72" y="29"/>
                      </a:lnTo>
                      <a:lnTo>
                        <a:pt x="80" y="29"/>
                      </a:lnTo>
                      <a:lnTo>
                        <a:pt x="87" y="30"/>
                      </a:lnTo>
                      <a:lnTo>
                        <a:pt x="87" y="42"/>
                      </a:lnTo>
                      <a:lnTo>
                        <a:pt x="154" y="42"/>
                      </a:lnTo>
                      <a:lnTo>
                        <a:pt x="154" y="39"/>
                      </a:lnTo>
                      <a:lnTo>
                        <a:pt x="156" y="36"/>
                      </a:lnTo>
                      <a:lnTo>
                        <a:pt x="159" y="33"/>
                      </a:lnTo>
                      <a:lnTo>
                        <a:pt x="163" y="31"/>
                      </a:lnTo>
                      <a:lnTo>
                        <a:pt x="175" y="26"/>
                      </a:lnTo>
                      <a:lnTo>
                        <a:pt x="190" y="23"/>
                      </a:lnTo>
                      <a:lnTo>
                        <a:pt x="221" y="17"/>
                      </a:lnTo>
                      <a:lnTo>
                        <a:pt x="246" y="12"/>
                      </a:lnTo>
                      <a:lnTo>
                        <a:pt x="212" y="13"/>
                      </a:lnTo>
                      <a:lnTo>
                        <a:pt x="186" y="14"/>
                      </a:lnTo>
                      <a:lnTo>
                        <a:pt x="178" y="15"/>
                      </a:lnTo>
                      <a:lnTo>
                        <a:pt x="171" y="15"/>
                      </a:lnTo>
                      <a:lnTo>
                        <a:pt x="168" y="14"/>
                      </a:lnTo>
                      <a:lnTo>
                        <a:pt x="167" y="12"/>
                      </a:lnTo>
                      <a:lnTo>
                        <a:pt x="159" y="16"/>
                      </a:lnTo>
                      <a:lnTo>
                        <a:pt x="152" y="17"/>
                      </a:lnTo>
                      <a:lnTo>
                        <a:pt x="147" y="17"/>
                      </a:lnTo>
                      <a:lnTo>
                        <a:pt x="141" y="15"/>
                      </a:lnTo>
                      <a:lnTo>
                        <a:pt x="137" y="12"/>
                      </a:lnTo>
                      <a:lnTo>
                        <a:pt x="133" y="9"/>
                      </a:lnTo>
                      <a:lnTo>
                        <a:pt x="129" y="5"/>
                      </a:lnTo>
                      <a:lnTo>
                        <a:pt x="126" y="0"/>
                      </a:lnTo>
                      <a:lnTo>
                        <a:pt x="121" y="2"/>
                      </a:lnTo>
                      <a:lnTo>
                        <a:pt x="113" y="4"/>
                      </a:lnTo>
                      <a:lnTo>
                        <a:pt x="103" y="5"/>
                      </a:lnTo>
                      <a:lnTo>
                        <a:pt x="93" y="5"/>
                      </a:lnTo>
                      <a:lnTo>
                        <a:pt x="74" y="6"/>
                      </a:lnTo>
                      <a:lnTo>
                        <a:pt x="60" y="6"/>
                      </a:lnTo>
                      <a:lnTo>
                        <a:pt x="58" y="9"/>
                      </a:lnTo>
                      <a:lnTo>
                        <a:pt x="56" y="12"/>
                      </a:lnTo>
                      <a:lnTo>
                        <a:pt x="54" y="15"/>
                      </a:lnTo>
                      <a:lnTo>
                        <a:pt x="50" y="17"/>
                      </a:lnTo>
                      <a:lnTo>
                        <a:pt x="42" y="20"/>
                      </a:lnTo>
                      <a:lnTo>
                        <a:pt x="33" y="22"/>
                      </a:lnTo>
                      <a:lnTo>
                        <a:pt x="14" y="24"/>
                      </a:lnTo>
                      <a:lnTo>
                        <a:pt x="0" y="24"/>
                      </a:lnTo>
                      <a:lnTo>
                        <a:pt x="1" y="27"/>
                      </a:lnTo>
                      <a:lnTo>
                        <a:pt x="3" y="29"/>
                      </a:lnTo>
                      <a:lnTo>
                        <a:pt x="5" y="31"/>
                      </a:lnTo>
                      <a:lnTo>
                        <a:pt x="9" y="33"/>
                      </a:lnTo>
                      <a:lnTo>
                        <a:pt x="17" y="35"/>
                      </a:lnTo>
                      <a:lnTo>
                        <a:pt x="27" y="3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78" name="Freeform 487">
                  <a:extLst>
                    <a:ext uri="{FF2B5EF4-FFF2-40B4-BE49-F238E27FC236}">
                      <a16:creationId xmlns:a16="http://schemas.microsoft.com/office/drawing/2014/main" xmlns="" id="{BA51C63F-633C-44BD-A20F-09390B99CA46}"/>
                    </a:ext>
                  </a:extLst>
                </p:cNvPr>
                <p:cNvSpPr>
                  <a:spLocks/>
                </p:cNvSpPr>
                <p:nvPr>
                  <p:custDataLst>
                    <p:tags r:id="rId325"/>
                  </p:custDataLst>
                </p:nvPr>
              </p:nvSpPr>
              <p:spPr bwMode="auto">
                <a:xfrm>
                  <a:off x="4830763" y="1214438"/>
                  <a:ext cx="63500" cy="57150"/>
                </a:xfrm>
                <a:custGeom>
                  <a:avLst/>
                  <a:gdLst>
                    <a:gd name="T0" fmla="*/ 2147483646 w 149"/>
                    <a:gd name="T1" fmla="*/ 0 h 61"/>
                    <a:gd name="T2" fmla="*/ 2147483646 w 149"/>
                    <a:gd name="T3" fmla="*/ 2147483646 h 61"/>
                    <a:gd name="T4" fmla="*/ 2147483646 w 149"/>
                    <a:gd name="T5" fmla="*/ 2147483646 h 61"/>
                    <a:gd name="T6" fmla="*/ 2147483646 w 149"/>
                    <a:gd name="T7" fmla="*/ 2147483646 h 61"/>
                    <a:gd name="T8" fmla="*/ 2147483646 w 149"/>
                    <a:gd name="T9" fmla="*/ 2147483646 h 61"/>
                    <a:gd name="T10" fmla="*/ 2147483646 w 149"/>
                    <a:gd name="T11" fmla="*/ 2147483646 h 61"/>
                    <a:gd name="T12" fmla="*/ 2147483646 w 149"/>
                    <a:gd name="T13" fmla="*/ 2147483646 h 61"/>
                    <a:gd name="T14" fmla="*/ 2147483646 w 149"/>
                    <a:gd name="T15" fmla="*/ 2147483646 h 61"/>
                    <a:gd name="T16" fmla="*/ 2147483646 w 149"/>
                    <a:gd name="T17" fmla="*/ 2147483646 h 61"/>
                    <a:gd name="T18" fmla="*/ 2147483646 w 149"/>
                    <a:gd name="T19" fmla="*/ 2147483646 h 61"/>
                    <a:gd name="T20" fmla="*/ 2147483646 w 149"/>
                    <a:gd name="T21" fmla="*/ 2147483646 h 61"/>
                    <a:gd name="T22" fmla="*/ 2147483646 w 149"/>
                    <a:gd name="T23" fmla="*/ 2147483646 h 61"/>
                    <a:gd name="T24" fmla="*/ 2147483646 w 149"/>
                    <a:gd name="T25" fmla="*/ 2147483646 h 61"/>
                    <a:gd name="T26" fmla="*/ 2147483646 w 149"/>
                    <a:gd name="T27" fmla="*/ 2147483646 h 61"/>
                    <a:gd name="T28" fmla="*/ 2147483646 w 149"/>
                    <a:gd name="T29" fmla="*/ 2147483646 h 61"/>
                    <a:gd name="T30" fmla="*/ 2147483646 w 149"/>
                    <a:gd name="T31" fmla="*/ 2147483646 h 61"/>
                    <a:gd name="T32" fmla="*/ 2147483646 w 149"/>
                    <a:gd name="T33" fmla="*/ 2147483646 h 61"/>
                    <a:gd name="T34" fmla="*/ 2147483646 w 149"/>
                    <a:gd name="T35" fmla="*/ 2147483646 h 61"/>
                    <a:gd name="T36" fmla="*/ 2147483646 w 149"/>
                    <a:gd name="T37" fmla="*/ 2147483646 h 61"/>
                    <a:gd name="T38" fmla="*/ 2147483646 w 149"/>
                    <a:gd name="T39" fmla="*/ 2147483646 h 61"/>
                    <a:gd name="T40" fmla="*/ 2147483646 w 149"/>
                    <a:gd name="T41" fmla="*/ 2147483646 h 61"/>
                    <a:gd name="T42" fmla="*/ 2147483646 w 149"/>
                    <a:gd name="T43" fmla="*/ 2147483646 h 61"/>
                    <a:gd name="T44" fmla="*/ 2147483646 w 149"/>
                    <a:gd name="T45" fmla="*/ 2147483646 h 61"/>
                    <a:gd name="T46" fmla="*/ 2147483646 w 149"/>
                    <a:gd name="T47" fmla="*/ 2147483646 h 61"/>
                    <a:gd name="T48" fmla="*/ 2147483646 w 149"/>
                    <a:gd name="T49" fmla="*/ 2147483646 h 61"/>
                    <a:gd name="T50" fmla="*/ 2147483646 w 149"/>
                    <a:gd name="T51" fmla="*/ 2147483646 h 61"/>
                    <a:gd name="T52" fmla="*/ 2147483646 w 149"/>
                    <a:gd name="T53" fmla="*/ 2147483646 h 61"/>
                    <a:gd name="T54" fmla="*/ 2147483646 w 149"/>
                    <a:gd name="T55" fmla="*/ 2147483646 h 61"/>
                    <a:gd name="T56" fmla="*/ 2147483646 w 149"/>
                    <a:gd name="T57" fmla="*/ 2147483646 h 61"/>
                    <a:gd name="T58" fmla="*/ 2147483646 w 149"/>
                    <a:gd name="T59" fmla="*/ 2147483646 h 61"/>
                    <a:gd name="T60" fmla="*/ 2147483646 w 149"/>
                    <a:gd name="T61" fmla="*/ 2147483646 h 61"/>
                    <a:gd name="T62" fmla="*/ 2147483646 w 149"/>
                    <a:gd name="T63" fmla="*/ 2147483646 h 61"/>
                    <a:gd name="T64" fmla="*/ 0 w 149"/>
                    <a:gd name="T65" fmla="*/ 2147483646 h 61"/>
                    <a:gd name="T66" fmla="*/ 0 w 149"/>
                    <a:gd name="T67" fmla="*/ 2147483646 h 61"/>
                    <a:gd name="T68" fmla="*/ 2147483646 w 149"/>
                    <a:gd name="T69" fmla="*/ 2147483646 h 61"/>
                    <a:gd name="T70" fmla="*/ 2147483646 w 149"/>
                    <a:gd name="T71" fmla="*/ 2147483646 h 61"/>
                    <a:gd name="T72" fmla="*/ 2147483646 w 149"/>
                    <a:gd name="T73" fmla="*/ 2147483646 h 61"/>
                    <a:gd name="T74" fmla="*/ 2147483646 w 149"/>
                    <a:gd name="T75" fmla="*/ 2147483646 h 61"/>
                    <a:gd name="T76" fmla="*/ 2147483646 w 149"/>
                    <a:gd name="T77" fmla="*/ 2147483646 h 61"/>
                    <a:gd name="T78" fmla="*/ 2147483646 w 149"/>
                    <a:gd name="T79" fmla="*/ 2147483646 h 61"/>
                    <a:gd name="T80" fmla="*/ 2147483646 w 149"/>
                    <a:gd name="T81" fmla="*/ 2147483646 h 61"/>
                    <a:gd name="T82" fmla="*/ 2147483646 w 149"/>
                    <a:gd name="T83" fmla="*/ 2147483646 h 61"/>
                    <a:gd name="T84" fmla="*/ 2147483646 w 149"/>
                    <a:gd name="T85" fmla="*/ 0 h 6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49"/>
                    <a:gd name="T130" fmla="*/ 0 h 61"/>
                    <a:gd name="T131" fmla="*/ 149 w 149"/>
                    <a:gd name="T132" fmla="*/ 61 h 6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49" h="61">
                      <a:moveTo>
                        <a:pt x="103" y="0"/>
                      </a:moveTo>
                      <a:lnTo>
                        <a:pt x="118" y="1"/>
                      </a:lnTo>
                      <a:lnTo>
                        <a:pt x="134" y="3"/>
                      </a:lnTo>
                      <a:lnTo>
                        <a:pt x="145" y="5"/>
                      </a:lnTo>
                      <a:lnTo>
                        <a:pt x="149" y="6"/>
                      </a:lnTo>
                      <a:lnTo>
                        <a:pt x="149" y="8"/>
                      </a:lnTo>
                      <a:lnTo>
                        <a:pt x="147" y="10"/>
                      </a:lnTo>
                      <a:lnTo>
                        <a:pt x="145" y="12"/>
                      </a:lnTo>
                      <a:lnTo>
                        <a:pt x="141" y="13"/>
                      </a:lnTo>
                      <a:lnTo>
                        <a:pt x="137" y="14"/>
                      </a:lnTo>
                      <a:lnTo>
                        <a:pt x="132" y="14"/>
                      </a:lnTo>
                      <a:lnTo>
                        <a:pt x="127" y="14"/>
                      </a:lnTo>
                      <a:lnTo>
                        <a:pt x="123" y="12"/>
                      </a:lnTo>
                      <a:lnTo>
                        <a:pt x="123" y="23"/>
                      </a:lnTo>
                      <a:lnTo>
                        <a:pt x="123" y="33"/>
                      </a:lnTo>
                      <a:lnTo>
                        <a:pt x="123" y="41"/>
                      </a:lnTo>
                      <a:lnTo>
                        <a:pt x="123" y="49"/>
                      </a:lnTo>
                      <a:lnTo>
                        <a:pt x="116" y="50"/>
                      </a:lnTo>
                      <a:lnTo>
                        <a:pt x="109" y="51"/>
                      </a:lnTo>
                      <a:lnTo>
                        <a:pt x="104" y="53"/>
                      </a:lnTo>
                      <a:lnTo>
                        <a:pt x="100" y="55"/>
                      </a:lnTo>
                      <a:lnTo>
                        <a:pt x="94" y="57"/>
                      </a:lnTo>
                      <a:lnTo>
                        <a:pt x="89" y="59"/>
                      </a:lnTo>
                      <a:lnTo>
                        <a:pt x="83" y="61"/>
                      </a:lnTo>
                      <a:lnTo>
                        <a:pt x="76" y="61"/>
                      </a:lnTo>
                      <a:lnTo>
                        <a:pt x="67" y="60"/>
                      </a:lnTo>
                      <a:lnTo>
                        <a:pt x="53" y="57"/>
                      </a:lnTo>
                      <a:lnTo>
                        <a:pt x="39" y="54"/>
                      </a:lnTo>
                      <a:lnTo>
                        <a:pt x="25" y="49"/>
                      </a:lnTo>
                      <a:lnTo>
                        <a:pt x="12" y="45"/>
                      </a:lnTo>
                      <a:lnTo>
                        <a:pt x="3" y="41"/>
                      </a:lnTo>
                      <a:lnTo>
                        <a:pt x="1" y="39"/>
                      </a:lnTo>
                      <a:lnTo>
                        <a:pt x="0" y="38"/>
                      </a:lnTo>
                      <a:lnTo>
                        <a:pt x="0" y="37"/>
                      </a:lnTo>
                      <a:lnTo>
                        <a:pt x="3" y="37"/>
                      </a:lnTo>
                      <a:lnTo>
                        <a:pt x="19" y="36"/>
                      </a:lnTo>
                      <a:lnTo>
                        <a:pt x="35" y="35"/>
                      </a:lnTo>
                      <a:lnTo>
                        <a:pt x="48" y="32"/>
                      </a:lnTo>
                      <a:lnTo>
                        <a:pt x="60" y="27"/>
                      </a:lnTo>
                      <a:lnTo>
                        <a:pt x="72" y="22"/>
                      </a:lnTo>
                      <a:lnTo>
                        <a:pt x="82" y="16"/>
                      </a:lnTo>
                      <a:lnTo>
                        <a:pt x="93" y="8"/>
                      </a:lnTo>
                      <a:lnTo>
                        <a:pt x="10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79" name="Freeform 488">
                  <a:extLst>
                    <a:ext uri="{FF2B5EF4-FFF2-40B4-BE49-F238E27FC236}">
                      <a16:creationId xmlns:a16="http://schemas.microsoft.com/office/drawing/2014/main" xmlns="" id="{0AEF1611-57E2-4B43-92A7-E0BA07C34390}"/>
                    </a:ext>
                  </a:extLst>
                </p:cNvPr>
                <p:cNvSpPr>
                  <a:spLocks/>
                </p:cNvSpPr>
                <p:nvPr>
                  <p:custDataLst>
                    <p:tags r:id="rId326"/>
                  </p:custDataLst>
                </p:nvPr>
              </p:nvSpPr>
              <p:spPr bwMode="auto">
                <a:xfrm>
                  <a:off x="4867275" y="1222375"/>
                  <a:ext cx="130175" cy="57150"/>
                </a:xfrm>
                <a:custGeom>
                  <a:avLst/>
                  <a:gdLst>
                    <a:gd name="T0" fmla="*/ 2147483646 w 299"/>
                    <a:gd name="T1" fmla="*/ 2147483646 h 74"/>
                    <a:gd name="T2" fmla="*/ 2147483646 w 299"/>
                    <a:gd name="T3" fmla="*/ 2147483646 h 74"/>
                    <a:gd name="T4" fmla="*/ 2147483646 w 299"/>
                    <a:gd name="T5" fmla="*/ 2147483646 h 74"/>
                    <a:gd name="T6" fmla="*/ 2147483646 w 299"/>
                    <a:gd name="T7" fmla="*/ 2147483646 h 74"/>
                    <a:gd name="T8" fmla="*/ 2147483646 w 299"/>
                    <a:gd name="T9" fmla="*/ 2147483646 h 74"/>
                    <a:gd name="T10" fmla="*/ 2147483646 w 299"/>
                    <a:gd name="T11" fmla="*/ 2147483646 h 74"/>
                    <a:gd name="T12" fmla="*/ 2147483646 w 299"/>
                    <a:gd name="T13" fmla="*/ 2147483646 h 74"/>
                    <a:gd name="T14" fmla="*/ 2147483646 w 299"/>
                    <a:gd name="T15" fmla="*/ 2147483646 h 74"/>
                    <a:gd name="T16" fmla="*/ 2147483646 w 299"/>
                    <a:gd name="T17" fmla="*/ 2147483646 h 74"/>
                    <a:gd name="T18" fmla="*/ 2147483646 w 299"/>
                    <a:gd name="T19" fmla="*/ 2147483646 h 74"/>
                    <a:gd name="T20" fmla="*/ 2147483646 w 299"/>
                    <a:gd name="T21" fmla="*/ 2147483646 h 74"/>
                    <a:gd name="T22" fmla="*/ 2147483646 w 299"/>
                    <a:gd name="T23" fmla="*/ 2147483646 h 74"/>
                    <a:gd name="T24" fmla="*/ 2147483646 w 299"/>
                    <a:gd name="T25" fmla="*/ 2147483646 h 74"/>
                    <a:gd name="T26" fmla="*/ 2147483646 w 299"/>
                    <a:gd name="T27" fmla="*/ 2147483646 h 74"/>
                    <a:gd name="T28" fmla="*/ 2147483646 w 299"/>
                    <a:gd name="T29" fmla="*/ 2147483646 h 74"/>
                    <a:gd name="T30" fmla="*/ 2147483646 w 299"/>
                    <a:gd name="T31" fmla="*/ 2147483646 h 74"/>
                    <a:gd name="T32" fmla="*/ 2147483646 w 299"/>
                    <a:gd name="T33" fmla="*/ 2147483646 h 74"/>
                    <a:gd name="T34" fmla="*/ 2147483646 w 299"/>
                    <a:gd name="T35" fmla="*/ 2147483646 h 74"/>
                    <a:gd name="T36" fmla="*/ 2147483646 w 299"/>
                    <a:gd name="T37" fmla="*/ 2147483646 h 74"/>
                    <a:gd name="T38" fmla="*/ 2147483646 w 299"/>
                    <a:gd name="T39" fmla="*/ 2147483646 h 74"/>
                    <a:gd name="T40" fmla="*/ 2147483646 w 299"/>
                    <a:gd name="T41" fmla="*/ 2147483646 h 74"/>
                    <a:gd name="T42" fmla="*/ 2147483646 w 299"/>
                    <a:gd name="T43" fmla="*/ 2147483646 h 74"/>
                    <a:gd name="T44" fmla="*/ 2147483646 w 299"/>
                    <a:gd name="T45" fmla="*/ 0 h 74"/>
                    <a:gd name="T46" fmla="*/ 2147483646 w 299"/>
                    <a:gd name="T47" fmla="*/ 2147483646 h 74"/>
                    <a:gd name="T48" fmla="*/ 2147483646 w 299"/>
                    <a:gd name="T49" fmla="*/ 2147483646 h 74"/>
                    <a:gd name="T50" fmla="*/ 2147483646 w 299"/>
                    <a:gd name="T51" fmla="*/ 2147483646 h 74"/>
                    <a:gd name="T52" fmla="*/ 2147483646 w 299"/>
                    <a:gd name="T53" fmla="*/ 2147483646 h 74"/>
                    <a:gd name="T54" fmla="*/ 2147483646 w 299"/>
                    <a:gd name="T55" fmla="*/ 2147483646 h 74"/>
                    <a:gd name="T56" fmla="*/ 2147483646 w 299"/>
                    <a:gd name="T57" fmla="*/ 2147483646 h 74"/>
                    <a:gd name="T58" fmla="*/ 2147483646 w 299"/>
                    <a:gd name="T59" fmla="*/ 2147483646 h 74"/>
                    <a:gd name="T60" fmla="*/ 2147483646 w 299"/>
                    <a:gd name="T61" fmla="*/ 2147483646 h 74"/>
                    <a:gd name="T62" fmla="*/ 2147483646 w 299"/>
                    <a:gd name="T63" fmla="*/ 2147483646 h 74"/>
                    <a:gd name="T64" fmla="*/ 2147483646 w 299"/>
                    <a:gd name="T65" fmla="*/ 2147483646 h 74"/>
                    <a:gd name="T66" fmla="*/ 2147483646 w 299"/>
                    <a:gd name="T67" fmla="*/ 2147483646 h 74"/>
                    <a:gd name="T68" fmla="*/ 2147483646 w 299"/>
                    <a:gd name="T69" fmla="*/ 2147483646 h 74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99"/>
                    <a:gd name="T106" fmla="*/ 0 h 74"/>
                    <a:gd name="T107" fmla="*/ 299 w 299"/>
                    <a:gd name="T108" fmla="*/ 74 h 74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99" h="74">
                      <a:moveTo>
                        <a:pt x="126" y="74"/>
                      </a:moveTo>
                      <a:lnTo>
                        <a:pt x="133" y="72"/>
                      </a:lnTo>
                      <a:lnTo>
                        <a:pt x="142" y="69"/>
                      </a:lnTo>
                      <a:lnTo>
                        <a:pt x="154" y="65"/>
                      </a:lnTo>
                      <a:lnTo>
                        <a:pt x="166" y="60"/>
                      </a:lnTo>
                      <a:lnTo>
                        <a:pt x="178" y="54"/>
                      </a:lnTo>
                      <a:lnTo>
                        <a:pt x="189" y="48"/>
                      </a:lnTo>
                      <a:lnTo>
                        <a:pt x="199" y="42"/>
                      </a:lnTo>
                      <a:lnTo>
                        <a:pt x="205" y="37"/>
                      </a:lnTo>
                      <a:lnTo>
                        <a:pt x="207" y="40"/>
                      </a:lnTo>
                      <a:lnTo>
                        <a:pt x="209" y="43"/>
                      </a:lnTo>
                      <a:lnTo>
                        <a:pt x="211" y="46"/>
                      </a:lnTo>
                      <a:lnTo>
                        <a:pt x="214" y="48"/>
                      </a:lnTo>
                      <a:lnTo>
                        <a:pt x="220" y="51"/>
                      </a:lnTo>
                      <a:lnTo>
                        <a:pt x="227" y="53"/>
                      </a:lnTo>
                      <a:lnTo>
                        <a:pt x="243" y="55"/>
                      </a:lnTo>
                      <a:lnTo>
                        <a:pt x="259" y="55"/>
                      </a:lnTo>
                      <a:lnTo>
                        <a:pt x="269" y="55"/>
                      </a:lnTo>
                      <a:lnTo>
                        <a:pt x="278" y="55"/>
                      </a:lnTo>
                      <a:lnTo>
                        <a:pt x="286" y="55"/>
                      </a:lnTo>
                      <a:lnTo>
                        <a:pt x="292" y="55"/>
                      </a:lnTo>
                      <a:lnTo>
                        <a:pt x="293" y="46"/>
                      </a:lnTo>
                      <a:lnTo>
                        <a:pt x="295" y="38"/>
                      </a:lnTo>
                      <a:lnTo>
                        <a:pt x="298" y="31"/>
                      </a:lnTo>
                      <a:lnTo>
                        <a:pt x="299" y="25"/>
                      </a:lnTo>
                      <a:lnTo>
                        <a:pt x="279" y="25"/>
                      </a:lnTo>
                      <a:lnTo>
                        <a:pt x="260" y="25"/>
                      </a:lnTo>
                      <a:lnTo>
                        <a:pt x="244" y="25"/>
                      </a:lnTo>
                      <a:lnTo>
                        <a:pt x="232" y="25"/>
                      </a:lnTo>
                      <a:lnTo>
                        <a:pt x="225" y="25"/>
                      </a:lnTo>
                      <a:lnTo>
                        <a:pt x="220" y="26"/>
                      </a:lnTo>
                      <a:lnTo>
                        <a:pt x="214" y="27"/>
                      </a:lnTo>
                      <a:lnTo>
                        <a:pt x="211" y="29"/>
                      </a:lnTo>
                      <a:lnTo>
                        <a:pt x="204" y="33"/>
                      </a:lnTo>
                      <a:lnTo>
                        <a:pt x="199" y="37"/>
                      </a:lnTo>
                      <a:lnTo>
                        <a:pt x="172" y="37"/>
                      </a:lnTo>
                      <a:lnTo>
                        <a:pt x="174" y="32"/>
                      </a:lnTo>
                      <a:lnTo>
                        <a:pt x="176" y="28"/>
                      </a:lnTo>
                      <a:lnTo>
                        <a:pt x="178" y="24"/>
                      </a:lnTo>
                      <a:lnTo>
                        <a:pt x="180" y="21"/>
                      </a:lnTo>
                      <a:lnTo>
                        <a:pt x="187" y="16"/>
                      </a:lnTo>
                      <a:lnTo>
                        <a:pt x="194" y="13"/>
                      </a:lnTo>
                      <a:lnTo>
                        <a:pt x="202" y="11"/>
                      </a:lnTo>
                      <a:lnTo>
                        <a:pt x="210" y="9"/>
                      </a:lnTo>
                      <a:lnTo>
                        <a:pt x="217" y="5"/>
                      </a:lnTo>
                      <a:lnTo>
                        <a:pt x="225" y="0"/>
                      </a:lnTo>
                      <a:lnTo>
                        <a:pt x="199" y="0"/>
                      </a:lnTo>
                      <a:lnTo>
                        <a:pt x="185" y="3"/>
                      </a:lnTo>
                      <a:lnTo>
                        <a:pt x="170" y="7"/>
                      </a:lnTo>
                      <a:lnTo>
                        <a:pt x="157" y="11"/>
                      </a:lnTo>
                      <a:lnTo>
                        <a:pt x="145" y="18"/>
                      </a:lnTo>
                      <a:lnTo>
                        <a:pt x="134" y="25"/>
                      </a:lnTo>
                      <a:lnTo>
                        <a:pt x="123" y="32"/>
                      </a:lnTo>
                      <a:lnTo>
                        <a:pt x="114" y="40"/>
                      </a:lnTo>
                      <a:lnTo>
                        <a:pt x="105" y="49"/>
                      </a:lnTo>
                      <a:lnTo>
                        <a:pt x="100" y="53"/>
                      </a:lnTo>
                      <a:lnTo>
                        <a:pt x="95" y="56"/>
                      </a:lnTo>
                      <a:lnTo>
                        <a:pt x="87" y="59"/>
                      </a:lnTo>
                      <a:lnTo>
                        <a:pt x="80" y="61"/>
                      </a:lnTo>
                      <a:lnTo>
                        <a:pt x="64" y="63"/>
                      </a:lnTo>
                      <a:lnTo>
                        <a:pt x="47" y="64"/>
                      </a:lnTo>
                      <a:lnTo>
                        <a:pt x="32" y="64"/>
                      </a:lnTo>
                      <a:lnTo>
                        <a:pt x="18" y="65"/>
                      </a:lnTo>
                      <a:lnTo>
                        <a:pt x="12" y="67"/>
                      </a:lnTo>
                      <a:lnTo>
                        <a:pt x="7" y="68"/>
                      </a:lnTo>
                      <a:lnTo>
                        <a:pt x="2" y="70"/>
                      </a:lnTo>
                      <a:lnTo>
                        <a:pt x="0" y="74"/>
                      </a:lnTo>
                      <a:lnTo>
                        <a:pt x="39" y="74"/>
                      </a:lnTo>
                      <a:lnTo>
                        <a:pt x="73" y="74"/>
                      </a:lnTo>
                      <a:lnTo>
                        <a:pt x="102" y="74"/>
                      </a:lnTo>
                      <a:lnTo>
                        <a:pt x="126" y="7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80" name="Freeform 489">
                  <a:extLst>
                    <a:ext uri="{FF2B5EF4-FFF2-40B4-BE49-F238E27FC236}">
                      <a16:creationId xmlns:a16="http://schemas.microsoft.com/office/drawing/2014/main" xmlns="" id="{44BDA387-486D-4C7E-89FD-13D7F4828975}"/>
                    </a:ext>
                  </a:extLst>
                </p:cNvPr>
                <p:cNvSpPr>
                  <a:spLocks/>
                </p:cNvSpPr>
                <p:nvPr>
                  <p:custDataLst>
                    <p:tags r:id="rId327"/>
                  </p:custDataLst>
                </p:nvPr>
              </p:nvSpPr>
              <p:spPr bwMode="auto">
                <a:xfrm>
                  <a:off x="5400675" y="1408113"/>
                  <a:ext cx="41275" cy="57150"/>
                </a:xfrm>
                <a:custGeom>
                  <a:avLst/>
                  <a:gdLst>
                    <a:gd name="T0" fmla="*/ 2147483646 w 100"/>
                    <a:gd name="T1" fmla="*/ 0 h 42"/>
                    <a:gd name="T2" fmla="*/ 2147483646 w 100"/>
                    <a:gd name="T3" fmla="*/ 2147483646 h 42"/>
                    <a:gd name="T4" fmla="*/ 2147483646 w 100"/>
                    <a:gd name="T5" fmla="*/ 2147483646 h 42"/>
                    <a:gd name="T6" fmla="*/ 2147483646 w 100"/>
                    <a:gd name="T7" fmla="*/ 2147483646 h 42"/>
                    <a:gd name="T8" fmla="*/ 2147483646 w 100"/>
                    <a:gd name="T9" fmla="*/ 2147483646 h 42"/>
                    <a:gd name="T10" fmla="*/ 2147483646 w 100"/>
                    <a:gd name="T11" fmla="*/ 2147483646 h 42"/>
                    <a:gd name="T12" fmla="*/ 2147483646 w 100"/>
                    <a:gd name="T13" fmla="*/ 2147483646 h 42"/>
                    <a:gd name="T14" fmla="*/ 2147483646 w 100"/>
                    <a:gd name="T15" fmla="*/ 2147483646 h 42"/>
                    <a:gd name="T16" fmla="*/ 2147483646 w 100"/>
                    <a:gd name="T17" fmla="*/ 2147483646 h 42"/>
                    <a:gd name="T18" fmla="*/ 2147483646 w 100"/>
                    <a:gd name="T19" fmla="*/ 2147483646 h 42"/>
                    <a:gd name="T20" fmla="*/ 2147483646 w 100"/>
                    <a:gd name="T21" fmla="*/ 2147483646 h 42"/>
                    <a:gd name="T22" fmla="*/ 2147483646 w 100"/>
                    <a:gd name="T23" fmla="*/ 2147483646 h 42"/>
                    <a:gd name="T24" fmla="*/ 2147483646 w 100"/>
                    <a:gd name="T25" fmla="*/ 2147483646 h 42"/>
                    <a:gd name="T26" fmla="*/ 2147483646 w 100"/>
                    <a:gd name="T27" fmla="*/ 2147483646 h 42"/>
                    <a:gd name="T28" fmla="*/ 0 w 100"/>
                    <a:gd name="T29" fmla="*/ 2147483646 h 42"/>
                    <a:gd name="T30" fmla="*/ 2147483646 w 100"/>
                    <a:gd name="T31" fmla="*/ 2147483646 h 42"/>
                    <a:gd name="T32" fmla="*/ 2147483646 w 100"/>
                    <a:gd name="T33" fmla="*/ 2147483646 h 42"/>
                    <a:gd name="T34" fmla="*/ 2147483646 w 100"/>
                    <a:gd name="T35" fmla="*/ 2147483646 h 42"/>
                    <a:gd name="T36" fmla="*/ 2147483646 w 100"/>
                    <a:gd name="T37" fmla="*/ 2147483646 h 42"/>
                    <a:gd name="T38" fmla="*/ 2147483646 w 100"/>
                    <a:gd name="T39" fmla="*/ 2147483646 h 42"/>
                    <a:gd name="T40" fmla="*/ 2147483646 w 100"/>
                    <a:gd name="T41" fmla="*/ 2147483646 h 42"/>
                    <a:gd name="T42" fmla="*/ 2147483646 w 100"/>
                    <a:gd name="T43" fmla="*/ 2147483646 h 42"/>
                    <a:gd name="T44" fmla="*/ 2147483646 w 100"/>
                    <a:gd name="T45" fmla="*/ 2147483646 h 42"/>
                    <a:gd name="T46" fmla="*/ 2147483646 w 100"/>
                    <a:gd name="T47" fmla="*/ 2147483646 h 42"/>
                    <a:gd name="T48" fmla="*/ 2147483646 w 100"/>
                    <a:gd name="T49" fmla="*/ 2147483646 h 42"/>
                    <a:gd name="T50" fmla="*/ 2147483646 w 100"/>
                    <a:gd name="T51" fmla="*/ 0 h 42"/>
                    <a:gd name="T52" fmla="*/ 2147483646 w 100"/>
                    <a:gd name="T53" fmla="*/ 0 h 42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00"/>
                    <a:gd name="T82" fmla="*/ 0 h 42"/>
                    <a:gd name="T83" fmla="*/ 100 w 100"/>
                    <a:gd name="T84" fmla="*/ 42 h 42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00" h="42">
                      <a:moveTo>
                        <a:pt x="93" y="0"/>
                      </a:moveTo>
                      <a:lnTo>
                        <a:pt x="97" y="7"/>
                      </a:lnTo>
                      <a:lnTo>
                        <a:pt x="100" y="18"/>
                      </a:lnTo>
                      <a:lnTo>
                        <a:pt x="92" y="24"/>
                      </a:lnTo>
                      <a:lnTo>
                        <a:pt x="86" y="29"/>
                      </a:lnTo>
                      <a:lnTo>
                        <a:pt x="79" y="34"/>
                      </a:lnTo>
                      <a:lnTo>
                        <a:pt x="72" y="37"/>
                      </a:lnTo>
                      <a:lnTo>
                        <a:pt x="65" y="39"/>
                      </a:lnTo>
                      <a:lnTo>
                        <a:pt x="57" y="41"/>
                      </a:lnTo>
                      <a:lnTo>
                        <a:pt x="49" y="42"/>
                      </a:lnTo>
                      <a:lnTo>
                        <a:pt x="40" y="42"/>
                      </a:lnTo>
                      <a:lnTo>
                        <a:pt x="27" y="41"/>
                      </a:lnTo>
                      <a:lnTo>
                        <a:pt x="12" y="39"/>
                      </a:lnTo>
                      <a:lnTo>
                        <a:pt x="1" y="37"/>
                      </a:lnTo>
                      <a:lnTo>
                        <a:pt x="0" y="36"/>
                      </a:lnTo>
                      <a:lnTo>
                        <a:pt x="6" y="36"/>
                      </a:lnTo>
                      <a:lnTo>
                        <a:pt x="12" y="35"/>
                      </a:lnTo>
                      <a:lnTo>
                        <a:pt x="18" y="33"/>
                      </a:lnTo>
                      <a:lnTo>
                        <a:pt x="23" y="30"/>
                      </a:lnTo>
                      <a:lnTo>
                        <a:pt x="33" y="25"/>
                      </a:lnTo>
                      <a:lnTo>
                        <a:pt x="44" y="18"/>
                      </a:lnTo>
                      <a:lnTo>
                        <a:pt x="55" y="11"/>
                      </a:lnTo>
                      <a:lnTo>
                        <a:pt x="66" y="5"/>
                      </a:lnTo>
                      <a:lnTo>
                        <a:pt x="72" y="3"/>
                      </a:lnTo>
                      <a:lnTo>
                        <a:pt x="79" y="1"/>
                      </a:lnTo>
                      <a:lnTo>
                        <a:pt x="86" y="0"/>
                      </a:lnTo>
                      <a:lnTo>
                        <a:pt x="9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81" name="Freeform 490">
                  <a:extLst>
                    <a:ext uri="{FF2B5EF4-FFF2-40B4-BE49-F238E27FC236}">
                      <a16:creationId xmlns:a16="http://schemas.microsoft.com/office/drawing/2014/main" xmlns="" id="{5351A682-DD9D-469F-AF95-D4D2550FBB2A}"/>
                    </a:ext>
                  </a:extLst>
                </p:cNvPr>
                <p:cNvSpPr>
                  <a:spLocks/>
                </p:cNvSpPr>
                <p:nvPr>
                  <p:custDataLst>
                    <p:tags r:id="rId328"/>
                  </p:custDataLst>
                </p:nvPr>
              </p:nvSpPr>
              <p:spPr bwMode="auto">
                <a:xfrm>
                  <a:off x="5310188" y="1266825"/>
                  <a:ext cx="15875" cy="58738"/>
                </a:xfrm>
                <a:custGeom>
                  <a:avLst/>
                  <a:gdLst>
                    <a:gd name="T0" fmla="*/ 2147483646 w 40"/>
                    <a:gd name="T1" fmla="*/ 2147483646 h 5"/>
                    <a:gd name="T2" fmla="*/ 0 w 40"/>
                    <a:gd name="T3" fmla="*/ 2147483646 h 5"/>
                    <a:gd name="T4" fmla="*/ 2147483646 w 40"/>
                    <a:gd name="T5" fmla="*/ 2147483646 h 5"/>
                    <a:gd name="T6" fmla="*/ 2147483646 w 40"/>
                    <a:gd name="T7" fmla="*/ 2147483646 h 5"/>
                    <a:gd name="T8" fmla="*/ 2147483646 w 40"/>
                    <a:gd name="T9" fmla="*/ 0 h 5"/>
                    <a:gd name="T10" fmla="*/ 2147483646 w 40"/>
                    <a:gd name="T11" fmla="*/ 0 h 5"/>
                    <a:gd name="T12" fmla="*/ 2147483646 w 40"/>
                    <a:gd name="T13" fmla="*/ 0 h 5"/>
                    <a:gd name="T14" fmla="*/ 2147483646 w 40"/>
                    <a:gd name="T15" fmla="*/ 2147483646 h 5"/>
                    <a:gd name="T16" fmla="*/ 2147483646 w 40"/>
                    <a:gd name="T17" fmla="*/ 2147483646 h 5"/>
                    <a:gd name="T18" fmla="*/ 2147483646 w 40"/>
                    <a:gd name="T19" fmla="*/ 2147483646 h 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0"/>
                    <a:gd name="T31" fmla="*/ 0 h 5"/>
                    <a:gd name="T32" fmla="*/ 40 w 40"/>
                    <a:gd name="T33" fmla="*/ 5 h 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0" h="5">
                      <a:moveTo>
                        <a:pt x="40" y="5"/>
                      </a:moveTo>
                      <a:lnTo>
                        <a:pt x="0" y="5"/>
                      </a:lnTo>
                      <a:lnTo>
                        <a:pt x="5" y="3"/>
                      </a:lnTo>
                      <a:lnTo>
                        <a:pt x="9" y="1"/>
                      </a:lnTo>
                      <a:lnTo>
                        <a:pt x="15" y="0"/>
                      </a:lnTo>
                      <a:lnTo>
                        <a:pt x="20" y="0"/>
                      </a:lnTo>
                      <a:lnTo>
                        <a:pt x="25" y="0"/>
                      </a:lnTo>
                      <a:lnTo>
                        <a:pt x="30" y="1"/>
                      </a:lnTo>
                      <a:lnTo>
                        <a:pt x="35" y="3"/>
                      </a:lnTo>
                      <a:lnTo>
                        <a:pt x="40" y="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82" name="Freeform 491">
                  <a:extLst>
                    <a:ext uri="{FF2B5EF4-FFF2-40B4-BE49-F238E27FC236}">
                      <a16:creationId xmlns:a16="http://schemas.microsoft.com/office/drawing/2014/main" xmlns="" id="{E875D99A-482C-467D-AB29-477B8943CB2A}"/>
                    </a:ext>
                  </a:extLst>
                </p:cNvPr>
                <p:cNvSpPr>
                  <a:spLocks/>
                </p:cNvSpPr>
                <p:nvPr>
                  <p:custDataLst>
                    <p:tags r:id="rId329"/>
                  </p:custDataLst>
                </p:nvPr>
              </p:nvSpPr>
              <p:spPr bwMode="auto">
                <a:xfrm>
                  <a:off x="5332413" y="1225550"/>
                  <a:ext cx="14287" cy="60325"/>
                </a:xfrm>
                <a:custGeom>
                  <a:avLst/>
                  <a:gdLst>
                    <a:gd name="T0" fmla="*/ 0 w 33"/>
                    <a:gd name="T1" fmla="*/ 2147483646 h 31"/>
                    <a:gd name="T2" fmla="*/ 2147483646 w 33"/>
                    <a:gd name="T3" fmla="*/ 0 h 31"/>
                    <a:gd name="T4" fmla="*/ 2147483646 w 33"/>
                    <a:gd name="T5" fmla="*/ 2147483646 h 31"/>
                    <a:gd name="T6" fmla="*/ 2147483646 w 33"/>
                    <a:gd name="T7" fmla="*/ 2147483646 h 31"/>
                    <a:gd name="T8" fmla="*/ 2147483646 w 33"/>
                    <a:gd name="T9" fmla="*/ 2147483646 h 31"/>
                    <a:gd name="T10" fmla="*/ 2147483646 w 33"/>
                    <a:gd name="T11" fmla="*/ 2147483646 h 31"/>
                    <a:gd name="T12" fmla="*/ 2147483646 w 33"/>
                    <a:gd name="T13" fmla="*/ 2147483646 h 31"/>
                    <a:gd name="T14" fmla="*/ 2147483646 w 33"/>
                    <a:gd name="T15" fmla="*/ 2147483646 h 31"/>
                    <a:gd name="T16" fmla="*/ 0 w 33"/>
                    <a:gd name="T17" fmla="*/ 2147483646 h 31"/>
                    <a:gd name="T18" fmla="*/ 0 w 33"/>
                    <a:gd name="T19" fmla="*/ 2147483646 h 31"/>
                    <a:gd name="T20" fmla="*/ 0 w 33"/>
                    <a:gd name="T21" fmla="*/ 2147483646 h 31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3"/>
                    <a:gd name="T34" fmla="*/ 0 h 31"/>
                    <a:gd name="T35" fmla="*/ 33 w 33"/>
                    <a:gd name="T36" fmla="*/ 31 h 31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3" h="31">
                      <a:moveTo>
                        <a:pt x="0" y="19"/>
                      </a:moveTo>
                      <a:lnTo>
                        <a:pt x="20" y="0"/>
                      </a:lnTo>
                      <a:lnTo>
                        <a:pt x="20" y="4"/>
                      </a:lnTo>
                      <a:lnTo>
                        <a:pt x="22" y="10"/>
                      </a:lnTo>
                      <a:lnTo>
                        <a:pt x="25" y="14"/>
                      </a:lnTo>
                      <a:lnTo>
                        <a:pt x="27" y="18"/>
                      </a:lnTo>
                      <a:lnTo>
                        <a:pt x="31" y="26"/>
                      </a:lnTo>
                      <a:lnTo>
                        <a:pt x="33" y="31"/>
                      </a:lnTo>
                      <a:lnTo>
                        <a:pt x="0" y="31"/>
                      </a:lnTo>
                      <a:lnTo>
                        <a:pt x="0" y="25"/>
                      </a:lnTo>
                      <a:lnTo>
                        <a:pt x="0" y="1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83" name="Freeform 492">
                  <a:extLst>
                    <a:ext uri="{FF2B5EF4-FFF2-40B4-BE49-F238E27FC236}">
                      <a16:creationId xmlns:a16="http://schemas.microsoft.com/office/drawing/2014/main" xmlns="" id="{72AC2063-0044-4A62-AEA4-068BDF898293}"/>
                    </a:ext>
                  </a:extLst>
                </p:cNvPr>
                <p:cNvSpPr>
                  <a:spLocks/>
                </p:cNvSpPr>
                <p:nvPr>
                  <p:custDataLst>
                    <p:tags r:id="rId330"/>
                  </p:custDataLst>
                </p:nvPr>
              </p:nvSpPr>
              <p:spPr bwMode="auto">
                <a:xfrm>
                  <a:off x="5476875" y="1341438"/>
                  <a:ext cx="17463" cy="57150"/>
                </a:xfrm>
                <a:custGeom>
                  <a:avLst/>
                  <a:gdLst>
                    <a:gd name="T0" fmla="*/ 2147483646 w 41"/>
                    <a:gd name="T1" fmla="*/ 0 h 43"/>
                    <a:gd name="T2" fmla="*/ 2147483646 w 41"/>
                    <a:gd name="T3" fmla="*/ 2147483646 h 43"/>
                    <a:gd name="T4" fmla="*/ 2147483646 w 41"/>
                    <a:gd name="T5" fmla="*/ 2147483646 h 43"/>
                    <a:gd name="T6" fmla="*/ 2147483646 w 41"/>
                    <a:gd name="T7" fmla="*/ 2147483646 h 43"/>
                    <a:gd name="T8" fmla="*/ 2147483646 w 41"/>
                    <a:gd name="T9" fmla="*/ 2147483646 h 43"/>
                    <a:gd name="T10" fmla="*/ 2147483646 w 41"/>
                    <a:gd name="T11" fmla="*/ 2147483646 h 43"/>
                    <a:gd name="T12" fmla="*/ 2147483646 w 41"/>
                    <a:gd name="T13" fmla="*/ 2147483646 h 43"/>
                    <a:gd name="T14" fmla="*/ 0 w 41"/>
                    <a:gd name="T15" fmla="*/ 2147483646 h 43"/>
                    <a:gd name="T16" fmla="*/ 2147483646 w 41"/>
                    <a:gd name="T17" fmla="*/ 2147483646 h 43"/>
                    <a:gd name="T18" fmla="*/ 2147483646 w 41"/>
                    <a:gd name="T19" fmla="*/ 2147483646 h 43"/>
                    <a:gd name="T20" fmla="*/ 2147483646 w 41"/>
                    <a:gd name="T21" fmla="*/ 2147483646 h 43"/>
                    <a:gd name="T22" fmla="*/ 2147483646 w 41"/>
                    <a:gd name="T23" fmla="*/ 0 h 4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1"/>
                    <a:gd name="T37" fmla="*/ 0 h 43"/>
                    <a:gd name="T38" fmla="*/ 41 w 41"/>
                    <a:gd name="T39" fmla="*/ 43 h 4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1" h="43">
                      <a:moveTo>
                        <a:pt x="41" y="0"/>
                      </a:moveTo>
                      <a:lnTo>
                        <a:pt x="41" y="43"/>
                      </a:lnTo>
                      <a:lnTo>
                        <a:pt x="31" y="42"/>
                      </a:lnTo>
                      <a:lnTo>
                        <a:pt x="24" y="40"/>
                      </a:lnTo>
                      <a:lnTo>
                        <a:pt x="18" y="37"/>
                      </a:lnTo>
                      <a:lnTo>
                        <a:pt x="13" y="33"/>
                      </a:lnTo>
                      <a:lnTo>
                        <a:pt x="5" y="25"/>
                      </a:lnTo>
                      <a:lnTo>
                        <a:pt x="0" y="19"/>
                      </a:lnTo>
                      <a:lnTo>
                        <a:pt x="12" y="13"/>
                      </a:lnTo>
                      <a:lnTo>
                        <a:pt x="25" y="7"/>
                      </a:lnTo>
                      <a:lnTo>
                        <a:pt x="36" y="2"/>
                      </a:lnTo>
                      <a:lnTo>
                        <a:pt x="41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84" name="Freeform 493">
                  <a:extLst>
                    <a:ext uri="{FF2B5EF4-FFF2-40B4-BE49-F238E27FC236}">
                      <a16:creationId xmlns:a16="http://schemas.microsoft.com/office/drawing/2014/main" xmlns="" id="{A1C81B24-4730-409F-B8C9-B1F48BF8A979}"/>
                    </a:ext>
                  </a:extLst>
                </p:cNvPr>
                <p:cNvSpPr>
                  <a:spLocks/>
                </p:cNvSpPr>
                <p:nvPr>
                  <p:custDataLst>
                    <p:tags r:id="rId331"/>
                  </p:custDataLst>
                </p:nvPr>
              </p:nvSpPr>
              <p:spPr bwMode="auto">
                <a:xfrm>
                  <a:off x="5530850" y="1225550"/>
                  <a:ext cx="93663" cy="60325"/>
                </a:xfrm>
                <a:custGeom>
                  <a:avLst/>
                  <a:gdLst>
                    <a:gd name="T0" fmla="*/ 2147483646 w 213"/>
                    <a:gd name="T1" fmla="*/ 0 h 62"/>
                    <a:gd name="T2" fmla="*/ 2147483646 w 213"/>
                    <a:gd name="T3" fmla="*/ 0 h 62"/>
                    <a:gd name="T4" fmla="*/ 2147483646 w 213"/>
                    <a:gd name="T5" fmla="*/ 2147483646 h 62"/>
                    <a:gd name="T6" fmla="*/ 2147483646 w 213"/>
                    <a:gd name="T7" fmla="*/ 2147483646 h 62"/>
                    <a:gd name="T8" fmla="*/ 2147483646 w 213"/>
                    <a:gd name="T9" fmla="*/ 2147483646 h 62"/>
                    <a:gd name="T10" fmla="*/ 2147483646 w 213"/>
                    <a:gd name="T11" fmla="*/ 2147483646 h 62"/>
                    <a:gd name="T12" fmla="*/ 2147483646 w 213"/>
                    <a:gd name="T13" fmla="*/ 2147483646 h 62"/>
                    <a:gd name="T14" fmla="*/ 2147483646 w 213"/>
                    <a:gd name="T15" fmla="*/ 2147483646 h 62"/>
                    <a:gd name="T16" fmla="*/ 2147483646 w 213"/>
                    <a:gd name="T17" fmla="*/ 2147483646 h 62"/>
                    <a:gd name="T18" fmla="*/ 2147483646 w 213"/>
                    <a:gd name="T19" fmla="*/ 2147483646 h 62"/>
                    <a:gd name="T20" fmla="*/ 2147483646 w 213"/>
                    <a:gd name="T21" fmla="*/ 2147483646 h 62"/>
                    <a:gd name="T22" fmla="*/ 2147483646 w 213"/>
                    <a:gd name="T23" fmla="*/ 2147483646 h 62"/>
                    <a:gd name="T24" fmla="*/ 2147483646 w 213"/>
                    <a:gd name="T25" fmla="*/ 2147483646 h 62"/>
                    <a:gd name="T26" fmla="*/ 2147483646 w 213"/>
                    <a:gd name="T27" fmla="*/ 2147483646 h 62"/>
                    <a:gd name="T28" fmla="*/ 2147483646 w 213"/>
                    <a:gd name="T29" fmla="*/ 2147483646 h 62"/>
                    <a:gd name="T30" fmla="*/ 2147483646 w 213"/>
                    <a:gd name="T31" fmla="*/ 2147483646 h 62"/>
                    <a:gd name="T32" fmla="*/ 2147483646 w 213"/>
                    <a:gd name="T33" fmla="*/ 2147483646 h 62"/>
                    <a:gd name="T34" fmla="*/ 2147483646 w 213"/>
                    <a:gd name="T35" fmla="*/ 2147483646 h 62"/>
                    <a:gd name="T36" fmla="*/ 2147483646 w 213"/>
                    <a:gd name="T37" fmla="*/ 2147483646 h 62"/>
                    <a:gd name="T38" fmla="*/ 2147483646 w 213"/>
                    <a:gd name="T39" fmla="*/ 2147483646 h 62"/>
                    <a:gd name="T40" fmla="*/ 2147483646 w 213"/>
                    <a:gd name="T41" fmla="*/ 2147483646 h 62"/>
                    <a:gd name="T42" fmla="*/ 2147483646 w 213"/>
                    <a:gd name="T43" fmla="*/ 2147483646 h 62"/>
                    <a:gd name="T44" fmla="*/ 2147483646 w 213"/>
                    <a:gd name="T45" fmla="*/ 2147483646 h 62"/>
                    <a:gd name="T46" fmla="*/ 2147483646 w 213"/>
                    <a:gd name="T47" fmla="*/ 2147483646 h 62"/>
                    <a:gd name="T48" fmla="*/ 2147483646 w 213"/>
                    <a:gd name="T49" fmla="*/ 2147483646 h 62"/>
                    <a:gd name="T50" fmla="*/ 2147483646 w 213"/>
                    <a:gd name="T51" fmla="*/ 2147483646 h 62"/>
                    <a:gd name="T52" fmla="*/ 0 w 213"/>
                    <a:gd name="T53" fmla="*/ 2147483646 h 62"/>
                    <a:gd name="T54" fmla="*/ 2147483646 w 213"/>
                    <a:gd name="T55" fmla="*/ 2147483646 h 62"/>
                    <a:gd name="T56" fmla="*/ 2147483646 w 213"/>
                    <a:gd name="T57" fmla="*/ 2147483646 h 62"/>
                    <a:gd name="T58" fmla="*/ 2147483646 w 213"/>
                    <a:gd name="T59" fmla="*/ 2147483646 h 62"/>
                    <a:gd name="T60" fmla="*/ 2147483646 w 213"/>
                    <a:gd name="T61" fmla="*/ 2147483646 h 62"/>
                    <a:gd name="T62" fmla="*/ 2147483646 w 213"/>
                    <a:gd name="T63" fmla="*/ 2147483646 h 62"/>
                    <a:gd name="T64" fmla="*/ 2147483646 w 213"/>
                    <a:gd name="T65" fmla="*/ 2147483646 h 62"/>
                    <a:gd name="T66" fmla="*/ 2147483646 w 213"/>
                    <a:gd name="T67" fmla="*/ 2147483646 h 62"/>
                    <a:gd name="T68" fmla="*/ 2147483646 w 213"/>
                    <a:gd name="T69" fmla="*/ 2147483646 h 62"/>
                    <a:gd name="T70" fmla="*/ 2147483646 w 213"/>
                    <a:gd name="T71" fmla="*/ 2147483646 h 62"/>
                    <a:gd name="T72" fmla="*/ 2147483646 w 213"/>
                    <a:gd name="T73" fmla="*/ 2147483646 h 62"/>
                    <a:gd name="T74" fmla="*/ 2147483646 w 213"/>
                    <a:gd name="T75" fmla="*/ 0 h 62"/>
                    <a:gd name="T76" fmla="*/ 2147483646 w 213"/>
                    <a:gd name="T77" fmla="*/ 0 h 62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13"/>
                    <a:gd name="T118" fmla="*/ 0 h 62"/>
                    <a:gd name="T119" fmla="*/ 213 w 213"/>
                    <a:gd name="T120" fmla="*/ 62 h 62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13" h="62">
                      <a:moveTo>
                        <a:pt x="61" y="0"/>
                      </a:moveTo>
                      <a:lnTo>
                        <a:pt x="83" y="0"/>
                      </a:lnTo>
                      <a:lnTo>
                        <a:pt x="105" y="1"/>
                      </a:lnTo>
                      <a:lnTo>
                        <a:pt x="127" y="3"/>
                      </a:lnTo>
                      <a:lnTo>
                        <a:pt x="146" y="7"/>
                      </a:lnTo>
                      <a:lnTo>
                        <a:pt x="166" y="11"/>
                      </a:lnTo>
                      <a:lnTo>
                        <a:pt x="184" y="16"/>
                      </a:lnTo>
                      <a:lnTo>
                        <a:pt x="191" y="19"/>
                      </a:lnTo>
                      <a:lnTo>
                        <a:pt x="199" y="23"/>
                      </a:lnTo>
                      <a:lnTo>
                        <a:pt x="207" y="27"/>
                      </a:lnTo>
                      <a:lnTo>
                        <a:pt x="213" y="31"/>
                      </a:lnTo>
                      <a:lnTo>
                        <a:pt x="211" y="35"/>
                      </a:lnTo>
                      <a:lnTo>
                        <a:pt x="207" y="38"/>
                      </a:lnTo>
                      <a:lnTo>
                        <a:pt x="201" y="41"/>
                      </a:lnTo>
                      <a:lnTo>
                        <a:pt x="195" y="44"/>
                      </a:lnTo>
                      <a:lnTo>
                        <a:pt x="177" y="49"/>
                      </a:lnTo>
                      <a:lnTo>
                        <a:pt x="156" y="53"/>
                      </a:lnTo>
                      <a:lnTo>
                        <a:pt x="135" y="57"/>
                      </a:lnTo>
                      <a:lnTo>
                        <a:pt x="114" y="59"/>
                      </a:lnTo>
                      <a:lnTo>
                        <a:pt x="95" y="62"/>
                      </a:lnTo>
                      <a:lnTo>
                        <a:pt x="80" y="62"/>
                      </a:lnTo>
                      <a:lnTo>
                        <a:pt x="62" y="62"/>
                      </a:lnTo>
                      <a:lnTo>
                        <a:pt x="43" y="59"/>
                      </a:lnTo>
                      <a:lnTo>
                        <a:pt x="33" y="59"/>
                      </a:lnTo>
                      <a:lnTo>
                        <a:pt x="23" y="59"/>
                      </a:lnTo>
                      <a:lnTo>
                        <a:pt x="12" y="60"/>
                      </a:lnTo>
                      <a:lnTo>
                        <a:pt x="0" y="62"/>
                      </a:lnTo>
                      <a:lnTo>
                        <a:pt x="6" y="50"/>
                      </a:lnTo>
                      <a:lnTo>
                        <a:pt x="11" y="39"/>
                      </a:lnTo>
                      <a:lnTo>
                        <a:pt x="17" y="29"/>
                      </a:lnTo>
                      <a:lnTo>
                        <a:pt x="23" y="20"/>
                      </a:lnTo>
                      <a:lnTo>
                        <a:pt x="27" y="16"/>
                      </a:lnTo>
                      <a:lnTo>
                        <a:pt x="30" y="12"/>
                      </a:lnTo>
                      <a:lnTo>
                        <a:pt x="34" y="9"/>
                      </a:lnTo>
                      <a:lnTo>
                        <a:pt x="39" y="6"/>
                      </a:lnTo>
                      <a:lnTo>
                        <a:pt x="43" y="3"/>
                      </a:lnTo>
                      <a:lnTo>
                        <a:pt x="49" y="1"/>
                      </a:lnTo>
                      <a:lnTo>
                        <a:pt x="54" y="0"/>
                      </a:lnTo>
                      <a:lnTo>
                        <a:pt x="61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85" name="Freeform 494">
                  <a:extLst>
                    <a:ext uri="{FF2B5EF4-FFF2-40B4-BE49-F238E27FC236}">
                      <a16:creationId xmlns:a16="http://schemas.microsoft.com/office/drawing/2014/main" xmlns="" id="{DA17450B-FE6A-48B3-81DC-17E428350E7D}"/>
                    </a:ext>
                  </a:extLst>
                </p:cNvPr>
                <p:cNvSpPr>
                  <a:spLocks/>
                </p:cNvSpPr>
                <p:nvPr>
                  <p:custDataLst>
                    <p:tags r:id="rId332"/>
                  </p:custDataLst>
                </p:nvPr>
              </p:nvSpPr>
              <p:spPr bwMode="auto">
                <a:xfrm>
                  <a:off x="5591175" y="1250950"/>
                  <a:ext cx="103188" cy="60325"/>
                </a:xfrm>
                <a:custGeom>
                  <a:avLst/>
                  <a:gdLst>
                    <a:gd name="T0" fmla="*/ 2147483646 w 239"/>
                    <a:gd name="T1" fmla="*/ 0 h 56"/>
                    <a:gd name="T2" fmla="*/ 2147483646 w 239"/>
                    <a:gd name="T3" fmla="*/ 2147483646 h 56"/>
                    <a:gd name="T4" fmla="*/ 2147483646 w 239"/>
                    <a:gd name="T5" fmla="*/ 2147483646 h 56"/>
                    <a:gd name="T6" fmla="*/ 2147483646 w 239"/>
                    <a:gd name="T7" fmla="*/ 2147483646 h 56"/>
                    <a:gd name="T8" fmla="*/ 2147483646 w 239"/>
                    <a:gd name="T9" fmla="*/ 2147483646 h 56"/>
                    <a:gd name="T10" fmla="*/ 2147483646 w 239"/>
                    <a:gd name="T11" fmla="*/ 2147483646 h 56"/>
                    <a:gd name="T12" fmla="*/ 2147483646 w 239"/>
                    <a:gd name="T13" fmla="*/ 2147483646 h 56"/>
                    <a:gd name="T14" fmla="*/ 2147483646 w 239"/>
                    <a:gd name="T15" fmla="*/ 2147483646 h 56"/>
                    <a:gd name="T16" fmla="*/ 0 w 239"/>
                    <a:gd name="T17" fmla="*/ 2147483646 h 56"/>
                    <a:gd name="T18" fmla="*/ 2147483646 w 239"/>
                    <a:gd name="T19" fmla="*/ 2147483646 h 56"/>
                    <a:gd name="T20" fmla="*/ 2147483646 w 239"/>
                    <a:gd name="T21" fmla="*/ 2147483646 h 56"/>
                    <a:gd name="T22" fmla="*/ 2147483646 w 239"/>
                    <a:gd name="T23" fmla="*/ 2147483646 h 56"/>
                    <a:gd name="T24" fmla="*/ 2147483646 w 239"/>
                    <a:gd name="T25" fmla="*/ 2147483646 h 56"/>
                    <a:gd name="T26" fmla="*/ 2147483646 w 239"/>
                    <a:gd name="T27" fmla="*/ 2147483646 h 56"/>
                    <a:gd name="T28" fmla="*/ 2147483646 w 239"/>
                    <a:gd name="T29" fmla="*/ 2147483646 h 56"/>
                    <a:gd name="T30" fmla="*/ 2147483646 w 239"/>
                    <a:gd name="T31" fmla="*/ 2147483646 h 56"/>
                    <a:gd name="T32" fmla="*/ 2147483646 w 239"/>
                    <a:gd name="T33" fmla="*/ 2147483646 h 56"/>
                    <a:gd name="T34" fmla="*/ 2147483646 w 239"/>
                    <a:gd name="T35" fmla="*/ 2147483646 h 56"/>
                    <a:gd name="T36" fmla="*/ 2147483646 w 239"/>
                    <a:gd name="T37" fmla="*/ 2147483646 h 56"/>
                    <a:gd name="T38" fmla="*/ 2147483646 w 239"/>
                    <a:gd name="T39" fmla="*/ 2147483646 h 56"/>
                    <a:gd name="T40" fmla="*/ 2147483646 w 239"/>
                    <a:gd name="T41" fmla="*/ 2147483646 h 56"/>
                    <a:gd name="T42" fmla="*/ 2147483646 w 239"/>
                    <a:gd name="T43" fmla="*/ 2147483646 h 56"/>
                    <a:gd name="T44" fmla="*/ 2147483646 w 239"/>
                    <a:gd name="T45" fmla="*/ 2147483646 h 56"/>
                    <a:gd name="T46" fmla="*/ 2147483646 w 239"/>
                    <a:gd name="T47" fmla="*/ 2147483646 h 56"/>
                    <a:gd name="T48" fmla="*/ 2147483646 w 239"/>
                    <a:gd name="T49" fmla="*/ 2147483646 h 56"/>
                    <a:gd name="T50" fmla="*/ 2147483646 w 239"/>
                    <a:gd name="T51" fmla="*/ 2147483646 h 56"/>
                    <a:gd name="T52" fmla="*/ 2147483646 w 239"/>
                    <a:gd name="T53" fmla="*/ 2147483646 h 56"/>
                    <a:gd name="T54" fmla="*/ 2147483646 w 239"/>
                    <a:gd name="T55" fmla="*/ 2147483646 h 56"/>
                    <a:gd name="T56" fmla="*/ 2147483646 w 239"/>
                    <a:gd name="T57" fmla="*/ 2147483646 h 56"/>
                    <a:gd name="T58" fmla="*/ 2147483646 w 239"/>
                    <a:gd name="T59" fmla="*/ 2147483646 h 56"/>
                    <a:gd name="T60" fmla="*/ 2147483646 w 239"/>
                    <a:gd name="T61" fmla="*/ 2147483646 h 56"/>
                    <a:gd name="T62" fmla="*/ 2147483646 w 239"/>
                    <a:gd name="T63" fmla="*/ 2147483646 h 56"/>
                    <a:gd name="T64" fmla="*/ 2147483646 w 239"/>
                    <a:gd name="T65" fmla="*/ 2147483646 h 56"/>
                    <a:gd name="T66" fmla="*/ 2147483646 w 239"/>
                    <a:gd name="T67" fmla="*/ 2147483646 h 56"/>
                    <a:gd name="T68" fmla="*/ 2147483646 w 239"/>
                    <a:gd name="T69" fmla="*/ 2147483646 h 56"/>
                    <a:gd name="T70" fmla="*/ 2147483646 w 239"/>
                    <a:gd name="T71" fmla="*/ 2147483646 h 56"/>
                    <a:gd name="T72" fmla="*/ 2147483646 w 239"/>
                    <a:gd name="T73" fmla="*/ 2147483646 h 56"/>
                    <a:gd name="T74" fmla="*/ 2147483646 w 239"/>
                    <a:gd name="T75" fmla="*/ 2147483646 h 56"/>
                    <a:gd name="T76" fmla="*/ 2147483646 w 239"/>
                    <a:gd name="T77" fmla="*/ 2147483646 h 56"/>
                    <a:gd name="T78" fmla="*/ 2147483646 w 239"/>
                    <a:gd name="T79" fmla="*/ 2147483646 h 56"/>
                    <a:gd name="T80" fmla="*/ 2147483646 w 239"/>
                    <a:gd name="T81" fmla="*/ 2147483646 h 56"/>
                    <a:gd name="T82" fmla="*/ 2147483646 w 239"/>
                    <a:gd name="T83" fmla="*/ 2147483646 h 56"/>
                    <a:gd name="T84" fmla="*/ 2147483646 w 239"/>
                    <a:gd name="T85" fmla="*/ 2147483646 h 56"/>
                    <a:gd name="T86" fmla="*/ 2147483646 w 239"/>
                    <a:gd name="T87" fmla="*/ 0 h 56"/>
                    <a:gd name="T88" fmla="*/ 2147483646 w 239"/>
                    <a:gd name="T89" fmla="*/ 2147483646 h 56"/>
                    <a:gd name="T90" fmla="*/ 2147483646 w 239"/>
                    <a:gd name="T91" fmla="*/ 2147483646 h 56"/>
                    <a:gd name="T92" fmla="*/ 2147483646 w 239"/>
                    <a:gd name="T93" fmla="*/ 2147483646 h 56"/>
                    <a:gd name="T94" fmla="*/ 2147483646 w 239"/>
                    <a:gd name="T95" fmla="*/ 2147483646 h 56"/>
                    <a:gd name="T96" fmla="*/ 2147483646 w 239"/>
                    <a:gd name="T97" fmla="*/ 2147483646 h 56"/>
                    <a:gd name="T98" fmla="*/ 2147483646 w 239"/>
                    <a:gd name="T99" fmla="*/ 2147483646 h 56"/>
                    <a:gd name="T100" fmla="*/ 2147483646 w 239"/>
                    <a:gd name="T101" fmla="*/ 2147483646 h 56"/>
                    <a:gd name="T102" fmla="*/ 2147483646 w 239"/>
                    <a:gd name="T103" fmla="*/ 2147483646 h 56"/>
                    <a:gd name="T104" fmla="*/ 2147483646 w 239"/>
                    <a:gd name="T105" fmla="*/ 2147483646 h 56"/>
                    <a:gd name="T106" fmla="*/ 2147483646 w 239"/>
                    <a:gd name="T107" fmla="*/ 0 h 5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39"/>
                    <a:gd name="T163" fmla="*/ 0 h 56"/>
                    <a:gd name="T164" fmla="*/ 239 w 239"/>
                    <a:gd name="T165" fmla="*/ 56 h 5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39" h="56">
                      <a:moveTo>
                        <a:pt x="41" y="0"/>
                      </a:moveTo>
                      <a:lnTo>
                        <a:pt x="30" y="3"/>
                      </a:lnTo>
                      <a:lnTo>
                        <a:pt x="23" y="5"/>
                      </a:lnTo>
                      <a:lnTo>
                        <a:pt x="19" y="7"/>
                      </a:lnTo>
                      <a:lnTo>
                        <a:pt x="15" y="9"/>
                      </a:lnTo>
                      <a:lnTo>
                        <a:pt x="13" y="13"/>
                      </a:lnTo>
                      <a:lnTo>
                        <a:pt x="10" y="15"/>
                      </a:lnTo>
                      <a:lnTo>
                        <a:pt x="7" y="17"/>
                      </a:lnTo>
                      <a:lnTo>
                        <a:pt x="0" y="19"/>
                      </a:lnTo>
                      <a:lnTo>
                        <a:pt x="2" y="24"/>
                      </a:lnTo>
                      <a:lnTo>
                        <a:pt x="5" y="27"/>
                      </a:lnTo>
                      <a:lnTo>
                        <a:pt x="7" y="30"/>
                      </a:lnTo>
                      <a:lnTo>
                        <a:pt x="10" y="33"/>
                      </a:lnTo>
                      <a:lnTo>
                        <a:pt x="17" y="36"/>
                      </a:lnTo>
                      <a:lnTo>
                        <a:pt x="24" y="38"/>
                      </a:lnTo>
                      <a:lnTo>
                        <a:pt x="41" y="38"/>
                      </a:lnTo>
                      <a:lnTo>
                        <a:pt x="54" y="38"/>
                      </a:lnTo>
                      <a:lnTo>
                        <a:pt x="153" y="38"/>
                      </a:lnTo>
                      <a:lnTo>
                        <a:pt x="155" y="41"/>
                      </a:lnTo>
                      <a:lnTo>
                        <a:pt x="156" y="44"/>
                      </a:lnTo>
                      <a:lnTo>
                        <a:pt x="159" y="46"/>
                      </a:lnTo>
                      <a:lnTo>
                        <a:pt x="162" y="48"/>
                      </a:lnTo>
                      <a:lnTo>
                        <a:pt x="167" y="51"/>
                      </a:lnTo>
                      <a:lnTo>
                        <a:pt x="174" y="54"/>
                      </a:lnTo>
                      <a:lnTo>
                        <a:pt x="188" y="56"/>
                      </a:lnTo>
                      <a:lnTo>
                        <a:pt x="200" y="56"/>
                      </a:lnTo>
                      <a:lnTo>
                        <a:pt x="204" y="55"/>
                      </a:lnTo>
                      <a:lnTo>
                        <a:pt x="210" y="54"/>
                      </a:lnTo>
                      <a:lnTo>
                        <a:pt x="214" y="52"/>
                      </a:lnTo>
                      <a:lnTo>
                        <a:pt x="220" y="49"/>
                      </a:lnTo>
                      <a:lnTo>
                        <a:pt x="230" y="43"/>
                      </a:lnTo>
                      <a:lnTo>
                        <a:pt x="239" y="38"/>
                      </a:lnTo>
                      <a:lnTo>
                        <a:pt x="232" y="37"/>
                      </a:lnTo>
                      <a:lnTo>
                        <a:pt x="225" y="36"/>
                      </a:lnTo>
                      <a:lnTo>
                        <a:pt x="219" y="34"/>
                      </a:lnTo>
                      <a:lnTo>
                        <a:pt x="213" y="32"/>
                      </a:lnTo>
                      <a:lnTo>
                        <a:pt x="201" y="26"/>
                      </a:lnTo>
                      <a:lnTo>
                        <a:pt x="190" y="19"/>
                      </a:lnTo>
                      <a:lnTo>
                        <a:pt x="178" y="13"/>
                      </a:lnTo>
                      <a:lnTo>
                        <a:pt x="167" y="6"/>
                      </a:lnTo>
                      <a:lnTo>
                        <a:pt x="160" y="4"/>
                      </a:lnTo>
                      <a:lnTo>
                        <a:pt x="154" y="2"/>
                      </a:lnTo>
                      <a:lnTo>
                        <a:pt x="147" y="1"/>
                      </a:lnTo>
                      <a:lnTo>
                        <a:pt x="140" y="0"/>
                      </a:lnTo>
                      <a:lnTo>
                        <a:pt x="134" y="1"/>
                      </a:lnTo>
                      <a:lnTo>
                        <a:pt x="127" y="4"/>
                      </a:lnTo>
                      <a:lnTo>
                        <a:pt x="124" y="6"/>
                      </a:lnTo>
                      <a:lnTo>
                        <a:pt x="122" y="8"/>
                      </a:lnTo>
                      <a:lnTo>
                        <a:pt x="121" y="10"/>
                      </a:lnTo>
                      <a:lnTo>
                        <a:pt x="120" y="13"/>
                      </a:lnTo>
                      <a:lnTo>
                        <a:pt x="100" y="8"/>
                      </a:lnTo>
                      <a:lnTo>
                        <a:pt x="80" y="4"/>
                      </a:lnTo>
                      <a:lnTo>
                        <a:pt x="61" y="1"/>
                      </a:lnTo>
                      <a:lnTo>
                        <a:pt x="41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86" name="Freeform 495">
                  <a:extLst>
                    <a:ext uri="{FF2B5EF4-FFF2-40B4-BE49-F238E27FC236}">
                      <a16:creationId xmlns:a16="http://schemas.microsoft.com/office/drawing/2014/main" xmlns="" id="{A1335A8F-91E1-4A6A-B678-647174FB32EE}"/>
                    </a:ext>
                  </a:extLst>
                </p:cNvPr>
                <p:cNvSpPr>
                  <a:spLocks/>
                </p:cNvSpPr>
                <p:nvPr>
                  <p:custDataLst>
                    <p:tags r:id="rId333"/>
                  </p:custDataLst>
                </p:nvPr>
              </p:nvSpPr>
              <p:spPr bwMode="auto">
                <a:xfrm>
                  <a:off x="5708650" y="1265238"/>
                  <a:ext cx="82550" cy="57150"/>
                </a:xfrm>
                <a:custGeom>
                  <a:avLst/>
                  <a:gdLst>
                    <a:gd name="T0" fmla="*/ 2147483646 w 187"/>
                    <a:gd name="T1" fmla="*/ 2147483646 h 80"/>
                    <a:gd name="T2" fmla="*/ 2147483646 w 187"/>
                    <a:gd name="T3" fmla="*/ 0 h 80"/>
                    <a:gd name="T4" fmla="*/ 2147483646 w 187"/>
                    <a:gd name="T5" fmla="*/ 2147483646 h 80"/>
                    <a:gd name="T6" fmla="*/ 2147483646 w 187"/>
                    <a:gd name="T7" fmla="*/ 2147483646 h 80"/>
                    <a:gd name="T8" fmla="*/ 2147483646 w 187"/>
                    <a:gd name="T9" fmla="*/ 2147483646 h 80"/>
                    <a:gd name="T10" fmla="*/ 2147483646 w 187"/>
                    <a:gd name="T11" fmla="*/ 2147483646 h 80"/>
                    <a:gd name="T12" fmla="*/ 2147483646 w 187"/>
                    <a:gd name="T13" fmla="*/ 2147483646 h 80"/>
                    <a:gd name="T14" fmla="*/ 2147483646 w 187"/>
                    <a:gd name="T15" fmla="*/ 2147483646 h 80"/>
                    <a:gd name="T16" fmla="*/ 2147483646 w 187"/>
                    <a:gd name="T17" fmla="*/ 2147483646 h 80"/>
                    <a:gd name="T18" fmla="*/ 2147483646 w 187"/>
                    <a:gd name="T19" fmla="*/ 2147483646 h 80"/>
                    <a:gd name="T20" fmla="*/ 2147483646 w 187"/>
                    <a:gd name="T21" fmla="*/ 2147483646 h 80"/>
                    <a:gd name="T22" fmla="*/ 2147483646 w 187"/>
                    <a:gd name="T23" fmla="*/ 2147483646 h 80"/>
                    <a:gd name="T24" fmla="*/ 2147483646 w 187"/>
                    <a:gd name="T25" fmla="*/ 2147483646 h 80"/>
                    <a:gd name="T26" fmla="*/ 2147483646 w 187"/>
                    <a:gd name="T27" fmla="*/ 2147483646 h 80"/>
                    <a:gd name="T28" fmla="*/ 2147483646 w 187"/>
                    <a:gd name="T29" fmla="*/ 2147483646 h 80"/>
                    <a:gd name="T30" fmla="*/ 2147483646 w 187"/>
                    <a:gd name="T31" fmla="*/ 2147483646 h 80"/>
                    <a:gd name="T32" fmla="*/ 2147483646 w 187"/>
                    <a:gd name="T33" fmla="*/ 2147483646 h 80"/>
                    <a:gd name="T34" fmla="*/ 2147483646 w 187"/>
                    <a:gd name="T35" fmla="*/ 2147483646 h 80"/>
                    <a:gd name="T36" fmla="*/ 2147483646 w 187"/>
                    <a:gd name="T37" fmla="*/ 2147483646 h 80"/>
                    <a:gd name="T38" fmla="*/ 2147483646 w 187"/>
                    <a:gd name="T39" fmla="*/ 2147483646 h 80"/>
                    <a:gd name="T40" fmla="*/ 2147483646 w 187"/>
                    <a:gd name="T41" fmla="*/ 2147483646 h 80"/>
                    <a:gd name="T42" fmla="*/ 2147483646 w 187"/>
                    <a:gd name="T43" fmla="*/ 2147483646 h 80"/>
                    <a:gd name="T44" fmla="*/ 2147483646 w 187"/>
                    <a:gd name="T45" fmla="*/ 2147483646 h 80"/>
                    <a:gd name="T46" fmla="*/ 2147483646 w 187"/>
                    <a:gd name="T47" fmla="*/ 2147483646 h 80"/>
                    <a:gd name="T48" fmla="*/ 2147483646 w 187"/>
                    <a:gd name="T49" fmla="*/ 2147483646 h 80"/>
                    <a:gd name="T50" fmla="*/ 2147483646 w 187"/>
                    <a:gd name="T51" fmla="*/ 2147483646 h 80"/>
                    <a:gd name="T52" fmla="*/ 2147483646 w 187"/>
                    <a:gd name="T53" fmla="*/ 2147483646 h 80"/>
                    <a:gd name="T54" fmla="*/ 2147483646 w 187"/>
                    <a:gd name="T55" fmla="*/ 2147483646 h 80"/>
                    <a:gd name="T56" fmla="*/ 2147483646 w 187"/>
                    <a:gd name="T57" fmla="*/ 2147483646 h 80"/>
                    <a:gd name="T58" fmla="*/ 2147483646 w 187"/>
                    <a:gd name="T59" fmla="*/ 2147483646 h 80"/>
                    <a:gd name="T60" fmla="*/ 2147483646 w 187"/>
                    <a:gd name="T61" fmla="*/ 2147483646 h 80"/>
                    <a:gd name="T62" fmla="*/ 2147483646 w 187"/>
                    <a:gd name="T63" fmla="*/ 2147483646 h 80"/>
                    <a:gd name="T64" fmla="*/ 2147483646 w 187"/>
                    <a:gd name="T65" fmla="*/ 2147483646 h 80"/>
                    <a:gd name="T66" fmla="*/ 0 w 187"/>
                    <a:gd name="T67" fmla="*/ 2147483646 h 80"/>
                    <a:gd name="T68" fmla="*/ 2147483646 w 187"/>
                    <a:gd name="T69" fmla="*/ 2147483646 h 80"/>
                    <a:gd name="T70" fmla="*/ 2147483646 w 187"/>
                    <a:gd name="T71" fmla="*/ 2147483646 h 80"/>
                    <a:gd name="T72" fmla="*/ 2147483646 w 187"/>
                    <a:gd name="T73" fmla="*/ 2147483646 h 80"/>
                    <a:gd name="T74" fmla="*/ 2147483646 w 187"/>
                    <a:gd name="T75" fmla="*/ 2147483646 h 80"/>
                    <a:gd name="T76" fmla="*/ 2147483646 w 187"/>
                    <a:gd name="T77" fmla="*/ 2147483646 h 80"/>
                    <a:gd name="T78" fmla="*/ 2147483646 w 187"/>
                    <a:gd name="T79" fmla="*/ 2147483646 h 80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187"/>
                    <a:gd name="T121" fmla="*/ 0 h 80"/>
                    <a:gd name="T122" fmla="*/ 187 w 187"/>
                    <a:gd name="T123" fmla="*/ 80 h 80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187" h="80">
                      <a:moveTo>
                        <a:pt x="14" y="19"/>
                      </a:moveTo>
                      <a:lnTo>
                        <a:pt x="41" y="0"/>
                      </a:lnTo>
                      <a:lnTo>
                        <a:pt x="44" y="3"/>
                      </a:lnTo>
                      <a:lnTo>
                        <a:pt x="50" y="6"/>
                      </a:lnTo>
                      <a:lnTo>
                        <a:pt x="58" y="9"/>
                      </a:lnTo>
                      <a:lnTo>
                        <a:pt x="67" y="12"/>
                      </a:lnTo>
                      <a:lnTo>
                        <a:pt x="89" y="19"/>
                      </a:lnTo>
                      <a:lnTo>
                        <a:pt x="114" y="26"/>
                      </a:lnTo>
                      <a:lnTo>
                        <a:pt x="139" y="33"/>
                      </a:lnTo>
                      <a:lnTo>
                        <a:pt x="161" y="38"/>
                      </a:lnTo>
                      <a:lnTo>
                        <a:pt x="177" y="42"/>
                      </a:lnTo>
                      <a:lnTo>
                        <a:pt x="187" y="43"/>
                      </a:lnTo>
                      <a:lnTo>
                        <a:pt x="187" y="56"/>
                      </a:lnTo>
                      <a:lnTo>
                        <a:pt x="187" y="68"/>
                      </a:lnTo>
                      <a:lnTo>
                        <a:pt x="170" y="70"/>
                      </a:lnTo>
                      <a:lnTo>
                        <a:pt x="151" y="71"/>
                      </a:lnTo>
                      <a:lnTo>
                        <a:pt x="133" y="71"/>
                      </a:lnTo>
                      <a:lnTo>
                        <a:pt x="116" y="70"/>
                      </a:lnTo>
                      <a:lnTo>
                        <a:pt x="85" y="69"/>
                      </a:lnTo>
                      <a:lnTo>
                        <a:pt x="61" y="68"/>
                      </a:lnTo>
                      <a:lnTo>
                        <a:pt x="55" y="69"/>
                      </a:lnTo>
                      <a:lnTo>
                        <a:pt x="51" y="70"/>
                      </a:lnTo>
                      <a:lnTo>
                        <a:pt x="45" y="72"/>
                      </a:lnTo>
                      <a:lnTo>
                        <a:pt x="41" y="74"/>
                      </a:lnTo>
                      <a:lnTo>
                        <a:pt x="33" y="78"/>
                      </a:lnTo>
                      <a:lnTo>
                        <a:pt x="28" y="80"/>
                      </a:lnTo>
                      <a:lnTo>
                        <a:pt x="22" y="79"/>
                      </a:lnTo>
                      <a:lnTo>
                        <a:pt x="18" y="76"/>
                      </a:lnTo>
                      <a:lnTo>
                        <a:pt x="14" y="72"/>
                      </a:lnTo>
                      <a:lnTo>
                        <a:pt x="9" y="67"/>
                      </a:lnTo>
                      <a:lnTo>
                        <a:pt x="6" y="62"/>
                      </a:lnTo>
                      <a:lnTo>
                        <a:pt x="3" y="57"/>
                      </a:lnTo>
                      <a:lnTo>
                        <a:pt x="2" y="53"/>
                      </a:lnTo>
                      <a:lnTo>
                        <a:pt x="0" y="50"/>
                      </a:lnTo>
                      <a:lnTo>
                        <a:pt x="2" y="44"/>
                      </a:lnTo>
                      <a:lnTo>
                        <a:pt x="3" y="40"/>
                      </a:lnTo>
                      <a:lnTo>
                        <a:pt x="5" y="36"/>
                      </a:lnTo>
                      <a:lnTo>
                        <a:pt x="7" y="31"/>
                      </a:lnTo>
                      <a:lnTo>
                        <a:pt x="13" y="24"/>
                      </a:lnTo>
                      <a:lnTo>
                        <a:pt x="14" y="1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87" name="Freeform 496">
                  <a:extLst>
                    <a:ext uri="{FF2B5EF4-FFF2-40B4-BE49-F238E27FC236}">
                      <a16:creationId xmlns:a16="http://schemas.microsoft.com/office/drawing/2014/main" xmlns="" id="{1C97CC7A-2B28-4B55-AD5B-EC24B29F4F99}"/>
                    </a:ext>
                  </a:extLst>
                </p:cNvPr>
                <p:cNvSpPr>
                  <a:spLocks/>
                </p:cNvSpPr>
                <p:nvPr>
                  <p:custDataLst>
                    <p:tags r:id="rId334"/>
                  </p:custDataLst>
                </p:nvPr>
              </p:nvSpPr>
              <p:spPr bwMode="auto">
                <a:xfrm>
                  <a:off x="6235700" y="1390650"/>
                  <a:ext cx="79375" cy="58738"/>
                </a:xfrm>
                <a:custGeom>
                  <a:avLst/>
                  <a:gdLst>
                    <a:gd name="T0" fmla="*/ 2147483646 w 183"/>
                    <a:gd name="T1" fmla="*/ 0 h 73"/>
                    <a:gd name="T2" fmla="*/ 2147483646 w 183"/>
                    <a:gd name="T3" fmla="*/ 0 h 73"/>
                    <a:gd name="T4" fmla="*/ 2147483646 w 183"/>
                    <a:gd name="T5" fmla="*/ 2147483646 h 73"/>
                    <a:gd name="T6" fmla="*/ 2147483646 w 183"/>
                    <a:gd name="T7" fmla="*/ 2147483646 h 73"/>
                    <a:gd name="T8" fmla="*/ 2147483646 w 183"/>
                    <a:gd name="T9" fmla="*/ 2147483646 h 73"/>
                    <a:gd name="T10" fmla="*/ 2147483646 w 183"/>
                    <a:gd name="T11" fmla="*/ 2147483646 h 73"/>
                    <a:gd name="T12" fmla="*/ 2147483646 w 183"/>
                    <a:gd name="T13" fmla="*/ 2147483646 h 73"/>
                    <a:gd name="T14" fmla="*/ 2147483646 w 183"/>
                    <a:gd name="T15" fmla="*/ 2147483646 h 73"/>
                    <a:gd name="T16" fmla="*/ 2147483646 w 183"/>
                    <a:gd name="T17" fmla="*/ 2147483646 h 73"/>
                    <a:gd name="T18" fmla="*/ 2147483646 w 183"/>
                    <a:gd name="T19" fmla="*/ 2147483646 h 73"/>
                    <a:gd name="T20" fmla="*/ 2147483646 w 183"/>
                    <a:gd name="T21" fmla="*/ 2147483646 h 73"/>
                    <a:gd name="T22" fmla="*/ 2147483646 w 183"/>
                    <a:gd name="T23" fmla="*/ 2147483646 h 73"/>
                    <a:gd name="T24" fmla="*/ 2147483646 w 183"/>
                    <a:gd name="T25" fmla="*/ 2147483646 h 73"/>
                    <a:gd name="T26" fmla="*/ 2147483646 w 183"/>
                    <a:gd name="T27" fmla="*/ 2147483646 h 73"/>
                    <a:gd name="T28" fmla="*/ 2147483646 w 183"/>
                    <a:gd name="T29" fmla="*/ 2147483646 h 73"/>
                    <a:gd name="T30" fmla="*/ 2147483646 w 183"/>
                    <a:gd name="T31" fmla="*/ 2147483646 h 73"/>
                    <a:gd name="T32" fmla="*/ 2147483646 w 183"/>
                    <a:gd name="T33" fmla="*/ 2147483646 h 73"/>
                    <a:gd name="T34" fmla="*/ 2147483646 w 183"/>
                    <a:gd name="T35" fmla="*/ 2147483646 h 73"/>
                    <a:gd name="T36" fmla="*/ 2147483646 w 183"/>
                    <a:gd name="T37" fmla="*/ 2147483646 h 73"/>
                    <a:gd name="T38" fmla="*/ 2147483646 w 183"/>
                    <a:gd name="T39" fmla="*/ 2147483646 h 73"/>
                    <a:gd name="T40" fmla="*/ 2147483646 w 183"/>
                    <a:gd name="T41" fmla="*/ 2147483646 h 73"/>
                    <a:gd name="T42" fmla="*/ 2147483646 w 183"/>
                    <a:gd name="T43" fmla="*/ 2147483646 h 73"/>
                    <a:gd name="T44" fmla="*/ 2147483646 w 183"/>
                    <a:gd name="T45" fmla="*/ 2147483646 h 73"/>
                    <a:gd name="T46" fmla="*/ 2147483646 w 183"/>
                    <a:gd name="T47" fmla="*/ 2147483646 h 73"/>
                    <a:gd name="T48" fmla="*/ 2147483646 w 183"/>
                    <a:gd name="T49" fmla="*/ 2147483646 h 73"/>
                    <a:gd name="T50" fmla="*/ 0 w 183"/>
                    <a:gd name="T51" fmla="*/ 2147483646 h 73"/>
                    <a:gd name="T52" fmla="*/ 2147483646 w 183"/>
                    <a:gd name="T53" fmla="*/ 2147483646 h 73"/>
                    <a:gd name="T54" fmla="*/ 2147483646 w 183"/>
                    <a:gd name="T55" fmla="*/ 2147483646 h 73"/>
                    <a:gd name="T56" fmla="*/ 2147483646 w 183"/>
                    <a:gd name="T57" fmla="*/ 2147483646 h 73"/>
                    <a:gd name="T58" fmla="*/ 2147483646 w 183"/>
                    <a:gd name="T59" fmla="*/ 2147483646 h 73"/>
                    <a:gd name="T60" fmla="*/ 2147483646 w 183"/>
                    <a:gd name="T61" fmla="*/ 2147483646 h 73"/>
                    <a:gd name="T62" fmla="*/ 2147483646 w 183"/>
                    <a:gd name="T63" fmla="*/ 0 h 73"/>
                    <a:gd name="T64" fmla="*/ 2147483646 w 183"/>
                    <a:gd name="T65" fmla="*/ 0 h 73"/>
                    <a:gd name="T66" fmla="*/ 2147483646 w 183"/>
                    <a:gd name="T67" fmla="*/ 0 h 73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83"/>
                    <a:gd name="T103" fmla="*/ 0 h 73"/>
                    <a:gd name="T104" fmla="*/ 183 w 183"/>
                    <a:gd name="T105" fmla="*/ 73 h 73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83" h="73">
                      <a:moveTo>
                        <a:pt x="50" y="0"/>
                      </a:moveTo>
                      <a:lnTo>
                        <a:pt x="63" y="0"/>
                      </a:lnTo>
                      <a:lnTo>
                        <a:pt x="75" y="1"/>
                      </a:lnTo>
                      <a:lnTo>
                        <a:pt x="86" y="4"/>
                      </a:lnTo>
                      <a:lnTo>
                        <a:pt x="97" y="7"/>
                      </a:lnTo>
                      <a:lnTo>
                        <a:pt x="106" y="10"/>
                      </a:lnTo>
                      <a:lnTo>
                        <a:pt x="116" y="15"/>
                      </a:lnTo>
                      <a:lnTo>
                        <a:pt x="124" y="19"/>
                      </a:lnTo>
                      <a:lnTo>
                        <a:pt x="131" y="25"/>
                      </a:lnTo>
                      <a:lnTo>
                        <a:pt x="159" y="49"/>
                      </a:lnTo>
                      <a:lnTo>
                        <a:pt x="183" y="73"/>
                      </a:lnTo>
                      <a:lnTo>
                        <a:pt x="137" y="73"/>
                      </a:lnTo>
                      <a:lnTo>
                        <a:pt x="128" y="72"/>
                      </a:lnTo>
                      <a:lnTo>
                        <a:pt x="117" y="70"/>
                      </a:lnTo>
                      <a:lnTo>
                        <a:pt x="104" y="66"/>
                      </a:lnTo>
                      <a:lnTo>
                        <a:pt x="90" y="62"/>
                      </a:lnTo>
                      <a:lnTo>
                        <a:pt x="73" y="56"/>
                      </a:lnTo>
                      <a:lnTo>
                        <a:pt x="58" y="50"/>
                      </a:lnTo>
                      <a:lnTo>
                        <a:pt x="42" y="44"/>
                      </a:lnTo>
                      <a:lnTo>
                        <a:pt x="28" y="37"/>
                      </a:lnTo>
                      <a:lnTo>
                        <a:pt x="16" y="30"/>
                      </a:lnTo>
                      <a:lnTo>
                        <a:pt x="7" y="23"/>
                      </a:lnTo>
                      <a:lnTo>
                        <a:pt x="4" y="19"/>
                      </a:lnTo>
                      <a:lnTo>
                        <a:pt x="2" y="16"/>
                      </a:lnTo>
                      <a:lnTo>
                        <a:pt x="1" y="14"/>
                      </a:lnTo>
                      <a:lnTo>
                        <a:pt x="0" y="11"/>
                      </a:lnTo>
                      <a:lnTo>
                        <a:pt x="1" y="8"/>
                      </a:lnTo>
                      <a:lnTo>
                        <a:pt x="3" y="6"/>
                      </a:lnTo>
                      <a:lnTo>
                        <a:pt x="7" y="4"/>
                      </a:lnTo>
                      <a:lnTo>
                        <a:pt x="13" y="3"/>
                      </a:lnTo>
                      <a:lnTo>
                        <a:pt x="19" y="1"/>
                      </a:lnTo>
                      <a:lnTo>
                        <a:pt x="28" y="0"/>
                      </a:lnTo>
                      <a:lnTo>
                        <a:pt x="38" y="0"/>
                      </a:lnTo>
                      <a:lnTo>
                        <a:pt x="5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88" name="Freeform 497">
                  <a:extLst>
                    <a:ext uri="{FF2B5EF4-FFF2-40B4-BE49-F238E27FC236}">
                      <a16:creationId xmlns:a16="http://schemas.microsoft.com/office/drawing/2014/main" xmlns="" id="{F193C61C-AFEC-4D18-A14D-31B4DD732FBD}"/>
                    </a:ext>
                  </a:extLst>
                </p:cNvPr>
                <p:cNvSpPr>
                  <a:spLocks/>
                </p:cNvSpPr>
                <p:nvPr>
                  <p:custDataLst>
                    <p:tags r:id="rId335"/>
                  </p:custDataLst>
                </p:nvPr>
              </p:nvSpPr>
              <p:spPr bwMode="auto">
                <a:xfrm>
                  <a:off x="6302375" y="1408113"/>
                  <a:ext cx="33338" cy="57150"/>
                </a:xfrm>
                <a:custGeom>
                  <a:avLst/>
                  <a:gdLst>
                    <a:gd name="T0" fmla="*/ 0 w 79"/>
                    <a:gd name="T1" fmla="*/ 2147483646 h 42"/>
                    <a:gd name="T2" fmla="*/ 2147483646 w 79"/>
                    <a:gd name="T3" fmla="*/ 2147483646 h 42"/>
                    <a:gd name="T4" fmla="*/ 2147483646 w 79"/>
                    <a:gd name="T5" fmla="*/ 2147483646 h 42"/>
                    <a:gd name="T6" fmla="*/ 2147483646 w 79"/>
                    <a:gd name="T7" fmla="*/ 0 h 42"/>
                    <a:gd name="T8" fmla="*/ 2147483646 w 79"/>
                    <a:gd name="T9" fmla="*/ 0 h 42"/>
                    <a:gd name="T10" fmla="*/ 2147483646 w 79"/>
                    <a:gd name="T11" fmla="*/ 2147483646 h 42"/>
                    <a:gd name="T12" fmla="*/ 2147483646 w 79"/>
                    <a:gd name="T13" fmla="*/ 2147483646 h 42"/>
                    <a:gd name="T14" fmla="*/ 2147483646 w 79"/>
                    <a:gd name="T15" fmla="*/ 2147483646 h 42"/>
                    <a:gd name="T16" fmla="*/ 2147483646 w 79"/>
                    <a:gd name="T17" fmla="*/ 2147483646 h 42"/>
                    <a:gd name="T18" fmla="*/ 2147483646 w 79"/>
                    <a:gd name="T19" fmla="*/ 2147483646 h 42"/>
                    <a:gd name="T20" fmla="*/ 2147483646 w 79"/>
                    <a:gd name="T21" fmla="*/ 2147483646 h 42"/>
                    <a:gd name="T22" fmla="*/ 2147483646 w 79"/>
                    <a:gd name="T23" fmla="*/ 2147483646 h 42"/>
                    <a:gd name="T24" fmla="*/ 2147483646 w 79"/>
                    <a:gd name="T25" fmla="*/ 2147483646 h 42"/>
                    <a:gd name="T26" fmla="*/ 2147483646 w 79"/>
                    <a:gd name="T27" fmla="*/ 2147483646 h 42"/>
                    <a:gd name="T28" fmla="*/ 2147483646 w 79"/>
                    <a:gd name="T29" fmla="*/ 2147483646 h 42"/>
                    <a:gd name="T30" fmla="*/ 2147483646 w 79"/>
                    <a:gd name="T31" fmla="*/ 2147483646 h 42"/>
                    <a:gd name="T32" fmla="*/ 2147483646 w 79"/>
                    <a:gd name="T33" fmla="*/ 2147483646 h 42"/>
                    <a:gd name="T34" fmla="*/ 2147483646 w 79"/>
                    <a:gd name="T35" fmla="*/ 2147483646 h 42"/>
                    <a:gd name="T36" fmla="*/ 2147483646 w 79"/>
                    <a:gd name="T37" fmla="*/ 2147483646 h 42"/>
                    <a:gd name="T38" fmla="*/ 2147483646 w 79"/>
                    <a:gd name="T39" fmla="*/ 2147483646 h 42"/>
                    <a:gd name="T40" fmla="*/ 2147483646 w 79"/>
                    <a:gd name="T41" fmla="*/ 2147483646 h 42"/>
                    <a:gd name="T42" fmla="*/ 2147483646 w 79"/>
                    <a:gd name="T43" fmla="*/ 2147483646 h 42"/>
                    <a:gd name="T44" fmla="*/ 2147483646 w 79"/>
                    <a:gd name="T45" fmla="*/ 2147483646 h 42"/>
                    <a:gd name="T46" fmla="*/ 0 w 79"/>
                    <a:gd name="T47" fmla="*/ 2147483646 h 42"/>
                    <a:gd name="T48" fmla="*/ 0 w 79"/>
                    <a:gd name="T49" fmla="*/ 2147483646 h 4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9"/>
                    <a:gd name="T76" fmla="*/ 0 h 42"/>
                    <a:gd name="T77" fmla="*/ 79 w 79"/>
                    <a:gd name="T78" fmla="*/ 42 h 42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9" h="42">
                      <a:moveTo>
                        <a:pt x="0" y="6"/>
                      </a:moveTo>
                      <a:lnTo>
                        <a:pt x="23" y="2"/>
                      </a:lnTo>
                      <a:lnTo>
                        <a:pt x="41" y="1"/>
                      </a:lnTo>
                      <a:lnTo>
                        <a:pt x="60" y="0"/>
                      </a:lnTo>
                      <a:lnTo>
                        <a:pt x="79" y="0"/>
                      </a:lnTo>
                      <a:lnTo>
                        <a:pt x="79" y="9"/>
                      </a:lnTo>
                      <a:lnTo>
                        <a:pt x="79" y="18"/>
                      </a:lnTo>
                      <a:lnTo>
                        <a:pt x="79" y="22"/>
                      </a:lnTo>
                      <a:lnTo>
                        <a:pt x="75" y="27"/>
                      </a:lnTo>
                      <a:lnTo>
                        <a:pt x="72" y="31"/>
                      </a:lnTo>
                      <a:lnTo>
                        <a:pt x="68" y="35"/>
                      </a:lnTo>
                      <a:lnTo>
                        <a:pt x="62" y="38"/>
                      </a:lnTo>
                      <a:lnTo>
                        <a:pt x="57" y="40"/>
                      </a:lnTo>
                      <a:lnTo>
                        <a:pt x="51" y="42"/>
                      </a:lnTo>
                      <a:lnTo>
                        <a:pt x="46" y="42"/>
                      </a:lnTo>
                      <a:lnTo>
                        <a:pt x="40" y="42"/>
                      </a:lnTo>
                      <a:lnTo>
                        <a:pt x="35" y="41"/>
                      </a:lnTo>
                      <a:lnTo>
                        <a:pt x="29" y="39"/>
                      </a:lnTo>
                      <a:lnTo>
                        <a:pt x="25" y="37"/>
                      </a:lnTo>
                      <a:lnTo>
                        <a:pt x="16" y="32"/>
                      </a:lnTo>
                      <a:lnTo>
                        <a:pt x="11" y="26"/>
                      </a:lnTo>
                      <a:lnTo>
                        <a:pt x="5" y="20"/>
                      </a:lnTo>
                      <a:lnTo>
                        <a:pt x="2" y="14"/>
                      </a:lnTo>
                      <a:lnTo>
                        <a:pt x="0" y="9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89" name="Freeform 498">
                  <a:extLst>
                    <a:ext uri="{FF2B5EF4-FFF2-40B4-BE49-F238E27FC236}">
                      <a16:creationId xmlns:a16="http://schemas.microsoft.com/office/drawing/2014/main" xmlns="" id="{F579A63E-548B-4E4A-AC68-9A56F832914E}"/>
                    </a:ext>
                  </a:extLst>
                </p:cNvPr>
                <p:cNvSpPr>
                  <a:spLocks/>
                </p:cNvSpPr>
                <p:nvPr>
                  <p:custDataLst>
                    <p:tags r:id="rId336"/>
                  </p:custDataLst>
                </p:nvPr>
              </p:nvSpPr>
              <p:spPr bwMode="auto">
                <a:xfrm>
                  <a:off x="6332538" y="1419225"/>
                  <a:ext cx="52387" cy="58738"/>
                </a:xfrm>
                <a:custGeom>
                  <a:avLst/>
                  <a:gdLst>
                    <a:gd name="T0" fmla="*/ 2147483646 w 113"/>
                    <a:gd name="T1" fmla="*/ 2147483646 h 52"/>
                    <a:gd name="T2" fmla="*/ 2147483646 w 113"/>
                    <a:gd name="T3" fmla="*/ 2147483646 h 52"/>
                    <a:gd name="T4" fmla="*/ 2147483646 w 113"/>
                    <a:gd name="T5" fmla="*/ 2147483646 h 52"/>
                    <a:gd name="T6" fmla="*/ 2147483646 w 113"/>
                    <a:gd name="T7" fmla="*/ 2147483646 h 52"/>
                    <a:gd name="T8" fmla="*/ 2147483646 w 113"/>
                    <a:gd name="T9" fmla="*/ 2147483646 h 52"/>
                    <a:gd name="T10" fmla="*/ 2147483646 w 113"/>
                    <a:gd name="T11" fmla="*/ 2147483646 h 52"/>
                    <a:gd name="T12" fmla="*/ 2147483646 w 113"/>
                    <a:gd name="T13" fmla="*/ 2147483646 h 52"/>
                    <a:gd name="T14" fmla="*/ 2147483646 w 113"/>
                    <a:gd name="T15" fmla="*/ 2147483646 h 52"/>
                    <a:gd name="T16" fmla="*/ 2147483646 w 113"/>
                    <a:gd name="T17" fmla="*/ 2147483646 h 52"/>
                    <a:gd name="T18" fmla="*/ 2147483646 w 113"/>
                    <a:gd name="T19" fmla="*/ 2147483646 h 52"/>
                    <a:gd name="T20" fmla="*/ 2147483646 w 113"/>
                    <a:gd name="T21" fmla="*/ 2147483646 h 52"/>
                    <a:gd name="T22" fmla="*/ 2147483646 w 113"/>
                    <a:gd name="T23" fmla="*/ 2147483646 h 52"/>
                    <a:gd name="T24" fmla="*/ 2147483646 w 113"/>
                    <a:gd name="T25" fmla="*/ 2147483646 h 52"/>
                    <a:gd name="T26" fmla="*/ 2147483646 w 113"/>
                    <a:gd name="T27" fmla="*/ 2147483646 h 52"/>
                    <a:gd name="T28" fmla="*/ 2147483646 w 113"/>
                    <a:gd name="T29" fmla="*/ 2147483646 h 52"/>
                    <a:gd name="T30" fmla="*/ 2147483646 w 113"/>
                    <a:gd name="T31" fmla="*/ 2147483646 h 52"/>
                    <a:gd name="T32" fmla="*/ 2147483646 w 113"/>
                    <a:gd name="T33" fmla="*/ 2147483646 h 52"/>
                    <a:gd name="T34" fmla="*/ 2147483646 w 113"/>
                    <a:gd name="T35" fmla="*/ 2147483646 h 52"/>
                    <a:gd name="T36" fmla="*/ 0 w 113"/>
                    <a:gd name="T37" fmla="*/ 2147483646 h 52"/>
                    <a:gd name="T38" fmla="*/ 2147483646 w 113"/>
                    <a:gd name="T39" fmla="*/ 2147483646 h 52"/>
                    <a:gd name="T40" fmla="*/ 2147483646 w 113"/>
                    <a:gd name="T41" fmla="*/ 2147483646 h 52"/>
                    <a:gd name="T42" fmla="*/ 2147483646 w 113"/>
                    <a:gd name="T43" fmla="*/ 2147483646 h 52"/>
                    <a:gd name="T44" fmla="*/ 2147483646 w 113"/>
                    <a:gd name="T45" fmla="*/ 2147483646 h 52"/>
                    <a:gd name="T46" fmla="*/ 2147483646 w 113"/>
                    <a:gd name="T47" fmla="*/ 2147483646 h 52"/>
                    <a:gd name="T48" fmla="*/ 2147483646 w 113"/>
                    <a:gd name="T49" fmla="*/ 2147483646 h 52"/>
                    <a:gd name="T50" fmla="*/ 2147483646 w 113"/>
                    <a:gd name="T51" fmla="*/ 2147483646 h 52"/>
                    <a:gd name="T52" fmla="*/ 2147483646 w 113"/>
                    <a:gd name="T53" fmla="*/ 0 h 52"/>
                    <a:gd name="T54" fmla="*/ 2147483646 w 113"/>
                    <a:gd name="T55" fmla="*/ 0 h 52"/>
                    <a:gd name="T56" fmla="*/ 2147483646 w 113"/>
                    <a:gd name="T57" fmla="*/ 2147483646 h 52"/>
                    <a:gd name="T58" fmla="*/ 2147483646 w 113"/>
                    <a:gd name="T59" fmla="*/ 2147483646 h 52"/>
                    <a:gd name="T60" fmla="*/ 2147483646 w 113"/>
                    <a:gd name="T61" fmla="*/ 2147483646 h 52"/>
                    <a:gd name="T62" fmla="*/ 2147483646 w 113"/>
                    <a:gd name="T63" fmla="*/ 2147483646 h 52"/>
                    <a:gd name="T64" fmla="*/ 2147483646 w 113"/>
                    <a:gd name="T65" fmla="*/ 2147483646 h 52"/>
                    <a:gd name="T66" fmla="*/ 2147483646 w 113"/>
                    <a:gd name="T67" fmla="*/ 2147483646 h 52"/>
                    <a:gd name="T68" fmla="*/ 2147483646 w 113"/>
                    <a:gd name="T69" fmla="*/ 2147483646 h 52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13"/>
                    <a:gd name="T106" fmla="*/ 0 h 52"/>
                    <a:gd name="T107" fmla="*/ 113 w 113"/>
                    <a:gd name="T108" fmla="*/ 52 h 52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13" h="52">
                      <a:moveTo>
                        <a:pt x="113" y="39"/>
                      </a:moveTo>
                      <a:lnTo>
                        <a:pt x="112" y="42"/>
                      </a:lnTo>
                      <a:lnTo>
                        <a:pt x="109" y="45"/>
                      </a:lnTo>
                      <a:lnTo>
                        <a:pt x="106" y="47"/>
                      </a:lnTo>
                      <a:lnTo>
                        <a:pt x="103" y="49"/>
                      </a:lnTo>
                      <a:lnTo>
                        <a:pt x="94" y="51"/>
                      </a:lnTo>
                      <a:lnTo>
                        <a:pt x="85" y="52"/>
                      </a:lnTo>
                      <a:lnTo>
                        <a:pt x="66" y="52"/>
                      </a:lnTo>
                      <a:lnTo>
                        <a:pt x="53" y="51"/>
                      </a:lnTo>
                      <a:lnTo>
                        <a:pt x="47" y="51"/>
                      </a:lnTo>
                      <a:lnTo>
                        <a:pt x="39" y="48"/>
                      </a:lnTo>
                      <a:lnTo>
                        <a:pt x="30" y="45"/>
                      </a:lnTo>
                      <a:lnTo>
                        <a:pt x="21" y="41"/>
                      </a:lnTo>
                      <a:lnTo>
                        <a:pt x="13" y="36"/>
                      </a:lnTo>
                      <a:lnTo>
                        <a:pt x="6" y="31"/>
                      </a:lnTo>
                      <a:lnTo>
                        <a:pt x="4" y="28"/>
                      </a:lnTo>
                      <a:lnTo>
                        <a:pt x="2" y="25"/>
                      </a:lnTo>
                      <a:lnTo>
                        <a:pt x="1" y="22"/>
                      </a:lnTo>
                      <a:lnTo>
                        <a:pt x="0" y="20"/>
                      </a:lnTo>
                      <a:lnTo>
                        <a:pt x="1" y="15"/>
                      </a:lnTo>
                      <a:lnTo>
                        <a:pt x="1" y="11"/>
                      </a:lnTo>
                      <a:lnTo>
                        <a:pt x="3" y="8"/>
                      </a:lnTo>
                      <a:lnTo>
                        <a:pt x="5" y="5"/>
                      </a:lnTo>
                      <a:lnTo>
                        <a:pt x="7" y="3"/>
                      </a:lnTo>
                      <a:lnTo>
                        <a:pt x="10" y="2"/>
                      </a:lnTo>
                      <a:lnTo>
                        <a:pt x="14" y="1"/>
                      </a:lnTo>
                      <a:lnTo>
                        <a:pt x="17" y="0"/>
                      </a:lnTo>
                      <a:lnTo>
                        <a:pt x="26" y="0"/>
                      </a:lnTo>
                      <a:lnTo>
                        <a:pt x="36" y="2"/>
                      </a:lnTo>
                      <a:lnTo>
                        <a:pt x="46" y="5"/>
                      </a:lnTo>
                      <a:lnTo>
                        <a:pt x="57" y="9"/>
                      </a:lnTo>
                      <a:lnTo>
                        <a:pt x="77" y="18"/>
                      </a:lnTo>
                      <a:lnTo>
                        <a:pt x="95" y="29"/>
                      </a:lnTo>
                      <a:lnTo>
                        <a:pt x="108" y="36"/>
                      </a:lnTo>
                      <a:lnTo>
                        <a:pt x="113" y="3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90" name="Freeform 499">
                  <a:extLst>
                    <a:ext uri="{FF2B5EF4-FFF2-40B4-BE49-F238E27FC236}">
                      <a16:creationId xmlns:a16="http://schemas.microsoft.com/office/drawing/2014/main" xmlns="" id="{3589B65D-4AAD-4D8B-8ECE-FA9AD84D0F00}"/>
                    </a:ext>
                  </a:extLst>
                </p:cNvPr>
                <p:cNvSpPr>
                  <a:spLocks/>
                </p:cNvSpPr>
                <p:nvPr>
                  <p:custDataLst>
                    <p:tags r:id="rId337"/>
                  </p:custDataLst>
                </p:nvPr>
              </p:nvSpPr>
              <p:spPr bwMode="auto">
                <a:xfrm>
                  <a:off x="6103938" y="1392238"/>
                  <a:ext cx="61912" cy="58737"/>
                </a:xfrm>
                <a:custGeom>
                  <a:avLst/>
                  <a:gdLst>
                    <a:gd name="T0" fmla="*/ 0 w 139"/>
                    <a:gd name="T1" fmla="*/ 2147483646 h 40"/>
                    <a:gd name="T2" fmla="*/ 2147483646 w 139"/>
                    <a:gd name="T3" fmla="*/ 2147483646 h 40"/>
                    <a:gd name="T4" fmla="*/ 2147483646 w 139"/>
                    <a:gd name="T5" fmla="*/ 2147483646 h 40"/>
                    <a:gd name="T6" fmla="*/ 2147483646 w 139"/>
                    <a:gd name="T7" fmla="*/ 2147483646 h 40"/>
                    <a:gd name="T8" fmla="*/ 2147483646 w 139"/>
                    <a:gd name="T9" fmla="*/ 2147483646 h 40"/>
                    <a:gd name="T10" fmla="*/ 2147483646 w 139"/>
                    <a:gd name="T11" fmla="*/ 2147483646 h 40"/>
                    <a:gd name="T12" fmla="*/ 2147483646 w 139"/>
                    <a:gd name="T13" fmla="*/ 2147483646 h 40"/>
                    <a:gd name="T14" fmla="*/ 2147483646 w 139"/>
                    <a:gd name="T15" fmla="*/ 0 h 40"/>
                    <a:gd name="T16" fmla="*/ 2147483646 w 139"/>
                    <a:gd name="T17" fmla="*/ 2147483646 h 40"/>
                    <a:gd name="T18" fmla="*/ 2147483646 w 139"/>
                    <a:gd name="T19" fmla="*/ 2147483646 h 40"/>
                    <a:gd name="T20" fmla="*/ 2147483646 w 139"/>
                    <a:gd name="T21" fmla="*/ 2147483646 h 40"/>
                    <a:gd name="T22" fmla="*/ 2147483646 w 139"/>
                    <a:gd name="T23" fmla="*/ 2147483646 h 40"/>
                    <a:gd name="T24" fmla="*/ 2147483646 w 139"/>
                    <a:gd name="T25" fmla="*/ 2147483646 h 40"/>
                    <a:gd name="T26" fmla="*/ 2147483646 w 139"/>
                    <a:gd name="T27" fmla="*/ 2147483646 h 40"/>
                    <a:gd name="T28" fmla="*/ 2147483646 w 139"/>
                    <a:gd name="T29" fmla="*/ 2147483646 h 40"/>
                    <a:gd name="T30" fmla="*/ 2147483646 w 139"/>
                    <a:gd name="T31" fmla="*/ 2147483646 h 40"/>
                    <a:gd name="T32" fmla="*/ 2147483646 w 139"/>
                    <a:gd name="T33" fmla="*/ 2147483646 h 40"/>
                    <a:gd name="T34" fmla="*/ 2147483646 w 139"/>
                    <a:gd name="T35" fmla="*/ 2147483646 h 40"/>
                    <a:gd name="T36" fmla="*/ 2147483646 w 139"/>
                    <a:gd name="T37" fmla="*/ 2147483646 h 40"/>
                    <a:gd name="T38" fmla="*/ 2147483646 w 139"/>
                    <a:gd name="T39" fmla="*/ 2147483646 h 40"/>
                    <a:gd name="T40" fmla="*/ 2147483646 w 139"/>
                    <a:gd name="T41" fmla="*/ 2147483646 h 40"/>
                    <a:gd name="T42" fmla="*/ 0 w 139"/>
                    <a:gd name="T43" fmla="*/ 2147483646 h 4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39"/>
                    <a:gd name="T67" fmla="*/ 0 h 40"/>
                    <a:gd name="T68" fmla="*/ 139 w 139"/>
                    <a:gd name="T69" fmla="*/ 40 h 4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39" h="40">
                      <a:moveTo>
                        <a:pt x="0" y="8"/>
                      </a:moveTo>
                      <a:lnTo>
                        <a:pt x="8" y="9"/>
                      </a:lnTo>
                      <a:lnTo>
                        <a:pt x="19" y="8"/>
                      </a:lnTo>
                      <a:lnTo>
                        <a:pt x="30" y="7"/>
                      </a:lnTo>
                      <a:lnTo>
                        <a:pt x="42" y="5"/>
                      </a:lnTo>
                      <a:lnTo>
                        <a:pt x="53" y="2"/>
                      </a:lnTo>
                      <a:lnTo>
                        <a:pt x="64" y="1"/>
                      </a:lnTo>
                      <a:lnTo>
                        <a:pt x="73" y="0"/>
                      </a:lnTo>
                      <a:lnTo>
                        <a:pt x="80" y="2"/>
                      </a:lnTo>
                      <a:lnTo>
                        <a:pt x="139" y="39"/>
                      </a:lnTo>
                      <a:lnTo>
                        <a:pt x="133" y="40"/>
                      </a:lnTo>
                      <a:lnTo>
                        <a:pt x="125" y="39"/>
                      </a:lnTo>
                      <a:lnTo>
                        <a:pt x="116" y="38"/>
                      </a:lnTo>
                      <a:lnTo>
                        <a:pt x="106" y="36"/>
                      </a:lnTo>
                      <a:lnTo>
                        <a:pt x="86" y="30"/>
                      </a:lnTo>
                      <a:lnTo>
                        <a:pt x="64" y="24"/>
                      </a:lnTo>
                      <a:lnTo>
                        <a:pt x="44" y="16"/>
                      </a:lnTo>
                      <a:lnTo>
                        <a:pt x="26" y="11"/>
                      </a:lnTo>
                      <a:lnTo>
                        <a:pt x="17" y="9"/>
                      </a:lnTo>
                      <a:lnTo>
                        <a:pt x="11" y="7"/>
                      </a:lnTo>
                      <a:lnTo>
                        <a:pt x="4" y="7"/>
                      </a:lnTo>
                      <a:lnTo>
                        <a:pt x="0" y="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91" name="Freeform 500">
                  <a:extLst>
                    <a:ext uri="{FF2B5EF4-FFF2-40B4-BE49-F238E27FC236}">
                      <a16:creationId xmlns:a16="http://schemas.microsoft.com/office/drawing/2014/main" xmlns="" id="{72946E62-7AE5-4FA2-9A11-C854190691D7}"/>
                    </a:ext>
                  </a:extLst>
                </p:cNvPr>
                <p:cNvSpPr>
                  <a:spLocks/>
                </p:cNvSpPr>
                <p:nvPr>
                  <p:custDataLst>
                    <p:tags r:id="rId338"/>
                  </p:custDataLst>
                </p:nvPr>
              </p:nvSpPr>
              <p:spPr bwMode="auto">
                <a:xfrm>
                  <a:off x="6403975" y="1333500"/>
                  <a:ext cx="139700" cy="57150"/>
                </a:xfrm>
                <a:custGeom>
                  <a:avLst/>
                  <a:gdLst>
                    <a:gd name="T0" fmla="*/ 2147483646 w 325"/>
                    <a:gd name="T1" fmla="*/ 2147483646 h 71"/>
                    <a:gd name="T2" fmla="*/ 2147483646 w 325"/>
                    <a:gd name="T3" fmla="*/ 2147483646 h 71"/>
                    <a:gd name="T4" fmla="*/ 2147483646 w 325"/>
                    <a:gd name="T5" fmla="*/ 0 h 71"/>
                    <a:gd name="T6" fmla="*/ 2147483646 w 325"/>
                    <a:gd name="T7" fmla="*/ 2147483646 h 71"/>
                    <a:gd name="T8" fmla="*/ 2147483646 w 325"/>
                    <a:gd name="T9" fmla="*/ 2147483646 h 71"/>
                    <a:gd name="T10" fmla="*/ 2147483646 w 325"/>
                    <a:gd name="T11" fmla="*/ 2147483646 h 71"/>
                    <a:gd name="T12" fmla="*/ 2147483646 w 325"/>
                    <a:gd name="T13" fmla="*/ 2147483646 h 71"/>
                    <a:gd name="T14" fmla="*/ 2147483646 w 325"/>
                    <a:gd name="T15" fmla="*/ 2147483646 h 71"/>
                    <a:gd name="T16" fmla="*/ 2147483646 w 325"/>
                    <a:gd name="T17" fmla="*/ 2147483646 h 71"/>
                    <a:gd name="T18" fmla="*/ 2147483646 w 325"/>
                    <a:gd name="T19" fmla="*/ 2147483646 h 71"/>
                    <a:gd name="T20" fmla="*/ 2147483646 w 325"/>
                    <a:gd name="T21" fmla="*/ 2147483646 h 71"/>
                    <a:gd name="T22" fmla="*/ 2147483646 w 325"/>
                    <a:gd name="T23" fmla="*/ 2147483646 h 71"/>
                    <a:gd name="T24" fmla="*/ 2147483646 w 325"/>
                    <a:gd name="T25" fmla="*/ 2147483646 h 71"/>
                    <a:gd name="T26" fmla="*/ 2147483646 w 325"/>
                    <a:gd name="T27" fmla="*/ 2147483646 h 71"/>
                    <a:gd name="T28" fmla="*/ 2147483646 w 325"/>
                    <a:gd name="T29" fmla="*/ 2147483646 h 71"/>
                    <a:gd name="T30" fmla="*/ 2147483646 w 325"/>
                    <a:gd name="T31" fmla="*/ 2147483646 h 71"/>
                    <a:gd name="T32" fmla="*/ 2147483646 w 325"/>
                    <a:gd name="T33" fmla="*/ 2147483646 h 71"/>
                    <a:gd name="T34" fmla="*/ 2147483646 w 325"/>
                    <a:gd name="T35" fmla="*/ 2147483646 h 71"/>
                    <a:gd name="T36" fmla="*/ 2147483646 w 325"/>
                    <a:gd name="T37" fmla="*/ 2147483646 h 71"/>
                    <a:gd name="T38" fmla="*/ 2147483646 w 325"/>
                    <a:gd name="T39" fmla="*/ 2147483646 h 71"/>
                    <a:gd name="T40" fmla="*/ 2147483646 w 325"/>
                    <a:gd name="T41" fmla="*/ 2147483646 h 71"/>
                    <a:gd name="T42" fmla="*/ 2147483646 w 325"/>
                    <a:gd name="T43" fmla="*/ 2147483646 h 71"/>
                    <a:gd name="T44" fmla="*/ 2147483646 w 325"/>
                    <a:gd name="T45" fmla="*/ 2147483646 h 71"/>
                    <a:gd name="T46" fmla="*/ 2147483646 w 325"/>
                    <a:gd name="T47" fmla="*/ 2147483646 h 71"/>
                    <a:gd name="T48" fmla="*/ 2147483646 w 325"/>
                    <a:gd name="T49" fmla="*/ 2147483646 h 71"/>
                    <a:gd name="T50" fmla="*/ 2147483646 w 325"/>
                    <a:gd name="T51" fmla="*/ 2147483646 h 71"/>
                    <a:gd name="T52" fmla="*/ 2147483646 w 325"/>
                    <a:gd name="T53" fmla="*/ 2147483646 h 71"/>
                    <a:gd name="T54" fmla="*/ 2147483646 w 325"/>
                    <a:gd name="T55" fmla="*/ 2147483646 h 71"/>
                    <a:gd name="T56" fmla="*/ 2147483646 w 325"/>
                    <a:gd name="T57" fmla="*/ 2147483646 h 71"/>
                    <a:gd name="T58" fmla="*/ 2147483646 w 325"/>
                    <a:gd name="T59" fmla="*/ 2147483646 h 71"/>
                    <a:gd name="T60" fmla="*/ 2147483646 w 325"/>
                    <a:gd name="T61" fmla="*/ 2147483646 h 71"/>
                    <a:gd name="T62" fmla="*/ 0 w 325"/>
                    <a:gd name="T63" fmla="*/ 2147483646 h 7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25"/>
                    <a:gd name="T97" fmla="*/ 0 h 71"/>
                    <a:gd name="T98" fmla="*/ 325 w 325"/>
                    <a:gd name="T99" fmla="*/ 71 h 7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25" h="71">
                      <a:moveTo>
                        <a:pt x="0" y="12"/>
                      </a:moveTo>
                      <a:lnTo>
                        <a:pt x="10" y="7"/>
                      </a:lnTo>
                      <a:lnTo>
                        <a:pt x="20" y="3"/>
                      </a:lnTo>
                      <a:lnTo>
                        <a:pt x="31" y="1"/>
                      </a:lnTo>
                      <a:lnTo>
                        <a:pt x="42" y="0"/>
                      </a:lnTo>
                      <a:lnTo>
                        <a:pt x="53" y="0"/>
                      </a:lnTo>
                      <a:lnTo>
                        <a:pt x="62" y="2"/>
                      </a:lnTo>
                      <a:lnTo>
                        <a:pt x="73" y="4"/>
                      </a:lnTo>
                      <a:lnTo>
                        <a:pt x="83" y="6"/>
                      </a:lnTo>
                      <a:lnTo>
                        <a:pt x="92" y="10"/>
                      </a:lnTo>
                      <a:lnTo>
                        <a:pt x="101" y="14"/>
                      </a:lnTo>
                      <a:lnTo>
                        <a:pt x="110" y="18"/>
                      </a:lnTo>
                      <a:lnTo>
                        <a:pt x="116" y="23"/>
                      </a:lnTo>
                      <a:lnTo>
                        <a:pt x="122" y="29"/>
                      </a:lnTo>
                      <a:lnTo>
                        <a:pt x="127" y="33"/>
                      </a:lnTo>
                      <a:lnTo>
                        <a:pt x="130" y="38"/>
                      </a:lnTo>
                      <a:lnTo>
                        <a:pt x="133" y="43"/>
                      </a:lnTo>
                      <a:lnTo>
                        <a:pt x="136" y="34"/>
                      </a:lnTo>
                      <a:lnTo>
                        <a:pt x="138" y="25"/>
                      </a:lnTo>
                      <a:lnTo>
                        <a:pt x="139" y="15"/>
                      </a:lnTo>
                      <a:lnTo>
                        <a:pt x="139" y="6"/>
                      </a:lnTo>
                      <a:lnTo>
                        <a:pt x="161" y="7"/>
                      </a:lnTo>
                      <a:lnTo>
                        <a:pt x="188" y="9"/>
                      </a:lnTo>
                      <a:lnTo>
                        <a:pt x="216" y="13"/>
                      </a:lnTo>
                      <a:lnTo>
                        <a:pt x="245" y="19"/>
                      </a:lnTo>
                      <a:lnTo>
                        <a:pt x="258" y="23"/>
                      </a:lnTo>
                      <a:lnTo>
                        <a:pt x="271" y="28"/>
                      </a:lnTo>
                      <a:lnTo>
                        <a:pt x="283" y="32"/>
                      </a:lnTo>
                      <a:lnTo>
                        <a:pt x="295" y="37"/>
                      </a:lnTo>
                      <a:lnTo>
                        <a:pt x="305" y="43"/>
                      </a:lnTo>
                      <a:lnTo>
                        <a:pt x="314" y="48"/>
                      </a:lnTo>
                      <a:lnTo>
                        <a:pt x="320" y="55"/>
                      </a:lnTo>
                      <a:lnTo>
                        <a:pt x="325" y="61"/>
                      </a:lnTo>
                      <a:lnTo>
                        <a:pt x="316" y="64"/>
                      </a:lnTo>
                      <a:lnTo>
                        <a:pt x="305" y="67"/>
                      </a:lnTo>
                      <a:lnTo>
                        <a:pt x="294" y="68"/>
                      </a:lnTo>
                      <a:lnTo>
                        <a:pt x="283" y="70"/>
                      </a:lnTo>
                      <a:lnTo>
                        <a:pt x="259" y="71"/>
                      </a:lnTo>
                      <a:lnTo>
                        <a:pt x="234" y="71"/>
                      </a:lnTo>
                      <a:lnTo>
                        <a:pt x="210" y="70"/>
                      </a:lnTo>
                      <a:lnTo>
                        <a:pt x="186" y="69"/>
                      </a:lnTo>
                      <a:lnTo>
                        <a:pt x="167" y="68"/>
                      </a:lnTo>
                      <a:lnTo>
                        <a:pt x="152" y="67"/>
                      </a:lnTo>
                      <a:lnTo>
                        <a:pt x="133" y="69"/>
                      </a:lnTo>
                      <a:lnTo>
                        <a:pt x="104" y="71"/>
                      </a:lnTo>
                      <a:lnTo>
                        <a:pt x="90" y="71"/>
                      </a:lnTo>
                      <a:lnTo>
                        <a:pt x="78" y="70"/>
                      </a:lnTo>
                      <a:lnTo>
                        <a:pt x="72" y="68"/>
                      </a:lnTo>
                      <a:lnTo>
                        <a:pt x="69" y="67"/>
                      </a:lnTo>
                      <a:lnTo>
                        <a:pt x="67" y="64"/>
                      </a:lnTo>
                      <a:lnTo>
                        <a:pt x="66" y="61"/>
                      </a:lnTo>
                      <a:lnTo>
                        <a:pt x="58" y="61"/>
                      </a:lnTo>
                      <a:lnTo>
                        <a:pt x="51" y="60"/>
                      </a:lnTo>
                      <a:lnTo>
                        <a:pt x="46" y="59"/>
                      </a:lnTo>
                      <a:lnTo>
                        <a:pt x="42" y="57"/>
                      </a:lnTo>
                      <a:lnTo>
                        <a:pt x="35" y="53"/>
                      </a:lnTo>
                      <a:lnTo>
                        <a:pt x="31" y="49"/>
                      </a:lnTo>
                      <a:lnTo>
                        <a:pt x="25" y="45"/>
                      </a:lnTo>
                      <a:lnTo>
                        <a:pt x="20" y="41"/>
                      </a:lnTo>
                      <a:lnTo>
                        <a:pt x="16" y="39"/>
                      </a:lnTo>
                      <a:lnTo>
                        <a:pt x="12" y="38"/>
                      </a:lnTo>
                      <a:lnTo>
                        <a:pt x="6" y="37"/>
                      </a:lnTo>
                      <a:lnTo>
                        <a:pt x="0" y="37"/>
                      </a:lnTo>
                      <a:lnTo>
                        <a:pt x="0" y="22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92" name="Freeform 501">
                  <a:extLst>
                    <a:ext uri="{FF2B5EF4-FFF2-40B4-BE49-F238E27FC236}">
                      <a16:creationId xmlns:a16="http://schemas.microsoft.com/office/drawing/2014/main" xmlns="" id="{14B6E317-F0AA-4C11-B95B-632EBE28C216}"/>
                    </a:ext>
                  </a:extLst>
                </p:cNvPr>
                <p:cNvSpPr>
                  <a:spLocks/>
                </p:cNvSpPr>
                <p:nvPr>
                  <p:custDataLst>
                    <p:tags r:id="rId339"/>
                  </p:custDataLst>
                </p:nvPr>
              </p:nvSpPr>
              <p:spPr bwMode="auto">
                <a:xfrm>
                  <a:off x="6564313" y="1341438"/>
                  <a:ext cx="95250" cy="57150"/>
                </a:xfrm>
                <a:custGeom>
                  <a:avLst/>
                  <a:gdLst>
                    <a:gd name="T0" fmla="*/ 2147483646 w 220"/>
                    <a:gd name="T1" fmla="*/ 2147483646 h 72"/>
                    <a:gd name="T2" fmla="*/ 2147483646 w 220"/>
                    <a:gd name="T3" fmla="*/ 2147483646 h 72"/>
                    <a:gd name="T4" fmla="*/ 2147483646 w 220"/>
                    <a:gd name="T5" fmla="*/ 2147483646 h 72"/>
                    <a:gd name="T6" fmla="*/ 2147483646 w 220"/>
                    <a:gd name="T7" fmla="*/ 2147483646 h 72"/>
                    <a:gd name="T8" fmla="*/ 2147483646 w 220"/>
                    <a:gd name="T9" fmla="*/ 2147483646 h 72"/>
                    <a:gd name="T10" fmla="*/ 2147483646 w 220"/>
                    <a:gd name="T11" fmla="*/ 2147483646 h 72"/>
                    <a:gd name="T12" fmla="*/ 2147483646 w 220"/>
                    <a:gd name="T13" fmla="*/ 2147483646 h 72"/>
                    <a:gd name="T14" fmla="*/ 2147483646 w 220"/>
                    <a:gd name="T15" fmla="*/ 2147483646 h 72"/>
                    <a:gd name="T16" fmla="*/ 2147483646 w 220"/>
                    <a:gd name="T17" fmla="*/ 2147483646 h 72"/>
                    <a:gd name="T18" fmla="*/ 2147483646 w 220"/>
                    <a:gd name="T19" fmla="*/ 2147483646 h 72"/>
                    <a:gd name="T20" fmla="*/ 2147483646 w 220"/>
                    <a:gd name="T21" fmla="*/ 2147483646 h 72"/>
                    <a:gd name="T22" fmla="*/ 2147483646 w 220"/>
                    <a:gd name="T23" fmla="*/ 2147483646 h 72"/>
                    <a:gd name="T24" fmla="*/ 2147483646 w 220"/>
                    <a:gd name="T25" fmla="*/ 2147483646 h 72"/>
                    <a:gd name="T26" fmla="*/ 2147483646 w 220"/>
                    <a:gd name="T27" fmla="*/ 2147483646 h 72"/>
                    <a:gd name="T28" fmla="*/ 2147483646 w 220"/>
                    <a:gd name="T29" fmla="*/ 0 h 72"/>
                    <a:gd name="T30" fmla="*/ 2147483646 w 220"/>
                    <a:gd name="T31" fmla="*/ 2147483646 h 72"/>
                    <a:gd name="T32" fmla="*/ 2147483646 w 220"/>
                    <a:gd name="T33" fmla="*/ 2147483646 h 72"/>
                    <a:gd name="T34" fmla="*/ 2147483646 w 220"/>
                    <a:gd name="T35" fmla="*/ 2147483646 h 72"/>
                    <a:gd name="T36" fmla="*/ 2147483646 w 220"/>
                    <a:gd name="T37" fmla="*/ 2147483646 h 72"/>
                    <a:gd name="T38" fmla="*/ 2147483646 w 220"/>
                    <a:gd name="T39" fmla="*/ 2147483646 h 72"/>
                    <a:gd name="T40" fmla="*/ 2147483646 w 220"/>
                    <a:gd name="T41" fmla="*/ 2147483646 h 72"/>
                    <a:gd name="T42" fmla="*/ 2147483646 w 220"/>
                    <a:gd name="T43" fmla="*/ 2147483646 h 72"/>
                    <a:gd name="T44" fmla="*/ 2147483646 w 220"/>
                    <a:gd name="T45" fmla="*/ 2147483646 h 72"/>
                    <a:gd name="T46" fmla="*/ 2147483646 w 220"/>
                    <a:gd name="T47" fmla="*/ 2147483646 h 72"/>
                    <a:gd name="T48" fmla="*/ 2147483646 w 220"/>
                    <a:gd name="T49" fmla="*/ 2147483646 h 72"/>
                    <a:gd name="T50" fmla="*/ 2147483646 w 220"/>
                    <a:gd name="T51" fmla="*/ 2147483646 h 72"/>
                    <a:gd name="T52" fmla="*/ 2147483646 w 220"/>
                    <a:gd name="T53" fmla="*/ 2147483646 h 72"/>
                    <a:gd name="T54" fmla="*/ 2147483646 w 220"/>
                    <a:gd name="T55" fmla="*/ 2147483646 h 72"/>
                    <a:gd name="T56" fmla="*/ 2147483646 w 220"/>
                    <a:gd name="T57" fmla="*/ 2147483646 h 72"/>
                    <a:gd name="T58" fmla="*/ 2147483646 w 220"/>
                    <a:gd name="T59" fmla="*/ 2147483646 h 72"/>
                    <a:gd name="T60" fmla="*/ 2147483646 w 220"/>
                    <a:gd name="T61" fmla="*/ 2147483646 h 72"/>
                    <a:gd name="T62" fmla="*/ 2147483646 w 220"/>
                    <a:gd name="T63" fmla="*/ 2147483646 h 72"/>
                    <a:gd name="T64" fmla="*/ 2147483646 w 220"/>
                    <a:gd name="T65" fmla="*/ 2147483646 h 72"/>
                    <a:gd name="T66" fmla="*/ 2147483646 w 220"/>
                    <a:gd name="T67" fmla="*/ 2147483646 h 72"/>
                    <a:gd name="T68" fmla="*/ 2147483646 w 220"/>
                    <a:gd name="T69" fmla="*/ 2147483646 h 72"/>
                    <a:gd name="T70" fmla="*/ 2147483646 w 220"/>
                    <a:gd name="T71" fmla="*/ 2147483646 h 72"/>
                    <a:gd name="T72" fmla="*/ 2147483646 w 220"/>
                    <a:gd name="T73" fmla="*/ 2147483646 h 72"/>
                    <a:gd name="T74" fmla="*/ 2147483646 w 220"/>
                    <a:gd name="T75" fmla="*/ 2147483646 h 72"/>
                    <a:gd name="T76" fmla="*/ 2147483646 w 220"/>
                    <a:gd name="T77" fmla="*/ 2147483646 h 72"/>
                    <a:gd name="T78" fmla="*/ 2147483646 w 220"/>
                    <a:gd name="T79" fmla="*/ 2147483646 h 72"/>
                    <a:gd name="T80" fmla="*/ 2147483646 w 220"/>
                    <a:gd name="T81" fmla="*/ 2147483646 h 72"/>
                    <a:gd name="T82" fmla="*/ 2147483646 w 220"/>
                    <a:gd name="T83" fmla="*/ 2147483646 h 72"/>
                    <a:gd name="T84" fmla="*/ 2147483646 w 220"/>
                    <a:gd name="T85" fmla="*/ 2147483646 h 72"/>
                    <a:gd name="T86" fmla="*/ 2147483646 w 220"/>
                    <a:gd name="T87" fmla="*/ 2147483646 h 72"/>
                    <a:gd name="T88" fmla="*/ 2147483646 w 220"/>
                    <a:gd name="T89" fmla="*/ 2147483646 h 72"/>
                    <a:gd name="T90" fmla="*/ 2147483646 w 220"/>
                    <a:gd name="T91" fmla="*/ 2147483646 h 72"/>
                    <a:gd name="T92" fmla="*/ 2147483646 w 220"/>
                    <a:gd name="T93" fmla="*/ 2147483646 h 72"/>
                    <a:gd name="T94" fmla="*/ 2147483646 w 220"/>
                    <a:gd name="T95" fmla="*/ 2147483646 h 72"/>
                    <a:gd name="T96" fmla="*/ 2147483646 w 220"/>
                    <a:gd name="T97" fmla="*/ 2147483646 h 72"/>
                    <a:gd name="T98" fmla="*/ 2147483646 w 220"/>
                    <a:gd name="T99" fmla="*/ 2147483646 h 72"/>
                    <a:gd name="T100" fmla="*/ 2147483646 w 220"/>
                    <a:gd name="T101" fmla="*/ 2147483646 h 72"/>
                    <a:gd name="T102" fmla="*/ 2147483646 w 220"/>
                    <a:gd name="T103" fmla="*/ 2147483646 h 72"/>
                    <a:gd name="T104" fmla="*/ 0 w 220"/>
                    <a:gd name="T105" fmla="*/ 2147483646 h 72"/>
                    <a:gd name="T106" fmla="*/ 2147483646 w 220"/>
                    <a:gd name="T107" fmla="*/ 2147483646 h 72"/>
                    <a:gd name="T108" fmla="*/ 2147483646 w 220"/>
                    <a:gd name="T109" fmla="*/ 2147483646 h 72"/>
                    <a:gd name="T110" fmla="*/ 2147483646 w 220"/>
                    <a:gd name="T111" fmla="*/ 2147483646 h 72"/>
                    <a:gd name="T112" fmla="*/ 2147483646 w 220"/>
                    <a:gd name="T113" fmla="*/ 2147483646 h 72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20"/>
                    <a:gd name="T172" fmla="*/ 0 h 72"/>
                    <a:gd name="T173" fmla="*/ 220 w 220"/>
                    <a:gd name="T174" fmla="*/ 72 h 72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20" h="72">
                      <a:moveTo>
                        <a:pt x="87" y="25"/>
                      </a:moveTo>
                      <a:lnTo>
                        <a:pt x="92" y="26"/>
                      </a:lnTo>
                      <a:lnTo>
                        <a:pt x="98" y="27"/>
                      </a:lnTo>
                      <a:lnTo>
                        <a:pt x="101" y="28"/>
                      </a:lnTo>
                      <a:lnTo>
                        <a:pt x="104" y="27"/>
                      </a:lnTo>
                      <a:lnTo>
                        <a:pt x="109" y="27"/>
                      </a:lnTo>
                      <a:lnTo>
                        <a:pt x="113" y="25"/>
                      </a:lnTo>
                      <a:lnTo>
                        <a:pt x="114" y="26"/>
                      </a:lnTo>
                      <a:lnTo>
                        <a:pt x="115" y="26"/>
                      </a:lnTo>
                      <a:lnTo>
                        <a:pt x="116" y="25"/>
                      </a:lnTo>
                      <a:lnTo>
                        <a:pt x="117" y="25"/>
                      </a:lnTo>
                      <a:lnTo>
                        <a:pt x="119" y="22"/>
                      </a:lnTo>
                      <a:lnTo>
                        <a:pt x="120" y="17"/>
                      </a:lnTo>
                      <a:lnTo>
                        <a:pt x="120" y="7"/>
                      </a:lnTo>
                      <a:lnTo>
                        <a:pt x="120" y="0"/>
                      </a:lnTo>
                      <a:lnTo>
                        <a:pt x="125" y="5"/>
                      </a:lnTo>
                      <a:lnTo>
                        <a:pt x="131" y="10"/>
                      </a:lnTo>
                      <a:lnTo>
                        <a:pt x="137" y="15"/>
                      </a:lnTo>
                      <a:lnTo>
                        <a:pt x="143" y="19"/>
                      </a:lnTo>
                      <a:lnTo>
                        <a:pt x="156" y="25"/>
                      </a:lnTo>
                      <a:lnTo>
                        <a:pt x="170" y="30"/>
                      </a:lnTo>
                      <a:lnTo>
                        <a:pt x="183" y="35"/>
                      </a:lnTo>
                      <a:lnTo>
                        <a:pt x="196" y="41"/>
                      </a:lnTo>
                      <a:lnTo>
                        <a:pt x="203" y="44"/>
                      </a:lnTo>
                      <a:lnTo>
                        <a:pt x="209" y="47"/>
                      </a:lnTo>
                      <a:lnTo>
                        <a:pt x="214" y="51"/>
                      </a:lnTo>
                      <a:lnTo>
                        <a:pt x="220" y="55"/>
                      </a:lnTo>
                      <a:lnTo>
                        <a:pt x="206" y="56"/>
                      </a:lnTo>
                      <a:lnTo>
                        <a:pt x="194" y="57"/>
                      </a:lnTo>
                      <a:lnTo>
                        <a:pt x="182" y="58"/>
                      </a:lnTo>
                      <a:lnTo>
                        <a:pt x="171" y="60"/>
                      </a:lnTo>
                      <a:lnTo>
                        <a:pt x="151" y="65"/>
                      </a:lnTo>
                      <a:lnTo>
                        <a:pt x="134" y="70"/>
                      </a:lnTo>
                      <a:lnTo>
                        <a:pt x="126" y="71"/>
                      </a:lnTo>
                      <a:lnTo>
                        <a:pt x="117" y="72"/>
                      </a:lnTo>
                      <a:lnTo>
                        <a:pt x="110" y="72"/>
                      </a:lnTo>
                      <a:lnTo>
                        <a:pt x="103" y="72"/>
                      </a:lnTo>
                      <a:lnTo>
                        <a:pt x="95" y="70"/>
                      </a:lnTo>
                      <a:lnTo>
                        <a:pt x="88" y="66"/>
                      </a:lnTo>
                      <a:lnTo>
                        <a:pt x="81" y="61"/>
                      </a:lnTo>
                      <a:lnTo>
                        <a:pt x="74" y="55"/>
                      </a:lnTo>
                      <a:lnTo>
                        <a:pt x="59" y="53"/>
                      </a:lnTo>
                      <a:lnTo>
                        <a:pt x="45" y="50"/>
                      </a:lnTo>
                      <a:lnTo>
                        <a:pt x="33" y="47"/>
                      </a:lnTo>
                      <a:lnTo>
                        <a:pt x="22" y="43"/>
                      </a:lnTo>
                      <a:lnTo>
                        <a:pt x="18" y="41"/>
                      </a:lnTo>
                      <a:lnTo>
                        <a:pt x="13" y="38"/>
                      </a:lnTo>
                      <a:lnTo>
                        <a:pt x="9" y="35"/>
                      </a:lnTo>
                      <a:lnTo>
                        <a:pt x="7" y="31"/>
                      </a:lnTo>
                      <a:lnTo>
                        <a:pt x="3" y="27"/>
                      </a:lnTo>
                      <a:lnTo>
                        <a:pt x="2" y="23"/>
                      </a:lnTo>
                      <a:lnTo>
                        <a:pt x="1" y="18"/>
                      </a:lnTo>
                      <a:lnTo>
                        <a:pt x="0" y="13"/>
                      </a:lnTo>
                      <a:lnTo>
                        <a:pt x="23" y="17"/>
                      </a:lnTo>
                      <a:lnTo>
                        <a:pt x="44" y="21"/>
                      </a:lnTo>
                      <a:lnTo>
                        <a:pt x="64" y="24"/>
                      </a:lnTo>
                      <a:lnTo>
                        <a:pt x="87" y="2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93" name="Freeform 502">
                  <a:extLst>
                    <a:ext uri="{FF2B5EF4-FFF2-40B4-BE49-F238E27FC236}">
                      <a16:creationId xmlns:a16="http://schemas.microsoft.com/office/drawing/2014/main" xmlns="" id="{24D39A36-F40B-4083-ADBF-12DEA3AA4E24}"/>
                    </a:ext>
                  </a:extLst>
                </p:cNvPr>
                <p:cNvSpPr>
                  <a:spLocks/>
                </p:cNvSpPr>
                <p:nvPr>
                  <p:custDataLst>
                    <p:tags r:id="rId340"/>
                  </p:custDataLst>
                </p:nvPr>
              </p:nvSpPr>
              <p:spPr bwMode="auto">
                <a:xfrm>
                  <a:off x="6524625" y="1389063"/>
                  <a:ext cx="63500" cy="58737"/>
                </a:xfrm>
                <a:custGeom>
                  <a:avLst/>
                  <a:gdLst>
                    <a:gd name="T0" fmla="*/ 2147483646 w 146"/>
                    <a:gd name="T1" fmla="*/ 2147483646 h 30"/>
                    <a:gd name="T2" fmla="*/ 2147483646 w 146"/>
                    <a:gd name="T3" fmla="*/ 2147483646 h 30"/>
                    <a:gd name="T4" fmla="*/ 2147483646 w 146"/>
                    <a:gd name="T5" fmla="*/ 2147483646 h 30"/>
                    <a:gd name="T6" fmla="*/ 2147483646 w 146"/>
                    <a:gd name="T7" fmla="*/ 2147483646 h 30"/>
                    <a:gd name="T8" fmla="*/ 2147483646 w 146"/>
                    <a:gd name="T9" fmla="*/ 2147483646 h 30"/>
                    <a:gd name="T10" fmla="*/ 2147483646 w 146"/>
                    <a:gd name="T11" fmla="*/ 2147483646 h 30"/>
                    <a:gd name="T12" fmla="*/ 2147483646 w 146"/>
                    <a:gd name="T13" fmla="*/ 2147483646 h 30"/>
                    <a:gd name="T14" fmla="*/ 2147483646 w 146"/>
                    <a:gd name="T15" fmla="*/ 2147483646 h 30"/>
                    <a:gd name="T16" fmla="*/ 2147483646 w 146"/>
                    <a:gd name="T17" fmla="*/ 2147483646 h 30"/>
                    <a:gd name="T18" fmla="*/ 2147483646 w 146"/>
                    <a:gd name="T19" fmla="*/ 2147483646 h 30"/>
                    <a:gd name="T20" fmla="*/ 2147483646 w 146"/>
                    <a:gd name="T21" fmla="*/ 2147483646 h 30"/>
                    <a:gd name="T22" fmla="*/ 2147483646 w 146"/>
                    <a:gd name="T23" fmla="*/ 2147483646 h 30"/>
                    <a:gd name="T24" fmla="*/ 2147483646 w 146"/>
                    <a:gd name="T25" fmla="*/ 2147483646 h 30"/>
                    <a:gd name="T26" fmla="*/ 2147483646 w 146"/>
                    <a:gd name="T27" fmla="*/ 2147483646 h 30"/>
                    <a:gd name="T28" fmla="*/ 2147483646 w 146"/>
                    <a:gd name="T29" fmla="*/ 2147483646 h 30"/>
                    <a:gd name="T30" fmla="*/ 2147483646 w 146"/>
                    <a:gd name="T31" fmla="*/ 2147483646 h 30"/>
                    <a:gd name="T32" fmla="*/ 2147483646 w 146"/>
                    <a:gd name="T33" fmla="*/ 2147483646 h 30"/>
                    <a:gd name="T34" fmla="*/ 2147483646 w 146"/>
                    <a:gd name="T35" fmla="*/ 0 h 30"/>
                    <a:gd name="T36" fmla="*/ 2147483646 w 146"/>
                    <a:gd name="T37" fmla="*/ 2147483646 h 30"/>
                    <a:gd name="T38" fmla="*/ 2147483646 w 146"/>
                    <a:gd name="T39" fmla="*/ 2147483646 h 30"/>
                    <a:gd name="T40" fmla="*/ 2147483646 w 146"/>
                    <a:gd name="T41" fmla="*/ 2147483646 h 30"/>
                    <a:gd name="T42" fmla="*/ 0 w 146"/>
                    <a:gd name="T43" fmla="*/ 2147483646 h 30"/>
                    <a:gd name="T44" fmla="*/ 2147483646 w 146"/>
                    <a:gd name="T45" fmla="*/ 2147483646 h 30"/>
                    <a:gd name="T46" fmla="*/ 2147483646 w 146"/>
                    <a:gd name="T47" fmla="*/ 2147483646 h 30"/>
                    <a:gd name="T48" fmla="*/ 2147483646 w 146"/>
                    <a:gd name="T49" fmla="*/ 2147483646 h 30"/>
                    <a:gd name="T50" fmla="*/ 2147483646 w 146"/>
                    <a:gd name="T51" fmla="*/ 2147483646 h 30"/>
                    <a:gd name="T52" fmla="*/ 2147483646 w 146"/>
                    <a:gd name="T53" fmla="*/ 2147483646 h 30"/>
                    <a:gd name="T54" fmla="*/ 2147483646 w 146"/>
                    <a:gd name="T55" fmla="*/ 2147483646 h 30"/>
                    <a:gd name="T56" fmla="*/ 2147483646 w 146"/>
                    <a:gd name="T57" fmla="*/ 2147483646 h 30"/>
                    <a:gd name="T58" fmla="*/ 2147483646 w 146"/>
                    <a:gd name="T59" fmla="*/ 2147483646 h 30"/>
                    <a:gd name="T60" fmla="*/ 2147483646 w 146"/>
                    <a:gd name="T61" fmla="*/ 2147483646 h 30"/>
                    <a:gd name="T62" fmla="*/ 2147483646 w 146"/>
                    <a:gd name="T63" fmla="*/ 2147483646 h 3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46"/>
                    <a:gd name="T97" fmla="*/ 0 h 30"/>
                    <a:gd name="T98" fmla="*/ 146 w 146"/>
                    <a:gd name="T99" fmla="*/ 30 h 3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46" h="30">
                      <a:moveTo>
                        <a:pt x="146" y="25"/>
                      </a:moveTo>
                      <a:lnTo>
                        <a:pt x="140" y="16"/>
                      </a:lnTo>
                      <a:lnTo>
                        <a:pt x="137" y="9"/>
                      </a:lnTo>
                      <a:lnTo>
                        <a:pt x="133" y="4"/>
                      </a:lnTo>
                      <a:lnTo>
                        <a:pt x="128" y="1"/>
                      </a:lnTo>
                      <a:lnTo>
                        <a:pt x="126" y="1"/>
                      </a:lnTo>
                      <a:lnTo>
                        <a:pt x="124" y="1"/>
                      </a:lnTo>
                      <a:lnTo>
                        <a:pt x="120" y="2"/>
                      </a:lnTo>
                      <a:lnTo>
                        <a:pt x="118" y="3"/>
                      </a:lnTo>
                      <a:lnTo>
                        <a:pt x="113" y="9"/>
                      </a:lnTo>
                      <a:lnTo>
                        <a:pt x="105" y="19"/>
                      </a:lnTo>
                      <a:lnTo>
                        <a:pt x="72" y="19"/>
                      </a:lnTo>
                      <a:lnTo>
                        <a:pt x="63" y="18"/>
                      </a:lnTo>
                      <a:lnTo>
                        <a:pt x="55" y="17"/>
                      </a:lnTo>
                      <a:lnTo>
                        <a:pt x="47" y="14"/>
                      </a:lnTo>
                      <a:lnTo>
                        <a:pt x="40" y="12"/>
                      </a:lnTo>
                      <a:lnTo>
                        <a:pt x="29" y="6"/>
                      </a:lnTo>
                      <a:lnTo>
                        <a:pt x="19" y="0"/>
                      </a:lnTo>
                      <a:lnTo>
                        <a:pt x="14" y="9"/>
                      </a:lnTo>
                      <a:lnTo>
                        <a:pt x="10" y="15"/>
                      </a:lnTo>
                      <a:lnTo>
                        <a:pt x="4" y="20"/>
                      </a:lnTo>
                      <a:lnTo>
                        <a:pt x="0" y="25"/>
                      </a:lnTo>
                      <a:lnTo>
                        <a:pt x="33" y="25"/>
                      </a:lnTo>
                      <a:lnTo>
                        <a:pt x="57" y="25"/>
                      </a:lnTo>
                      <a:lnTo>
                        <a:pt x="77" y="25"/>
                      </a:lnTo>
                      <a:lnTo>
                        <a:pt x="99" y="25"/>
                      </a:lnTo>
                      <a:lnTo>
                        <a:pt x="110" y="26"/>
                      </a:lnTo>
                      <a:lnTo>
                        <a:pt x="123" y="29"/>
                      </a:lnTo>
                      <a:lnTo>
                        <a:pt x="128" y="30"/>
                      </a:lnTo>
                      <a:lnTo>
                        <a:pt x="135" y="30"/>
                      </a:lnTo>
                      <a:lnTo>
                        <a:pt x="140" y="28"/>
                      </a:lnTo>
                      <a:lnTo>
                        <a:pt x="146" y="2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94" name="Freeform 503">
                  <a:extLst>
                    <a:ext uri="{FF2B5EF4-FFF2-40B4-BE49-F238E27FC236}">
                      <a16:creationId xmlns:a16="http://schemas.microsoft.com/office/drawing/2014/main" xmlns="" id="{3AFB2F8D-D740-42C5-A81C-DBCE9AAE6058}"/>
                    </a:ext>
                  </a:extLst>
                </p:cNvPr>
                <p:cNvSpPr>
                  <a:spLocks/>
                </p:cNvSpPr>
                <p:nvPr>
                  <p:custDataLst>
                    <p:tags r:id="rId341"/>
                  </p:custDataLst>
                </p:nvPr>
              </p:nvSpPr>
              <p:spPr bwMode="auto">
                <a:xfrm>
                  <a:off x="6503988" y="1385888"/>
                  <a:ext cx="20637" cy="58737"/>
                </a:xfrm>
                <a:custGeom>
                  <a:avLst/>
                  <a:gdLst>
                    <a:gd name="T0" fmla="*/ 0 w 53"/>
                    <a:gd name="T1" fmla="*/ 2147483646 h 9"/>
                    <a:gd name="T2" fmla="*/ 2147483646 w 53"/>
                    <a:gd name="T3" fmla="*/ 2147483646 h 9"/>
                    <a:gd name="T4" fmla="*/ 2147483646 w 53"/>
                    <a:gd name="T5" fmla="*/ 2147483646 h 9"/>
                    <a:gd name="T6" fmla="*/ 2147483646 w 53"/>
                    <a:gd name="T7" fmla="*/ 2147483646 h 9"/>
                    <a:gd name="T8" fmla="*/ 2147483646 w 53"/>
                    <a:gd name="T9" fmla="*/ 2147483646 h 9"/>
                    <a:gd name="T10" fmla="*/ 2147483646 w 53"/>
                    <a:gd name="T11" fmla="*/ 2147483646 h 9"/>
                    <a:gd name="T12" fmla="*/ 2147483646 w 53"/>
                    <a:gd name="T13" fmla="*/ 2147483646 h 9"/>
                    <a:gd name="T14" fmla="*/ 2147483646 w 53"/>
                    <a:gd name="T15" fmla="*/ 2147483646 h 9"/>
                    <a:gd name="T16" fmla="*/ 2147483646 w 53"/>
                    <a:gd name="T17" fmla="*/ 0 h 9"/>
                    <a:gd name="T18" fmla="*/ 2147483646 w 53"/>
                    <a:gd name="T19" fmla="*/ 0 h 9"/>
                    <a:gd name="T20" fmla="*/ 2147483646 w 53"/>
                    <a:gd name="T21" fmla="*/ 0 h 9"/>
                    <a:gd name="T22" fmla="*/ 2147483646 w 53"/>
                    <a:gd name="T23" fmla="*/ 2147483646 h 9"/>
                    <a:gd name="T24" fmla="*/ 2147483646 w 53"/>
                    <a:gd name="T25" fmla="*/ 2147483646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3"/>
                    <a:gd name="T40" fmla="*/ 0 h 9"/>
                    <a:gd name="T41" fmla="*/ 53 w 53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3" h="9">
                      <a:moveTo>
                        <a:pt x="0" y="9"/>
                      </a:moveTo>
                      <a:lnTo>
                        <a:pt x="17" y="9"/>
                      </a:lnTo>
                      <a:lnTo>
                        <a:pt x="29" y="9"/>
                      </a:lnTo>
                      <a:lnTo>
                        <a:pt x="40" y="9"/>
                      </a:lnTo>
                      <a:lnTo>
                        <a:pt x="53" y="9"/>
                      </a:lnTo>
                      <a:lnTo>
                        <a:pt x="46" y="6"/>
                      </a:lnTo>
                      <a:lnTo>
                        <a:pt x="38" y="3"/>
                      </a:lnTo>
                      <a:lnTo>
                        <a:pt x="31" y="1"/>
                      </a:lnTo>
                      <a:lnTo>
                        <a:pt x="25" y="0"/>
                      </a:lnTo>
                      <a:lnTo>
                        <a:pt x="19" y="0"/>
                      </a:lnTo>
                      <a:lnTo>
                        <a:pt x="14" y="0"/>
                      </a:lnTo>
                      <a:lnTo>
                        <a:pt x="9" y="1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95" name="Line 504">
                  <a:extLst>
                    <a:ext uri="{FF2B5EF4-FFF2-40B4-BE49-F238E27FC236}">
                      <a16:creationId xmlns:a16="http://schemas.microsoft.com/office/drawing/2014/main" xmlns="" id="{09FA5DD3-4AA1-4E83-AB0F-9F153D02BD3A}"/>
                    </a:ext>
                  </a:extLst>
                </p:cNvPr>
                <p:cNvSpPr>
                  <a:spLocks noChangeShapeType="1"/>
                </p:cNvSpPr>
                <p:nvPr>
                  <p:custDataLst>
                    <p:tags r:id="rId342"/>
                  </p:custDataLst>
                </p:nvPr>
              </p:nvSpPr>
              <p:spPr bwMode="auto">
                <a:xfrm flipV="1">
                  <a:off x="6505575" y="1384300"/>
                  <a:ext cx="0" cy="1588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96" name="Freeform 505">
                  <a:extLst>
                    <a:ext uri="{FF2B5EF4-FFF2-40B4-BE49-F238E27FC236}">
                      <a16:creationId xmlns:a16="http://schemas.microsoft.com/office/drawing/2014/main" xmlns="" id="{941C15F8-C9E9-4287-82A6-36CC5B79D7A2}"/>
                    </a:ext>
                  </a:extLst>
                </p:cNvPr>
                <p:cNvSpPr>
                  <a:spLocks/>
                </p:cNvSpPr>
                <p:nvPr>
                  <p:custDataLst>
                    <p:tags r:id="rId343"/>
                  </p:custDataLst>
                </p:nvPr>
              </p:nvSpPr>
              <p:spPr bwMode="auto">
                <a:xfrm>
                  <a:off x="5675313" y="1312863"/>
                  <a:ext cx="11112" cy="55562"/>
                </a:xfrm>
                <a:custGeom>
                  <a:avLst/>
                  <a:gdLst>
                    <a:gd name="T0" fmla="*/ 0 w 26"/>
                    <a:gd name="T1" fmla="*/ 2147483646 h 25"/>
                    <a:gd name="T2" fmla="*/ 2147483646 w 26"/>
                    <a:gd name="T3" fmla="*/ 2147483646 h 25"/>
                    <a:gd name="T4" fmla="*/ 2147483646 w 26"/>
                    <a:gd name="T5" fmla="*/ 2147483646 h 25"/>
                    <a:gd name="T6" fmla="*/ 2147483646 w 26"/>
                    <a:gd name="T7" fmla="*/ 2147483646 h 25"/>
                    <a:gd name="T8" fmla="*/ 2147483646 w 26"/>
                    <a:gd name="T9" fmla="*/ 2147483646 h 25"/>
                    <a:gd name="T10" fmla="*/ 2147483646 w 26"/>
                    <a:gd name="T11" fmla="*/ 2147483646 h 25"/>
                    <a:gd name="T12" fmla="*/ 2147483646 w 26"/>
                    <a:gd name="T13" fmla="*/ 0 h 25"/>
                    <a:gd name="T14" fmla="*/ 2147483646 w 26"/>
                    <a:gd name="T15" fmla="*/ 2147483646 h 25"/>
                    <a:gd name="T16" fmla="*/ 2147483646 w 26"/>
                    <a:gd name="T17" fmla="*/ 2147483646 h 25"/>
                    <a:gd name="T18" fmla="*/ 2147483646 w 26"/>
                    <a:gd name="T19" fmla="*/ 2147483646 h 25"/>
                    <a:gd name="T20" fmla="*/ 0 w 26"/>
                    <a:gd name="T21" fmla="*/ 2147483646 h 2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6"/>
                    <a:gd name="T34" fmla="*/ 0 h 25"/>
                    <a:gd name="T35" fmla="*/ 26 w 26"/>
                    <a:gd name="T36" fmla="*/ 25 h 25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6" h="25">
                      <a:moveTo>
                        <a:pt x="0" y="25"/>
                      </a:moveTo>
                      <a:lnTo>
                        <a:pt x="5" y="17"/>
                      </a:lnTo>
                      <a:lnTo>
                        <a:pt x="13" y="8"/>
                      </a:lnTo>
                      <a:lnTo>
                        <a:pt x="16" y="5"/>
                      </a:lnTo>
                      <a:lnTo>
                        <a:pt x="20" y="2"/>
                      </a:lnTo>
                      <a:lnTo>
                        <a:pt x="23" y="1"/>
                      </a:lnTo>
                      <a:lnTo>
                        <a:pt x="26" y="0"/>
                      </a:lnTo>
                      <a:lnTo>
                        <a:pt x="26" y="25"/>
                      </a:lnTo>
                      <a:lnTo>
                        <a:pt x="20" y="25"/>
                      </a:lnTo>
                      <a:lnTo>
                        <a:pt x="13" y="25"/>
                      </a:lnTo>
                      <a:lnTo>
                        <a:pt x="0" y="2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97" name="Freeform 506">
                  <a:extLst>
                    <a:ext uri="{FF2B5EF4-FFF2-40B4-BE49-F238E27FC236}">
                      <a16:creationId xmlns:a16="http://schemas.microsoft.com/office/drawing/2014/main" xmlns="" id="{E2EA41FF-8397-45A2-BA34-1997C1E140AA}"/>
                    </a:ext>
                  </a:extLst>
                </p:cNvPr>
                <p:cNvSpPr>
                  <a:spLocks/>
                </p:cNvSpPr>
                <p:nvPr>
                  <p:custDataLst>
                    <p:tags r:id="rId344"/>
                  </p:custDataLst>
                </p:nvPr>
              </p:nvSpPr>
              <p:spPr bwMode="auto">
                <a:xfrm>
                  <a:off x="6424613" y="1384300"/>
                  <a:ext cx="9525" cy="57150"/>
                </a:xfrm>
                <a:custGeom>
                  <a:avLst/>
                  <a:gdLst>
                    <a:gd name="T0" fmla="*/ 2147483646 w 33"/>
                    <a:gd name="T1" fmla="*/ 2147483646 h 25"/>
                    <a:gd name="T2" fmla="*/ 2147483646 w 33"/>
                    <a:gd name="T3" fmla="*/ 2147483646 h 25"/>
                    <a:gd name="T4" fmla="*/ 2147483646 w 33"/>
                    <a:gd name="T5" fmla="*/ 0 h 25"/>
                    <a:gd name="T6" fmla="*/ 0 w 33"/>
                    <a:gd name="T7" fmla="*/ 0 h 25"/>
                    <a:gd name="T8" fmla="*/ 2147483646 w 33"/>
                    <a:gd name="T9" fmla="*/ 2147483646 h 25"/>
                    <a:gd name="T10" fmla="*/ 2147483646 w 33"/>
                    <a:gd name="T11" fmla="*/ 2147483646 h 25"/>
                    <a:gd name="T12" fmla="*/ 2147483646 w 33"/>
                    <a:gd name="T13" fmla="*/ 2147483646 h 25"/>
                    <a:gd name="T14" fmla="*/ 2147483646 w 33"/>
                    <a:gd name="T15" fmla="*/ 2147483646 h 25"/>
                    <a:gd name="T16" fmla="*/ 2147483646 w 33"/>
                    <a:gd name="T17" fmla="*/ 2147483646 h 25"/>
                    <a:gd name="T18" fmla="*/ 2147483646 w 33"/>
                    <a:gd name="T19" fmla="*/ 2147483646 h 2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3"/>
                    <a:gd name="T31" fmla="*/ 0 h 25"/>
                    <a:gd name="T32" fmla="*/ 33 w 33"/>
                    <a:gd name="T33" fmla="*/ 25 h 2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3" h="25">
                      <a:moveTo>
                        <a:pt x="33" y="25"/>
                      </a:moveTo>
                      <a:lnTo>
                        <a:pt x="33" y="12"/>
                      </a:lnTo>
                      <a:lnTo>
                        <a:pt x="33" y="0"/>
                      </a:lnTo>
                      <a:lnTo>
                        <a:pt x="0" y="0"/>
                      </a:lnTo>
                      <a:lnTo>
                        <a:pt x="9" y="9"/>
                      </a:lnTo>
                      <a:lnTo>
                        <a:pt x="16" y="17"/>
                      </a:lnTo>
                      <a:lnTo>
                        <a:pt x="20" y="20"/>
                      </a:lnTo>
                      <a:lnTo>
                        <a:pt x="24" y="23"/>
                      </a:lnTo>
                      <a:lnTo>
                        <a:pt x="28" y="24"/>
                      </a:lnTo>
                      <a:lnTo>
                        <a:pt x="33" y="25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98" name="Freeform 507">
                  <a:extLst>
                    <a:ext uri="{FF2B5EF4-FFF2-40B4-BE49-F238E27FC236}">
                      <a16:creationId xmlns:a16="http://schemas.microsoft.com/office/drawing/2014/main" xmlns="" id="{A326B72A-CF8D-4C4F-825A-D1669C1B62AD}"/>
                    </a:ext>
                  </a:extLst>
                </p:cNvPr>
                <p:cNvSpPr>
                  <a:spLocks/>
                </p:cNvSpPr>
                <p:nvPr>
                  <p:custDataLst>
                    <p:tags r:id="rId345"/>
                  </p:custDataLst>
                </p:nvPr>
              </p:nvSpPr>
              <p:spPr bwMode="auto">
                <a:xfrm>
                  <a:off x="6378575" y="1347788"/>
                  <a:ext cx="9525" cy="57150"/>
                </a:xfrm>
                <a:custGeom>
                  <a:avLst/>
                  <a:gdLst>
                    <a:gd name="T0" fmla="*/ 0 w 20"/>
                    <a:gd name="T1" fmla="*/ 0 h 18"/>
                    <a:gd name="T2" fmla="*/ 2147483646 w 20"/>
                    <a:gd name="T3" fmla="*/ 2147483646 h 18"/>
                    <a:gd name="T4" fmla="*/ 2147483646 w 20"/>
                    <a:gd name="T5" fmla="*/ 2147483646 h 18"/>
                    <a:gd name="T6" fmla="*/ 2147483646 w 20"/>
                    <a:gd name="T7" fmla="*/ 0 h 18"/>
                    <a:gd name="T8" fmla="*/ 0 w 20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"/>
                    <a:gd name="T16" fmla="*/ 0 h 18"/>
                    <a:gd name="T17" fmla="*/ 20 w 20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" h="18">
                      <a:moveTo>
                        <a:pt x="0" y="0"/>
                      </a:moveTo>
                      <a:lnTo>
                        <a:pt x="13" y="18"/>
                      </a:lnTo>
                      <a:lnTo>
                        <a:pt x="16" y="11"/>
                      </a:lnTo>
                      <a:lnTo>
                        <a:pt x="2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99" name="Freeform 508">
                  <a:extLst>
                    <a:ext uri="{FF2B5EF4-FFF2-40B4-BE49-F238E27FC236}">
                      <a16:creationId xmlns:a16="http://schemas.microsoft.com/office/drawing/2014/main" xmlns="" id="{5AA2EBDF-5222-4E65-899F-8F7FE34AC55C}"/>
                    </a:ext>
                  </a:extLst>
                </p:cNvPr>
                <p:cNvSpPr>
                  <a:spLocks/>
                </p:cNvSpPr>
                <p:nvPr>
                  <p:custDataLst>
                    <p:tags r:id="rId346"/>
                  </p:custDataLst>
                </p:nvPr>
              </p:nvSpPr>
              <p:spPr bwMode="auto">
                <a:xfrm>
                  <a:off x="6878638" y="1917700"/>
                  <a:ext cx="12700" cy="58738"/>
                </a:xfrm>
                <a:custGeom>
                  <a:avLst/>
                  <a:gdLst>
                    <a:gd name="T0" fmla="*/ 0 w 33"/>
                    <a:gd name="T1" fmla="*/ 2147483646 h 31"/>
                    <a:gd name="T2" fmla="*/ 0 w 33"/>
                    <a:gd name="T3" fmla="*/ 0 h 31"/>
                    <a:gd name="T4" fmla="*/ 2147483646 w 33"/>
                    <a:gd name="T5" fmla="*/ 0 h 31"/>
                    <a:gd name="T6" fmla="*/ 2147483646 w 33"/>
                    <a:gd name="T7" fmla="*/ 0 h 31"/>
                    <a:gd name="T8" fmla="*/ 2147483646 w 33"/>
                    <a:gd name="T9" fmla="*/ 0 h 31"/>
                    <a:gd name="T10" fmla="*/ 2147483646 w 33"/>
                    <a:gd name="T11" fmla="*/ 0 h 31"/>
                    <a:gd name="T12" fmla="*/ 2147483646 w 33"/>
                    <a:gd name="T13" fmla="*/ 2147483646 h 31"/>
                    <a:gd name="T14" fmla="*/ 2147483646 w 33"/>
                    <a:gd name="T15" fmla="*/ 2147483646 h 31"/>
                    <a:gd name="T16" fmla="*/ 2147483646 w 33"/>
                    <a:gd name="T17" fmla="*/ 2147483646 h 31"/>
                    <a:gd name="T18" fmla="*/ 2147483646 w 33"/>
                    <a:gd name="T19" fmla="*/ 2147483646 h 31"/>
                    <a:gd name="T20" fmla="*/ 2147483646 w 33"/>
                    <a:gd name="T21" fmla="*/ 2147483646 h 31"/>
                    <a:gd name="T22" fmla="*/ 2147483646 w 33"/>
                    <a:gd name="T23" fmla="*/ 2147483646 h 31"/>
                    <a:gd name="T24" fmla="*/ 2147483646 w 33"/>
                    <a:gd name="T25" fmla="*/ 2147483646 h 31"/>
                    <a:gd name="T26" fmla="*/ 2147483646 w 33"/>
                    <a:gd name="T27" fmla="*/ 2147483646 h 31"/>
                    <a:gd name="T28" fmla="*/ 0 w 33"/>
                    <a:gd name="T29" fmla="*/ 2147483646 h 3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33"/>
                    <a:gd name="T46" fmla="*/ 0 h 31"/>
                    <a:gd name="T47" fmla="*/ 33 w 33"/>
                    <a:gd name="T48" fmla="*/ 31 h 31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33" h="31">
                      <a:moveTo>
                        <a:pt x="0" y="31"/>
                      </a:moveTo>
                      <a:lnTo>
                        <a:pt x="0" y="0"/>
                      </a:lnTo>
                      <a:lnTo>
                        <a:pt x="9" y="0"/>
                      </a:lnTo>
                      <a:lnTo>
                        <a:pt x="16" y="0"/>
                      </a:lnTo>
                      <a:lnTo>
                        <a:pt x="24" y="0"/>
                      </a:lnTo>
                      <a:lnTo>
                        <a:pt x="33" y="0"/>
                      </a:lnTo>
                      <a:lnTo>
                        <a:pt x="30" y="2"/>
                      </a:lnTo>
                      <a:lnTo>
                        <a:pt x="29" y="5"/>
                      </a:lnTo>
                      <a:lnTo>
                        <a:pt x="28" y="9"/>
                      </a:lnTo>
                      <a:lnTo>
                        <a:pt x="28" y="13"/>
                      </a:lnTo>
                      <a:lnTo>
                        <a:pt x="28" y="17"/>
                      </a:lnTo>
                      <a:lnTo>
                        <a:pt x="29" y="21"/>
                      </a:lnTo>
                      <a:lnTo>
                        <a:pt x="30" y="26"/>
                      </a:lnTo>
                      <a:lnTo>
                        <a:pt x="33" y="31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00" name="Freeform 509">
                  <a:extLst>
                    <a:ext uri="{FF2B5EF4-FFF2-40B4-BE49-F238E27FC236}">
                      <a16:creationId xmlns:a16="http://schemas.microsoft.com/office/drawing/2014/main" xmlns="" id="{D01FF677-E8BA-4242-A4D8-72AB884615B1}"/>
                    </a:ext>
                  </a:extLst>
                </p:cNvPr>
                <p:cNvSpPr>
                  <a:spLocks/>
                </p:cNvSpPr>
                <p:nvPr>
                  <p:custDataLst>
                    <p:tags r:id="rId347"/>
                  </p:custDataLst>
                </p:nvPr>
              </p:nvSpPr>
              <p:spPr bwMode="auto">
                <a:xfrm>
                  <a:off x="7172325" y="1439863"/>
                  <a:ext cx="55563" cy="58737"/>
                </a:xfrm>
                <a:custGeom>
                  <a:avLst/>
                  <a:gdLst>
                    <a:gd name="T0" fmla="*/ 2147483646 w 129"/>
                    <a:gd name="T1" fmla="*/ 2147483646 h 56"/>
                    <a:gd name="T2" fmla="*/ 2147483646 w 129"/>
                    <a:gd name="T3" fmla="*/ 2147483646 h 56"/>
                    <a:gd name="T4" fmla="*/ 2147483646 w 129"/>
                    <a:gd name="T5" fmla="*/ 2147483646 h 56"/>
                    <a:gd name="T6" fmla="*/ 0 w 129"/>
                    <a:gd name="T7" fmla="*/ 2147483646 h 56"/>
                    <a:gd name="T8" fmla="*/ 2147483646 w 129"/>
                    <a:gd name="T9" fmla="*/ 2147483646 h 56"/>
                    <a:gd name="T10" fmla="*/ 2147483646 w 129"/>
                    <a:gd name="T11" fmla="*/ 2147483646 h 56"/>
                    <a:gd name="T12" fmla="*/ 2147483646 w 129"/>
                    <a:gd name="T13" fmla="*/ 2147483646 h 56"/>
                    <a:gd name="T14" fmla="*/ 2147483646 w 129"/>
                    <a:gd name="T15" fmla="*/ 2147483646 h 56"/>
                    <a:gd name="T16" fmla="*/ 2147483646 w 129"/>
                    <a:gd name="T17" fmla="*/ 2147483646 h 56"/>
                    <a:gd name="T18" fmla="*/ 2147483646 w 129"/>
                    <a:gd name="T19" fmla="*/ 2147483646 h 56"/>
                    <a:gd name="T20" fmla="*/ 2147483646 w 129"/>
                    <a:gd name="T21" fmla="*/ 2147483646 h 56"/>
                    <a:gd name="T22" fmla="*/ 2147483646 w 129"/>
                    <a:gd name="T23" fmla="*/ 2147483646 h 56"/>
                    <a:gd name="T24" fmla="*/ 2147483646 w 129"/>
                    <a:gd name="T25" fmla="*/ 0 h 56"/>
                    <a:gd name="T26" fmla="*/ 2147483646 w 129"/>
                    <a:gd name="T27" fmla="*/ 2147483646 h 56"/>
                    <a:gd name="T28" fmla="*/ 2147483646 w 129"/>
                    <a:gd name="T29" fmla="*/ 2147483646 h 56"/>
                    <a:gd name="T30" fmla="*/ 2147483646 w 129"/>
                    <a:gd name="T31" fmla="*/ 2147483646 h 56"/>
                    <a:gd name="T32" fmla="*/ 2147483646 w 129"/>
                    <a:gd name="T33" fmla="*/ 2147483646 h 56"/>
                    <a:gd name="T34" fmla="*/ 2147483646 w 129"/>
                    <a:gd name="T35" fmla="*/ 2147483646 h 56"/>
                    <a:gd name="T36" fmla="*/ 2147483646 w 129"/>
                    <a:gd name="T37" fmla="*/ 2147483646 h 56"/>
                    <a:gd name="T38" fmla="*/ 2147483646 w 129"/>
                    <a:gd name="T39" fmla="*/ 2147483646 h 56"/>
                    <a:gd name="T40" fmla="*/ 2147483646 w 129"/>
                    <a:gd name="T41" fmla="*/ 2147483646 h 56"/>
                    <a:gd name="T42" fmla="*/ 2147483646 w 129"/>
                    <a:gd name="T43" fmla="*/ 2147483646 h 56"/>
                    <a:gd name="T44" fmla="*/ 2147483646 w 129"/>
                    <a:gd name="T45" fmla="*/ 2147483646 h 56"/>
                    <a:gd name="T46" fmla="*/ 2147483646 w 129"/>
                    <a:gd name="T47" fmla="*/ 2147483646 h 56"/>
                    <a:gd name="T48" fmla="*/ 2147483646 w 129"/>
                    <a:gd name="T49" fmla="*/ 2147483646 h 56"/>
                    <a:gd name="T50" fmla="*/ 2147483646 w 129"/>
                    <a:gd name="T51" fmla="*/ 2147483646 h 56"/>
                    <a:gd name="T52" fmla="*/ 2147483646 w 129"/>
                    <a:gd name="T53" fmla="*/ 2147483646 h 56"/>
                    <a:gd name="T54" fmla="*/ 2147483646 w 129"/>
                    <a:gd name="T55" fmla="*/ 2147483646 h 56"/>
                    <a:gd name="T56" fmla="*/ 2147483646 w 129"/>
                    <a:gd name="T57" fmla="*/ 2147483646 h 56"/>
                    <a:gd name="T58" fmla="*/ 2147483646 w 129"/>
                    <a:gd name="T59" fmla="*/ 2147483646 h 56"/>
                    <a:gd name="T60" fmla="*/ 2147483646 w 129"/>
                    <a:gd name="T61" fmla="*/ 2147483646 h 56"/>
                    <a:gd name="T62" fmla="*/ 2147483646 w 129"/>
                    <a:gd name="T63" fmla="*/ 2147483646 h 56"/>
                    <a:gd name="T64" fmla="*/ 2147483646 w 129"/>
                    <a:gd name="T65" fmla="*/ 2147483646 h 56"/>
                    <a:gd name="T66" fmla="*/ 2147483646 w 129"/>
                    <a:gd name="T67" fmla="*/ 2147483646 h 56"/>
                    <a:gd name="T68" fmla="*/ 2147483646 w 129"/>
                    <a:gd name="T69" fmla="*/ 2147483646 h 56"/>
                    <a:gd name="T70" fmla="*/ 2147483646 w 129"/>
                    <a:gd name="T71" fmla="*/ 2147483646 h 56"/>
                    <a:gd name="T72" fmla="*/ 2147483646 w 129"/>
                    <a:gd name="T73" fmla="*/ 2147483646 h 5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29"/>
                    <a:gd name="T112" fmla="*/ 0 h 56"/>
                    <a:gd name="T113" fmla="*/ 129 w 129"/>
                    <a:gd name="T114" fmla="*/ 56 h 5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29" h="56">
                      <a:moveTo>
                        <a:pt x="3" y="44"/>
                      </a:moveTo>
                      <a:lnTo>
                        <a:pt x="1" y="42"/>
                      </a:lnTo>
                      <a:lnTo>
                        <a:pt x="1" y="40"/>
                      </a:lnTo>
                      <a:lnTo>
                        <a:pt x="0" y="37"/>
                      </a:lnTo>
                      <a:lnTo>
                        <a:pt x="1" y="33"/>
                      </a:lnTo>
                      <a:lnTo>
                        <a:pt x="2" y="25"/>
                      </a:lnTo>
                      <a:lnTo>
                        <a:pt x="3" y="18"/>
                      </a:lnTo>
                      <a:lnTo>
                        <a:pt x="9" y="13"/>
                      </a:lnTo>
                      <a:lnTo>
                        <a:pt x="16" y="9"/>
                      </a:lnTo>
                      <a:lnTo>
                        <a:pt x="21" y="6"/>
                      </a:lnTo>
                      <a:lnTo>
                        <a:pt x="27" y="5"/>
                      </a:lnTo>
                      <a:lnTo>
                        <a:pt x="39" y="3"/>
                      </a:lnTo>
                      <a:lnTo>
                        <a:pt x="57" y="0"/>
                      </a:lnTo>
                      <a:lnTo>
                        <a:pt x="60" y="5"/>
                      </a:lnTo>
                      <a:lnTo>
                        <a:pt x="64" y="8"/>
                      </a:lnTo>
                      <a:lnTo>
                        <a:pt x="69" y="11"/>
                      </a:lnTo>
                      <a:lnTo>
                        <a:pt x="73" y="14"/>
                      </a:lnTo>
                      <a:lnTo>
                        <a:pt x="83" y="18"/>
                      </a:lnTo>
                      <a:lnTo>
                        <a:pt x="93" y="21"/>
                      </a:lnTo>
                      <a:lnTo>
                        <a:pt x="103" y="25"/>
                      </a:lnTo>
                      <a:lnTo>
                        <a:pt x="113" y="29"/>
                      </a:lnTo>
                      <a:lnTo>
                        <a:pt x="117" y="32"/>
                      </a:lnTo>
                      <a:lnTo>
                        <a:pt x="121" y="35"/>
                      </a:lnTo>
                      <a:lnTo>
                        <a:pt x="126" y="38"/>
                      </a:lnTo>
                      <a:lnTo>
                        <a:pt x="129" y="44"/>
                      </a:lnTo>
                      <a:lnTo>
                        <a:pt x="119" y="48"/>
                      </a:lnTo>
                      <a:lnTo>
                        <a:pt x="109" y="51"/>
                      </a:lnTo>
                      <a:lnTo>
                        <a:pt x="99" y="53"/>
                      </a:lnTo>
                      <a:lnTo>
                        <a:pt x="90" y="54"/>
                      </a:lnTo>
                      <a:lnTo>
                        <a:pt x="70" y="56"/>
                      </a:lnTo>
                      <a:lnTo>
                        <a:pt x="49" y="56"/>
                      </a:lnTo>
                      <a:lnTo>
                        <a:pt x="40" y="55"/>
                      </a:lnTo>
                      <a:lnTo>
                        <a:pt x="31" y="54"/>
                      </a:lnTo>
                      <a:lnTo>
                        <a:pt x="23" y="52"/>
                      </a:lnTo>
                      <a:lnTo>
                        <a:pt x="16" y="50"/>
                      </a:lnTo>
                      <a:lnTo>
                        <a:pt x="6" y="46"/>
                      </a:lnTo>
                      <a:lnTo>
                        <a:pt x="3" y="4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01" name="Freeform 510">
                  <a:extLst>
                    <a:ext uri="{FF2B5EF4-FFF2-40B4-BE49-F238E27FC236}">
                      <a16:creationId xmlns:a16="http://schemas.microsoft.com/office/drawing/2014/main" xmlns="" id="{D7131DE4-61C0-4921-8CC2-F19E5A12F1CE}"/>
                    </a:ext>
                  </a:extLst>
                </p:cNvPr>
                <p:cNvSpPr>
                  <a:spLocks/>
                </p:cNvSpPr>
                <p:nvPr>
                  <p:custDataLst>
                    <p:tags r:id="rId348"/>
                  </p:custDataLst>
                </p:nvPr>
              </p:nvSpPr>
              <p:spPr bwMode="auto">
                <a:xfrm>
                  <a:off x="7308850" y="1792288"/>
                  <a:ext cx="14288" cy="57150"/>
                </a:xfrm>
                <a:custGeom>
                  <a:avLst/>
                  <a:gdLst>
                    <a:gd name="T0" fmla="*/ 2147483646 w 41"/>
                    <a:gd name="T1" fmla="*/ 2147483646 h 42"/>
                    <a:gd name="T2" fmla="*/ 0 w 41"/>
                    <a:gd name="T3" fmla="*/ 2147483646 h 42"/>
                    <a:gd name="T4" fmla="*/ 0 w 41"/>
                    <a:gd name="T5" fmla="*/ 2147483646 h 42"/>
                    <a:gd name="T6" fmla="*/ 2147483646 w 41"/>
                    <a:gd name="T7" fmla="*/ 2147483646 h 42"/>
                    <a:gd name="T8" fmla="*/ 2147483646 w 41"/>
                    <a:gd name="T9" fmla="*/ 2147483646 h 42"/>
                    <a:gd name="T10" fmla="*/ 2147483646 w 41"/>
                    <a:gd name="T11" fmla="*/ 2147483646 h 42"/>
                    <a:gd name="T12" fmla="*/ 2147483646 w 41"/>
                    <a:gd name="T13" fmla="*/ 0 h 42"/>
                    <a:gd name="T14" fmla="*/ 2147483646 w 41"/>
                    <a:gd name="T15" fmla="*/ 2147483646 h 42"/>
                    <a:gd name="T16" fmla="*/ 2147483646 w 41"/>
                    <a:gd name="T17" fmla="*/ 2147483646 h 42"/>
                    <a:gd name="T18" fmla="*/ 2147483646 w 41"/>
                    <a:gd name="T19" fmla="*/ 2147483646 h 4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1"/>
                    <a:gd name="T31" fmla="*/ 0 h 42"/>
                    <a:gd name="T32" fmla="*/ 41 w 41"/>
                    <a:gd name="T33" fmla="*/ 42 h 4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1" h="42">
                      <a:moveTo>
                        <a:pt x="21" y="42"/>
                      </a:moveTo>
                      <a:lnTo>
                        <a:pt x="0" y="30"/>
                      </a:lnTo>
                      <a:lnTo>
                        <a:pt x="0" y="6"/>
                      </a:lnTo>
                      <a:lnTo>
                        <a:pt x="7" y="5"/>
                      </a:lnTo>
                      <a:lnTo>
                        <a:pt x="14" y="3"/>
                      </a:lnTo>
                      <a:lnTo>
                        <a:pt x="24" y="1"/>
                      </a:lnTo>
                      <a:lnTo>
                        <a:pt x="34" y="0"/>
                      </a:lnTo>
                      <a:lnTo>
                        <a:pt x="34" y="18"/>
                      </a:lnTo>
                      <a:lnTo>
                        <a:pt x="41" y="18"/>
                      </a:lnTo>
                      <a:lnTo>
                        <a:pt x="21" y="4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02" name="Freeform 511">
                  <a:extLst>
                    <a:ext uri="{FF2B5EF4-FFF2-40B4-BE49-F238E27FC236}">
                      <a16:creationId xmlns:a16="http://schemas.microsoft.com/office/drawing/2014/main" xmlns="" id="{B29624C5-412B-4530-84B5-4545B7010357}"/>
                    </a:ext>
                  </a:extLst>
                </p:cNvPr>
                <p:cNvSpPr>
                  <a:spLocks/>
                </p:cNvSpPr>
                <p:nvPr>
                  <p:custDataLst>
                    <p:tags r:id="rId349"/>
                  </p:custDataLst>
                </p:nvPr>
              </p:nvSpPr>
              <p:spPr bwMode="auto">
                <a:xfrm>
                  <a:off x="7458075" y="1905000"/>
                  <a:ext cx="42863" cy="60325"/>
                </a:xfrm>
                <a:custGeom>
                  <a:avLst/>
                  <a:gdLst>
                    <a:gd name="T0" fmla="*/ 2147483646 w 93"/>
                    <a:gd name="T1" fmla="*/ 2147483646 h 39"/>
                    <a:gd name="T2" fmla="*/ 2147483646 w 93"/>
                    <a:gd name="T3" fmla="*/ 2147483646 h 39"/>
                    <a:gd name="T4" fmla="*/ 2147483646 w 93"/>
                    <a:gd name="T5" fmla="*/ 2147483646 h 39"/>
                    <a:gd name="T6" fmla="*/ 2147483646 w 93"/>
                    <a:gd name="T7" fmla="*/ 2147483646 h 39"/>
                    <a:gd name="T8" fmla="*/ 2147483646 w 93"/>
                    <a:gd name="T9" fmla="*/ 2147483646 h 39"/>
                    <a:gd name="T10" fmla="*/ 2147483646 w 93"/>
                    <a:gd name="T11" fmla="*/ 2147483646 h 39"/>
                    <a:gd name="T12" fmla="*/ 2147483646 w 93"/>
                    <a:gd name="T13" fmla="*/ 2147483646 h 39"/>
                    <a:gd name="T14" fmla="*/ 2147483646 w 93"/>
                    <a:gd name="T15" fmla="*/ 2147483646 h 39"/>
                    <a:gd name="T16" fmla="*/ 2147483646 w 93"/>
                    <a:gd name="T17" fmla="*/ 2147483646 h 39"/>
                    <a:gd name="T18" fmla="*/ 2147483646 w 93"/>
                    <a:gd name="T19" fmla="*/ 2147483646 h 39"/>
                    <a:gd name="T20" fmla="*/ 2147483646 w 93"/>
                    <a:gd name="T21" fmla="*/ 2147483646 h 39"/>
                    <a:gd name="T22" fmla="*/ 2147483646 w 93"/>
                    <a:gd name="T23" fmla="*/ 2147483646 h 39"/>
                    <a:gd name="T24" fmla="*/ 2147483646 w 93"/>
                    <a:gd name="T25" fmla="*/ 2147483646 h 39"/>
                    <a:gd name="T26" fmla="*/ 2147483646 w 93"/>
                    <a:gd name="T27" fmla="*/ 2147483646 h 39"/>
                    <a:gd name="T28" fmla="*/ 2147483646 w 93"/>
                    <a:gd name="T29" fmla="*/ 2147483646 h 39"/>
                    <a:gd name="T30" fmla="*/ 0 w 93"/>
                    <a:gd name="T31" fmla="*/ 2147483646 h 39"/>
                    <a:gd name="T32" fmla="*/ 2147483646 w 93"/>
                    <a:gd name="T33" fmla="*/ 2147483646 h 39"/>
                    <a:gd name="T34" fmla="*/ 2147483646 w 93"/>
                    <a:gd name="T35" fmla="*/ 0 h 39"/>
                    <a:gd name="T36" fmla="*/ 2147483646 w 93"/>
                    <a:gd name="T37" fmla="*/ 0 h 39"/>
                    <a:gd name="T38" fmla="*/ 2147483646 w 93"/>
                    <a:gd name="T39" fmla="*/ 2147483646 h 39"/>
                    <a:gd name="T40" fmla="*/ 2147483646 w 93"/>
                    <a:gd name="T41" fmla="*/ 2147483646 h 39"/>
                    <a:gd name="T42" fmla="*/ 2147483646 w 93"/>
                    <a:gd name="T43" fmla="*/ 2147483646 h 3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3"/>
                    <a:gd name="T67" fmla="*/ 0 h 39"/>
                    <a:gd name="T68" fmla="*/ 93 w 93"/>
                    <a:gd name="T69" fmla="*/ 39 h 3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3" h="39">
                      <a:moveTo>
                        <a:pt x="60" y="9"/>
                      </a:moveTo>
                      <a:lnTo>
                        <a:pt x="67" y="18"/>
                      </a:lnTo>
                      <a:lnTo>
                        <a:pt x="77" y="28"/>
                      </a:lnTo>
                      <a:lnTo>
                        <a:pt x="81" y="33"/>
                      </a:lnTo>
                      <a:lnTo>
                        <a:pt x="86" y="36"/>
                      </a:lnTo>
                      <a:lnTo>
                        <a:pt x="90" y="38"/>
                      </a:lnTo>
                      <a:lnTo>
                        <a:pt x="93" y="39"/>
                      </a:lnTo>
                      <a:lnTo>
                        <a:pt x="60" y="39"/>
                      </a:lnTo>
                      <a:lnTo>
                        <a:pt x="50" y="36"/>
                      </a:lnTo>
                      <a:lnTo>
                        <a:pt x="43" y="32"/>
                      </a:lnTo>
                      <a:lnTo>
                        <a:pt x="36" y="28"/>
                      </a:lnTo>
                      <a:lnTo>
                        <a:pt x="30" y="23"/>
                      </a:lnTo>
                      <a:lnTo>
                        <a:pt x="24" y="18"/>
                      </a:lnTo>
                      <a:lnTo>
                        <a:pt x="16" y="13"/>
                      </a:lnTo>
                      <a:lnTo>
                        <a:pt x="9" y="7"/>
                      </a:lnTo>
                      <a:lnTo>
                        <a:pt x="0" y="3"/>
                      </a:lnTo>
                      <a:lnTo>
                        <a:pt x="11" y="1"/>
                      </a:lnTo>
                      <a:lnTo>
                        <a:pt x="20" y="0"/>
                      </a:lnTo>
                      <a:lnTo>
                        <a:pt x="26" y="0"/>
                      </a:lnTo>
                      <a:lnTo>
                        <a:pt x="33" y="1"/>
                      </a:lnTo>
                      <a:lnTo>
                        <a:pt x="44" y="4"/>
                      </a:lnTo>
                      <a:lnTo>
                        <a:pt x="60" y="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03" name="Freeform 512">
                  <a:extLst>
                    <a:ext uri="{FF2B5EF4-FFF2-40B4-BE49-F238E27FC236}">
                      <a16:creationId xmlns:a16="http://schemas.microsoft.com/office/drawing/2014/main" xmlns="" id="{17929261-5F29-4E56-B9E3-18D44A97CA95}"/>
                    </a:ext>
                  </a:extLst>
                </p:cNvPr>
                <p:cNvSpPr>
                  <a:spLocks/>
                </p:cNvSpPr>
                <p:nvPr>
                  <p:custDataLst>
                    <p:tags r:id="rId350"/>
                  </p:custDataLst>
                </p:nvPr>
              </p:nvSpPr>
              <p:spPr bwMode="auto">
                <a:xfrm>
                  <a:off x="7508875" y="1920875"/>
                  <a:ext cx="19050" cy="58738"/>
                </a:xfrm>
                <a:custGeom>
                  <a:avLst/>
                  <a:gdLst>
                    <a:gd name="T0" fmla="*/ 2147483646 w 39"/>
                    <a:gd name="T1" fmla="*/ 2147483646 h 19"/>
                    <a:gd name="T2" fmla="*/ 2147483646 w 39"/>
                    <a:gd name="T3" fmla="*/ 2147483646 h 19"/>
                    <a:gd name="T4" fmla="*/ 2147483646 w 39"/>
                    <a:gd name="T5" fmla="*/ 2147483646 h 19"/>
                    <a:gd name="T6" fmla="*/ 2147483646 w 39"/>
                    <a:gd name="T7" fmla="*/ 2147483646 h 19"/>
                    <a:gd name="T8" fmla="*/ 2147483646 w 39"/>
                    <a:gd name="T9" fmla="*/ 2147483646 h 19"/>
                    <a:gd name="T10" fmla="*/ 2147483646 w 39"/>
                    <a:gd name="T11" fmla="*/ 2147483646 h 19"/>
                    <a:gd name="T12" fmla="*/ 0 w 39"/>
                    <a:gd name="T13" fmla="*/ 2147483646 h 19"/>
                    <a:gd name="T14" fmla="*/ 0 w 39"/>
                    <a:gd name="T15" fmla="*/ 0 h 19"/>
                    <a:gd name="T16" fmla="*/ 2147483646 w 39"/>
                    <a:gd name="T17" fmla="*/ 2147483646 h 19"/>
                    <a:gd name="T18" fmla="*/ 2147483646 w 39"/>
                    <a:gd name="T19" fmla="*/ 2147483646 h 19"/>
                    <a:gd name="T20" fmla="*/ 2147483646 w 39"/>
                    <a:gd name="T21" fmla="*/ 2147483646 h 19"/>
                    <a:gd name="T22" fmla="*/ 2147483646 w 39"/>
                    <a:gd name="T23" fmla="*/ 2147483646 h 1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39"/>
                    <a:gd name="T37" fmla="*/ 0 h 19"/>
                    <a:gd name="T38" fmla="*/ 39 w 39"/>
                    <a:gd name="T39" fmla="*/ 19 h 1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39" h="19">
                      <a:moveTo>
                        <a:pt x="39" y="19"/>
                      </a:moveTo>
                      <a:lnTo>
                        <a:pt x="13" y="19"/>
                      </a:lnTo>
                      <a:lnTo>
                        <a:pt x="8" y="19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2" y="11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13" y="4"/>
                      </a:lnTo>
                      <a:lnTo>
                        <a:pt x="22" y="9"/>
                      </a:lnTo>
                      <a:lnTo>
                        <a:pt x="30" y="14"/>
                      </a:lnTo>
                      <a:lnTo>
                        <a:pt x="39" y="1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04" name="Freeform 513">
                  <a:extLst>
                    <a:ext uri="{FF2B5EF4-FFF2-40B4-BE49-F238E27FC236}">
                      <a16:creationId xmlns:a16="http://schemas.microsoft.com/office/drawing/2014/main" xmlns="" id="{220B7448-0CC2-401E-85A9-76D43A8C2A30}"/>
                    </a:ext>
                  </a:extLst>
                </p:cNvPr>
                <p:cNvSpPr>
                  <a:spLocks/>
                </p:cNvSpPr>
                <p:nvPr>
                  <p:custDataLst>
                    <p:tags r:id="rId351"/>
                  </p:custDataLst>
                </p:nvPr>
              </p:nvSpPr>
              <p:spPr bwMode="auto">
                <a:xfrm>
                  <a:off x="7373938" y="2047875"/>
                  <a:ext cx="14287" cy="57150"/>
                </a:xfrm>
                <a:custGeom>
                  <a:avLst/>
                  <a:gdLst>
                    <a:gd name="T0" fmla="*/ 0 w 26"/>
                    <a:gd name="T1" fmla="*/ 2147483646 h 36"/>
                    <a:gd name="T2" fmla="*/ 2147483646 w 26"/>
                    <a:gd name="T3" fmla="*/ 2147483646 h 36"/>
                    <a:gd name="T4" fmla="*/ 2147483646 w 26"/>
                    <a:gd name="T5" fmla="*/ 2147483646 h 36"/>
                    <a:gd name="T6" fmla="*/ 2147483646 w 26"/>
                    <a:gd name="T7" fmla="*/ 2147483646 h 36"/>
                    <a:gd name="T8" fmla="*/ 2147483646 w 26"/>
                    <a:gd name="T9" fmla="*/ 0 h 36"/>
                    <a:gd name="T10" fmla="*/ 2147483646 w 26"/>
                    <a:gd name="T11" fmla="*/ 2147483646 h 36"/>
                    <a:gd name="T12" fmla="*/ 2147483646 w 26"/>
                    <a:gd name="T13" fmla="*/ 2147483646 h 36"/>
                    <a:gd name="T14" fmla="*/ 2147483646 w 26"/>
                    <a:gd name="T15" fmla="*/ 2147483646 h 36"/>
                    <a:gd name="T16" fmla="*/ 2147483646 w 26"/>
                    <a:gd name="T17" fmla="*/ 2147483646 h 36"/>
                    <a:gd name="T18" fmla="*/ 2147483646 w 26"/>
                    <a:gd name="T19" fmla="*/ 2147483646 h 36"/>
                    <a:gd name="T20" fmla="*/ 2147483646 w 26"/>
                    <a:gd name="T21" fmla="*/ 2147483646 h 36"/>
                    <a:gd name="T22" fmla="*/ 2147483646 w 26"/>
                    <a:gd name="T23" fmla="*/ 2147483646 h 36"/>
                    <a:gd name="T24" fmla="*/ 2147483646 w 26"/>
                    <a:gd name="T25" fmla="*/ 2147483646 h 36"/>
                    <a:gd name="T26" fmla="*/ 2147483646 w 26"/>
                    <a:gd name="T27" fmla="*/ 2147483646 h 36"/>
                    <a:gd name="T28" fmla="*/ 0 w 26"/>
                    <a:gd name="T29" fmla="*/ 2147483646 h 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6"/>
                    <a:gd name="T46" fmla="*/ 0 h 36"/>
                    <a:gd name="T47" fmla="*/ 26 w 26"/>
                    <a:gd name="T48" fmla="*/ 36 h 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6" h="36">
                      <a:moveTo>
                        <a:pt x="0" y="36"/>
                      </a:moveTo>
                      <a:lnTo>
                        <a:pt x="3" y="31"/>
                      </a:lnTo>
                      <a:lnTo>
                        <a:pt x="10" y="20"/>
                      </a:lnTo>
                      <a:lnTo>
                        <a:pt x="18" y="8"/>
                      </a:lnTo>
                      <a:lnTo>
                        <a:pt x="26" y="0"/>
                      </a:lnTo>
                      <a:lnTo>
                        <a:pt x="26" y="9"/>
                      </a:lnTo>
                      <a:lnTo>
                        <a:pt x="26" y="18"/>
                      </a:lnTo>
                      <a:lnTo>
                        <a:pt x="25" y="22"/>
                      </a:lnTo>
                      <a:lnTo>
                        <a:pt x="24" y="26"/>
                      </a:lnTo>
                      <a:lnTo>
                        <a:pt x="21" y="29"/>
                      </a:lnTo>
                      <a:lnTo>
                        <a:pt x="17" y="32"/>
                      </a:lnTo>
                      <a:lnTo>
                        <a:pt x="14" y="34"/>
                      </a:lnTo>
                      <a:lnTo>
                        <a:pt x="10" y="35"/>
                      </a:lnTo>
                      <a:lnTo>
                        <a:pt x="4" y="36"/>
                      </a:lnTo>
                      <a:lnTo>
                        <a:pt x="0" y="3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05" name="Freeform 514">
                  <a:extLst>
                    <a:ext uri="{FF2B5EF4-FFF2-40B4-BE49-F238E27FC236}">
                      <a16:creationId xmlns:a16="http://schemas.microsoft.com/office/drawing/2014/main" xmlns="" id="{383FCF5E-7548-4E33-892C-90951DD186E5}"/>
                    </a:ext>
                  </a:extLst>
                </p:cNvPr>
                <p:cNvSpPr>
                  <a:spLocks/>
                </p:cNvSpPr>
                <p:nvPr>
                  <p:custDataLst>
                    <p:tags r:id="rId352"/>
                  </p:custDataLst>
                </p:nvPr>
              </p:nvSpPr>
              <p:spPr bwMode="auto">
                <a:xfrm>
                  <a:off x="7385050" y="2076450"/>
                  <a:ext cx="3175" cy="60325"/>
                </a:xfrm>
                <a:custGeom>
                  <a:avLst/>
                  <a:gdLst>
                    <a:gd name="T0" fmla="*/ 0 w 6"/>
                    <a:gd name="T1" fmla="*/ 2147483646 h 37"/>
                    <a:gd name="T2" fmla="*/ 0 w 6"/>
                    <a:gd name="T3" fmla="*/ 0 h 37"/>
                    <a:gd name="T4" fmla="*/ 2147483646 w 6"/>
                    <a:gd name="T5" fmla="*/ 0 h 37"/>
                    <a:gd name="T6" fmla="*/ 2147483646 w 6"/>
                    <a:gd name="T7" fmla="*/ 2147483646 h 37"/>
                    <a:gd name="T8" fmla="*/ 0 w 6"/>
                    <a:gd name="T9" fmla="*/ 2147483646 h 3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37"/>
                    <a:gd name="T17" fmla="*/ 6 w 6"/>
                    <a:gd name="T18" fmla="*/ 37 h 3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37">
                      <a:moveTo>
                        <a:pt x="0" y="37"/>
                      </a:move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6" y="31"/>
                      </a:lnTo>
                      <a:lnTo>
                        <a:pt x="0" y="37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06" name="Freeform 515">
                  <a:extLst>
                    <a:ext uri="{FF2B5EF4-FFF2-40B4-BE49-F238E27FC236}">
                      <a16:creationId xmlns:a16="http://schemas.microsoft.com/office/drawing/2014/main" xmlns="" id="{312938BB-EB24-4ECB-A267-0780BE53200C}"/>
                    </a:ext>
                  </a:extLst>
                </p:cNvPr>
                <p:cNvSpPr>
                  <a:spLocks/>
                </p:cNvSpPr>
                <p:nvPr>
                  <p:custDataLst>
                    <p:tags r:id="rId353"/>
                  </p:custDataLst>
                </p:nvPr>
              </p:nvSpPr>
              <p:spPr bwMode="auto">
                <a:xfrm>
                  <a:off x="7372350" y="2159000"/>
                  <a:ext cx="9525" cy="55563"/>
                </a:xfrm>
                <a:custGeom>
                  <a:avLst/>
                  <a:gdLst>
                    <a:gd name="T0" fmla="*/ 0 w 20"/>
                    <a:gd name="T1" fmla="*/ 2147483646 h 43"/>
                    <a:gd name="T2" fmla="*/ 0 w 20"/>
                    <a:gd name="T3" fmla="*/ 2147483646 h 43"/>
                    <a:gd name="T4" fmla="*/ 0 w 20"/>
                    <a:gd name="T5" fmla="*/ 2147483646 h 43"/>
                    <a:gd name="T6" fmla="*/ 2147483646 w 20"/>
                    <a:gd name="T7" fmla="*/ 2147483646 h 43"/>
                    <a:gd name="T8" fmla="*/ 2147483646 w 20"/>
                    <a:gd name="T9" fmla="*/ 0 h 43"/>
                    <a:gd name="T10" fmla="*/ 2147483646 w 20"/>
                    <a:gd name="T11" fmla="*/ 2147483646 h 43"/>
                    <a:gd name="T12" fmla="*/ 2147483646 w 20"/>
                    <a:gd name="T13" fmla="*/ 2147483646 h 43"/>
                    <a:gd name="T14" fmla="*/ 2147483646 w 20"/>
                    <a:gd name="T15" fmla="*/ 2147483646 h 43"/>
                    <a:gd name="T16" fmla="*/ 2147483646 w 20"/>
                    <a:gd name="T17" fmla="*/ 2147483646 h 43"/>
                    <a:gd name="T18" fmla="*/ 2147483646 w 20"/>
                    <a:gd name="T19" fmla="*/ 2147483646 h 43"/>
                    <a:gd name="T20" fmla="*/ 2147483646 w 20"/>
                    <a:gd name="T21" fmla="*/ 2147483646 h 43"/>
                    <a:gd name="T22" fmla="*/ 2147483646 w 20"/>
                    <a:gd name="T23" fmla="*/ 2147483646 h 43"/>
                    <a:gd name="T24" fmla="*/ 2147483646 w 20"/>
                    <a:gd name="T25" fmla="*/ 2147483646 h 43"/>
                    <a:gd name="T26" fmla="*/ 2147483646 w 20"/>
                    <a:gd name="T27" fmla="*/ 2147483646 h 43"/>
                    <a:gd name="T28" fmla="*/ 2147483646 w 20"/>
                    <a:gd name="T29" fmla="*/ 2147483646 h 43"/>
                    <a:gd name="T30" fmla="*/ 2147483646 w 20"/>
                    <a:gd name="T31" fmla="*/ 2147483646 h 43"/>
                    <a:gd name="T32" fmla="*/ 2147483646 w 20"/>
                    <a:gd name="T33" fmla="*/ 2147483646 h 43"/>
                    <a:gd name="T34" fmla="*/ 2147483646 w 20"/>
                    <a:gd name="T35" fmla="*/ 2147483646 h 43"/>
                    <a:gd name="T36" fmla="*/ 0 w 20"/>
                    <a:gd name="T37" fmla="*/ 2147483646 h 43"/>
                    <a:gd name="T38" fmla="*/ 0 w 20"/>
                    <a:gd name="T39" fmla="*/ 2147483646 h 43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0"/>
                    <a:gd name="T61" fmla="*/ 0 h 43"/>
                    <a:gd name="T62" fmla="*/ 20 w 20"/>
                    <a:gd name="T63" fmla="*/ 43 h 43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0" h="43">
                      <a:moveTo>
                        <a:pt x="0" y="31"/>
                      </a:moveTo>
                      <a:lnTo>
                        <a:pt x="0" y="25"/>
                      </a:lnTo>
                      <a:lnTo>
                        <a:pt x="0" y="18"/>
                      </a:lnTo>
                      <a:lnTo>
                        <a:pt x="2" y="9"/>
                      </a:lnTo>
                      <a:lnTo>
                        <a:pt x="7" y="0"/>
                      </a:lnTo>
                      <a:lnTo>
                        <a:pt x="11" y="7"/>
                      </a:lnTo>
                      <a:lnTo>
                        <a:pt x="16" y="12"/>
                      </a:lnTo>
                      <a:lnTo>
                        <a:pt x="17" y="14"/>
                      </a:lnTo>
                      <a:lnTo>
                        <a:pt x="19" y="18"/>
                      </a:lnTo>
                      <a:lnTo>
                        <a:pt x="19" y="21"/>
                      </a:lnTo>
                      <a:lnTo>
                        <a:pt x="20" y="25"/>
                      </a:lnTo>
                      <a:lnTo>
                        <a:pt x="19" y="27"/>
                      </a:lnTo>
                      <a:lnTo>
                        <a:pt x="18" y="30"/>
                      </a:lnTo>
                      <a:lnTo>
                        <a:pt x="16" y="33"/>
                      </a:lnTo>
                      <a:lnTo>
                        <a:pt x="12" y="36"/>
                      </a:lnTo>
                      <a:lnTo>
                        <a:pt x="9" y="39"/>
                      </a:lnTo>
                      <a:lnTo>
                        <a:pt x="6" y="41"/>
                      </a:lnTo>
                      <a:lnTo>
                        <a:pt x="2" y="42"/>
                      </a:lnTo>
                      <a:lnTo>
                        <a:pt x="0" y="43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07" name="Freeform 516">
                  <a:extLst>
                    <a:ext uri="{FF2B5EF4-FFF2-40B4-BE49-F238E27FC236}">
                      <a16:creationId xmlns:a16="http://schemas.microsoft.com/office/drawing/2014/main" xmlns="" id="{093D855B-06CC-4984-A903-B8E35538C614}"/>
                    </a:ext>
                  </a:extLst>
                </p:cNvPr>
                <p:cNvSpPr>
                  <a:spLocks/>
                </p:cNvSpPr>
                <p:nvPr>
                  <p:custDataLst>
                    <p:tags r:id="rId354"/>
                  </p:custDataLst>
                </p:nvPr>
              </p:nvSpPr>
              <p:spPr bwMode="auto">
                <a:xfrm>
                  <a:off x="7350125" y="2193925"/>
                  <a:ext cx="0" cy="58738"/>
                </a:xfrm>
                <a:custGeom>
                  <a:avLst/>
                  <a:gdLst>
                    <a:gd name="T0" fmla="*/ 2147483646 h 30"/>
                    <a:gd name="T1" fmla="*/ 2147483646 h 30"/>
                    <a:gd name="T2" fmla="*/ 2147483646 h 30"/>
                    <a:gd name="T3" fmla="*/ 2147483646 h 30"/>
                    <a:gd name="T4" fmla="*/ 0 h 30"/>
                    <a:gd name="T5" fmla="*/ 0 60000 65536"/>
                    <a:gd name="T6" fmla="*/ 0 60000 65536"/>
                    <a:gd name="T7" fmla="*/ 0 60000 65536"/>
                    <a:gd name="T8" fmla="*/ 0 60000 65536"/>
                    <a:gd name="T9" fmla="*/ 0 60000 65536"/>
                    <a:gd name="T10" fmla="*/ 0 h 30"/>
                    <a:gd name="T11" fmla="*/ 30 h 30"/>
                  </a:gdLst>
                  <a:ahLst/>
                  <a:cxnLst>
                    <a:cxn ang="T5">
                      <a:pos x="0" y="T0"/>
                    </a:cxn>
                    <a:cxn ang="T6">
                      <a:pos x="0" y="T1"/>
                    </a:cxn>
                    <a:cxn ang="T7">
                      <a:pos x="0" y="T2"/>
                    </a:cxn>
                    <a:cxn ang="T8">
                      <a:pos x="0" y="T3"/>
                    </a:cxn>
                    <a:cxn ang="T9">
                      <a:pos x="0" y="T4"/>
                    </a:cxn>
                  </a:cxnLst>
                  <a:rect l="0" t="T10" r="0" b="T11"/>
                  <a:pathLst>
                    <a:path h="30">
                      <a:moveTo>
                        <a:pt x="0" y="30"/>
                      </a:moveTo>
                      <a:lnTo>
                        <a:pt x="0" y="25"/>
                      </a:lnTo>
                      <a:lnTo>
                        <a:pt x="0" y="18"/>
                      </a:lnTo>
                      <a:lnTo>
                        <a:pt x="0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08" name="Freeform 517">
                  <a:extLst>
                    <a:ext uri="{FF2B5EF4-FFF2-40B4-BE49-F238E27FC236}">
                      <a16:creationId xmlns:a16="http://schemas.microsoft.com/office/drawing/2014/main" xmlns="" id="{012A2710-CCD8-41D4-9F7F-E0AC3403B38E}"/>
                    </a:ext>
                  </a:extLst>
                </p:cNvPr>
                <p:cNvSpPr>
                  <a:spLocks/>
                </p:cNvSpPr>
                <p:nvPr>
                  <p:custDataLst>
                    <p:tags r:id="rId355"/>
                  </p:custDataLst>
                </p:nvPr>
              </p:nvSpPr>
              <p:spPr bwMode="auto">
                <a:xfrm>
                  <a:off x="7350125" y="2193925"/>
                  <a:ext cx="7938" cy="58738"/>
                </a:xfrm>
                <a:custGeom>
                  <a:avLst/>
                  <a:gdLst>
                    <a:gd name="T0" fmla="*/ 0 w 20"/>
                    <a:gd name="T1" fmla="*/ 0 h 24"/>
                    <a:gd name="T2" fmla="*/ 2147483646 w 20"/>
                    <a:gd name="T3" fmla="*/ 0 h 24"/>
                    <a:gd name="T4" fmla="*/ 0 w 20"/>
                    <a:gd name="T5" fmla="*/ 2147483646 h 24"/>
                    <a:gd name="T6" fmla="*/ 0 60000 65536"/>
                    <a:gd name="T7" fmla="*/ 0 60000 65536"/>
                    <a:gd name="T8" fmla="*/ 0 60000 65536"/>
                    <a:gd name="T9" fmla="*/ 0 w 20"/>
                    <a:gd name="T10" fmla="*/ 0 h 24"/>
                    <a:gd name="T11" fmla="*/ 20 w 20"/>
                    <a:gd name="T12" fmla="*/ 24 h 2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0" h="24">
                      <a:moveTo>
                        <a:pt x="0" y="0"/>
                      </a:moveTo>
                      <a:lnTo>
                        <a:pt x="20" y="0"/>
                      </a:lnTo>
                      <a:lnTo>
                        <a:pt x="0" y="2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09" name="Freeform 518">
                  <a:extLst>
                    <a:ext uri="{FF2B5EF4-FFF2-40B4-BE49-F238E27FC236}">
                      <a16:creationId xmlns:a16="http://schemas.microsoft.com/office/drawing/2014/main" xmlns="" id="{2A934BDE-EE0E-4C0F-9679-0AD32E715F9D}"/>
                    </a:ext>
                  </a:extLst>
                </p:cNvPr>
                <p:cNvSpPr>
                  <a:spLocks/>
                </p:cNvSpPr>
                <p:nvPr>
                  <p:custDataLst>
                    <p:tags r:id="rId356"/>
                  </p:custDataLst>
                </p:nvPr>
              </p:nvSpPr>
              <p:spPr bwMode="auto">
                <a:xfrm>
                  <a:off x="7104063" y="1781175"/>
                  <a:ext cx="17462" cy="60325"/>
                </a:xfrm>
                <a:custGeom>
                  <a:avLst/>
                  <a:gdLst>
                    <a:gd name="T0" fmla="*/ 0 w 46"/>
                    <a:gd name="T1" fmla="*/ 0 h 19"/>
                    <a:gd name="T2" fmla="*/ 2147483646 w 46"/>
                    <a:gd name="T3" fmla="*/ 2147483646 h 19"/>
                    <a:gd name="T4" fmla="*/ 2147483646 w 46"/>
                    <a:gd name="T5" fmla="*/ 2147483646 h 19"/>
                    <a:gd name="T6" fmla="*/ 2147483646 w 46"/>
                    <a:gd name="T7" fmla="*/ 2147483646 h 19"/>
                    <a:gd name="T8" fmla="*/ 2147483646 w 46"/>
                    <a:gd name="T9" fmla="*/ 2147483646 h 19"/>
                    <a:gd name="T10" fmla="*/ 2147483646 w 46"/>
                    <a:gd name="T11" fmla="*/ 2147483646 h 19"/>
                    <a:gd name="T12" fmla="*/ 2147483646 w 46"/>
                    <a:gd name="T13" fmla="*/ 2147483646 h 19"/>
                    <a:gd name="T14" fmla="*/ 2147483646 w 46"/>
                    <a:gd name="T15" fmla="*/ 2147483646 h 19"/>
                    <a:gd name="T16" fmla="*/ 2147483646 w 46"/>
                    <a:gd name="T17" fmla="*/ 2147483646 h 19"/>
                    <a:gd name="T18" fmla="*/ 2147483646 w 46"/>
                    <a:gd name="T19" fmla="*/ 2147483646 h 19"/>
                    <a:gd name="T20" fmla="*/ 2147483646 w 46"/>
                    <a:gd name="T21" fmla="*/ 2147483646 h 19"/>
                    <a:gd name="T22" fmla="*/ 2147483646 w 46"/>
                    <a:gd name="T23" fmla="*/ 2147483646 h 19"/>
                    <a:gd name="T24" fmla="*/ 2147483646 w 46"/>
                    <a:gd name="T25" fmla="*/ 2147483646 h 19"/>
                    <a:gd name="T26" fmla="*/ 2147483646 w 46"/>
                    <a:gd name="T27" fmla="*/ 2147483646 h 19"/>
                    <a:gd name="T28" fmla="*/ 2147483646 w 46"/>
                    <a:gd name="T29" fmla="*/ 2147483646 h 19"/>
                    <a:gd name="T30" fmla="*/ 2147483646 w 46"/>
                    <a:gd name="T31" fmla="*/ 2147483646 h 19"/>
                    <a:gd name="T32" fmla="*/ 0 w 46"/>
                    <a:gd name="T33" fmla="*/ 0 h 1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46"/>
                    <a:gd name="T52" fmla="*/ 0 h 19"/>
                    <a:gd name="T53" fmla="*/ 46 w 46"/>
                    <a:gd name="T54" fmla="*/ 19 h 1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46" h="19">
                      <a:moveTo>
                        <a:pt x="0" y="0"/>
                      </a:moveTo>
                      <a:lnTo>
                        <a:pt x="9" y="3"/>
                      </a:lnTo>
                      <a:lnTo>
                        <a:pt x="14" y="5"/>
                      </a:lnTo>
                      <a:lnTo>
                        <a:pt x="19" y="8"/>
                      </a:lnTo>
                      <a:lnTo>
                        <a:pt x="23" y="10"/>
                      </a:lnTo>
                      <a:lnTo>
                        <a:pt x="26" y="12"/>
                      </a:lnTo>
                      <a:lnTo>
                        <a:pt x="32" y="14"/>
                      </a:lnTo>
                      <a:lnTo>
                        <a:pt x="37" y="17"/>
                      </a:lnTo>
                      <a:lnTo>
                        <a:pt x="46" y="19"/>
                      </a:lnTo>
                      <a:lnTo>
                        <a:pt x="33" y="19"/>
                      </a:lnTo>
                      <a:lnTo>
                        <a:pt x="24" y="19"/>
                      </a:lnTo>
                      <a:lnTo>
                        <a:pt x="18" y="18"/>
                      </a:lnTo>
                      <a:lnTo>
                        <a:pt x="13" y="17"/>
                      </a:lnTo>
                      <a:lnTo>
                        <a:pt x="10" y="14"/>
                      </a:lnTo>
                      <a:lnTo>
                        <a:pt x="7" y="11"/>
                      </a:lnTo>
                      <a:lnTo>
                        <a:pt x="4" y="7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10" name="Freeform 519">
                  <a:extLst>
                    <a:ext uri="{FF2B5EF4-FFF2-40B4-BE49-F238E27FC236}">
                      <a16:creationId xmlns:a16="http://schemas.microsoft.com/office/drawing/2014/main" xmlns="" id="{C2CCEE01-ED5F-4BCC-B412-757E3D65223E}"/>
                    </a:ext>
                  </a:extLst>
                </p:cNvPr>
                <p:cNvSpPr>
                  <a:spLocks/>
                </p:cNvSpPr>
                <p:nvPr>
                  <p:custDataLst>
                    <p:tags r:id="rId357"/>
                  </p:custDataLst>
                </p:nvPr>
              </p:nvSpPr>
              <p:spPr bwMode="auto">
                <a:xfrm>
                  <a:off x="4419600" y="1920875"/>
                  <a:ext cx="47625" cy="58738"/>
                </a:xfrm>
                <a:custGeom>
                  <a:avLst/>
                  <a:gdLst>
                    <a:gd name="T0" fmla="*/ 2147483646 w 100"/>
                    <a:gd name="T1" fmla="*/ 0 h 55"/>
                    <a:gd name="T2" fmla="*/ 2147483646 w 100"/>
                    <a:gd name="T3" fmla="*/ 2147483646 h 55"/>
                    <a:gd name="T4" fmla="*/ 2147483646 w 100"/>
                    <a:gd name="T5" fmla="*/ 2147483646 h 55"/>
                    <a:gd name="T6" fmla="*/ 2147483646 w 100"/>
                    <a:gd name="T7" fmla="*/ 2147483646 h 55"/>
                    <a:gd name="T8" fmla="*/ 0 w 100"/>
                    <a:gd name="T9" fmla="*/ 2147483646 h 55"/>
                    <a:gd name="T10" fmla="*/ 2147483646 w 100"/>
                    <a:gd name="T11" fmla="*/ 2147483646 h 55"/>
                    <a:gd name="T12" fmla="*/ 2147483646 w 100"/>
                    <a:gd name="T13" fmla="*/ 2147483646 h 55"/>
                    <a:gd name="T14" fmla="*/ 2147483646 w 100"/>
                    <a:gd name="T15" fmla="*/ 2147483646 h 55"/>
                    <a:gd name="T16" fmla="*/ 2147483646 w 100"/>
                    <a:gd name="T17" fmla="*/ 2147483646 h 55"/>
                    <a:gd name="T18" fmla="*/ 2147483646 w 100"/>
                    <a:gd name="T19" fmla="*/ 2147483646 h 55"/>
                    <a:gd name="T20" fmla="*/ 2147483646 w 100"/>
                    <a:gd name="T21" fmla="*/ 0 h 5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00"/>
                    <a:gd name="T34" fmla="*/ 0 h 55"/>
                    <a:gd name="T35" fmla="*/ 100 w 100"/>
                    <a:gd name="T36" fmla="*/ 55 h 55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00" h="55">
                      <a:moveTo>
                        <a:pt x="33" y="0"/>
                      </a:moveTo>
                      <a:lnTo>
                        <a:pt x="100" y="12"/>
                      </a:lnTo>
                      <a:lnTo>
                        <a:pt x="100" y="55"/>
                      </a:lnTo>
                      <a:lnTo>
                        <a:pt x="13" y="55"/>
                      </a:lnTo>
                      <a:lnTo>
                        <a:pt x="0" y="43"/>
                      </a:lnTo>
                      <a:lnTo>
                        <a:pt x="1" y="38"/>
                      </a:lnTo>
                      <a:lnTo>
                        <a:pt x="4" y="32"/>
                      </a:lnTo>
                      <a:lnTo>
                        <a:pt x="10" y="25"/>
                      </a:lnTo>
                      <a:lnTo>
                        <a:pt x="16" y="18"/>
                      </a:lnTo>
                      <a:lnTo>
                        <a:pt x="27" y="5"/>
                      </a:lnTo>
                      <a:lnTo>
                        <a:pt x="3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11" name="Freeform 520">
                  <a:extLst>
                    <a:ext uri="{FF2B5EF4-FFF2-40B4-BE49-F238E27FC236}">
                      <a16:creationId xmlns:a16="http://schemas.microsoft.com/office/drawing/2014/main" xmlns="" id="{7644B9F5-7437-47E3-A22B-50DB14934E24}"/>
                    </a:ext>
                  </a:extLst>
                </p:cNvPr>
                <p:cNvSpPr>
                  <a:spLocks/>
                </p:cNvSpPr>
                <p:nvPr>
                  <p:custDataLst>
                    <p:tags r:id="rId358"/>
                  </p:custDataLst>
                </p:nvPr>
              </p:nvSpPr>
              <p:spPr bwMode="auto">
                <a:xfrm>
                  <a:off x="4868863" y="1512888"/>
                  <a:ext cx="42862" cy="58737"/>
                </a:xfrm>
                <a:custGeom>
                  <a:avLst/>
                  <a:gdLst>
                    <a:gd name="T0" fmla="*/ 2147483646 w 99"/>
                    <a:gd name="T1" fmla="*/ 2147483646 h 51"/>
                    <a:gd name="T2" fmla="*/ 2147483646 w 99"/>
                    <a:gd name="T3" fmla="*/ 2147483646 h 51"/>
                    <a:gd name="T4" fmla="*/ 2147483646 w 99"/>
                    <a:gd name="T5" fmla="*/ 0 h 51"/>
                    <a:gd name="T6" fmla="*/ 2147483646 w 99"/>
                    <a:gd name="T7" fmla="*/ 0 h 51"/>
                    <a:gd name="T8" fmla="*/ 2147483646 w 99"/>
                    <a:gd name="T9" fmla="*/ 2147483646 h 51"/>
                    <a:gd name="T10" fmla="*/ 2147483646 w 99"/>
                    <a:gd name="T11" fmla="*/ 2147483646 h 51"/>
                    <a:gd name="T12" fmla="*/ 2147483646 w 99"/>
                    <a:gd name="T13" fmla="*/ 2147483646 h 51"/>
                    <a:gd name="T14" fmla="*/ 2147483646 w 99"/>
                    <a:gd name="T15" fmla="*/ 2147483646 h 51"/>
                    <a:gd name="T16" fmla="*/ 2147483646 w 99"/>
                    <a:gd name="T17" fmla="*/ 2147483646 h 51"/>
                    <a:gd name="T18" fmla="*/ 2147483646 w 99"/>
                    <a:gd name="T19" fmla="*/ 2147483646 h 51"/>
                    <a:gd name="T20" fmla="*/ 2147483646 w 99"/>
                    <a:gd name="T21" fmla="*/ 2147483646 h 51"/>
                    <a:gd name="T22" fmla="*/ 2147483646 w 99"/>
                    <a:gd name="T23" fmla="*/ 2147483646 h 51"/>
                    <a:gd name="T24" fmla="*/ 2147483646 w 99"/>
                    <a:gd name="T25" fmla="*/ 2147483646 h 51"/>
                    <a:gd name="T26" fmla="*/ 2147483646 w 99"/>
                    <a:gd name="T27" fmla="*/ 2147483646 h 51"/>
                    <a:gd name="T28" fmla="*/ 2147483646 w 99"/>
                    <a:gd name="T29" fmla="*/ 2147483646 h 51"/>
                    <a:gd name="T30" fmla="*/ 2147483646 w 99"/>
                    <a:gd name="T31" fmla="*/ 2147483646 h 51"/>
                    <a:gd name="T32" fmla="*/ 2147483646 w 99"/>
                    <a:gd name="T33" fmla="*/ 2147483646 h 51"/>
                    <a:gd name="T34" fmla="*/ 2147483646 w 99"/>
                    <a:gd name="T35" fmla="*/ 2147483646 h 51"/>
                    <a:gd name="T36" fmla="*/ 2147483646 w 99"/>
                    <a:gd name="T37" fmla="*/ 2147483646 h 51"/>
                    <a:gd name="T38" fmla="*/ 2147483646 w 99"/>
                    <a:gd name="T39" fmla="*/ 2147483646 h 51"/>
                    <a:gd name="T40" fmla="*/ 2147483646 w 99"/>
                    <a:gd name="T41" fmla="*/ 2147483646 h 51"/>
                    <a:gd name="T42" fmla="*/ 2147483646 w 99"/>
                    <a:gd name="T43" fmla="*/ 2147483646 h 51"/>
                    <a:gd name="T44" fmla="*/ 2147483646 w 99"/>
                    <a:gd name="T45" fmla="*/ 2147483646 h 51"/>
                    <a:gd name="T46" fmla="*/ 2147483646 w 99"/>
                    <a:gd name="T47" fmla="*/ 2147483646 h 51"/>
                    <a:gd name="T48" fmla="*/ 2147483646 w 99"/>
                    <a:gd name="T49" fmla="*/ 2147483646 h 51"/>
                    <a:gd name="T50" fmla="*/ 2147483646 w 99"/>
                    <a:gd name="T51" fmla="*/ 2147483646 h 51"/>
                    <a:gd name="T52" fmla="*/ 2147483646 w 99"/>
                    <a:gd name="T53" fmla="*/ 2147483646 h 51"/>
                    <a:gd name="T54" fmla="*/ 0 w 99"/>
                    <a:gd name="T55" fmla="*/ 2147483646 h 51"/>
                    <a:gd name="T56" fmla="*/ 2147483646 w 99"/>
                    <a:gd name="T57" fmla="*/ 2147483646 h 51"/>
                    <a:gd name="T58" fmla="*/ 2147483646 w 99"/>
                    <a:gd name="T59" fmla="*/ 2147483646 h 51"/>
                    <a:gd name="T60" fmla="*/ 2147483646 w 99"/>
                    <a:gd name="T61" fmla="*/ 2147483646 h 51"/>
                    <a:gd name="T62" fmla="*/ 2147483646 w 99"/>
                    <a:gd name="T63" fmla="*/ 2147483646 h 51"/>
                    <a:gd name="T64" fmla="*/ 2147483646 w 99"/>
                    <a:gd name="T65" fmla="*/ 2147483646 h 51"/>
                    <a:gd name="T66" fmla="*/ 2147483646 w 99"/>
                    <a:gd name="T67" fmla="*/ 2147483646 h 51"/>
                    <a:gd name="T68" fmla="*/ 2147483646 w 99"/>
                    <a:gd name="T69" fmla="*/ 2147483646 h 51"/>
                    <a:gd name="T70" fmla="*/ 2147483646 w 99"/>
                    <a:gd name="T71" fmla="*/ 2147483646 h 51"/>
                    <a:gd name="T72" fmla="*/ 2147483646 w 99"/>
                    <a:gd name="T73" fmla="*/ 2147483646 h 51"/>
                    <a:gd name="T74" fmla="*/ 2147483646 w 99"/>
                    <a:gd name="T75" fmla="*/ 2147483646 h 51"/>
                    <a:gd name="T76" fmla="*/ 2147483646 w 99"/>
                    <a:gd name="T77" fmla="*/ 2147483646 h 51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99"/>
                    <a:gd name="T118" fmla="*/ 0 h 51"/>
                    <a:gd name="T119" fmla="*/ 99 w 99"/>
                    <a:gd name="T120" fmla="*/ 51 h 51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99" h="51">
                      <a:moveTo>
                        <a:pt x="53" y="2"/>
                      </a:moveTo>
                      <a:lnTo>
                        <a:pt x="58" y="1"/>
                      </a:lnTo>
                      <a:lnTo>
                        <a:pt x="62" y="0"/>
                      </a:lnTo>
                      <a:lnTo>
                        <a:pt x="65" y="0"/>
                      </a:lnTo>
                      <a:lnTo>
                        <a:pt x="69" y="1"/>
                      </a:lnTo>
                      <a:lnTo>
                        <a:pt x="74" y="5"/>
                      </a:lnTo>
                      <a:lnTo>
                        <a:pt x="79" y="11"/>
                      </a:lnTo>
                      <a:lnTo>
                        <a:pt x="83" y="18"/>
                      </a:lnTo>
                      <a:lnTo>
                        <a:pt x="87" y="25"/>
                      </a:lnTo>
                      <a:lnTo>
                        <a:pt x="91" y="28"/>
                      </a:lnTo>
                      <a:lnTo>
                        <a:pt x="93" y="30"/>
                      </a:lnTo>
                      <a:lnTo>
                        <a:pt x="96" y="32"/>
                      </a:lnTo>
                      <a:lnTo>
                        <a:pt x="99" y="34"/>
                      </a:lnTo>
                      <a:lnTo>
                        <a:pt x="99" y="37"/>
                      </a:lnTo>
                      <a:lnTo>
                        <a:pt x="97" y="40"/>
                      </a:lnTo>
                      <a:lnTo>
                        <a:pt x="95" y="43"/>
                      </a:lnTo>
                      <a:lnTo>
                        <a:pt x="91" y="45"/>
                      </a:lnTo>
                      <a:lnTo>
                        <a:pt x="86" y="47"/>
                      </a:lnTo>
                      <a:lnTo>
                        <a:pt x="81" y="48"/>
                      </a:lnTo>
                      <a:lnTo>
                        <a:pt x="74" y="50"/>
                      </a:lnTo>
                      <a:lnTo>
                        <a:pt x="68" y="50"/>
                      </a:lnTo>
                      <a:lnTo>
                        <a:pt x="52" y="51"/>
                      </a:lnTo>
                      <a:lnTo>
                        <a:pt x="36" y="49"/>
                      </a:lnTo>
                      <a:lnTo>
                        <a:pt x="27" y="48"/>
                      </a:lnTo>
                      <a:lnTo>
                        <a:pt x="18" y="45"/>
                      </a:lnTo>
                      <a:lnTo>
                        <a:pt x="9" y="43"/>
                      </a:lnTo>
                      <a:lnTo>
                        <a:pt x="1" y="40"/>
                      </a:lnTo>
                      <a:lnTo>
                        <a:pt x="0" y="39"/>
                      </a:lnTo>
                      <a:lnTo>
                        <a:pt x="1" y="37"/>
                      </a:lnTo>
                      <a:lnTo>
                        <a:pt x="3" y="35"/>
                      </a:lnTo>
                      <a:lnTo>
                        <a:pt x="6" y="33"/>
                      </a:lnTo>
                      <a:lnTo>
                        <a:pt x="14" y="29"/>
                      </a:lnTo>
                      <a:lnTo>
                        <a:pt x="25" y="24"/>
                      </a:lnTo>
                      <a:lnTo>
                        <a:pt x="35" y="19"/>
                      </a:lnTo>
                      <a:lnTo>
                        <a:pt x="45" y="12"/>
                      </a:lnTo>
                      <a:lnTo>
                        <a:pt x="48" y="10"/>
                      </a:lnTo>
                      <a:lnTo>
                        <a:pt x="51" y="7"/>
                      </a:lnTo>
                      <a:lnTo>
                        <a:pt x="52" y="5"/>
                      </a:lnTo>
                      <a:lnTo>
                        <a:pt x="53" y="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12" name="Freeform 521">
                  <a:extLst>
                    <a:ext uri="{FF2B5EF4-FFF2-40B4-BE49-F238E27FC236}">
                      <a16:creationId xmlns:a16="http://schemas.microsoft.com/office/drawing/2014/main" xmlns="" id="{9A58456D-51CC-48D0-94F2-28BA4895AE56}"/>
                    </a:ext>
                  </a:extLst>
                </p:cNvPr>
                <p:cNvSpPr>
                  <a:spLocks/>
                </p:cNvSpPr>
                <p:nvPr>
                  <p:custDataLst>
                    <p:tags r:id="rId359"/>
                  </p:custDataLst>
                </p:nvPr>
              </p:nvSpPr>
              <p:spPr bwMode="auto">
                <a:xfrm>
                  <a:off x="4903788" y="1325563"/>
                  <a:ext cx="228600" cy="163512"/>
                </a:xfrm>
                <a:custGeom>
                  <a:avLst/>
                  <a:gdLst>
                    <a:gd name="T0" fmla="*/ 2147483646 w 525"/>
                    <a:gd name="T1" fmla="*/ 2147483646 h 311"/>
                    <a:gd name="T2" fmla="*/ 2147483646 w 525"/>
                    <a:gd name="T3" fmla="*/ 2147483646 h 311"/>
                    <a:gd name="T4" fmla="*/ 2147483646 w 525"/>
                    <a:gd name="T5" fmla="*/ 2147483646 h 311"/>
                    <a:gd name="T6" fmla="*/ 2147483646 w 525"/>
                    <a:gd name="T7" fmla="*/ 2147483646 h 311"/>
                    <a:gd name="T8" fmla="*/ 2147483646 w 525"/>
                    <a:gd name="T9" fmla="*/ 2147483646 h 311"/>
                    <a:gd name="T10" fmla="*/ 2147483646 w 525"/>
                    <a:gd name="T11" fmla="*/ 2147483646 h 311"/>
                    <a:gd name="T12" fmla="*/ 2147483646 w 525"/>
                    <a:gd name="T13" fmla="*/ 2147483646 h 311"/>
                    <a:gd name="T14" fmla="*/ 2147483646 w 525"/>
                    <a:gd name="T15" fmla="*/ 2147483646 h 311"/>
                    <a:gd name="T16" fmla="*/ 2147483646 w 525"/>
                    <a:gd name="T17" fmla="*/ 2147483646 h 311"/>
                    <a:gd name="T18" fmla="*/ 2147483646 w 525"/>
                    <a:gd name="T19" fmla="*/ 2147483646 h 311"/>
                    <a:gd name="T20" fmla="*/ 2147483646 w 525"/>
                    <a:gd name="T21" fmla="*/ 2147483646 h 311"/>
                    <a:gd name="T22" fmla="*/ 2147483646 w 525"/>
                    <a:gd name="T23" fmla="*/ 2147483646 h 311"/>
                    <a:gd name="T24" fmla="*/ 2147483646 w 525"/>
                    <a:gd name="T25" fmla="*/ 2147483646 h 311"/>
                    <a:gd name="T26" fmla="*/ 2147483646 w 525"/>
                    <a:gd name="T27" fmla="*/ 2147483646 h 311"/>
                    <a:gd name="T28" fmla="*/ 2147483646 w 525"/>
                    <a:gd name="T29" fmla="*/ 2147483646 h 311"/>
                    <a:gd name="T30" fmla="*/ 2147483646 w 525"/>
                    <a:gd name="T31" fmla="*/ 2147483646 h 311"/>
                    <a:gd name="T32" fmla="*/ 2147483646 w 525"/>
                    <a:gd name="T33" fmla="*/ 2147483646 h 311"/>
                    <a:gd name="T34" fmla="*/ 2147483646 w 525"/>
                    <a:gd name="T35" fmla="*/ 2147483646 h 311"/>
                    <a:gd name="T36" fmla="*/ 2147483646 w 525"/>
                    <a:gd name="T37" fmla="*/ 2147483646 h 311"/>
                    <a:gd name="T38" fmla="*/ 2147483646 w 525"/>
                    <a:gd name="T39" fmla="*/ 2147483646 h 311"/>
                    <a:gd name="T40" fmla="*/ 2147483646 w 525"/>
                    <a:gd name="T41" fmla="*/ 2147483646 h 311"/>
                    <a:gd name="T42" fmla="*/ 2147483646 w 525"/>
                    <a:gd name="T43" fmla="*/ 2147483646 h 311"/>
                    <a:gd name="T44" fmla="*/ 2147483646 w 525"/>
                    <a:gd name="T45" fmla="*/ 2147483646 h 311"/>
                    <a:gd name="T46" fmla="*/ 2147483646 w 525"/>
                    <a:gd name="T47" fmla="*/ 2147483646 h 311"/>
                    <a:gd name="T48" fmla="*/ 2147483646 w 525"/>
                    <a:gd name="T49" fmla="*/ 2147483646 h 311"/>
                    <a:gd name="T50" fmla="*/ 2147483646 w 525"/>
                    <a:gd name="T51" fmla="*/ 2147483646 h 311"/>
                    <a:gd name="T52" fmla="*/ 2147483646 w 525"/>
                    <a:gd name="T53" fmla="*/ 2147483646 h 311"/>
                    <a:gd name="T54" fmla="*/ 2147483646 w 525"/>
                    <a:gd name="T55" fmla="*/ 2147483646 h 311"/>
                    <a:gd name="T56" fmla="*/ 2147483646 w 525"/>
                    <a:gd name="T57" fmla="*/ 2147483646 h 311"/>
                    <a:gd name="T58" fmla="*/ 2147483646 w 525"/>
                    <a:gd name="T59" fmla="*/ 2147483646 h 311"/>
                    <a:gd name="T60" fmla="*/ 2147483646 w 525"/>
                    <a:gd name="T61" fmla="*/ 2147483646 h 311"/>
                    <a:gd name="T62" fmla="*/ 2147483646 w 525"/>
                    <a:gd name="T63" fmla="*/ 2147483646 h 311"/>
                    <a:gd name="T64" fmla="*/ 2147483646 w 525"/>
                    <a:gd name="T65" fmla="*/ 2147483646 h 311"/>
                    <a:gd name="T66" fmla="*/ 2147483646 w 525"/>
                    <a:gd name="T67" fmla="*/ 2147483646 h 311"/>
                    <a:gd name="T68" fmla="*/ 2147483646 w 525"/>
                    <a:gd name="T69" fmla="*/ 2147483646 h 311"/>
                    <a:gd name="T70" fmla="*/ 2147483646 w 525"/>
                    <a:gd name="T71" fmla="*/ 2147483646 h 311"/>
                    <a:gd name="T72" fmla="*/ 2147483646 w 525"/>
                    <a:gd name="T73" fmla="*/ 2147483646 h 311"/>
                    <a:gd name="T74" fmla="*/ 2147483646 w 525"/>
                    <a:gd name="T75" fmla="*/ 2147483646 h 311"/>
                    <a:gd name="T76" fmla="*/ 0 w 525"/>
                    <a:gd name="T77" fmla="*/ 2147483646 h 311"/>
                    <a:gd name="T78" fmla="*/ 2147483646 w 525"/>
                    <a:gd name="T79" fmla="*/ 2147483646 h 311"/>
                    <a:gd name="T80" fmla="*/ 2147483646 w 525"/>
                    <a:gd name="T81" fmla="*/ 2147483646 h 311"/>
                    <a:gd name="T82" fmla="*/ 2147483646 w 525"/>
                    <a:gd name="T83" fmla="*/ 2147483646 h 311"/>
                    <a:gd name="T84" fmla="*/ 2147483646 w 525"/>
                    <a:gd name="T85" fmla="*/ 2147483646 h 311"/>
                    <a:gd name="T86" fmla="*/ 2147483646 w 525"/>
                    <a:gd name="T87" fmla="*/ 2147483646 h 311"/>
                    <a:gd name="T88" fmla="*/ 2147483646 w 525"/>
                    <a:gd name="T89" fmla="*/ 2147483646 h 311"/>
                    <a:gd name="T90" fmla="*/ 2147483646 w 525"/>
                    <a:gd name="T91" fmla="*/ 2147483646 h 311"/>
                    <a:gd name="T92" fmla="*/ 2147483646 w 525"/>
                    <a:gd name="T93" fmla="*/ 2147483646 h 311"/>
                    <a:gd name="T94" fmla="*/ 2147483646 w 525"/>
                    <a:gd name="T95" fmla="*/ 2147483646 h 311"/>
                    <a:gd name="T96" fmla="*/ 2147483646 w 525"/>
                    <a:gd name="T97" fmla="*/ 2147483646 h 311"/>
                    <a:gd name="T98" fmla="*/ 2147483646 w 525"/>
                    <a:gd name="T99" fmla="*/ 2147483646 h 311"/>
                    <a:gd name="T100" fmla="*/ 2147483646 w 525"/>
                    <a:gd name="T101" fmla="*/ 2147483646 h 311"/>
                    <a:gd name="T102" fmla="*/ 2147483646 w 525"/>
                    <a:gd name="T103" fmla="*/ 2147483646 h 311"/>
                    <a:gd name="T104" fmla="*/ 2147483646 w 525"/>
                    <a:gd name="T105" fmla="*/ 2147483646 h 311"/>
                    <a:gd name="T106" fmla="*/ 2147483646 w 525"/>
                    <a:gd name="T107" fmla="*/ 2147483646 h 311"/>
                    <a:gd name="T108" fmla="*/ 2147483646 w 525"/>
                    <a:gd name="T109" fmla="*/ 2147483646 h 311"/>
                    <a:gd name="T110" fmla="*/ 2147483646 w 525"/>
                    <a:gd name="T111" fmla="*/ 2147483646 h 311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525"/>
                    <a:gd name="T169" fmla="*/ 0 h 311"/>
                    <a:gd name="T170" fmla="*/ 525 w 525"/>
                    <a:gd name="T171" fmla="*/ 311 h 311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525" h="311">
                      <a:moveTo>
                        <a:pt x="273" y="31"/>
                      </a:moveTo>
                      <a:lnTo>
                        <a:pt x="307" y="31"/>
                      </a:lnTo>
                      <a:lnTo>
                        <a:pt x="315" y="27"/>
                      </a:lnTo>
                      <a:lnTo>
                        <a:pt x="324" y="24"/>
                      </a:lnTo>
                      <a:lnTo>
                        <a:pt x="333" y="22"/>
                      </a:lnTo>
                      <a:lnTo>
                        <a:pt x="342" y="21"/>
                      </a:lnTo>
                      <a:lnTo>
                        <a:pt x="359" y="20"/>
                      </a:lnTo>
                      <a:lnTo>
                        <a:pt x="377" y="20"/>
                      </a:lnTo>
                      <a:lnTo>
                        <a:pt x="385" y="20"/>
                      </a:lnTo>
                      <a:lnTo>
                        <a:pt x="393" y="20"/>
                      </a:lnTo>
                      <a:lnTo>
                        <a:pt x="401" y="19"/>
                      </a:lnTo>
                      <a:lnTo>
                        <a:pt x="408" y="17"/>
                      </a:lnTo>
                      <a:lnTo>
                        <a:pt x="415" y="15"/>
                      </a:lnTo>
                      <a:lnTo>
                        <a:pt x="421" y="11"/>
                      </a:lnTo>
                      <a:lnTo>
                        <a:pt x="427" y="7"/>
                      </a:lnTo>
                      <a:lnTo>
                        <a:pt x="433" y="0"/>
                      </a:lnTo>
                      <a:lnTo>
                        <a:pt x="512" y="0"/>
                      </a:lnTo>
                      <a:lnTo>
                        <a:pt x="514" y="6"/>
                      </a:lnTo>
                      <a:lnTo>
                        <a:pt x="519" y="12"/>
                      </a:lnTo>
                      <a:lnTo>
                        <a:pt x="523" y="17"/>
                      </a:lnTo>
                      <a:lnTo>
                        <a:pt x="525" y="19"/>
                      </a:lnTo>
                      <a:lnTo>
                        <a:pt x="511" y="26"/>
                      </a:lnTo>
                      <a:lnTo>
                        <a:pt x="491" y="36"/>
                      </a:lnTo>
                      <a:lnTo>
                        <a:pt x="468" y="47"/>
                      </a:lnTo>
                      <a:lnTo>
                        <a:pt x="443" y="57"/>
                      </a:lnTo>
                      <a:lnTo>
                        <a:pt x="418" y="66"/>
                      </a:lnTo>
                      <a:lnTo>
                        <a:pt x="392" y="73"/>
                      </a:lnTo>
                      <a:lnTo>
                        <a:pt x="379" y="76"/>
                      </a:lnTo>
                      <a:lnTo>
                        <a:pt x="368" y="78"/>
                      </a:lnTo>
                      <a:lnTo>
                        <a:pt x="356" y="80"/>
                      </a:lnTo>
                      <a:lnTo>
                        <a:pt x="346" y="80"/>
                      </a:lnTo>
                      <a:lnTo>
                        <a:pt x="333" y="81"/>
                      </a:lnTo>
                      <a:lnTo>
                        <a:pt x="321" y="83"/>
                      </a:lnTo>
                      <a:lnTo>
                        <a:pt x="309" y="86"/>
                      </a:lnTo>
                      <a:lnTo>
                        <a:pt x="299" y="90"/>
                      </a:lnTo>
                      <a:lnTo>
                        <a:pt x="279" y="101"/>
                      </a:lnTo>
                      <a:lnTo>
                        <a:pt x="262" y="111"/>
                      </a:lnTo>
                      <a:lnTo>
                        <a:pt x="253" y="116"/>
                      </a:lnTo>
                      <a:lnTo>
                        <a:pt x="244" y="121"/>
                      </a:lnTo>
                      <a:lnTo>
                        <a:pt x="235" y="124"/>
                      </a:lnTo>
                      <a:lnTo>
                        <a:pt x="226" y="127"/>
                      </a:lnTo>
                      <a:lnTo>
                        <a:pt x="218" y="129"/>
                      </a:lnTo>
                      <a:lnTo>
                        <a:pt x="208" y="129"/>
                      </a:lnTo>
                      <a:lnTo>
                        <a:pt x="198" y="127"/>
                      </a:lnTo>
                      <a:lnTo>
                        <a:pt x="187" y="123"/>
                      </a:lnTo>
                      <a:lnTo>
                        <a:pt x="186" y="128"/>
                      </a:lnTo>
                      <a:lnTo>
                        <a:pt x="183" y="133"/>
                      </a:lnTo>
                      <a:lnTo>
                        <a:pt x="178" y="137"/>
                      </a:lnTo>
                      <a:lnTo>
                        <a:pt x="174" y="142"/>
                      </a:lnTo>
                      <a:lnTo>
                        <a:pt x="174" y="144"/>
                      </a:lnTo>
                      <a:lnTo>
                        <a:pt x="175" y="145"/>
                      </a:lnTo>
                      <a:lnTo>
                        <a:pt x="177" y="146"/>
                      </a:lnTo>
                      <a:lnTo>
                        <a:pt x="180" y="147"/>
                      </a:lnTo>
                      <a:lnTo>
                        <a:pt x="185" y="148"/>
                      </a:lnTo>
                      <a:lnTo>
                        <a:pt x="187" y="148"/>
                      </a:lnTo>
                      <a:lnTo>
                        <a:pt x="186" y="152"/>
                      </a:lnTo>
                      <a:lnTo>
                        <a:pt x="184" y="157"/>
                      </a:lnTo>
                      <a:lnTo>
                        <a:pt x="181" y="160"/>
                      </a:lnTo>
                      <a:lnTo>
                        <a:pt x="178" y="164"/>
                      </a:lnTo>
                      <a:lnTo>
                        <a:pt x="176" y="167"/>
                      </a:lnTo>
                      <a:lnTo>
                        <a:pt x="175" y="171"/>
                      </a:lnTo>
                      <a:lnTo>
                        <a:pt x="176" y="175"/>
                      </a:lnTo>
                      <a:lnTo>
                        <a:pt x="180" y="179"/>
                      </a:lnTo>
                      <a:lnTo>
                        <a:pt x="175" y="185"/>
                      </a:lnTo>
                      <a:lnTo>
                        <a:pt x="168" y="190"/>
                      </a:lnTo>
                      <a:lnTo>
                        <a:pt x="162" y="194"/>
                      </a:lnTo>
                      <a:lnTo>
                        <a:pt x="155" y="197"/>
                      </a:lnTo>
                      <a:lnTo>
                        <a:pt x="150" y="201"/>
                      </a:lnTo>
                      <a:lnTo>
                        <a:pt x="144" y="204"/>
                      </a:lnTo>
                      <a:lnTo>
                        <a:pt x="143" y="207"/>
                      </a:lnTo>
                      <a:lnTo>
                        <a:pt x="141" y="209"/>
                      </a:lnTo>
                      <a:lnTo>
                        <a:pt x="141" y="213"/>
                      </a:lnTo>
                      <a:lnTo>
                        <a:pt x="140" y="216"/>
                      </a:lnTo>
                      <a:lnTo>
                        <a:pt x="141" y="222"/>
                      </a:lnTo>
                      <a:lnTo>
                        <a:pt x="144" y="228"/>
                      </a:lnTo>
                      <a:lnTo>
                        <a:pt x="149" y="234"/>
                      </a:lnTo>
                      <a:lnTo>
                        <a:pt x="155" y="241"/>
                      </a:lnTo>
                      <a:lnTo>
                        <a:pt x="163" y="247"/>
                      </a:lnTo>
                      <a:lnTo>
                        <a:pt x="172" y="254"/>
                      </a:lnTo>
                      <a:lnTo>
                        <a:pt x="181" y="260"/>
                      </a:lnTo>
                      <a:lnTo>
                        <a:pt x="191" y="267"/>
                      </a:lnTo>
                      <a:lnTo>
                        <a:pt x="213" y="279"/>
                      </a:lnTo>
                      <a:lnTo>
                        <a:pt x="235" y="290"/>
                      </a:lnTo>
                      <a:lnTo>
                        <a:pt x="256" y="300"/>
                      </a:lnTo>
                      <a:lnTo>
                        <a:pt x="273" y="308"/>
                      </a:lnTo>
                      <a:lnTo>
                        <a:pt x="258" y="310"/>
                      </a:lnTo>
                      <a:lnTo>
                        <a:pt x="243" y="311"/>
                      </a:lnTo>
                      <a:lnTo>
                        <a:pt x="229" y="311"/>
                      </a:lnTo>
                      <a:lnTo>
                        <a:pt x="214" y="310"/>
                      </a:lnTo>
                      <a:lnTo>
                        <a:pt x="189" y="309"/>
                      </a:lnTo>
                      <a:lnTo>
                        <a:pt x="167" y="308"/>
                      </a:lnTo>
                      <a:lnTo>
                        <a:pt x="155" y="308"/>
                      </a:lnTo>
                      <a:lnTo>
                        <a:pt x="145" y="308"/>
                      </a:lnTo>
                      <a:lnTo>
                        <a:pt x="138" y="307"/>
                      </a:lnTo>
                      <a:lnTo>
                        <a:pt x="131" y="305"/>
                      </a:lnTo>
                      <a:lnTo>
                        <a:pt x="129" y="304"/>
                      </a:lnTo>
                      <a:lnTo>
                        <a:pt x="127" y="302"/>
                      </a:lnTo>
                      <a:lnTo>
                        <a:pt x="124" y="300"/>
                      </a:lnTo>
                      <a:lnTo>
                        <a:pt x="123" y="298"/>
                      </a:lnTo>
                      <a:lnTo>
                        <a:pt x="121" y="292"/>
                      </a:lnTo>
                      <a:lnTo>
                        <a:pt x="120" y="284"/>
                      </a:lnTo>
                      <a:lnTo>
                        <a:pt x="120" y="282"/>
                      </a:lnTo>
                      <a:lnTo>
                        <a:pt x="119" y="280"/>
                      </a:lnTo>
                      <a:lnTo>
                        <a:pt x="118" y="279"/>
                      </a:lnTo>
                      <a:lnTo>
                        <a:pt x="116" y="278"/>
                      </a:lnTo>
                      <a:lnTo>
                        <a:pt x="111" y="277"/>
                      </a:lnTo>
                      <a:lnTo>
                        <a:pt x="106" y="276"/>
                      </a:lnTo>
                      <a:lnTo>
                        <a:pt x="95" y="277"/>
                      </a:lnTo>
                      <a:lnTo>
                        <a:pt x="87" y="278"/>
                      </a:lnTo>
                      <a:lnTo>
                        <a:pt x="84" y="287"/>
                      </a:lnTo>
                      <a:lnTo>
                        <a:pt x="80" y="296"/>
                      </a:lnTo>
                      <a:lnTo>
                        <a:pt x="66" y="291"/>
                      </a:lnTo>
                      <a:lnTo>
                        <a:pt x="55" y="287"/>
                      </a:lnTo>
                      <a:lnTo>
                        <a:pt x="44" y="282"/>
                      </a:lnTo>
                      <a:lnTo>
                        <a:pt x="35" y="276"/>
                      </a:lnTo>
                      <a:lnTo>
                        <a:pt x="19" y="263"/>
                      </a:lnTo>
                      <a:lnTo>
                        <a:pt x="0" y="246"/>
                      </a:lnTo>
                      <a:lnTo>
                        <a:pt x="8" y="244"/>
                      </a:lnTo>
                      <a:lnTo>
                        <a:pt x="13" y="242"/>
                      </a:lnTo>
                      <a:lnTo>
                        <a:pt x="18" y="239"/>
                      </a:lnTo>
                      <a:lnTo>
                        <a:pt x="22" y="237"/>
                      </a:lnTo>
                      <a:lnTo>
                        <a:pt x="29" y="230"/>
                      </a:lnTo>
                      <a:lnTo>
                        <a:pt x="34" y="222"/>
                      </a:lnTo>
                      <a:lnTo>
                        <a:pt x="31" y="219"/>
                      </a:lnTo>
                      <a:lnTo>
                        <a:pt x="29" y="216"/>
                      </a:lnTo>
                      <a:lnTo>
                        <a:pt x="28" y="213"/>
                      </a:lnTo>
                      <a:lnTo>
                        <a:pt x="28" y="211"/>
                      </a:lnTo>
                      <a:lnTo>
                        <a:pt x="30" y="205"/>
                      </a:lnTo>
                      <a:lnTo>
                        <a:pt x="34" y="200"/>
                      </a:lnTo>
                      <a:lnTo>
                        <a:pt x="38" y="196"/>
                      </a:lnTo>
                      <a:lnTo>
                        <a:pt x="40" y="191"/>
                      </a:lnTo>
                      <a:lnTo>
                        <a:pt x="40" y="188"/>
                      </a:lnTo>
                      <a:lnTo>
                        <a:pt x="39" y="185"/>
                      </a:lnTo>
                      <a:lnTo>
                        <a:pt x="37" y="182"/>
                      </a:lnTo>
                      <a:lnTo>
                        <a:pt x="34" y="179"/>
                      </a:lnTo>
                      <a:lnTo>
                        <a:pt x="73" y="179"/>
                      </a:lnTo>
                      <a:lnTo>
                        <a:pt x="106" y="179"/>
                      </a:lnTo>
                      <a:lnTo>
                        <a:pt x="134" y="179"/>
                      </a:lnTo>
                      <a:lnTo>
                        <a:pt x="167" y="179"/>
                      </a:lnTo>
                      <a:lnTo>
                        <a:pt x="147" y="178"/>
                      </a:lnTo>
                      <a:lnTo>
                        <a:pt x="131" y="177"/>
                      </a:lnTo>
                      <a:lnTo>
                        <a:pt x="117" y="174"/>
                      </a:lnTo>
                      <a:lnTo>
                        <a:pt x="102" y="171"/>
                      </a:lnTo>
                      <a:lnTo>
                        <a:pt x="90" y="166"/>
                      </a:lnTo>
                      <a:lnTo>
                        <a:pt x="78" y="161"/>
                      </a:lnTo>
                      <a:lnTo>
                        <a:pt x="66" y="155"/>
                      </a:lnTo>
                      <a:lnTo>
                        <a:pt x="54" y="148"/>
                      </a:lnTo>
                      <a:lnTo>
                        <a:pt x="65" y="143"/>
                      </a:lnTo>
                      <a:lnTo>
                        <a:pt x="75" y="139"/>
                      </a:lnTo>
                      <a:lnTo>
                        <a:pt x="84" y="134"/>
                      </a:lnTo>
                      <a:lnTo>
                        <a:pt x="91" y="130"/>
                      </a:lnTo>
                      <a:lnTo>
                        <a:pt x="106" y="120"/>
                      </a:lnTo>
                      <a:lnTo>
                        <a:pt x="120" y="111"/>
                      </a:lnTo>
                      <a:lnTo>
                        <a:pt x="118" y="110"/>
                      </a:lnTo>
                      <a:lnTo>
                        <a:pt x="115" y="108"/>
                      </a:lnTo>
                      <a:lnTo>
                        <a:pt x="111" y="103"/>
                      </a:lnTo>
                      <a:lnTo>
                        <a:pt x="108" y="99"/>
                      </a:lnTo>
                      <a:lnTo>
                        <a:pt x="102" y="87"/>
                      </a:lnTo>
                      <a:lnTo>
                        <a:pt x="100" y="80"/>
                      </a:lnTo>
                      <a:lnTo>
                        <a:pt x="108" y="80"/>
                      </a:lnTo>
                      <a:lnTo>
                        <a:pt x="117" y="78"/>
                      </a:lnTo>
                      <a:lnTo>
                        <a:pt x="127" y="76"/>
                      </a:lnTo>
                      <a:lnTo>
                        <a:pt x="138" y="73"/>
                      </a:lnTo>
                      <a:lnTo>
                        <a:pt x="161" y="66"/>
                      </a:lnTo>
                      <a:lnTo>
                        <a:pt x="184" y="58"/>
                      </a:lnTo>
                      <a:lnTo>
                        <a:pt x="209" y="50"/>
                      </a:lnTo>
                      <a:lnTo>
                        <a:pt x="232" y="41"/>
                      </a:lnTo>
                      <a:lnTo>
                        <a:pt x="254" y="35"/>
                      </a:lnTo>
                      <a:lnTo>
                        <a:pt x="273" y="3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13" name="Freeform 522">
                  <a:extLst>
                    <a:ext uri="{FF2B5EF4-FFF2-40B4-BE49-F238E27FC236}">
                      <a16:creationId xmlns:a16="http://schemas.microsoft.com/office/drawing/2014/main" xmlns="" id="{5FE3E3E9-50E9-48D0-ADEA-4DB07ABBE310}"/>
                    </a:ext>
                  </a:extLst>
                </p:cNvPr>
                <p:cNvSpPr>
                  <a:spLocks/>
                </p:cNvSpPr>
                <p:nvPr>
                  <p:custDataLst>
                    <p:tags r:id="rId360"/>
                  </p:custDataLst>
                </p:nvPr>
              </p:nvSpPr>
              <p:spPr bwMode="auto">
                <a:xfrm>
                  <a:off x="4695825" y="1636713"/>
                  <a:ext cx="31750" cy="55562"/>
                </a:xfrm>
                <a:custGeom>
                  <a:avLst/>
                  <a:gdLst>
                    <a:gd name="T0" fmla="*/ 2147483646 w 79"/>
                    <a:gd name="T1" fmla="*/ 0 h 38"/>
                    <a:gd name="T2" fmla="*/ 2147483646 w 79"/>
                    <a:gd name="T3" fmla="*/ 2147483646 h 38"/>
                    <a:gd name="T4" fmla="*/ 2147483646 w 79"/>
                    <a:gd name="T5" fmla="*/ 2147483646 h 38"/>
                    <a:gd name="T6" fmla="*/ 2147483646 w 79"/>
                    <a:gd name="T7" fmla="*/ 2147483646 h 38"/>
                    <a:gd name="T8" fmla="*/ 2147483646 w 79"/>
                    <a:gd name="T9" fmla="*/ 2147483646 h 38"/>
                    <a:gd name="T10" fmla="*/ 2147483646 w 79"/>
                    <a:gd name="T11" fmla="*/ 2147483646 h 38"/>
                    <a:gd name="T12" fmla="*/ 2147483646 w 79"/>
                    <a:gd name="T13" fmla="*/ 2147483646 h 38"/>
                    <a:gd name="T14" fmla="*/ 2147483646 w 79"/>
                    <a:gd name="T15" fmla="*/ 2147483646 h 38"/>
                    <a:gd name="T16" fmla="*/ 2147483646 w 79"/>
                    <a:gd name="T17" fmla="*/ 2147483646 h 38"/>
                    <a:gd name="T18" fmla="*/ 2147483646 w 79"/>
                    <a:gd name="T19" fmla="*/ 2147483646 h 38"/>
                    <a:gd name="T20" fmla="*/ 2147483646 w 79"/>
                    <a:gd name="T21" fmla="*/ 2147483646 h 38"/>
                    <a:gd name="T22" fmla="*/ 2147483646 w 79"/>
                    <a:gd name="T23" fmla="*/ 2147483646 h 38"/>
                    <a:gd name="T24" fmla="*/ 2147483646 w 79"/>
                    <a:gd name="T25" fmla="*/ 2147483646 h 38"/>
                    <a:gd name="T26" fmla="*/ 2147483646 w 79"/>
                    <a:gd name="T27" fmla="*/ 2147483646 h 38"/>
                    <a:gd name="T28" fmla="*/ 2147483646 w 79"/>
                    <a:gd name="T29" fmla="*/ 2147483646 h 38"/>
                    <a:gd name="T30" fmla="*/ 2147483646 w 79"/>
                    <a:gd name="T31" fmla="*/ 2147483646 h 38"/>
                    <a:gd name="T32" fmla="*/ 2147483646 w 79"/>
                    <a:gd name="T33" fmla="*/ 2147483646 h 38"/>
                    <a:gd name="T34" fmla="*/ 2147483646 w 79"/>
                    <a:gd name="T35" fmla="*/ 2147483646 h 38"/>
                    <a:gd name="T36" fmla="*/ 2147483646 w 79"/>
                    <a:gd name="T37" fmla="*/ 2147483646 h 38"/>
                    <a:gd name="T38" fmla="*/ 2147483646 w 79"/>
                    <a:gd name="T39" fmla="*/ 2147483646 h 38"/>
                    <a:gd name="T40" fmla="*/ 2147483646 w 79"/>
                    <a:gd name="T41" fmla="*/ 2147483646 h 38"/>
                    <a:gd name="T42" fmla="*/ 2147483646 w 79"/>
                    <a:gd name="T43" fmla="*/ 2147483646 h 38"/>
                    <a:gd name="T44" fmla="*/ 2147483646 w 79"/>
                    <a:gd name="T45" fmla="*/ 2147483646 h 38"/>
                    <a:gd name="T46" fmla="*/ 0 w 79"/>
                    <a:gd name="T47" fmla="*/ 2147483646 h 38"/>
                    <a:gd name="T48" fmla="*/ 0 w 79"/>
                    <a:gd name="T49" fmla="*/ 2147483646 h 38"/>
                    <a:gd name="T50" fmla="*/ 2147483646 w 79"/>
                    <a:gd name="T51" fmla="*/ 2147483646 h 38"/>
                    <a:gd name="T52" fmla="*/ 2147483646 w 79"/>
                    <a:gd name="T53" fmla="*/ 2147483646 h 38"/>
                    <a:gd name="T54" fmla="*/ 2147483646 w 79"/>
                    <a:gd name="T55" fmla="*/ 2147483646 h 38"/>
                    <a:gd name="T56" fmla="*/ 2147483646 w 79"/>
                    <a:gd name="T57" fmla="*/ 2147483646 h 38"/>
                    <a:gd name="T58" fmla="*/ 2147483646 w 79"/>
                    <a:gd name="T59" fmla="*/ 2147483646 h 38"/>
                    <a:gd name="T60" fmla="*/ 2147483646 w 79"/>
                    <a:gd name="T61" fmla="*/ 0 h 38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79"/>
                    <a:gd name="T94" fmla="*/ 0 h 38"/>
                    <a:gd name="T95" fmla="*/ 79 w 79"/>
                    <a:gd name="T96" fmla="*/ 38 h 38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79" h="38">
                      <a:moveTo>
                        <a:pt x="46" y="0"/>
                      </a:moveTo>
                      <a:lnTo>
                        <a:pt x="54" y="1"/>
                      </a:lnTo>
                      <a:lnTo>
                        <a:pt x="62" y="3"/>
                      </a:lnTo>
                      <a:lnTo>
                        <a:pt x="68" y="7"/>
                      </a:lnTo>
                      <a:lnTo>
                        <a:pt x="72" y="12"/>
                      </a:lnTo>
                      <a:lnTo>
                        <a:pt x="75" y="17"/>
                      </a:lnTo>
                      <a:lnTo>
                        <a:pt x="77" y="22"/>
                      </a:lnTo>
                      <a:lnTo>
                        <a:pt x="79" y="27"/>
                      </a:lnTo>
                      <a:lnTo>
                        <a:pt x="79" y="32"/>
                      </a:lnTo>
                      <a:lnTo>
                        <a:pt x="77" y="34"/>
                      </a:lnTo>
                      <a:lnTo>
                        <a:pt x="75" y="35"/>
                      </a:lnTo>
                      <a:lnTo>
                        <a:pt x="72" y="36"/>
                      </a:lnTo>
                      <a:lnTo>
                        <a:pt x="68" y="37"/>
                      </a:lnTo>
                      <a:lnTo>
                        <a:pt x="57" y="38"/>
                      </a:lnTo>
                      <a:lnTo>
                        <a:pt x="46" y="38"/>
                      </a:lnTo>
                      <a:lnTo>
                        <a:pt x="38" y="37"/>
                      </a:lnTo>
                      <a:lnTo>
                        <a:pt x="30" y="36"/>
                      </a:lnTo>
                      <a:lnTo>
                        <a:pt x="21" y="35"/>
                      </a:lnTo>
                      <a:lnTo>
                        <a:pt x="15" y="32"/>
                      </a:lnTo>
                      <a:lnTo>
                        <a:pt x="8" y="29"/>
                      </a:lnTo>
                      <a:lnTo>
                        <a:pt x="4" y="25"/>
                      </a:lnTo>
                      <a:lnTo>
                        <a:pt x="2" y="22"/>
                      </a:lnTo>
                      <a:lnTo>
                        <a:pt x="1" y="20"/>
                      </a:lnTo>
                      <a:lnTo>
                        <a:pt x="0" y="17"/>
                      </a:lnTo>
                      <a:lnTo>
                        <a:pt x="0" y="13"/>
                      </a:lnTo>
                      <a:lnTo>
                        <a:pt x="1" y="11"/>
                      </a:lnTo>
                      <a:lnTo>
                        <a:pt x="4" y="9"/>
                      </a:lnTo>
                      <a:lnTo>
                        <a:pt x="10" y="6"/>
                      </a:lnTo>
                      <a:lnTo>
                        <a:pt x="17" y="4"/>
                      </a:lnTo>
                      <a:lnTo>
                        <a:pt x="32" y="1"/>
                      </a:lnTo>
                      <a:lnTo>
                        <a:pt x="46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14" name="Freeform 523">
                  <a:extLst>
                    <a:ext uri="{FF2B5EF4-FFF2-40B4-BE49-F238E27FC236}">
                      <a16:creationId xmlns:a16="http://schemas.microsoft.com/office/drawing/2014/main" xmlns="" id="{04954E13-78B6-491F-BC53-35021E15210E}"/>
                    </a:ext>
                  </a:extLst>
                </p:cNvPr>
                <p:cNvSpPr>
                  <a:spLocks/>
                </p:cNvSpPr>
                <p:nvPr>
                  <p:custDataLst>
                    <p:tags r:id="rId361"/>
                  </p:custDataLst>
                </p:nvPr>
              </p:nvSpPr>
              <p:spPr bwMode="auto">
                <a:xfrm>
                  <a:off x="7000875" y="1933575"/>
                  <a:ext cx="196850" cy="268288"/>
                </a:xfrm>
                <a:custGeom>
                  <a:avLst/>
                  <a:gdLst>
                    <a:gd name="T0" fmla="*/ 2147483646 w 459"/>
                    <a:gd name="T1" fmla="*/ 2147483646 h 511"/>
                    <a:gd name="T2" fmla="*/ 2147483646 w 459"/>
                    <a:gd name="T3" fmla="*/ 2147483646 h 511"/>
                    <a:gd name="T4" fmla="*/ 0 w 459"/>
                    <a:gd name="T5" fmla="*/ 0 h 511"/>
                    <a:gd name="T6" fmla="*/ 2147483646 w 459"/>
                    <a:gd name="T7" fmla="*/ 2147483646 h 511"/>
                    <a:gd name="T8" fmla="*/ 2147483646 w 459"/>
                    <a:gd name="T9" fmla="*/ 2147483646 h 511"/>
                    <a:gd name="T10" fmla="*/ 2147483646 w 459"/>
                    <a:gd name="T11" fmla="*/ 2147483646 h 511"/>
                    <a:gd name="T12" fmla="*/ 2147483646 w 459"/>
                    <a:gd name="T13" fmla="*/ 2147483646 h 511"/>
                    <a:gd name="T14" fmla="*/ 2147483646 w 459"/>
                    <a:gd name="T15" fmla="*/ 2147483646 h 511"/>
                    <a:gd name="T16" fmla="*/ 2147483646 w 459"/>
                    <a:gd name="T17" fmla="*/ 2147483646 h 511"/>
                    <a:gd name="T18" fmla="*/ 2147483646 w 459"/>
                    <a:gd name="T19" fmla="*/ 2147483646 h 511"/>
                    <a:gd name="T20" fmla="*/ 2147483646 w 459"/>
                    <a:gd name="T21" fmla="*/ 2147483646 h 511"/>
                    <a:gd name="T22" fmla="*/ 2147483646 w 459"/>
                    <a:gd name="T23" fmla="*/ 2147483646 h 511"/>
                    <a:gd name="T24" fmla="*/ 2147483646 w 459"/>
                    <a:gd name="T25" fmla="*/ 2147483646 h 511"/>
                    <a:gd name="T26" fmla="*/ 2147483646 w 459"/>
                    <a:gd name="T27" fmla="*/ 2147483646 h 511"/>
                    <a:gd name="T28" fmla="*/ 2147483646 w 459"/>
                    <a:gd name="T29" fmla="*/ 2147483646 h 511"/>
                    <a:gd name="T30" fmla="*/ 2147483646 w 459"/>
                    <a:gd name="T31" fmla="*/ 2147483646 h 511"/>
                    <a:gd name="T32" fmla="*/ 2147483646 w 459"/>
                    <a:gd name="T33" fmla="*/ 2147483646 h 511"/>
                    <a:gd name="T34" fmla="*/ 2147483646 w 459"/>
                    <a:gd name="T35" fmla="*/ 2147483646 h 511"/>
                    <a:gd name="T36" fmla="*/ 2147483646 w 459"/>
                    <a:gd name="T37" fmla="*/ 2147483646 h 511"/>
                    <a:gd name="T38" fmla="*/ 2147483646 w 459"/>
                    <a:gd name="T39" fmla="*/ 2147483646 h 511"/>
                    <a:gd name="T40" fmla="*/ 2147483646 w 459"/>
                    <a:gd name="T41" fmla="*/ 2147483646 h 511"/>
                    <a:gd name="T42" fmla="*/ 2147483646 w 459"/>
                    <a:gd name="T43" fmla="*/ 2147483646 h 511"/>
                    <a:gd name="T44" fmla="*/ 2147483646 w 459"/>
                    <a:gd name="T45" fmla="*/ 2147483646 h 511"/>
                    <a:gd name="T46" fmla="*/ 2147483646 w 459"/>
                    <a:gd name="T47" fmla="*/ 2147483646 h 511"/>
                    <a:gd name="T48" fmla="*/ 2147483646 w 459"/>
                    <a:gd name="T49" fmla="*/ 2147483646 h 511"/>
                    <a:gd name="T50" fmla="*/ 2147483646 w 459"/>
                    <a:gd name="T51" fmla="*/ 2147483646 h 511"/>
                    <a:gd name="T52" fmla="*/ 2147483646 w 459"/>
                    <a:gd name="T53" fmla="*/ 2147483646 h 511"/>
                    <a:gd name="T54" fmla="*/ 2147483646 w 459"/>
                    <a:gd name="T55" fmla="*/ 2147483646 h 511"/>
                    <a:gd name="T56" fmla="*/ 2147483646 w 459"/>
                    <a:gd name="T57" fmla="*/ 2147483646 h 511"/>
                    <a:gd name="T58" fmla="*/ 2147483646 w 459"/>
                    <a:gd name="T59" fmla="*/ 2147483646 h 511"/>
                    <a:gd name="T60" fmla="*/ 2147483646 w 459"/>
                    <a:gd name="T61" fmla="*/ 2147483646 h 511"/>
                    <a:gd name="T62" fmla="*/ 2147483646 w 459"/>
                    <a:gd name="T63" fmla="*/ 2147483646 h 511"/>
                    <a:gd name="T64" fmla="*/ 2147483646 w 459"/>
                    <a:gd name="T65" fmla="*/ 2147483646 h 511"/>
                    <a:gd name="T66" fmla="*/ 2147483646 w 459"/>
                    <a:gd name="T67" fmla="*/ 2147483646 h 511"/>
                    <a:gd name="T68" fmla="*/ 2147483646 w 459"/>
                    <a:gd name="T69" fmla="*/ 2147483646 h 511"/>
                    <a:gd name="T70" fmla="*/ 2147483646 w 459"/>
                    <a:gd name="T71" fmla="*/ 2147483646 h 511"/>
                    <a:gd name="T72" fmla="*/ 2147483646 w 459"/>
                    <a:gd name="T73" fmla="*/ 2147483646 h 511"/>
                    <a:gd name="T74" fmla="*/ 2147483646 w 459"/>
                    <a:gd name="T75" fmla="*/ 2147483646 h 511"/>
                    <a:gd name="T76" fmla="*/ 2147483646 w 459"/>
                    <a:gd name="T77" fmla="*/ 2147483646 h 511"/>
                    <a:gd name="T78" fmla="*/ 2147483646 w 459"/>
                    <a:gd name="T79" fmla="*/ 2147483646 h 511"/>
                    <a:gd name="T80" fmla="*/ 2147483646 w 459"/>
                    <a:gd name="T81" fmla="*/ 2147483646 h 511"/>
                    <a:gd name="T82" fmla="*/ 2147483646 w 459"/>
                    <a:gd name="T83" fmla="*/ 2147483646 h 511"/>
                    <a:gd name="T84" fmla="*/ 2147483646 w 459"/>
                    <a:gd name="T85" fmla="*/ 2147483646 h 511"/>
                    <a:gd name="T86" fmla="*/ 2147483646 w 459"/>
                    <a:gd name="T87" fmla="*/ 2147483646 h 511"/>
                    <a:gd name="T88" fmla="*/ 2147483646 w 459"/>
                    <a:gd name="T89" fmla="*/ 2147483646 h 511"/>
                    <a:gd name="T90" fmla="*/ 2147483646 w 459"/>
                    <a:gd name="T91" fmla="*/ 2147483646 h 511"/>
                    <a:gd name="T92" fmla="*/ 2147483646 w 459"/>
                    <a:gd name="T93" fmla="*/ 2147483646 h 511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459"/>
                    <a:gd name="T142" fmla="*/ 0 h 511"/>
                    <a:gd name="T143" fmla="*/ 459 w 459"/>
                    <a:gd name="T144" fmla="*/ 511 h 511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459" h="511">
                      <a:moveTo>
                        <a:pt x="33" y="68"/>
                      </a:moveTo>
                      <a:lnTo>
                        <a:pt x="29" y="56"/>
                      </a:lnTo>
                      <a:lnTo>
                        <a:pt x="26" y="45"/>
                      </a:lnTo>
                      <a:lnTo>
                        <a:pt x="22" y="38"/>
                      </a:lnTo>
                      <a:lnTo>
                        <a:pt x="16" y="31"/>
                      </a:lnTo>
                      <a:lnTo>
                        <a:pt x="12" y="25"/>
                      </a:lnTo>
                      <a:lnTo>
                        <a:pt x="6" y="18"/>
                      </a:lnTo>
                      <a:lnTo>
                        <a:pt x="3" y="10"/>
                      </a:ln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16" y="5"/>
                      </a:lnTo>
                      <a:lnTo>
                        <a:pt x="22" y="7"/>
                      </a:lnTo>
                      <a:lnTo>
                        <a:pt x="26" y="8"/>
                      </a:lnTo>
                      <a:lnTo>
                        <a:pt x="29" y="8"/>
                      </a:lnTo>
                      <a:lnTo>
                        <a:pt x="33" y="6"/>
                      </a:lnTo>
                      <a:lnTo>
                        <a:pt x="59" y="31"/>
                      </a:lnTo>
                      <a:lnTo>
                        <a:pt x="80" y="50"/>
                      </a:lnTo>
                      <a:lnTo>
                        <a:pt x="95" y="67"/>
                      </a:lnTo>
                      <a:lnTo>
                        <a:pt x="107" y="80"/>
                      </a:lnTo>
                      <a:lnTo>
                        <a:pt x="125" y="102"/>
                      </a:lnTo>
                      <a:lnTo>
                        <a:pt x="146" y="123"/>
                      </a:lnTo>
                      <a:lnTo>
                        <a:pt x="172" y="149"/>
                      </a:lnTo>
                      <a:lnTo>
                        <a:pt x="195" y="175"/>
                      </a:lnTo>
                      <a:lnTo>
                        <a:pt x="216" y="198"/>
                      </a:lnTo>
                      <a:lnTo>
                        <a:pt x="239" y="222"/>
                      </a:lnTo>
                      <a:lnTo>
                        <a:pt x="248" y="230"/>
                      </a:lnTo>
                      <a:lnTo>
                        <a:pt x="258" y="237"/>
                      </a:lnTo>
                      <a:lnTo>
                        <a:pt x="269" y="245"/>
                      </a:lnTo>
                      <a:lnTo>
                        <a:pt x="280" y="252"/>
                      </a:lnTo>
                      <a:lnTo>
                        <a:pt x="303" y="266"/>
                      </a:lnTo>
                      <a:lnTo>
                        <a:pt x="327" y="281"/>
                      </a:lnTo>
                      <a:lnTo>
                        <a:pt x="350" y="295"/>
                      </a:lnTo>
                      <a:lnTo>
                        <a:pt x="372" y="311"/>
                      </a:lnTo>
                      <a:lnTo>
                        <a:pt x="382" y="318"/>
                      </a:lnTo>
                      <a:lnTo>
                        <a:pt x="391" y="327"/>
                      </a:lnTo>
                      <a:lnTo>
                        <a:pt x="398" y="336"/>
                      </a:lnTo>
                      <a:lnTo>
                        <a:pt x="405" y="345"/>
                      </a:lnTo>
                      <a:lnTo>
                        <a:pt x="387" y="334"/>
                      </a:lnTo>
                      <a:lnTo>
                        <a:pt x="365" y="320"/>
                      </a:lnTo>
                      <a:lnTo>
                        <a:pt x="343" y="306"/>
                      </a:lnTo>
                      <a:lnTo>
                        <a:pt x="326" y="295"/>
                      </a:lnTo>
                      <a:lnTo>
                        <a:pt x="324" y="296"/>
                      </a:lnTo>
                      <a:lnTo>
                        <a:pt x="318" y="296"/>
                      </a:lnTo>
                      <a:lnTo>
                        <a:pt x="316" y="297"/>
                      </a:lnTo>
                      <a:lnTo>
                        <a:pt x="314" y="298"/>
                      </a:lnTo>
                      <a:lnTo>
                        <a:pt x="313" y="300"/>
                      </a:lnTo>
                      <a:lnTo>
                        <a:pt x="311" y="301"/>
                      </a:lnTo>
                      <a:lnTo>
                        <a:pt x="313" y="311"/>
                      </a:lnTo>
                      <a:lnTo>
                        <a:pt x="313" y="320"/>
                      </a:lnTo>
                      <a:lnTo>
                        <a:pt x="315" y="328"/>
                      </a:lnTo>
                      <a:lnTo>
                        <a:pt x="317" y="337"/>
                      </a:lnTo>
                      <a:lnTo>
                        <a:pt x="319" y="344"/>
                      </a:lnTo>
                      <a:lnTo>
                        <a:pt x="322" y="351"/>
                      </a:lnTo>
                      <a:lnTo>
                        <a:pt x="326" y="358"/>
                      </a:lnTo>
                      <a:lnTo>
                        <a:pt x="329" y="364"/>
                      </a:lnTo>
                      <a:lnTo>
                        <a:pt x="338" y="375"/>
                      </a:lnTo>
                      <a:lnTo>
                        <a:pt x="348" y="387"/>
                      </a:lnTo>
                      <a:lnTo>
                        <a:pt x="359" y="396"/>
                      </a:lnTo>
                      <a:lnTo>
                        <a:pt x="370" y="405"/>
                      </a:lnTo>
                      <a:lnTo>
                        <a:pt x="394" y="421"/>
                      </a:lnTo>
                      <a:lnTo>
                        <a:pt x="418" y="438"/>
                      </a:lnTo>
                      <a:lnTo>
                        <a:pt x="430" y="448"/>
                      </a:lnTo>
                      <a:lnTo>
                        <a:pt x="440" y="458"/>
                      </a:lnTo>
                      <a:lnTo>
                        <a:pt x="450" y="468"/>
                      </a:lnTo>
                      <a:lnTo>
                        <a:pt x="459" y="480"/>
                      </a:lnTo>
                      <a:lnTo>
                        <a:pt x="448" y="476"/>
                      </a:lnTo>
                      <a:lnTo>
                        <a:pt x="437" y="473"/>
                      </a:lnTo>
                      <a:lnTo>
                        <a:pt x="432" y="471"/>
                      </a:lnTo>
                      <a:lnTo>
                        <a:pt x="428" y="469"/>
                      </a:lnTo>
                      <a:lnTo>
                        <a:pt x="426" y="466"/>
                      </a:lnTo>
                      <a:lnTo>
                        <a:pt x="425" y="462"/>
                      </a:lnTo>
                      <a:lnTo>
                        <a:pt x="392" y="462"/>
                      </a:lnTo>
                      <a:lnTo>
                        <a:pt x="392" y="475"/>
                      </a:lnTo>
                      <a:lnTo>
                        <a:pt x="393" y="488"/>
                      </a:lnTo>
                      <a:lnTo>
                        <a:pt x="393" y="494"/>
                      </a:lnTo>
                      <a:lnTo>
                        <a:pt x="395" y="501"/>
                      </a:lnTo>
                      <a:lnTo>
                        <a:pt x="396" y="506"/>
                      </a:lnTo>
                      <a:lnTo>
                        <a:pt x="398" y="511"/>
                      </a:lnTo>
                      <a:lnTo>
                        <a:pt x="395" y="505"/>
                      </a:lnTo>
                      <a:lnTo>
                        <a:pt x="392" y="498"/>
                      </a:lnTo>
                      <a:lnTo>
                        <a:pt x="388" y="492"/>
                      </a:lnTo>
                      <a:lnTo>
                        <a:pt x="383" y="486"/>
                      </a:lnTo>
                      <a:lnTo>
                        <a:pt x="374" y="476"/>
                      </a:lnTo>
                      <a:lnTo>
                        <a:pt x="363" y="466"/>
                      </a:lnTo>
                      <a:lnTo>
                        <a:pt x="354" y="458"/>
                      </a:lnTo>
                      <a:lnTo>
                        <a:pt x="346" y="449"/>
                      </a:lnTo>
                      <a:lnTo>
                        <a:pt x="343" y="445"/>
                      </a:lnTo>
                      <a:lnTo>
                        <a:pt x="340" y="439"/>
                      </a:lnTo>
                      <a:lnTo>
                        <a:pt x="339" y="435"/>
                      </a:lnTo>
                      <a:lnTo>
                        <a:pt x="339" y="431"/>
                      </a:lnTo>
                      <a:lnTo>
                        <a:pt x="337" y="425"/>
                      </a:lnTo>
                      <a:lnTo>
                        <a:pt x="333" y="419"/>
                      </a:lnTo>
                      <a:lnTo>
                        <a:pt x="328" y="411"/>
                      </a:lnTo>
                      <a:lnTo>
                        <a:pt x="321" y="403"/>
                      </a:lnTo>
                      <a:lnTo>
                        <a:pt x="316" y="394"/>
                      </a:lnTo>
                      <a:lnTo>
                        <a:pt x="310" y="384"/>
                      </a:lnTo>
                      <a:lnTo>
                        <a:pt x="307" y="376"/>
                      </a:lnTo>
                      <a:lnTo>
                        <a:pt x="305" y="369"/>
                      </a:lnTo>
                      <a:lnTo>
                        <a:pt x="298" y="367"/>
                      </a:lnTo>
                      <a:lnTo>
                        <a:pt x="292" y="365"/>
                      </a:lnTo>
                      <a:lnTo>
                        <a:pt x="285" y="362"/>
                      </a:lnTo>
                      <a:lnTo>
                        <a:pt x="280" y="358"/>
                      </a:lnTo>
                      <a:lnTo>
                        <a:pt x="274" y="353"/>
                      </a:lnTo>
                      <a:lnTo>
                        <a:pt x="269" y="348"/>
                      </a:lnTo>
                      <a:lnTo>
                        <a:pt x="264" y="343"/>
                      </a:lnTo>
                      <a:lnTo>
                        <a:pt x="261" y="337"/>
                      </a:lnTo>
                      <a:lnTo>
                        <a:pt x="254" y="325"/>
                      </a:lnTo>
                      <a:lnTo>
                        <a:pt x="249" y="314"/>
                      </a:lnTo>
                      <a:lnTo>
                        <a:pt x="247" y="304"/>
                      </a:lnTo>
                      <a:lnTo>
                        <a:pt x="246" y="295"/>
                      </a:lnTo>
                      <a:lnTo>
                        <a:pt x="245" y="293"/>
                      </a:lnTo>
                      <a:lnTo>
                        <a:pt x="242" y="289"/>
                      </a:lnTo>
                      <a:lnTo>
                        <a:pt x="239" y="285"/>
                      </a:lnTo>
                      <a:lnTo>
                        <a:pt x="234" y="281"/>
                      </a:lnTo>
                      <a:lnTo>
                        <a:pt x="221" y="269"/>
                      </a:lnTo>
                      <a:lnTo>
                        <a:pt x="208" y="257"/>
                      </a:lnTo>
                      <a:lnTo>
                        <a:pt x="194" y="244"/>
                      </a:lnTo>
                      <a:lnTo>
                        <a:pt x="181" y="232"/>
                      </a:lnTo>
                      <a:lnTo>
                        <a:pt x="175" y="226"/>
                      </a:lnTo>
                      <a:lnTo>
                        <a:pt x="171" y="220"/>
                      </a:lnTo>
                      <a:lnTo>
                        <a:pt x="168" y="214"/>
                      </a:lnTo>
                      <a:lnTo>
                        <a:pt x="165" y="209"/>
                      </a:lnTo>
                      <a:lnTo>
                        <a:pt x="163" y="203"/>
                      </a:lnTo>
                      <a:lnTo>
                        <a:pt x="161" y="197"/>
                      </a:lnTo>
                      <a:lnTo>
                        <a:pt x="158" y="192"/>
                      </a:lnTo>
                      <a:lnTo>
                        <a:pt x="154" y="187"/>
                      </a:lnTo>
                      <a:lnTo>
                        <a:pt x="146" y="178"/>
                      </a:lnTo>
                      <a:lnTo>
                        <a:pt x="137" y="170"/>
                      </a:lnTo>
                      <a:lnTo>
                        <a:pt x="115" y="155"/>
                      </a:lnTo>
                      <a:lnTo>
                        <a:pt x="92" y="143"/>
                      </a:lnTo>
                      <a:lnTo>
                        <a:pt x="81" y="136"/>
                      </a:lnTo>
                      <a:lnTo>
                        <a:pt x="70" y="130"/>
                      </a:lnTo>
                      <a:lnTo>
                        <a:pt x="60" y="122"/>
                      </a:lnTo>
                      <a:lnTo>
                        <a:pt x="51" y="114"/>
                      </a:lnTo>
                      <a:lnTo>
                        <a:pt x="47" y="110"/>
                      </a:lnTo>
                      <a:lnTo>
                        <a:pt x="44" y="104"/>
                      </a:lnTo>
                      <a:lnTo>
                        <a:pt x="40" y="99"/>
                      </a:lnTo>
                      <a:lnTo>
                        <a:pt x="38" y="93"/>
                      </a:lnTo>
                      <a:lnTo>
                        <a:pt x="36" y="88"/>
                      </a:lnTo>
                      <a:lnTo>
                        <a:pt x="34" y="81"/>
                      </a:lnTo>
                      <a:lnTo>
                        <a:pt x="34" y="75"/>
                      </a:lnTo>
                      <a:lnTo>
                        <a:pt x="33" y="6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415" name="Group 524">
                  <a:extLst>
                    <a:ext uri="{FF2B5EF4-FFF2-40B4-BE49-F238E27FC236}">
                      <a16:creationId xmlns:a16="http://schemas.microsoft.com/office/drawing/2014/main" xmlns="" id="{8C6B3EE6-2AC3-4A77-AD0F-94136A8162FF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362"/>
                  </p:custDataLst>
                </p:nvPr>
              </p:nvGrpSpPr>
              <p:grpSpPr bwMode="auto">
                <a:xfrm>
                  <a:off x="5791200" y="1889125"/>
                  <a:ext cx="671513" cy="384175"/>
                  <a:chOff x="4115" y="1551"/>
                  <a:chExt cx="504" cy="244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440" name="Freeform 525">
                    <a:extLst>
                      <a:ext uri="{FF2B5EF4-FFF2-40B4-BE49-F238E27FC236}">
                        <a16:creationId xmlns:a16="http://schemas.microsoft.com/office/drawing/2014/main" xmlns="" id="{1F5208D1-75B7-4931-9D2E-6481D12A8B0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40" y="1551"/>
                    <a:ext cx="79" cy="86"/>
                  </a:xfrm>
                  <a:custGeom>
                    <a:avLst/>
                    <a:gdLst>
                      <a:gd name="T0" fmla="*/ 0 w 240"/>
                      <a:gd name="T1" fmla="*/ 1 h 259"/>
                      <a:gd name="T2" fmla="*/ 0 w 240"/>
                      <a:gd name="T3" fmla="*/ 1 h 259"/>
                      <a:gd name="T4" fmla="*/ 0 w 240"/>
                      <a:gd name="T5" fmla="*/ 1 h 259"/>
                      <a:gd name="T6" fmla="*/ 1 w 240"/>
                      <a:gd name="T7" fmla="*/ 1 h 259"/>
                      <a:gd name="T8" fmla="*/ 1 w 240"/>
                      <a:gd name="T9" fmla="*/ 1 h 259"/>
                      <a:gd name="T10" fmla="*/ 1 w 240"/>
                      <a:gd name="T11" fmla="*/ 0 h 259"/>
                      <a:gd name="T12" fmla="*/ 1 w 240"/>
                      <a:gd name="T13" fmla="*/ 0 h 259"/>
                      <a:gd name="T14" fmla="*/ 1 w 240"/>
                      <a:gd name="T15" fmla="*/ 0 h 259"/>
                      <a:gd name="T16" fmla="*/ 1 w 240"/>
                      <a:gd name="T17" fmla="*/ 0 h 259"/>
                      <a:gd name="T18" fmla="*/ 1 w 240"/>
                      <a:gd name="T19" fmla="*/ 0 h 259"/>
                      <a:gd name="T20" fmla="*/ 1 w 240"/>
                      <a:gd name="T21" fmla="*/ 0 h 259"/>
                      <a:gd name="T22" fmla="*/ 1 w 240"/>
                      <a:gd name="T23" fmla="*/ 1 h 259"/>
                      <a:gd name="T24" fmla="*/ 0 w 240"/>
                      <a:gd name="T25" fmla="*/ 1 h 259"/>
                      <a:gd name="T26" fmla="*/ 0 w 240"/>
                      <a:gd name="T27" fmla="*/ 1 h 259"/>
                      <a:gd name="T28" fmla="*/ 0 w 240"/>
                      <a:gd name="T29" fmla="*/ 1 h 259"/>
                      <a:gd name="T30" fmla="*/ 0 w 240"/>
                      <a:gd name="T31" fmla="*/ 1 h 259"/>
                      <a:gd name="T32" fmla="*/ 0 w 240"/>
                      <a:gd name="T33" fmla="*/ 1 h 25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40"/>
                      <a:gd name="T52" fmla="*/ 0 h 259"/>
                      <a:gd name="T53" fmla="*/ 240 w 240"/>
                      <a:gd name="T54" fmla="*/ 259 h 25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40" h="259">
                        <a:moveTo>
                          <a:pt x="13" y="247"/>
                        </a:moveTo>
                        <a:lnTo>
                          <a:pt x="79" y="259"/>
                        </a:lnTo>
                        <a:lnTo>
                          <a:pt x="120" y="240"/>
                        </a:lnTo>
                        <a:lnTo>
                          <a:pt x="133" y="210"/>
                        </a:lnTo>
                        <a:lnTo>
                          <a:pt x="192" y="161"/>
                        </a:lnTo>
                        <a:lnTo>
                          <a:pt x="212" y="111"/>
                        </a:lnTo>
                        <a:lnTo>
                          <a:pt x="240" y="26"/>
                        </a:lnTo>
                        <a:lnTo>
                          <a:pt x="212" y="0"/>
                        </a:lnTo>
                        <a:lnTo>
                          <a:pt x="206" y="32"/>
                        </a:lnTo>
                        <a:lnTo>
                          <a:pt x="199" y="74"/>
                        </a:lnTo>
                        <a:lnTo>
                          <a:pt x="166" y="105"/>
                        </a:lnTo>
                        <a:lnTo>
                          <a:pt x="133" y="149"/>
                        </a:lnTo>
                        <a:lnTo>
                          <a:pt x="113" y="179"/>
                        </a:lnTo>
                        <a:lnTo>
                          <a:pt x="93" y="216"/>
                        </a:lnTo>
                        <a:lnTo>
                          <a:pt x="20" y="222"/>
                        </a:lnTo>
                        <a:lnTo>
                          <a:pt x="0" y="222"/>
                        </a:lnTo>
                        <a:lnTo>
                          <a:pt x="13" y="247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41" name="Freeform 526">
                    <a:extLst>
                      <a:ext uri="{FF2B5EF4-FFF2-40B4-BE49-F238E27FC236}">
                        <a16:creationId xmlns:a16="http://schemas.microsoft.com/office/drawing/2014/main" xmlns="" id="{40CD868C-B51F-4BAE-81EE-F5C25677310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115" y="1761"/>
                    <a:ext cx="84" cy="34"/>
                  </a:xfrm>
                  <a:custGeom>
                    <a:avLst/>
                    <a:gdLst>
                      <a:gd name="T0" fmla="*/ 0 w 259"/>
                      <a:gd name="T1" fmla="*/ 0 h 104"/>
                      <a:gd name="T2" fmla="*/ 0 w 259"/>
                      <a:gd name="T3" fmla="*/ 0 h 104"/>
                      <a:gd name="T4" fmla="*/ 0 w 259"/>
                      <a:gd name="T5" fmla="*/ 0 h 104"/>
                      <a:gd name="T6" fmla="*/ 0 w 259"/>
                      <a:gd name="T7" fmla="*/ 0 h 104"/>
                      <a:gd name="T8" fmla="*/ 0 w 259"/>
                      <a:gd name="T9" fmla="*/ 0 h 104"/>
                      <a:gd name="T10" fmla="*/ 1 w 259"/>
                      <a:gd name="T11" fmla="*/ 0 h 104"/>
                      <a:gd name="T12" fmla="*/ 1 w 259"/>
                      <a:gd name="T13" fmla="*/ 0 h 104"/>
                      <a:gd name="T14" fmla="*/ 1 w 259"/>
                      <a:gd name="T15" fmla="*/ 0 h 104"/>
                      <a:gd name="T16" fmla="*/ 1 w 259"/>
                      <a:gd name="T17" fmla="*/ 0 h 104"/>
                      <a:gd name="T18" fmla="*/ 1 w 259"/>
                      <a:gd name="T19" fmla="*/ 0 h 104"/>
                      <a:gd name="T20" fmla="*/ 1 w 259"/>
                      <a:gd name="T21" fmla="*/ 0 h 104"/>
                      <a:gd name="T22" fmla="*/ 0 w 259"/>
                      <a:gd name="T23" fmla="*/ 0 h 104"/>
                      <a:gd name="T24" fmla="*/ 0 w 259"/>
                      <a:gd name="T25" fmla="*/ 0 h 104"/>
                      <a:gd name="T26" fmla="*/ 0 w 259"/>
                      <a:gd name="T27" fmla="*/ 0 h 104"/>
                      <a:gd name="T28" fmla="*/ 0 w 259"/>
                      <a:gd name="T29" fmla="*/ 0 h 104"/>
                      <a:gd name="T30" fmla="*/ 0 w 259"/>
                      <a:gd name="T31" fmla="*/ 0 h 104"/>
                      <a:gd name="T32" fmla="*/ 0 w 259"/>
                      <a:gd name="T33" fmla="*/ 0 h 104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59"/>
                      <a:gd name="T52" fmla="*/ 0 h 104"/>
                      <a:gd name="T53" fmla="*/ 259 w 259"/>
                      <a:gd name="T54" fmla="*/ 104 h 104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59" h="104">
                        <a:moveTo>
                          <a:pt x="33" y="104"/>
                        </a:moveTo>
                        <a:lnTo>
                          <a:pt x="26" y="86"/>
                        </a:lnTo>
                        <a:lnTo>
                          <a:pt x="52" y="62"/>
                        </a:lnTo>
                        <a:lnTo>
                          <a:pt x="72" y="49"/>
                        </a:lnTo>
                        <a:lnTo>
                          <a:pt x="126" y="43"/>
                        </a:lnTo>
                        <a:lnTo>
                          <a:pt x="172" y="43"/>
                        </a:lnTo>
                        <a:lnTo>
                          <a:pt x="246" y="31"/>
                        </a:lnTo>
                        <a:lnTo>
                          <a:pt x="259" y="7"/>
                        </a:lnTo>
                        <a:lnTo>
                          <a:pt x="246" y="0"/>
                        </a:lnTo>
                        <a:lnTo>
                          <a:pt x="205" y="13"/>
                        </a:lnTo>
                        <a:lnTo>
                          <a:pt x="152" y="7"/>
                        </a:lnTo>
                        <a:lnTo>
                          <a:pt x="106" y="13"/>
                        </a:lnTo>
                        <a:lnTo>
                          <a:pt x="52" y="19"/>
                        </a:lnTo>
                        <a:lnTo>
                          <a:pt x="26" y="43"/>
                        </a:lnTo>
                        <a:lnTo>
                          <a:pt x="0" y="68"/>
                        </a:lnTo>
                        <a:lnTo>
                          <a:pt x="0" y="104"/>
                        </a:lnTo>
                        <a:lnTo>
                          <a:pt x="33" y="104"/>
                        </a:lnTo>
                      </a:path>
                    </a:pathLst>
                  </a:custGeom>
                  <a:grpFill/>
                  <a:ln w="9525" cmpd="sng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416" name="Freeform 527">
                  <a:extLst>
                    <a:ext uri="{FF2B5EF4-FFF2-40B4-BE49-F238E27FC236}">
                      <a16:creationId xmlns:a16="http://schemas.microsoft.com/office/drawing/2014/main" xmlns="" id="{1B4284B1-248B-4764-A3BE-76871375EC81}"/>
                    </a:ext>
                  </a:extLst>
                </p:cNvPr>
                <p:cNvSpPr>
                  <a:spLocks/>
                </p:cNvSpPr>
                <p:nvPr>
                  <p:custDataLst>
                    <p:tags r:id="rId363"/>
                  </p:custDataLst>
                </p:nvPr>
              </p:nvSpPr>
              <p:spPr bwMode="auto">
                <a:xfrm>
                  <a:off x="4848225" y="2638425"/>
                  <a:ext cx="530225" cy="511175"/>
                </a:xfrm>
                <a:custGeom>
                  <a:avLst/>
                  <a:gdLst>
                    <a:gd name="T0" fmla="*/ 2147483646 w 1227"/>
                    <a:gd name="T1" fmla="*/ 2147483646 h 979"/>
                    <a:gd name="T2" fmla="*/ 2147483646 w 1227"/>
                    <a:gd name="T3" fmla="*/ 2147483646 h 979"/>
                    <a:gd name="T4" fmla="*/ 2147483646 w 1227"/>
                    <a:gd name="T5" fmla="*/ 2147483646 h 979"/>
                    <a:gd name="T6" fmla="*/ 2147483646 w 1227"/>
                    <a:gd name="T7" fmla="*/ 2147483646 h 979"/>
                    <a:gd name="T8" fmla="*/ 2147483646 w 1227"/>
                    <a:gd name="T9" fmla="*/ 2147483646 h 979"/>
                    <a:gd name="T10" fmla="*/ 2147483646 w 1227"/>
                    <a:gd name="T11" fmla="*/ 2147483646 h 979"/>
                    <a:gd name="T12" fmla="*/ 2147483646 w 1227"/>
                    <a:gd name="T13" fmla="*/ 2147483646 h 979"/>
                    <a:gd name="T14" fmla="*/ 2147483646 w 1227"/>
                    <a:gd name="T15" fmla="*/ 2147483646 h 979"/>
                    <a:gd name="T16" fmla="*/ 2147483646 w 1227"/>
                    <a:gd name="T17" fmla="*/ 2147483646 h 979"/>
                    <a:gd name="T18" fmla="*/ 2147483646 w 1227"/>
                    <a:gd name="T19" fmla="*/ 2147483646 h 979"/>
                    <a:gd name="T20" fmla="*/ 2147483646 w 1227"/>
                    <a:gd name="T21" fmla="*/ 2147483646 h 979"/>
                    <a:gd name="T22" fmla="*/ 2147483646 w 1227"/>
                    <a:gd name="T23" fmla="*/ 2147483646 h 979"/>
                    <a:gd name="T24" fmla="*/ 2147483646 w 1227"/>
                    <a:gd name="T25" fmla="*/ 2147483646 h 979"/>
                    <a:gd name="T26" fmla="*/ 2147483646 w 1227"/>
                    <a:gd name="T27" fmla="*/ 2147483646 h 979"/>
                    <a:gd name="T28" fmla="*/ 2147483646 w 1227"/>
                    <a:gd name="T29" fmla="*/ 2147483646 h 979"/>
                    <a:gd name="T30" fmla="*/ 2147483646 w 1227"/>
                    <a:gd name="T31" fmla="*/ 2147483646 h 979"/>
                    <a:gd name="T32" fmla="*/ 2147483646 w 1227"/>
                    <a:gd name="T33" fmla="*/ 2147483646 h 979"/>
                    <a:gd name="T34" fmla="*/ 2147483646 w 1227"/>
                    <a:gd name="T35" fmla="*/ 2147483646 h 979"/>
                    <a:gd name="T36" fmla="*/ 2147483646 w 1227"/>
                    <a:gd name="T37" fmla="*/ 2147483646 h 979"/>
                    <a:gd name="T38" fmla="*/ 2147483646 w 1227"/>
                    <a:gd name="T39" fmla="*/ 2147483646 h 979"/>
                    <a:gd name="T40" fmla="*/ 2147483646 w 1227"/>
                    <a:gd name="T41" fmla="*/ 2147483646 h 979"/>
                    <a:gd name="T42" fmla="*/ 2147483646 w 1227"/>
                    <a:gd name="T43" fmla="*/ 2147483646 h 979"/>
                    <a:gd name="T44" fmla="*/ 2147483646 w 1227"/>
                    <a:gd name="T45" fmla="*/ 2147483646 h 979"/>
                    <a:gd name="T46" fmla="*/ 2147483646 w 1227"/>
                    <a:gd name="T47" fmla="*/ 2147483646 h 979"/>
                    <a:gd name="T48" fmla="*/ 2147483646 w 1227"/>
                    <a:gd name="T49" fmla="*/ 2147483646 h 979"/>
                    <a:gd name="T50" fmla="*/ 2147483646 w 1227"/>
                    <a:gd name="T51" fmla="*/ 2147483646 h 979"/>
                    <a:gd name="T52" fmla="*/ 2147483646 w 1227"/>
                    <a:gd name="T53" fmla="*/ 2147483646 h 979"/>
                    <a:gd name="T54" fmla="*/ 2147483646 w 1227"/>
                    <a:gd name="T55" fmla="*/ 2147483646 h 979"/>
                    <a:gd name="T56" fmla="*/ 2147483646 w 1227"/>
                    <a:gd name="T57" fmla="*/ 2147483646 h 979"/>
                    <a:gd name="T58" fmla="*/ 0 w 1227"/>
                    <a:gd name="T59" fmla="*/ 2147483646 h 979"/>
                    <a:gd name="T60" fmla="*/ 2147483646 w 1227"/>
                    <a:gd name="T61" fmla="*/ 2147483646 h 979"/>
                    <a:gd name="T62" fmla="*/ 2147483646 w 1227"/>
                    <a:gd name="T63" fmla="*/ 2147483646 h 979"/>
                    <a:gd name="T64" fmla="*/ 2147483646 w 1227"/>
                    <a:gd name="T65" fmla="*/ 2147483646 h 979"/>
                    <a:gd name="T66" fmla="*/ 2147483646 w 1227"/>
                    <a:gd name="T67" fmla="*/ 2147483646 h 979"/>
                    <a:gd name="T68" fmla="*/ 2147483646 w 1227"/>
                    <a:gd name="T69" fmla="*/ 2147483646 h 979"/>
                    <a:gd name="T70" fmla="*/ 2147483646 w 1227"/>
                    <a:gd name="T71" fmla="*/ 2147483646 h 979"/>
                    <a:gd name="T72" fmla="*/ 2147483646 w 1227"/>
                    <a:gd name="T73" fmla="*/ 2147483646 h 979"/>
                    <a:gd name="T74" fmla="*/ 2147483646 w 1227"/>
                    <a:gd name="T75" fmla="*/ 2147483646 h 979"/>
                    <a:gd name="T76" fmla="*/ 2147483646 w 1227"/>
                    <a:gd name="T77" fmla="*/ 2147483646 h 979"/>
                    <a:gd name="T78" fmla="*/ 2147483646 w 1227"/>
                    <a:gd name="T79" fmla="*/ 2147483646 h 979"/>
                    <a:gd name="T80" fmla="*/ 2147483646 w 1227"/>
                    <a:gd name="T81" fmla="*/ 2147483646 h 979"/>
                    <a:gd name="T82" fmla="*/ 2147483646 w 1227"/>
                    <a:gd name="T83" fmla="*/ 2147483646 h 979"/>
                    <a:gd name="T84" fmla="*/ 2147483646 w 1227"/>
                    <a:gd name="T85" fmla="*/ 2147483646 h 979"/>
                    <a:gd name="T86" fmla="*/ 2147483646 w 1227"/>
                    <a:gd name="T87" fmla="*/ 2147483646 h 979"/>
                    <a:gd name="T88" fmla="*/ 2147483646 w 1227"/>
                    <a:gd name="T89" fmla="*/ 2147483646 h 979"/>
                    <a:gd name="T90" fmla="*/ 2147483646 w 1227"/>
                    <a:gd name="T91" fmla="*/ 2147483646 h 979"/>
                    <a:gd name="T92" fmla="*/ 2147483646 w 1227"/>
                    <a:gd name="T93" fmla="*/ 2147483646 h 979"/>
                    <a:gd name="T94" fmla="*/ 2147483646 w 1227"/>
                    <a:gd name="T95" fmla="*/ 2147483646 h 979"/>
                    <a:gd name="T96" fmla="*/ 2147483646 w 1227"/>
                    <a:gd name="T97" fmla="*/ 2147483646 h 979"/>
                    <a:gd name="T98" fmla="*/ 2147483646 w 1227"/>
                    <a:gd name="T99" fmla="*/ 2147483646 h 979"/>
                    <a:gd name="T100" fmla="*/ 2147483646 w 1227"/>
                    <a:gd name="T101" fmla="*/ 2147483646 h 979"/>
                    <a:gd name="T102" fmla="*/ 2147483646 w 1227"/>
                    <a:gd name="T103" fmla="*/ 2147483646 h 979"/>
                    <a:gd name="T104" fmla="*/ 2147483646 w 1227"/>
                    <a:gd name="T105" fmla="*/ 2147483646 h 979"/>
                    <a:gd name="T106" fmla="*/ 2147483646 w 1227"/>
                    <a:gd name="T107" fmla="*/ 2147483646 h 979"/>
                    <a:gd name="T108" fmla="*/ 2147483646 w 1227"/>
                    <a:gd name="T109" fmla="*/ 2147483646 h 979"/>
                    <a:gd name="T110" fmla="*/ 2147483646 w 1227"/>
                    <a:gd name="T111" fmla="*/ 2147483646 h 979"/>
                    <a:gd name="T112" fmla="*/ 2147483646 w 1227"/>
                    <a:gd name="T113" fmla="*/ 2147483646 h 979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227"/>
                    <a:gd name="T172" fmla="*/ 0 h 979"/>
                    <a:gd name="T173" fmla="*/ 1227 w 1227"/>
                    <a:gd name="T174" fmla="*/ 979 h 979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227" h="979">
                      <a:moveTo>
                        <a:pt x="940" y="468"/>
                      </a:moveTo>
                      <a:lnTo>
                        <a:pt x="937" y="468"/>
                      </a:lnTo>
                      <a:lnTo>
                        <a:pt x="935" y="467"/>
                      </a:lnTo>
                      <a:lnTo>
                        <a:pt x="932" y="466"/>
                      </a:lnTo>
                      <a:lnTo>
                        <a:pt x="931" y="465"/>
                      </a:lnTo>
                      <a:lnTo>
                        <a:pt x="930" y="461"/>
                      </a:lnTo>
                      <a:lnTo>
                        <a:pt x="930" y="456"/>
                      </a:lnTo>
                      <a:lnTo>
                        <a:pt x="932" y="442"/>
                      </a:lnTo>
                      <a:lnTo>
                        <a:pt x="933" y="425"/>
                      </a:lnTo>
                      <a:lnTo>
                        <a:pt x="933" y="420"/>
                      </a:lnTo>
                      <a:lnTo>
                        <a:pt x="932" y="416"/>
                      </a:lnTo>
                      <a:lnTo>
                        <a:pt x="930" y="412"/>
                      </a:lnTo>
                      <a:lnTo>
                        <a:pt x="928" y="407"/>
                      </a:lnTo>
                      <a:lnTo>
                        <a:pt x="921" y="400"/>
                      </a:lnTo>
                      <a:lnTo>
                        <a:pt x="915" y="392"/>
                      </a:lnTo>
                      <a:lnTo>
                        <a:pt x="908" y="385"/>
                      </a:lnTo>
                      <a:lnTo>
                        <a:pt x="903" y="378"/>
                      </a:lnTo>
                      <a:lnTo>
                        <a:pt x="902" y="373"/>
                      </a:lnTo>
                      <a:lnTo>
                        <a:pt x="901" y="370"/>
                      </a:lnTo>
                      <a:lnTo>
                        <a:pt x="899" y="367"/>
                      </a:lnTo>
                      <a:lnTo>
                        <a:pt x="901" y="363"/>
                      </a:lnTo>
                      <a:lnTo>
                        <a:pt x="865" y="344"/>
                      </a:lnTo>
                      <a:lnTo>
                        <a:pt x="838" y="328"/>
                      </a:lnTo>
                      <a:lnTo>
                        <a:pt x="817" y="312"/>
                      </a:lnTo>
                      <a:lnTo>
                        <a:pt x="801" y="300"/>
                      </a:lnTo>
                      <a:lnTo>
                        <a:pt x="779" y="280"/>
                      </a:lnTo>
                      <a:lnTo>
                        <a:pt x="761" y="264"/>
                      </a:lnTo>
                      <a:lnTo>
                        <a:pt x="759" y="263"/>
                      </a:lnTo>
                      <a:lnTo>
                        <a:pt x="757" y="258"/>
                      </a:lnTo>
                      <a:lnTo>
                        <a:pt x="756" y="252"/>
                      </a:lnTo>
                      <a:lnTo>
                        <a:pt x="754" y="245"/>
                      </a:lnTo>
                      <a:lnTo>
                        <a:pt x="752" y="229"/>
                      </a:lnTo>
                      <a:lnTo>
                        <a:pt x="748" y="216"/>
                      </a:lnTo>
                      <a:lnTo>
                        <a:pt x="740" y="218"/>
                      </a:lnTo>
                      <a:lnTo>
                        <a:pt x="733" y="218"/>
                      </a:lnTo>
                      <a:lnTo>
                        <a:pt x="726" y="218"/>
                      </a:lnTo>
                      <a:lnTo>
                        <a:pt x="718" y="217"/>
                      </a:lnTo>
                      <a:lnTo>
                        <a:pt x="711" y="215"/>
                      </a:lnTo>
                      <a:lnTo>
                        <a:pt x="703" y="212"/>
                      </a:lnTo>
                      <a:lnTo>
                        <a:pt x="695" y="207"/>
                      </a:lnTo>
                      <a:lnTo>
                        <a:pt x="688" y="203"/>
                      </a:lnTo>
                      <a:lnTo>
                        <a:pt x="667" y="199"/>
                      </a:lnTo>
                      <a:lnTo>
                        <a:pt x="650" y="197"/>
                      </a:lnTo>
                      <a:lnTo>
                        <a:pt x="638" y="196"/>
                      </a:lnTo>
                      <a:lnTo>
                        <a:pt x="630" y="196"/>
                      </a:lnTo>
                      <a:lnTo>
                        <a:pt x="617" y="199"/>
                      </a:lnTo>
                      <a:lnTo>
                        <a:pt x="602" y="203"/>
                      </a:lnTo>
                      <a:lnTo>
                        <a:pt x="596" y="201"/>
                      </a:lnTo>
                      <a:lnTo>
                        <a:pt x="591" y="201"/>
                      </a:lnTo>
                      <a:lnTo>
                        <a:pt x="584" y="202"/>
                      </a:lnTo>
                      <a:lnTo>
                        <a:pt x="578" y="203"/>
                      </a:lnTo>
                      <a:lnTo>
                        <a:pt x="570" y="204"/>
                      </a:lnTo>
                      <a:lnTo>
                        <a:pt x="563" y="205"/>
                      </a:lnTo>
                      <a:lnTo>
                        <a:pt x="556" y="204"/>
                      </a:lnTo>
                      <a:lnTo>
                        <a:pt x="548" y="203"/>
                      </a:lnTo>
                      <a:lnTo>
                        <a:pt x="530" y="195"/>
                      </a:lnTo>
                      <a:lnTo>
                        <a:pt x="517" y="190"/>
                      </a:lnTo>
                      <a:lnTo>
                        <a:pt x="513" y="187"/>
                      </a:lnTo>
                      <a:lnTo>
                        <a:pt x="509" y="183"/>
                      </a:lnTo>
                      <a:lnTo>
                        <a:pt x="505" y="179"/>
                      </a:lnTo>
                      <a:lnTo>
                        <a:pt x="502" y="173"/>
                      </a:lnTo>
                      <a:lnTo>
                        <a:pt x="493" y="152"/>
                      </a:lnTo>
                      <a:lnTo>
                        <a:pt x="487" y="136"/>
                      </a:lnTo>
                      <a:lnTo>
                        <a:pt x="483" y="128"/>
                      </a:lnTo>
                      <a:lnTo>
                        <a:pt x="479" y="121"/>
                      </a:lnTo>
                      <a:lnTo>
                        <a:pt x="476" y="115"/>
                      </a:lnTo>
                      <a:lnTo>
                        <a:pt x="470" y="109"/>
                      </a:lnTo>
                      <a:lnTo>
                        <a:pt x="465" y="103"/>
                      </a:lnTo>
                      <a:lnTo>
                        <a:pt x="459" y="96"/>
                      </a:lnTo>
                      <a:lnTo>
                        <a:pt x="451" y="91"/>
                      </a:lnTo>
                      <a:lnTo>
                        <a:pt x="443" y="86"/>
                      </a:lnTo>
                      <a:lnTo>
                        <a:pt x="432" y="81"/>
                      </a:lnTo>
                      <a:lnTo>
                        <a:pt x="420" y="77"/>
                      </a:lnTo>
                      <a:lnTo>
                        <a:pt x="405" y="72"/>
                      </a:lnTo>
                      <a:lnTo>
                        <a:pt x="389" y="68"/>
                      </a:lnTo>
                      <a:lnTo>
                        <a:pt x="365" y="61"/>
                      </a:lnTo>
                      <a:lnTo>
                        <a:pt x="346" y="55"/>
                      </a:lnTo>
                      <a:lnTo>
                        <a:pt x="332" y="48"/>
                      </a:lnTo>
                      <a:lnTo>
                        <a:pt x="317" y="40"/>
                      </a:lnTo>
                      <a:lnTo>
                        <a:pt x="303" y="32"/>
                      </a:lnTo>
                      <a:lnTo>
                        <a:pt x="287" y="23"/>
                      </a:lnTo>
                      <a:lnTo>
                        <a:pt x="265" y="13"/>
                      </a:lnTo>
                      <a:lnTo>
                        <a:pt x="236" y="0"/>
                      </a:lnTo>
                      <a:lnTo>
                        <a:pt x="214" y="10"/>
                      </a:lnTo>
                      <a:lnTo>
                        <a:pt x="186" y="24"/>
                      </a:lnTo>
                      <a:lnTo>
                        <a:pt x="178" y="28"/>
                      </a:lnTo>
                      <a:lnTo>
                        <a:pt x="171" y="33"/>
                      </a:lnTo>
                      <a:lnTo>
                        <a:pt x="166" y="38"/>
                      </a:lnTo>
                      <a:lnTo>
                        <a:pt x="160" y="44"/>
                      </a:lnTo>
                      <a:lnTo>
                        <a:pt x="156" y="49"/>
                      </a:lnTo>
                      <a:lnTo>
                        <a:pt x="153" y="55"/>
                      </a:lnTo>
                      <a:lnTo>
                        <a:pt x="151" y="61"/>
                      </a:lnTo>
                      <a:lnTo>
                        <a:pt x="149" y="68"/>
                      </a:lnTo>
                      <a:lnTo>
                        <a:pt x="151" y="75"/>
                      </a:lnTo>
                      <a:lnTo>
                        <a:pt x="152" y="82"/>
                      </a:lnTo>
                      <a:lnTo>
                        <a:pt x="153" y="90"/>
                      </a:lnTo>
                      <a:lnTo>
                        <a:pt x="156" y="97"/>
                      </a:lnTo>
                      <a:lnTo>
                        <a:pt x="159" y="105"/>
                      </a:lnTo>
                      <a:lnTo>
                        <a:pt x="164" y="112"/>
                      </a:lnTo>
                      <a:lnTo>
                        <a:pt x="169" y="118"/>
                      </a:lnTo>
                      <a:lnTo>
                        <a:pt x="177" y="123"/>
                      </a:lnTo>
                      <a:lnTo>
                        <a:pt x="171" y="129"/>
                      </a:lnTo>
                      <a:lnTo>
                        <a:pt x="163" y="139"/>
                      </a:lnTo>
                      <a:lnTo>
                        <a:pt x="151" y="150"/>
                      </a:lnTo>
                      <a:lnTo>
                        <a:pt x="136" y="162"/>
                      </a:lnTo>
                      <a:lnTo>
                        <a:pt x="120" y="173"/>
                      </a:lnTo>
                      <a:lnTo>
                        <a:pt x="102" y="182"/>
                      </a:lnTo>
                      <a:lnTo>
                        <a:pt x="95" y="186"/>
                      </a:lnTo>
                      <a:lnTo>
                        <a:pt x="86" y="188"/>
                      </a:lnTo>
                      <a:lnTo>
                        <a:pt x="78" y="190"/>
                      </a:lnTo>
                      <a:lnTo>
                        <a:pt x="70" y="191"/>
                      </a:lnTo>
                      <a:lnTo>
                        <a:pt x="54" y="190"/>
                      </a:lnTo>
                      <a:lnTo>
                        <a:pt x="37" y="187"/>
                      </a:lnTo>
                      <a:lnTo>
                        <a:pt x="22" y="183"/>
                      </a:lnTo>
                      <a:lnTo>
                        <a:pt x="10" y="179"/>
                      </a:lnTo>
                      <a:lnTo>
                        <a:pt x="9" y="183"/>
                      </a:lnTo>
                      <a:lnTo>
                        <a:pt x="6" y="193"/>
                      </a:lnTo>
                      <a:lnTo>
                        <a:pt x="2" y="208"/>
                      </a:lnTo>
                      <a:lnTo>
                        <a:pt x="0" y="226"/>
                      </a:lnTo>
                      <a:lnTo>
                        <a:pt x="0" y="236"/>
                      </a:lnTo>
                      <a:lnTo>
                        <a:pt x="0" y="245"/>
                      </a:lnTo>
                      <a:lnTo>
                        <a:pt x="2" y="253"/>
                      </a:lnTo>
                      <a:lnTo>
                        <a:pt x="5" y="261"/>
                      </a:lnTo>
                      <a:lnTo>
                        <a:pt x="9" y="269"/>
                      </a:lnTo>
                      <a:lnTo>
                        <a:pt x="14" y="276"/>
                      </a:lnTo>
                      <a:lnTo>
                        <a:pt x="18" y="278"/>
                      </a:lnTo>
                      <a:lnTo>
                        <a:pt x="21" y="280"/>
                      </a:lnTo>
                      <a:lnTo>
                        <a:pt x="25" y="282"/>
                      </a:lnTo>
                      <a:lnTo>
                        <a:pt x="30" y="283"/>
                      </a:lnTo>
                      <a:lnTo>
                        <a:pt x="32" y="291"/>
                      </a:lnTo>
                      <a:lnTo>
                        <a:pt x="35" y="299"/>
                      </a:lnTo>
                      <a:lnTo>
                        <a:pt x="40" y="307"/>
                      </a:lnTo>
                      <a:lnTo>
                        <a:pt x="44" y="315"/>
                      </a:lnTo>
                      <a:lnTo>
                        <a:pt x="56" y="331"/>
                      </a:lnTo>
                      <a:lnTo>
                        <a:pt x="69" y="347"/>
                      </a:lnTo>
                      <a:lnTo>
                        <a:pt x="83" y="364"/>
                      </a:lnTo>
                      <a:lnTo>
                        <a:pt x="92" y="383"/>
                      </a:lnTo>
                      <a:lnTo>
                        <a:pt x="97" y="393"/>
                      </a:lnTo>
                      <a:lnTo>
                        <a:pt x="100" y="403"/>
                      </a:lnTo>
                      <a:lnTo>
                        <a:pt x="102" y="414"/>
                      </a:lnTo>
                      <a:lnTo>
                        <a:pt x="103" y="425"/>
                      </a:lnTo>
                      <a:lnTo>
                        <a:pt x="110" y="425"/>
                      </a:lnTo>
                      <a:lnTo>
                        <a:pt x="117" y="426"/>
                      </a:lnTo>
                      <a:lnTo>
                        <a:pt x="121" y="427"/>
                      </a:lnTo>
                      <a:lnTo>
                        <a:pt x="124" y="429"/>
                      </a:lnTo>
                      <a:lnTo>
                        <a:pt x="128" y="431"/>
                      </a:lnTo>
                      <a:lnTo>
                        <a:pt x="131" y="435"/>
                      </a:lnTo>
                      <a:lnTo>
                        <a:pt x="133" y="438"/>
                      </a:lnTo>
                      <a:lnTo>
                        <a:pt x="135" y="441"/>
                      </a:lnTo>
                      <a:lnTo>
                        <a:pt x="139" y="450"/>
                      </a:lnTo>
                      <a:lnTo>
                        <a:pt x="143" y="459"/>
                      </a:lnTo>
                      <a:lnTo>
                        <a:pt x="148" y="469"/>
                      </a:lnTo>
                      <a:lnTo>
                        <a:pt x="156" y="480"/>
                      </a:lnTo>
                      <a:lnTo>
                        <a:pt x="184" y="504"/>
                      </a:lnTo>
                      <a:lnTo>
                        <a:pt x="216" y="536"/>
                      </a:lnTo>
                      <a:lnTo>
                        <a:pt x="224" y="546"/>
                      </a:lnTo>
                      <a:lnTo>
                        <a:pt x="232" y="556"/>
                      </a:lnTo>
                      <a:lnTo>
                        <a:pt x="238" y="565"/>
                      </a:lnTo>
                      <a:lnTo>
                        <a:pt x="244" y="575"/>
                      </a:lnTo>
                      <a:lnTo>
                        <a:pt x="249" y="585"/>
                      </a:lnTo>
                      <a:lnTo>
                        <a:pt x="253" y="595"/>
                      </a:lnTo>
                      <a:lnTo>
                        <a:pt x="255" y="606"/>
                      </a:lnTo>
                      <a:lnTo>
                        <a:pt x="256" y="616"/>
                      </a:lnTo>
                      <a:lnTo>
                        <a:pt x="256" y="624"/>
                      </a:lnTo>
                      <a:lnTo>
                        <a:pt x="257" y="631"/>
                      </a:lnTo>
                      <a:lnTo>
                        <a:pt x="258" y="638"/>
                      </a:lnTo>
                      <a:lnTo>
                        <a:pt x="260" y="645"/>
                      </a:lnTo>
                      <a:lnTo>
                        <a:pt x="266" y="659"/>
                      </a:lnTo>
                      <a:lnTo>
                        <a:pt x="272" y="670"/>
                      </a:lnTo>
                      <a:lnTo>
                        <a:pt x="280" y="681"/>
                      </a:lnTo>
                      <a:lnTo>
                        <a:pt x="289" y="691"/>
                      </a:lnTo>
                      <a:lnTo>
                        <a:pt x="299" y="701"/>
                      </a:lnTo>
                      <a:lnTo>
                        <a:pt x="310" y="710"/>
                      </a:lnTo>
                      <a:lnTo>
                        <a:pt x="331" y="730"/>
                      </a:lnTo>
                      <a:lnTo>
                        <a:pt x="352" y="750"/>
                      </a:lnTo>
                      <a:lnTo>
                        <a:pt x="361" y="761"/>
                      </a:lnTo>
                      <a:lnTo>
                        <a:pt x="369" y="774"/>
                      </a:lnTo>
                      <a:lnTo>
                        <a:pt x="377" y="787"/>
                      </a:lnTo>
                      <a:lnTo>
                        <a:pt x="382" y="801"/>
                      </a:lnTo>
                      <a:lnTo>
                        <a:pt x="388" y="814"/>
                      </a:lnTo>
                      <a:lnTo>
                        <a:pt x="394" y="827"/>
                      </a:lnTo>
                      <a:lnTo>
                        <a:pt x="401" y="838"/>
                      </a:lnTo>
                      <a:lnTo>
                        <a:pt x="409" y="848"/>
                      </a:lnTo>
                      <a:lnTo>
                        <a:pt x="425" y="867"/>
                      </a:lnTo>
                      <a:lnTo>
                        <a:pt x="443" y="886"/>
                      </a:lnTo>
                      <a:lnTo>
                        <a:pt x="459" y="905"/>
                      </a:lnTo>
                      <a:lnTo>
                        <a:pt x="476" y="925"/>
                      </a:lnTo>
                      <a:lnTo>
                        <a:pt x="483" y="938"/>
                      </a:lnTo>
                      <a:lnTo>
                        <a:pt x="490" y="950"/>
                      </a:lnTo>
                      <a:lnTo>
                        <a:pt x="496" y="964"/>
                      </a:lnTo>
                      <a:lnTo>
                        <a:pt x="502" y="979"/>
                      </a:lnTo>
                      <a:lnTo>
                        <a:pt x="528" y="979"/>
                      </a:lnTo>
                      <a:lnTo>
                        <a:pt x="535" y="973"/>
                      </a:lnTo>
                      <a:lnTo>
                        <a:pt x="539" y="966"/>
                      </a:lnTo>
                      <a:lnTo>
                        <a:pt x="541" y="960"/>
                      </a:lnTo>
                      <a:lnTo>
                        <a:pt x="543" y="953"/>
                      </a:lnTo>
                      <a:lnTo>
                        <a:pt x="543" y="938"/>
                      </a:lnTo>
                      <a:lnTo>
                        <a:pt x="541" y="918"/>
                      </a:lnTo>
                      <a:lnTo>
                        <a:pt x="543" y="913"/>
                      </a:lnTo>
                      <a:lnTo>
                        <a:pt x="546" y="909"/>
                      </a:lnTo>
                      <a:lnTo>
                        <a:pt x="551" y="905"/>
                      </a:lnTo>
                      <a:lnTo>
                        <a:pt x="557" y="901"/>
                      </a:lnTo>
                      <a:lnTo>
                        <a:pt x="563" y="898"/>
                      </a:lnTo>
                      <a:lnTo>
                        <a:pt x="570" y="896"/>
                      </a:lnTo>
                      <a:lnTo>
                        <a:pt x="577" y="894"/>
                      </a:lnTo>
                      <a:lnTo>
                        <a:pt x="582" y="893"/>
                      </a:lnTo>
                      <a:lnTo>
                        <a:pt x="594" y="894"/>
                      </a:lnTo>
                      <a:lnTo>
                        <a:pt x="605" y="895"/>
                      </a:lnTo>
                      <a:lnTo>
                        <a:pt x="616" y="896"/>
                      </a:lnTo>
                      <a:lnTo>
                        <a:pt x="626" y="898"/>
                      </a:lnTo>
                      <a:lnTo>
                        <a:pt x="644" y="902"/>
                      </a:lnTo>
                      <a:lnTo>
                        <a:pt x="660" y="909"/>
                      </a:lnTo>
                      <a:lnTo>
                        <a:pt x="674" y="916"/>
                      </a:lnTo>
                      <a:lnTo>
                        <a:pt x="686" y="924"/>
                      </a:lnTo>
                      <a:lnTo>
                        <a:pt x="697" y="934"/>
                      </a:lnTo>
                      <a:lnTo>
                        <a:pt x="708" y="943"/>
                      </a:lnTo>
                      <a:lnTo>
                        <a:pt x="729" y="916"/>
                      </a:lnTo>
                      <a:lnTo>
                        <a:pt x="756" y="881"/>
                      </a:lnTo>
                      <a:lnTo>
                        <a:pt x="778" y="851"/>
                      </a:lnTo>
                      <a:lnTo>
                        <a:pt x="787" y="838"/>
                      </a:lnTo>
                      <a:lnTo>
                        <a:pt x="1033" y="789"/>
                      </a:lnTo>
                      <a:lnTo>
                        <a:pt x="1146" y="763"/>
                      </a:lnTo>
                      <a:lnTo>
                        <a:pt x="1227" y="616"/>
                      </a:lnTo>
                      <a:lnTo>
                        <a:pt x="1199" y="567"/>
                      </a:lnTo>
                      <a:lnTo>
                        <a:pt x="1173" y="591"/>
                      </a:lnTo>
                      <a:lnTo>
                        <a:pt x="1000" y="573"/>
                      </a:lnTo>
                      <a:lnTo>
                        <a:pt x="940" y="480"/>
                      </a:lnTo>
                      <a:lnTo>
                        <a:pt x="940" y="46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17" name="Freeform 528">
                  <a:extLst>
                    <a:ext uri="{FF2B5EF4-FFF2-40B4-BE49-F238E27FC236}">
                      <a16:creationId xmlns:a16="http://schemas.microsoft.com/office/drawing/2014/main" xmlns="" id="{9D197F58-F697-44DC-9121-C0113FCF774A}"/>
                    </a:ext>
                  </a:extLst>
                </p:cNvPr>
                <p:cNvSpPr>
                  <a:spLocks/>
                </p:cNvSpPr>
                <p:nvPr>
                  <p:custDataLst>
                    <p:tags r:id="rId364"/>
                  </p:custDataLst>
                </p:nvPr>
              </p:nvSpPr>
              <p:spPr bwMode="auto">
                <a:xfrm>
                  <a:off x="4322763" y="2182813"/>
                  <a:ext cx="57150" cy="57150"/>
                </a:xfrm>
                <a:custGeom>
                  <a:avLst/>
                  <a:gdLst>
                    <a:gd name="T0" fmla="*/ 2147483646 w 146"/>
                    <a:gd name="T1" fmla="*/ 2147483646 h 81"/>
                    <a:gd name="T2" fmla="*/ 2147483646 w 146"/>
                    <a:gd name="T3" fmla="*/ 2147483646 h 81"/>
                    <a:gd name="T4" fmla="*/ 2147483646 w 146"/>
                    <a:gd name="T5" fmla="*/ 2147483646 h 81"/>
                    <a:gd name="T6" fmla="*/ 2147483646 w 146"/>
                    <a:gd name="T7" fmla="*/ 2147483646 h 81"/>
                    <a:gd name="T8" fmla="*/ 2147483646 w 146"/>
                    <a:gd name="T9" fmla="*/ 2147483646 h 81"/>
                    <a:gd name="T10" fmla="*/ 2147483646 w 146"/>
                    <a:gd name="T11" fmla="*/ 2147483646 h 81"/>
                    <a:gd name="T12" fmla="*/ 2147483646 w 146"/>
                    <a:gd name="T13" fmla="*/ 2147483646 h 81"/>
                    <a:gd name="T14" fmla="*/ 2147483646 w 146"/>
                    <a:gd name="T15" fmla="*/ 2147483646 h 81"/>
                    <a:gd name="T16" fmla="*/ 2147483646 w 146"/>
                    <a:gd name="T17" fmla="*/ 2147483646 h 81"/>
                    <a:gd name="T18" fmla="*/ 2147483646 w 146"/>
                    <a:gd name="T19" fmla="*/ 2147483646 h 81"/>
                    <a:gd name="T20" fmla="*/ 2147483646 w 146"/>
                    <a:gd name="T21" fmla="*/ 2147483646 h 81"/>
                    <a:gd name="T22" fmla="*/ 2147483646 w 146"/>
                    <a:gd name="T23" fmla="*/ 2147483646 h 81"/>
                    <a:gd name="T24" fmla="*/ 2147483646 w 146"/>
                    <a:gd name="T25" fmla="*/ 2147483646 h 81"/>
                    <a:gd name="T26" fmla="*/ 2147483646 w 146"/>
                    <a:gd name="T27" fmla="*/ 2147483646 h 81"/>
                    <a:gd name="T28" fmla="*/ 0 w 146"/>
                    <a:gd name="T29" fmla="*/ 2147483646 h 81"/>
                    <a:gd name="T30" fmla="*/ 0 w 146"/>
                    <a:gd name="T31" fmla="*/ 2147483646 h 81"/>
                    <a:gd name="T32" fmla="*/ 0 w 146"/>
                    <a:gd name="T33" fmla="*/ 2147483646 h 81"/>
                    <a:gd name="T34" fmla="*/ 0 w 146"/>
                    <a:gd name="T35" fmla="*/ 2147483646 h 81"/>
                    <a:gd name="T36" fmla="*/ 0 w 146"/>
                    <a:gd name="T37" fmla="*/ 2147483646 h 81"/>
                    <a:gd name="T38" fmla="*/ 2147483646 w 146"/>
                    <a:gd name="T39" fmla="*/ 2147483646 h 81"/>
                    <a:gd name="T40" fmla="*/ 2147483646 w 146"/>
                    <a:gd name="T41" fmla="*/ 2147483646 h 81"/>
                    <a:gd name="T42" fmla="*/ 2147483646 w 146"/>
                    <a:gd name="T43" fmla="*/ 2147483646 h 81"/>
                    <a:gd name="T44" fmla="*/ 2147483646 w 146"/>
                    <a:gd name="T45" fmla="*/ 2147483646 h 81"/>
                    <a:gd name="T46" fmla="*/ 2147483646 w 146"/>
                    <a:gd name="T47" fmla="*/ 2147483646 h 81"/>
                    <a:gd name="T48" fmla="*/ 2147483646 w 146"/>
                    <a:gd name="T49" fmla="*/ 2147483646 h 81"/>
                    <a:gd name="T50" fmla="*/ 2147483646 w 146"/>
                    <a:gd name="T51" fmla="*/ 2147483646 h 81"/>
                    <a:gd name="T52" fmla="*/ 2147483646 w 146"/>
                    <a:gd name="T53" fmla="*/ 2147483646 h 81"/>
                    <a:gd name="T54" fmla="*/ 2147483646 w 146"/>
                    <a:gd name="T55" fmla="*/ 2147483646 h 81"/>
                    <a:gd name="T56" fmla="*/ 2147483646 w 146"/>
                    <a:gd name="T57" fmla="*/ 0 h 81"/>
                    <a:gd name="T58" fmla="*/ 2147483646 w 146"/>
                    <a:gd name="T59" fmla="*/ 2147483646 h 81"/>
                    <a:gd name="T60" fmla="*/ 2147483646 w 146"/>
                    <a:gd name="T61" fmla="*/ 2147483646 h 81"/>
                    <a:gd name="T62" fmla="*/ 2147483646 w 146"/>
                    <a:gd name="T63" fmla="*/ 2147483646 h 81"/>
                    <a:gd name="T64" fmla="*/ 2147483646 w 146"/>
                    <a:gd name="T65" fmla="*/ 2147483646 h 8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46"/>
                    <a:gd name="T100" fmla="*/ 0 h 81"/>
                    <a:gd name="T101" fmla="*/ 146 w 146"/>
                    <a:gd name="T102" fmla="*/ 81 h 81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46" h="81">
                      <a:moveTo>
                        <a:pt x="146" y="18"/>
                      </a:moveTo>
                      <a:lnTo>
                        <a:pt x="138" y="24"/>
                      </a:lnTo>
                      <a:lnTo>
                        <a:pt x="130" y="29"/>
                      </a:lnTo>
                      <a:lnTo>
                        <a:pt x="123" y="35"/>
                      </a:lnTo>
                      <a:lnTo>
                        <a:pt x="118" y="41"/>
                      </a:lnTo>
                      <a:lnTo>
                        <a:pt x="108" y="53"/>
                      </a:lnTo>
                      <a:lnTo>
                        <a:pt x="98" y="64"/>
                      </a:lnTo>
                      <a:lnTo>
                        <a:pt x="93" y="69"/>
                      </a:lnTo>
                      <a:lnTo>
                        <a:pt x="85" y="73"/>
                      </a:lnTo>
                      <a:lnTo>
                        <a:pt x="76" y="77"/>
                      </a:lnTo>
                      <a:lnTo>
                        <a:pt x="66" y="80"/>
                      </a:lnTo>
                      <a:lnTo>
                        <a:pt x="53" y="81"/>
                      </a:lnTo>
                      <a:lnTo>
                        <a:pt x="39" y="80"/>
                      </a:lnTo>
                      <a:lnTo>
                        <a:pt x="21" y="77"/>
                      </a:lnTo>
                      <a:lnTo>
                        <a:pt x="0" y="74"/>
                      </a:lnTo>
                      <a:lnTo>
                        <a:pt x="0" y="62"/>
                      </a:lnTo>
                      <a:lnTo>
                        <a:pt x="0" y="49"/>
                      </a:lnTo>
                      <a:lnTo>
                        <a:pt x="0" y="34"/>
                      </a:lnTo>
                      <a:lnTo>
                        <a:pt x="0" y="18"/>
                      </a:lnTo>
                      <a:lnTo>
                        <a:pt x="14" y="18"/>
                      </a:lnTo>
                      <a:lnTo>
                        <a:pt x="22" y="18"/>
                      </a:lnTo>
                      <a:lnTo>
                        <a:pt x="31" y="18"/>
                      </a:lnTo>
                      <a:lnTo>
                        <a:pt x="40" y="18"/>
                      </a:lnTo>
                      <a:lnTo>
                        <a:pt x="52" y="18"/>
                      </a:lnTo>
                      <a:lnTo>
                        <a:pt x="63" y="16"/>
                      </a:lnTo>
                      <a:lnTo>
                        <a:pt x="73" y="14"/>
                      </a:lnTo>
                      <a:lnTo>
                        <a:pt x="83" y="11"/>
                      </a:lnTo>
                      <a:lnTo>
                        <a:pt x="101" y="5"/>
                      </a:lnTo>
                      <a:lnTo>
                        <a:pt x="120" y="0"/>
                      </a:lnTo>
                      <a:lnTo>
                        <a:pt x="129" y="4"/>
                      </a:lnTo>
                      <a:lnTo>
                        <a:pt x="135" y="9"/>
                      </a:lnTo>
                      <a:lnTo>
                        <a:pt x="141" y="14"/>
                      </a:lnTo>
                      <a:lnTo>
                        <a:pt x="146" y="1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18" name="Freeform 529">
                  <a:extLst>
                    <a:ext uri="{FF2B5EF4-FFF2-40B4-BE49-F238E27FC236}">
                      <a16:creationId xmlns:a16="http://schemas.microsoft.com/office/drawing/2014/main" xmlns="" id="{905459FD-33B0-41E9-9844-CF686CB93F97}"/>
                    </a:ext>
                  </a:extLst>
                </p:cNvPr>
                <p:cNvSpPr>
                  <a:spLocks/>
                </p:cNvSpPr>
                <p:nvPr>
                  <p:custDataLst>
                    <p:tags r:id="rId365"/>
                  </p:custDataLst>
                </p:nvPr>
              </p:nvSpPr>
              <p:spPr bwMode="auto">
                <a:xfrm>
                  <a:off x="4062413" y="2395538"/>
                  <a:ext cx="15875" cy="57150"/>
                </a:xfrm>
                <a:custGeom>
                  <a:avLst/>
                  <a:gdLst>
                    <a:gd name="T0" fmla="*/ 2147483646 w 34"/>
                    <a:gd name="T1" fmla="*/ 2147483646 h 49"/>
                    <a:gd name="T2" fmla="*/ 2147483646 w 34"/>
                    <a:gd name="T3" fmla="*/ 2147483646 h 49"/>
                    <a:gd name="T4" fmla="*/ 2147483646 w 34"/>
                    <a:gd name="T5" fmla="*/ 2147483646 h 49"/>
                    <a:gd name="T6" fmla="*/ 2147483646 w 34"/>
                    <a:gd name="T7" fmla="*/ 2147483646 h 49"/>
                    <a:gd name="T8" fmla="*/ 2147483646 w 34"/>
                    <a:gd name="T9" fmla="*/ 2147483646 h 49"/>
                    <a:gd name="T10" fmla="*/ 2147483646 w 34"/>
                    <a:gd name="T11" fmla="*/ 2147483646 h 49"/>
                    <a:gd name="T12" fmla="*/ 2147483646 w 34"/>
                    <a:gd name="T13" fmla="*/ 2147483646 h 49"/>
                    <a:gd name="T14" fmla="*/ 2147483646 w 34"/>
                    <a:gd name="T15" fmla="*/ 2147483646 h 49"/>
                    <a:gd name="T16" fmla="*/ 2147483646 w 34"/>
                    <a:gd name="T17" fmla="*/ 0 h 49"/>
                    <a:gd name="T18" fmla="*/ 2147483646 w 34"/>
                    <a:gd name="T19" fmla="*/ 0 h 49"/>
                    <a:gd name="T20" fmla="*/ 0 w 34"/>
                    <a:gd name="T21" fmla="*/ 0 h 49"/>
                    <a:gd name="T22" fmla="*/ 2147483646 w 34"/>
                    <a:gd name="T23" fmla="*/ 2147483646 h 49"/>
                    <a:gd name="T24" fmla="*/ 2147483646 w 34"/>
                    <a:gd name="T25" fmla="*/ 2147483646 h 49"/>
                    <a:gd name="T26" fmla="*/ 2147483646 w 34"/>
                    <a:gd name="T27" fmla="*/ 2147483646 h 49"/>
                    <a:gd name="T28" fmla="*/ 2147483646 w 34"/>
                    <a:gd name="T29" fmla="*/ 2147483646 h 49"/>
                    <a:gd name="T30" fmla="*/ 2147483646 w 34"/>
                    <a:gd name="T31" fmla="*/ 2147483646 h 49"/>
                    <a:gd name="T32" fmla="*/ 2147483646 w 34"/>
                    <a:gd name="T33" fmla="*/ 2147483646 h 49"/>
                    <a:gd name="T34" fmla="*/ 2147483646 w 34"/>
                    <a:gd name="T35" fmla="*/ 2147483646 h 49"/>
                    <a:gd name="T36" fmla="*/ 2147483646 w 34"/>
                    <a:gd name="T37" fmla="*/ 2147483646 h 4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34"/>
                    <a:gd name="T58" fmla="*/ 0 h 49"/>
                    <a:gd name="T59" fmla="*/ 34 w 34"/>
                    <a:gd name="T60" fmla="*/ 49 h 4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34" h="49">
                      <a:moveTo>
                        <a:pt x="34" y="49"/>
                      </a:moveTo>
                      <a:lnTo>
                        <a:pt x="34" y="34"/>
                      </a:lnTo>
                      <a:lnTo>
                        <a:pt x="34" y="25"/>
                      </a:lnTo>
                      <a:lnTo>
                        <a:pt x="33" y="21"/>
                      </a:lnTo>
                      <a:lnTo>
                        <a:pt x="33" y="17"/>
                      </a:lnTo>
                      <a:lnTo>
                        <a:pt x="31" y="15"/>
                      </a:lnTo>
                      <a:lnTo>
                        <a:pt x="30" y="12"/>
                      </a:lnTo>
                      <a:lnTo>
                        <a:pt x="25" y="8"/>
                      </a:lnTo>
                      <a:lnTo>
                        <a:pt x="21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3" y="11"/>
                      </a:lnTo>
                      <a:lnTo>
                        <a:pt x="7" y="20"/>
                      </a:lnTo>
                      <a:lnTo>
                        <a:pt x="10" y="27"/>
                      </a:lnTo>
                      <a:lnTo>
                        <a:pt x="14" y="34"/>
                      </a:lnTo>
                      <a:lnTo>
                        <a:pt x="19" y="39"/>
                      </a:lnTo>
                      <a:lnTo>
                        <a:pt x="24" y="43"/>
                      </a:lnTo>
                      <a:lnTo>
                        <a:pt x="29" y="46"/>
                      </a:lnTo>
                      <a:lnTo>
                        <a:pt x="34" y="49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19" name="Freeform 530">
                  <a:extLst>
                    <a:ext uri="{FF2B5EF4-FFF2-40B4-BE49-F238E27FC236}">
                      <a16:creationId xmlns:a16="http://schemas.microsoft.com/office/drawing/2014/main" xmlns="" id="{CFE68161-3A47-4CFB-B047-DABAD2B4AC2A}"/>
                    </a:ext>
                  </a:extLst>
                </p:cNvPr>
                <p:cNvSpPr>
                  <a:spLocks/>
                </p:cNvSpPr>
                <p:nvPr>
                  <p:custDataLst>
                    <p:tags r:id="rId366"/>
                  </p:custDataLst>
                </p:nvPr>
              </p:nvSpPr>
              <p:spPr bwMode="auto">
                <a:xfrm>
                  <a:off x="3654425" y="2741613"/>
                  <a:ext cx="28575" cy="57150"/>
                </a:xfrm>
                <a:custGeom>
                  <a:avLst/>
                  <a:gdLst>
                    <a:gd name="T0" fmla="*/ 2147483646 w 60"/>
                    <a:gd name="T1" fmla="*/ 0 h 74"/>
                    <a:gd name="T2" fmla="*/ 2147483646 w 60"/>
                    <a:gd name="T3" fmla="*/ 2147483646 h 74"/>
                    <a:gd name="T4" fmla="*/ 2147483646 w 60"/>
                    <a:gd name="T5" fmla="*/ 2147483646 h 74"/>
                    <a:gd name="T6" fmla="*/ 2147483646 w 60"/>
                    <a:gd name="T7" fmla="*/ 2147483646 h 74"/>
                    <a:gd name="T8" fmla="*/ 2147483646 w 60"/>
                    <a:gd name="T9" fmla="*/ 2147483646 h 74"/>
                    <a:gd name="T10" fmla="*/ 2147483646 w 60"/>
                    <a:gd name="T11" fmla="*/ 2147483646 h 74"/>
                    <a:gd name="T12" fmla="*/ 2147483646 w 60"/>
                    <a:gd name="T13" fmla="*/ 2147483646 h 74"/>
                    <a:gd name="T14" fmla="*/ 2147483646 w 60"/>
                    <a:gd name="T15" fmla="*/ 2147483646 h 74"/>
                    <a:gd name="T16" fmla="*/ 2147483646 w 60"/>
                    <a:gd name="T17" fmla="*/ 2147483646 h 74"/>
                    <a:gd name="T18" fmla="*/ 2147483646 w 60"/>
                    <a:gd name="T19" fmla="*/ 2147483646 h 74"/>
                    <a:gd name="T20" fmla="*/ 2147483646 w 60"/>
                    <a:gd name="T21" fmla="*/ 2147483646 h 74"/>
                    <a:gd name="T22" fmla="*/ 2147483646 w 60"/>
                    <a:gd name="T23" fmla="*/ 2147483646 h 74"/>
                    <a:gd name="T24" fmla="*/ 2147483646 w 60"/>
                    <a:gd name="T25" fmla="*/ 2147483646 h 74"/>
                    <a:gd name="T26" fmla="*/ 2147483646 w 60"/>
                    <a:gd name="T27" fmla="*/ 2147483646 h 74"/>
                    <a:gd name="T28" fmla="*/ 0 w 60"/>
                    <a:gd name="T29" fmla="*/ 2147483646 h 74"/>
                    <a:gd name="T30" fmla="*/ 2147483646 w 60"/>
                    <a:gd name="T31" fmla="*/ 2147483646 h 74"/>
                    <a:gd name="T32" fmla="*/ 2147483646 w 60"/>
                    <a:gd name="T33" fmla="*/ 2147483646 h 74"/>
                    <a:gd name="T34" fmla="*/ 2147483646 w 60"/>
                    <a:gd name="T35" fmla="*/ 2147483646 h 74"/>
                    <a:gd name="T36" fmla="*/ 2147483646 w 60"/>
                    <a:gd name="T37" fmla="*/ 2147483646 h 74"/>
                    <a:gd name="T38" fmla="*/ 2147483646 w 60"/>
                    <a:gd name="T39" fmla="*/ 2147483646 h 74"/>
                    <a:gd name="T40" fmla="*/ 2147483646 w 60"/>
                    <a:gd name="T41" fmla="*/ 2147483646 h 74"/>
                    <a:gd name="T42" fmla="*/ 2147483646 w 60"/>
                    <a:gd name="T43" fmla="*/ 2147483646 h 74"/>
                    <a:gd name="T44" fmla="*/ 2147483646 w 60"/>
                    <a:gd name="T45" fmla="*/ 2147483646 h 74"/>
                    <a:gd name="T46" fmla="*/ 2147483646 w 60"/>
                    <a:gd name="T47" fmla="*/ 0 h 74"/>
                    <a:gd name="T48" fmla="*/ 2147483646 w 60"/>
                    <a:gd name="T49" fmla="*/ 0 h 74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60"/>
                    <a:gd name="T76" fmla="*/ 0 h 74"/>
                    <a:gd name="T77" fmla="*/ 60 w 60"/>
                    <a:gd name="T78" fmla="*/ 74 h 74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60" h="74">
                      <a:moveTo>
                        <a:pt x="60" y="0"/>
                      </a:moveTo>
                      <a:lnTo>
                        <a:pt x="56" y="4"/>
                      </a:lnTo>
                      <a:lnTo>
                        <a:pt x="51" y="10"/>
                      </a:lnTo>
                      <a:lnTo>
                        <a:pt x="48" y="15"/>
                      </a:lnTo>
                      <a:lnTo>
                        <a:pt x="46" y="21"/>
                      </a:lnTo>
                      <a:lnTo>
                        <a:pt x="41" y="31"/>
                      </a:lnTo>
                      <a:lnTo>
                        <a:pt x="37" y="42"/>
                      </a:lnTo>
                      <a:lnTo>
                        <a:pt x="35" y="47"/>
                      </a:lnTo>
                      <a:lnTo>
                        <a:pt x="32" y="51"/>
                      </a:lnTo>
                      <a:lnTo>
                        <a:pt x="29" y="56"/>
                      </a:lnTo>
                      <a:lnTo>
                        <a:pt x="25" y="60"/>
                      </a:lnTo>
                      <a:lnTo>
                        <a:pt x="20" y="65"/>
                      </a:lnTo>
                      <a:lnTo>
                        <a:pt x="15" y="69"/>
                      </a:lnTo>
                      <a:lnTo>
                        <a:pt x="8" y="72"/>
                      </a:lnTo>
                      <a:lnTo>
                        <a:pt x="0" y="74"/>
                      </a:lnTo>
                      <a:lnTo>
                        <a:pt x="5" y="60"/>
                      </a:lnTo>
                      <a:lnTo>
                        <a:pt x="12" y="47"/>
                      </a:lnTo>
                      <a:lnTo>
                        <a:pt x="19" y="34"/>
                      </a:lnTo>
                      <a:lnTo>
                        <a:pt x="27" y="23"/>
                      </a:lnTo>
                      <a:lnTo>
                        <a:pt x="36" y="14"/>
                      </a:lnTo>
                      <a:lnTo>
                        <a:pt x="43" y="6"/>
                      </a:lnTo>
                      <a:lnTo>
                        <a:pt x="48" y="3"/>
                      </a:lnTo>
                      <a:lnTo>
                        <a:pt x="52" y="1"/>
                      </a:lnTo>
                      <a:lnTo>
                        <a:pt x="56" y="0"/>
                      </a:lnTo>
                      <a:lnTo>
                        <a:pt x="6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20" name="Freeform 531">
                  <a:extLst>
                    <a:ext uri="{FF2B5EF4-FFF2-40B4-BE49-F238E27FC236}">
                      <a16:creationId xmlns:a16="http://schemas.microsoft.com/office/drawing/2014/main" xmlns="" id="{402AA803-3F64-48F4-89C9-C1F23A9ACBA3}"/>
                    </a:ext>
                  </a:extLst>
                </p:cNvPr>
                <p:cNvSpPr>
                  <a:spLocks/>
                </p:cNvSpPr>
                <p:nvPr>
                  <p:custDataLst>
                    <p:tags r:id="rId367"/>
                  </p:custDataLst>
                </p:nvPr>
              </p:nvSpPr>
              <p:spPr bwMode="auto">
                <a:xfrm>
                  <a:off x="3595688" y="2757488"/>
                  <a:ext cx="23812" cy="60325"/>
                </a:xfrm>
                <a:custGeom>
                  <a:avLst/>
                  <a:gdLst>
                    <a:gd name="T0" fmla="*/ 2147483646 w 47"/>
                    <a:gd name="T1" fmla="*/ 2147483646 h 45"/>
                    <a:gd name="T2" fmla="*/ 2147483646 w 47"/>
                    <a:gd name="T3" fmla="*/ 2147483646 h 45"/>
                    <a:gd name="T4" fmla="*/ 2147483646 w 47"/>
                    <a:gd name="T5" fmla="*/ 2147483646 h 45"/>
                    <a:gd name="T6" fmla="*/ 2147483646 w 47"/>
                    <a:gd name="T7" fmla="*/ 2147483646 h 45"/>
                    <a:gd name="T8" fmla="*/ 2147483646 w 47"/>
                    <a:gd name="T9" fmla="*/ 2147483646 h 45"/>
                    <a:gd name="T10" fmla="*/ 2147483646 w 47"/>
                    <a:gd name="T11" fmla="*/ 2147483646 h 45"/>
                    <a:gd name="T12" fmla="*/ 2147483646 w 47"/>
                    <a:gd name="T13" fmla="*/ 0 h 45"/>
                    <a:gd name="T14" fmla="*/ 2147483646 w 47"/>
                    <a:gd name="T15" fmla="*/ 2147483646 h 45"/>
                    <a:gd name="T16" fmla="*/ 2147483646 w 47"/>
                    <a:gd name="T17" fmla="*/ 2147483646 h 45"/>
                    <a:gd name="T18" fmla="*/ 2147483646 w 47"/>
                    <a:gd name="T19" fmla="*/ 2147483646 h 45"/>
                    <a:gd name="T20" fmla="*/ 2147483646 w 47"/>
                    <a:gd name="T21" fmla="*/ 2147483646 h 45"/>
                    <a:gd name="T22" fmla="*/ 2147483646 w 47"/>
                    <a:gd name="T23" fmla="*/ 2147483646 h 45"/>
                    <a:gd name="T24" fmla="*/ 2147483646 w 47"/>
                    <a:gd name="T25" fmla="*/ 2147483646 h 45"/>
                    <a:gd name="T26" fmla="*/ 2147483646 w 47"/>
                    <a:gd name="T27" fmla="*/ 2147483646 h 45"/>
                    <a:gd name="T28" fmla="*/ 2147483646 w 47"/>
                    <a:gd name="T29" fmla="*/ 2147483646 h 45"/>
                    <a:gd name="T30" fmla="*/ 2147483646 w 47"/>
                    <a:gd name="T31" fmla="*/ 2147483646 h 45"/>
                    <a:gd name="T32" fmla="*/ 2147483646 w 47"/>
                    <a:gd name="T33" fmla="*/ 2147483646 h 45"/>
                    <a:gd name="T34" fmla="*/ 2147483646 w 47"/>
                    <a:gd name="T35" fmla="*/ 2147483646 h 45"/>
                    <a:gd name="T36" fmla="*/ 0 w 47"/>
                    <a:gd name="T37" fmla="*/ 2147483646 h 45"/>
                    <a:gd name="T38" fmla="*/ 2147483646 w 47"/>
                    <a:gd name="T39" fmla="*/ 2147483646 h 45"/>
                    <a:gd name="T40" fmla="*/ 2147483646 w 47"/>
                    <a:gd name="T41" fmla="*/ 2147483646 h 45"/>
                    <a:gd name="T42" fmla="*/ 2147483646 w 47"/>
                    <a:gd name="T43" fmla="*/ 2147483646 h 45"/>
                    <a:gd name="T44" fmla="*/ 2147483646 w 47"/>
                    <a:gd name="T45" fmla="*/ 2147483646 h 45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47"/>
                    <a:gd name="T70" fmla="*/ 0 h 45"/>
                    <a:gd name="T71" fmla="*/ 47 w 47"/>
                    <a:gd name="T72" fmla="*/ 45 h 45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47" h="45">
                      <a:moveTo>
                        <a:pt x="13" y="8"/>
                      </a:moveTo>
                      <a:lnTo>
                        <a:pt x="22" y="8"/>
                      </a:lnTo>
                      <a:lnTo>
                        <a:pt x="28" y="6"/>
                      </a:lnTo>
                      <a:lnTo>
                        <a:pt x="32" y="5"/>
                      </a:lnTo>
                      <a:lnTo>
                        <a:pt x="35" y="3"/>
                      </a:lnTo>
                      <a:lnTo>
                        <a:pt x="37" y="1"/>
                      </a:lnTo>
                      <a:lnTo>
                        <a:pt x="39" y="0"/>
                      </a:lnTo>
                      <a:lnTo>
                        <a:pt x="43" y="1"/>
                      </a:lnTo>
                      <a:lnTo>
                        <a:pt x="47" y="2"/>
                      </a:lnTo>
                      <a:lnTo>
                        <a:pt x="46" y="7"/>
                      </a:lnTo>
                      <a:lnTo>
                        <a:pt x="46" y="11"/>
                      </a:lnTo>
                      <a:lnTo>
                        <a:pt x="44" y="15"/>
                      </a:lnTo>
                      <a:lnTo>
                        <a:pt x="43" y="19"/>
                      </a:lnTo>
                      <a:lnTo>
                        <a:pt x="37" y="26"/>
                      </a:lnTo>
                      <a:lnTo>
                        <a:pt x="30" y="32"/>
                      </a:lnTo>
                      <a:lnTo>
                        <a:pt x="24" y="38"/>
                      </a:lnTo>
                      <a:lnTo>
                        <a:pt x="16" y="42"/>
                      </a:lnTo>
                      <a:lnTo>
                        <a:pt x="7" y="45"/>
                      </a:lnTo>
                      <a:lnTo>
                        <a:pt x="0" y="45"/>
                      </a:lnTo>
                      <a:lnTo>
                        <a:pt x="2" y="38"/>
                      </a:lnTo>
                      <a:lnTo>
                        <a:pt x="6" y="26"/>
                      </a:lnTo>
                      <a:lnTo>
                        <a:pt x="11" y="15"/>
                      </a:lnTo>
                      <a:lnTo>
                        <a:pt x="13" y="8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21" name="Freeform 532">
                  <a:extLst>
                    <a:ext uri="{FF2B5EF4-FFF2-40B4-BE49-F238E27FC236}">
                      <a16:creationId xmlns:a16="http://schemas.microsoft.com/office/drawing/2014/main" xmlns="" id="{07D85E47-31B9-4986-9D45-380AF74695A9}"/>
                    </a:ext>
                  </a:extLst>
                </p:cNvPr>
                <p:cNvSpPr>
                  <a:spLocks/>
                </p:cNvSpPr>
                <p:nvPr>
                  <p:custDataLst>
                    <p:tags r:id="rId368"/>
                  </p:custDataLst>
                </p:nvPr>
              </p:nvSpPr>
              <p:spPr bwMode="auto">
                <a:xfrm>
                  <a:off x="3570288" y="2751138"/>
                  <a:ext cx="6350" cy="57150"/>
                </a:xfrm>
                <a:custGeom>
                  <a:avLst/>
                  <a:gdLst>
                    <a:gd name="T0" fmla="*/ 2147483646 w 26"/>
                    <a:gd name="T1" fmla="*/ 2147483646 h 36"/>
                    <a:gd name="T2" fmla="*/ 2147483646 w 26"/>
                    <a:gd name="T3" fmla="*/ 2147483646 h 36"/>
                    <a:gd name="T4" fmla="*/ 2147483646 w 26"/>
                    <a:gd name="T5" fmla="*/ 2147483646 h 36"/>
                    <a:gd name="T6" fmla="*/ 2147483646 w 26"/>
                    <a:gd name="T7" fmla="*/ 2147483646 h 36"/>
                    <a:gd name="T8" fmla="*/ 0 w 26"/>
                    <a:gd name="T9" fmla="*/ 0 h 36"/>
                    <a:gd name="T10" fmla="*/ 2147483646 w 26"/>
                    <a:gd name="T11" fmla="*/ 0 h 36"/>
                    <a:gd name="T12" fmla="*/ 2147483646 w 26"/>
                    <a:gd name="T13" fmla="*/ 2147483646 h 36"/>
                    <a:gd name="T14" fmla="*/ 2147483646 w 26"/>
                    <a:gd name="T15" fmla="*/ 2147483646 h 36"/>
                    <a:gd name="T16" fmla="*/ 2147483646 w 26"/>
                    <a:gd name="T17" fmla="*/ 2147483646 h 36"/>
                    <a:gd name="T18" fmla="*/ 2147483646 w 26"/>
                    <a:gd name="T19" fmla="*/ 2147483646 h 36"/>
                    <a:gd name="T20" fmla="*/ 2147483646 w 26"/>
                    <a:gd name="T21" fmla="*/ 2147483646 h 36"/>
                    <a:gd name="T22" fmla="*/ 2147483646 w 26"/>
                    <a:gd name="T23" fmla="*/ 2147483646 h 36"/>
                    <a:gd name="T24" fmla="*/ 2147483646 w 26"/>
                    <a:gd name="T25" fmla="*/ 2147483646 h 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6"/>
                    <a:gd name="T40" fmla="*/ 0 h 36"/>
                    <a:gd name="T41" fmla="*/ 26 w 26"/>
                    <a:gd name="T42" fmla="*/ 36 h 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6" h="36">
                      <a:moveTo>
                        <a:pt x="6" y="36"/>
                      </a:moveTo>
                      <a:lnTo>
                        <a:pt x="5" y="30"/>
                      </a:lnTo>
                      <a:lnTo>
                        <a:pt x="3" y="20"/>
                      </a:lnTo>
                      <a:lnTo>
                        <a:pt x="1" y="10"/>
                      </a:lnTo>
                      <a:lnTo>
                        <a:pt x="0" y="0"/>
                      </a:lnTo>
                      <a:lnTo>
                        <a:pt x="26" y="0"/>
                      </a:lnTo>
                      <a:lnTo>
                        <a:pt x="25" y="12"/>
                      </a:lnTo>
                      <a:lnTo>
                        <a:pt x="24" y="23"/>
                      </a:lnTo>
                      <a:lnTo>
                        <a:pt x="23" y="27"/>
                      </a:lnTo>
                      <a:lnTo>
                        <a:pt x="23" y="31"/>
                      </a:lnTo>
                      <a:lnTo>
                        <a:pt x="24" y="34"/>
                      </a:lnTo>
                      <a:lnTo>
                        <a:pt x="26" y="36"/>
                      </a:lnTo>
                      <a:lnTo>
                        <a:pt x="6" y="3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22" name="Freeform 533">
                  <a:extLst>
                    <a:ext uri="{FF2B5EF4-FFF2-40B4-BE49-F238E27FC236}">
                      <a16:creationId xmlns:a16="http://schemas.microsoft.com/office/drawing/2014/main" xmlns="" id="{7296D2EB-AF9A-42E2-BD98-5A0FF121F611}"/>
                    </a:ext>
                  </a:extLst>
                </p:cNvPr>
                <p:cNvSpPr>
                  <a:spLocks/>
                </p:cNvSpPr>
                <p:nvPr>
                  <p:custDataLst>
                    <p:tags r:id="rId369"/>
                  </p:custDataLst>
                </p:nvPr>
              </p:nvSpPr>
              <p:spPr bwMode="auto">
                <a:xfrm>
                  <a:off x="4841875" y="2479675"/>
                  <a:ext cx="174625" cy="158750"/>
                </a:xfrm>
                <a:custGeom>
                  <a:avLst/>
                  <a:gdLst>
                    <a:gd name="T0" fmla="*/ 2147483646 w 405"/>
                    <a:gd name="T1" fmla="*/ 2147483646 h 302"/>
                    <a:gd name="T2" fmla="*/ 2147483646 w 405"/>
                    <a:gd name="T3" fmla="*/ 2147483646 h 302"/>
                    <a:gd name="T4" fmla="*/ 2147483646 w 405"/>
                    <a:gd name="T5" fmla="*/ 2147483646 h 302"/>
                    <a:gd name="T6" fmla="*/ 2147483646 w 405"/>
                    <a:gd name="T7" fmla="*/ 2147483646 h 302"/>
                    <a:gd name="T8" fmla="*/ 2147483646 w 405"/>
                    <a:gd name="T9" fmla="*/ 2147483646 h 302"/>
                    <a:gd name="T10" fmla="*/ 2147483646 w 405"/>
                    <a:gd name="T11" fmla="*/ 2147483646 h 302"/>
                    <a:gd name="T12" fmla="*/ 2147483646 w 405"/>
                    <a:gd name="T13" fmla="*/ 2147483646 h 302"/>
                    <a:gd name="T14" fmla="*/ 2147483646 w 405"/>
                    <a:gd name="T15" fmla="*/ 2147483646 h 302"/>
                    <a:gd name="T16" fmla="*/ 2147483646 w 405"/>
                    <a:gd name="T17" fmla="*/ 2147483646 h 302"/>
                    <a:gd name="T18" fmla="*/ 2147483646 w 405"/>
                    <a:gd name="T19" fmla="*/ 2147483646 h 302"/>
                    <a:gd name="T20" fmla="*/ 2147483646 w 405"/>
                    <a:gd name="T21" fmla="*/ 2147483646 h 302"/>
                    <a:gd name="T22" fmla="*/ 2147483646 w 405"/>
                    <a:gd name="T23" fmla="*/ 2147483646 h 302"/>
                    <a:gd name="T24" fmla="*/ 2147483646 w 405"/>
                    <a:gd name="T25" fmla="*/ 2147483646 h 302"/>
                    <a:gd name="T26" fmla="*/ 2147483646 w 405"/>
                    <a:gd name="T27" fmla="*/ 2147483646 h 302"/>
                    <a:gd name="T28" fmla="*/ 2147483646 w 405"/>
                    <a:gd name="T29" fmla="*/ 2147483646 h 302"/>
                    <a:gd name="T30" fmla="*/ 2147483646 w 405"/>
                    <a:gd name="T31" fmla="*/ 2147483646 h 302"/>
                    <a:gd name="T32" fmla="*/ 2147483646 w 405"/>
                    <a:gd name="T33" fmla="*/ 2147483646 h 302"/>
                    <a:gd name="T34" fmla="*/ 2147483646 w 405"/>
                    <a:gd name="T35" fmla="*/ 2147483646 h 302"/>
                    <a:gd name="T36" fmla="*/ 2147483646 w 405"/>
                    <a:gd name="T37" fmla="*/ 2147483646 h 302"/>
                    <a:gd name="T38" fmla="*/ 2147483646 w 405"/>
                    <a:gd name="T39" fmla="*/ 2147483646 h 302"/>
                    <a:gd name="T40" fmla="*/ 2147483646 w 405"/>
                    <a:gd name="T41" fmla="*/ 2147483646 h 302"/>
                    <a:gd name="T42" fmla="*/ 2147483646 w 405"/>
                    <a:gd name="T43" fmla="*/ 2147483646 h 302"/>
                    <a:gd name="T44" fmla="*/ 2147483646 w 405"/>
                    <a:gd name="T45" fmla="*/ 2147483646 h 302"/>
                    <a:gd name="T46" fmla="*/ 2147483646 w 405"/>
                    <a:gd name="T47" fmla="*/ 2147483646 h 302"/>
                    <a:gd name="T48" fmla="*/ 2147483646 w 405"/>
                    <a:gd name="T49" fmla="*/ 2147483646 h 302"/>
                    <a:gd name="T50" fmla="*/ 2147483646 w 405"/>
                    <a:gd name="T51" fmla="*/ 2147483646 h 302"/>
                    <a:gd name="T52" fmla="*/ 2147483646 w 405"/>
                    <a:gd name="T53" fmla="*/ 2147483646 h 302"/>
                    <a:gd name="T54" fmla="*/ 2147483646 w 405"/>
                    <a:gd name="T55" fmla="*/ 2147483646 h 302"/>
                    <a:gd name="T56" fmla="*/ 2147483646 w 405"/>
                    <a:gd name="T57" fmla="*/ 2147483646 h 302"/>
                    <a:gd name="T58" fmla="*/ 2147483646 w 405"/>
                    <a:gd name="T59" fmla="*/ 2147483646 h 302"/>
                    <a:gd name="T60" fmla="*/ 2147483646 w 405"/>
                    <a:gd name="T61" fmla="*/ 2147483646 h 302"/>
                    <a:gd name="T62" fmla="*/ 2147483646 w 405"/>
                    <a:gd name="T63" fmla="*/ 2147483646 h 302"/>
                    <a:gd name="T64" fmla="*/ 2147483646 w 405"/>
                    <a:gd name="T65" fmla="*/ 2147483646 h 302"/>
                    <a:gd name="T66" fmla="*/ 2147483646 w 405"/>
                    <a:gd name="T67" fmla="*/ 2147483646 h 302"/>
                    <a:gd name="T68" fmla="*/ 2147483646 w 405"/>
                    <a:gd name="T69" fmla="*/ 2147483646 h 302"/>
                    <a:gd name="T70" fmla="*/ 2147483646 w 405"/>
                    <a:gd name="T71" fmla="*/ 2147483646 h 302"/>
                    <a:gd name="T72" fmla="*/ 2147483646 w 405"/>
                    <a:gd name="T73" fmla="*/ 2147483646 h 302"/>
                    <a:gd name="T74" fmla="*/ 2147483646 w 405"/>
                    <a:gd name="T75" fmla="*/ 2147483646 h 302"/>
                    <a:gd name="T76" fmla="*/ 2147483646 w 405"/>
                    <a:gd name="T77" fmla="*/ 2147483646 h 302"/>
                    <a:gd name="T78" fmla="*/ 2147483646 w 405"/>
                    <a:gd name="T79" fmla="*/ 2147483646 h 302"/>
                    <a:gd name="T80" fmla="*/ 2147483646 w 405"/>
                    <a:gd name="T81" fmla="*/ 2147483646 h 302"/>
                    <a:gd name="T82" fmla="*/ 2147483646 w 405"/>
                    <a:gd name="T83" fmla="*/ 2147483646 h 302"/>
                    <a:gd name="T84" fmla="*/ 2147483646 w 405"/>
                    <a:gd name="T85" fmla="*/ 2147483646 h 302"/>
                    <a:gd name="T86" fmla="*/ 2147483646 w 405"/>
                    <a:gd name="T87" fmla="*/ 2147483646 h 302"/>
                    <a:gd name="T88" fmla="*/ 2147483646 w 405"/>
                    <a:gd name="T89" fmla="*/ 2147483646 h 302"/>
                    <a:gd name="T90" fmla="*/ 2147483646 w 405"/>
                    <a:gd name="T91" fmla="*/ 2147483646 h 302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405"/>
                    <a:gd name="T139" fmla="*/ 0 h 302"/>
                    <a:gd name="T140" fmla="*/ 405 w 405"/>
                    <a:gd name="T141" fmla="*/ 302 h 302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405" h="302">
                      <a:moveTo>
                        <a:pt x="26" y="166"/>
                      </a:moveTo>
                      <a:lnTo>
                        <a:pt x="26" y="162"/>
                      </a:lnTo>
                      <a:lnTo>
                        <a:pt x="27" y="158"/>
                      </a:lnTo>
                      <a:lnTo>
                        <a:pt x="28" y="156"/>
                      </a:lnTo>
                      <a:lnTo>
                        <a:pt x="29" y="155"/>
                      </a:lnTo>
                      <a:lnTo>
                        <a:pt x="30" y="154"/>
                      </a:lnTo>
                      <a:lnTo>
                        <a:pt x="33" y="154"/>
                      </a:lnTo>
                      <a:lnTo>
                        <a:pt x="28" y="151"/>
                      </a:lnTo>
                      <a:lnTo>
                        <a:pt x="23" y="147"/>
                      </a:lnTo>
                      <a:lnTo>
                        <a:pt x="18" y="143"/>
                      </a:lnTo>
                      <a:lnTo>
                        <a:pt x="14" y="138"/>
                      </a:lnTo>
                      <a:lnTo>
                        <a:pt x="6" y="127"/>
                      </a:lnTo>
                      <a:lnTo>
                        <a:pt x="0" y="117"/>
                      </a:lnTo>
                      <a:lnTo>
                        <a:pt x="2" y="116"/>
                      </a:lnTo>
                      <a:lnTo>
                        <a:pt x="4" y="115"/>
                      </a:lnTo>
                      <a:lnTo>
                        <a:pt x="5" y="112"/>
                      </a:lnTo>
                      <a:lnTo>
                        <a:pt x="5" y="110"/>
                      </a:lnTo>
                      <a:lnTo>
                        <a:pt x="6" y="104"/>
                      </a:lnTo>
                      <a:lnTo>
                        <a:pt x="6" y="98"/>
                      </a:lnTo>
                      <a:lnTo>
                        <a:pt x="17" y="97"/>
                      </a:lnTo>
                      <a:lnTo>
                        <a:pt x="26" y="95"/>
                      </a:lnTo>
                      <a:lnTo>
                        <a:pt x="34" y="93"/>
                      </a:lnTo>
                      <a:lnTo>
                        <a:pt x="41" y="91"/>
                      </a:lnTo>
                      <a:lnTo>
                        <a:pt x="47" y="88"/>
                      </a:lnTo>
                      <a:lnTo>
                        <a:pt x="52" y="85"/>
                      </a:lnTo>
                      <a:lnTo>
                        <a:pt x="57" y="82"/>
                      </a:lnTo>
                      <a:lnTo>
                        <a:pt x="60" y="78"/>
                      </a:lnTo>
                      <a:lnTo>
                        <a:pt x="67" y="70"/>
                      </a:lnTo>
                      <a:lnTo>
                        <a:pt x="71" y="61"/>
                      </a:lnTo>
                      <a:lnTo>
                        <a:pt x="75" y="52"/>
                      </a:lnTo>
                      <a:lnTo>
                        <a:pt x="80" y="43"/>
                      </a:lnTo>
                      <a:lnTo>
                        <a:pt x="84" y="47"/>
                      </a:lnTo>
                      <a:lnTo>
                        <a:pt x="89" y="50"/>
                      </a:lnTo>
                      <a:lnTo>
                        <a:pt x="95" y="52"/>
                      </a:lnTo>
                      <a:lnTo>
                        <a:pt x="102" y="53"/>
                      </a:lnTo>
                      <a:lnTo>
                        <a:pt x="117" y="54"/>
                      </a:lnTo>
                      <a:lnTo>
                        <a:pt x="135" y="52"/>
                      </a:lnTo>
                      <a:lnTo>
                        <a:pt x="169" y="46"/>
                      </a:lnTo>
                      <a:lnTo>
                        <a:pt x="200" y="43"/>
                      </a:lnTo>
                      <a:lnTo>
                        <a:pt x="212" y="43"/>
                      </a:lnTo>
                      <a:lnTo>
                        <a:pt x="223" y="42"/>
                      </a:lnTo>
                      <a:lnTo>
                        <a:pt x="234" y="41"/>
                      </a:lnTo>
                      <a:lnTo>
                        <a:pt x="245" y="39"/>
                      </a:lnTo>
                      <a:lnTo>
                        <a:pt x="264" y="35"/>
                      </a:lnTo>
                      <a:lnTo>
                        <a:pt x="283" y="29"/>
                      </a:lnTo>
                      <a:lnTo>
                        <a:pt x="318" y="17"/>
                      </a:lnTo>
                      <a:lnTo>
                        <a:pt x="352" y="6"/>
                      </a:lnTo>
                      <a:lnTo>
                        <a:pt x="359" y="4"/>
                      </a:lnTo>
                      <a:lnTo>
                        <a:pt x="365" y="3"/>
                      </a:lnTo>
                      <a:lnTo>
                        <a:pt x="372" y="3"/>
                      </a:lnTo>
                      <a:lnTo>
                        <a:pt x="378" y="3"/>
                      </a:lnTo>
                      <a:lnTo>
                        <a:pt x="385" y="3"/>
                      </a:lnTo>
                      <a:lnTo>
                        <a:pt x="392" y="2"/>
                      </a:lnTo>
                      <a:lnTo>
                        <a:pt x="398" y="1"/>
                      </a:lnTo>
                      <a:lnTo>
                        <a:pt x="405" y="0"/>
                      </a:lnTo>
                      <a:lnTo>
                        <a:pt x="395" y="8"/>
                      </a:lnTo>
                      <a:lnTo>
                        <a:pt x="372" y="29"/>
                      </a:lnTo>
                      <a:lnTo>
                        <a:pt x="360" y="41"/>
                      </a:lnTo>
                      <a:lnTo>
                        <a:pt x="349" y="52"/>
                      </a:lnTo>
                      <a:lnTo>
                        <a:pt x="344" y="57"/>
                      </a:lnTo>
                      <a:lnTo>
                        <a:pt x="341" y="61"/>
                      </a:lnTo>
                      <a:lnTo>
                        <a:pt x="339" y="64"/>
                      </a:lnTo>
                      <a:lnTo>
                        <a:pt x="339" y="68"/>
                      </a:lnTo>
                      <a:lnTo>
                        <a:pt x="339" y="96"/>
                      </a:lnTo>
                      <a:lnTo>
                        <a:pt x="338" y="132"/>
                      </a:lnTo>
                      <a:lnTo>
                        <a:pt x="337" y="149"/>
                      </a:lnTo>
                      <a:lnTo>
                        <a:pt x="336" y="165"/>
                      </a:lnTo>
                      <a:lnTo>
                        <a:pt x="335" y="180"/>
                      </a:lnTo>
                      <a:lnTo>
                        <a:pt x="332" y="191"/>
                      </a:lnTo>
                      <a:lnTo>
                        <a:pt x="326" y="198"/>
                      </a:lnTo>
                      <a:lnTo>
                        <a:pt x="317" y="204"/>
                      </a:lnTo>
                      <a:lnTo>
                        <a:pt x="305" y="210"/>
                      </a:lnTo>
                      <a:lnTo>
                        <a:pt x="293" y="215"/>
                      </a:lnTo>
                      <a:lnTo>
                        <a:pt x="265" y="227"/>
                      </a:lnTo>
                      <a:lnTo>
                        <a:pt x="239" y="241"/>
                      </a:lnTo>
                      <a:lnTo>
                        <a:pt x="106" y="302"/>
                      </a:lnTo>
                      <a:lnTo>
                        <a:pt x="53" y="271"/>
                      </a:lnTo>
                      <a:lnTo>
                        <a:pt x="57" y="260"/>
                      </a:lnTo>
                      <a:lnTo>
                        <a:pt x="64" y="240"/>
                      </a:lnTo>
                      <a:lnTo>
                        <a:pt x="70" y="228"/>
                      </a:lnTo>
                      <a:lnTo>
                        <a:pt x="75" y="218"/>
                      </a:lnTo>
                      <a:lnTo>
                        <a:pt x="81" y="209"/>
                      </a:lnTo>
                      <a:lnTo>
                        <a:pt x="86" y="203"/>
                      </a:lnTo>
                      <a:lnTo>
                        <a:pt x="86" y="172"/>
                      </a:lnTo>
                      <a:lnTo>
                        <a:pt x="79" y="173"/>
                      </a:lnTo>
                      <a:lnTo>
                        <a:pt x="71" y="173"/>
                      </a:lnTo>
                      <a:lnTo>
                        <a:pt x="63" y="171"/>
                      </a:lnTo>
                      <a:lnTo>
                        <a:pt x="57" y="169"/>
                      </a:lnTo>
                      <a:lnTo>
                        <a:pt x="49" y="167"/>
                      </a:lnTo>
                      <a:lnTo>
                        <a:pt x="41" y="165"/>
                      </a:lnTo>
                      <a:lnTo>
                        <a:pt x="34" y="165"/>
                      </a:lnTo>
                      <a:lnTo>
                        <a:pt x="26" y="16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23" name="Freeform 534">
                  <a:extLst>
                    <a:ext uri="{FF2B5EF4-FFF2-40B4-BE49-F238E27FC236}">
                      <a16:creationId xmlns:a16="http://schemas.microsoft.com/office/drawing/2014/main" xmlns="" id="{E635DCFB-D8AE-4C94-9FF6-93B27E63DB94}"/>
                    </a:ext>
                  </a:extLst>
                </p:cNvPr>
                <p:cNvSpPr>
                  <a:spLocks/>
                </p:cNvSpPr>
                <p:nvPr>
                  <p:custDataLst>
                    <p:tags r:id="rId370"/>
                  </p:custDataLst>
                </p:nvPr>
              </p:nvSpPr>
              <p:spPr bwMode="auto">
                <a:xfrm>
                  <a:off x="6935788" y="2860675"/>
                  <a:ext cx="42862" cy="79375"/>
                </a:xfrm>
                <a:custGeom>
                  <a:avLst/>
                  <a:gdLst>
                    <a:gd name="T0" fmla="*/ 2147483646 w 100"/>
                    <a:gd name="T1" fmla="*/ 2147483646 h 155"/>
                    <a:gd name="T2" fmla="*/ 2147483646 w 100"/>
                    <a:gd name="T3" fmla="*/ 2147483646 h 155"/>
                    <a:gd name="T4" fmla="*/ 2147483646 w 100"/>
                    <a:gd name="T5" fmla="*/ 2147483646 h 155"/>
                    <a:gd name="T6" fmla="*/ 2147483646 w 100"/>
                    <a:gd name="T7" fmla="*/ 2147483646 h 155"/>
                    <a:gd name="T8" fmla="*/ 2147483646 w 100"/>
                    <a:gd name="T9" fmla="*/ 2147483646 h 155"/>
                    <a:gd name="T10" fmla="*/ 2147483646 w 100"/>
                    <a:gd name="T11" fmla="*/ 2147483646 h 155"/>
                    <a:gd name="T12" fmla="*/ 2147483646 w 100"/>
                    <a:gd name="T13" fmla="*/ 2147483646 h 155"/>
                    <a:gd name="T14" fmla="*/ 2147483646 w 100"/>
                    <a:gd name="T15" fmla="*/ 2147483646 h 155"/>
                    <a:gd name="T16" fmla="*/ 2147483646 w 100"/>
                    <a:gd name="T17" fmla="*/ 2147483646 h 155"/>
                    <a:gd name="T18" fmla="*/ 2147483646 w 100"/>
                    <a:gd name="T19" fmla="*/ 2147483646 h 155"/>
                    <a:gd name="T20" fmla="*/ 2147483646 w 100"/>
                    <a:gd name="T21" fmla="*/ 2147483646 h 155"/>
                    <a:gd name="T22" fmla="*/ 2147483646 w 100"/>
                    <a:gd name="T23" fmla="*/ 2147483646 h 155"/>
                    <a:gd name="T24" fmla="*/ 2147483646 w 100"/>
                    <a:gd name="T25" fmla="*/ 2147483646 h 155"/>
                    <a:gd name="T26" fmla="*/ 2147483646 w 100"/>
                    <a:gd name="T27" fmla="*/ 2147483646 h 155"/>
                    <a:gd name="T28" fmla="*/ 2147483646 w 100"/>
                    <a:gd name="T29" fmla="*/ 2147483646 h 155"/>
                    <a:gd name="T30" fmla="*/ 2147483646 w 100"/>
                    <a:gd name="T31" fmla="*/ 2147483646 h 155"/>
                    <a:gd name="T32" fmla="*/ 2147483646 w 100"/>
                    <a:gd name="T33" fmla="*/ 2147483646 h 155"/>
                    <a:gd name="T34" fmla="*/ 2147483646 w 100"/>
                    <a:gd name="T35" fmla="*/ 2147483646 h 155"/>
                    <a:gd name="T36" fmla="*/ 2147483646 w 100"/>
                    <a:gd name="T37" fmla="*/ 2147483646 h 155"/>
                    <a:gd name="T38" fmla="*/ 2147483646 w 100"/>
                    <a:gd name="T39" fmla="*/ 2147483646 h 155"/>
                    <a:gd name="T40" fmla="*/ 2147483646 w 100"/>
                    <a:gd name="T41" fmla="*/ 2147483646 h 155"/>
                    <a:gd name="T42" fmla="*/ 2147483646 w 100"/>
                    <a:gd name="T43" fmla="*/ 2147483646 h 155"/>
                    <a:gd name="T44" fmla="*/ 2147483646 w 100"/>
                    <a:gd name="T45" fmla="*/ 2147483646 h 155"/>
                    <a:gd name="T46" fmla="*/ 0 w 100"/>
                    <a:gd name="T47" fmla="*/ 2147483646 h 155"/>
                    <a:gd name="T48" fmla="*/ 0 w 100"/>
                    <a:gd name="T49" fmla="*/ 2147483646 h 155"/>
                    <a:gd name="T50" fmla="*/ 0 w 100"/>
                    <a:gd name="T51" fmla="*/ 2147483646 h 155"/>
                    <a:gd name="T52" fmla="*/ 0 w 100"/>
                    <a:gd name="T53" fmla="*/ 2147483646 h 155"/>
                    <a:gd name="T54" fmla="*/ 0 w 100"/>
                    <a:gd name="T55" fmla="*/ 2147483646 h 155"/>
                    <a:gd name="T56" fmla="*/ 0 w 100"/>
                    <a:gd name="T57" fmla="*/ 2147483646 h 155"/>
                    <a:gd name="T58" fmla="*/ 2147483646 w 100"/>
                    <a:gd name="T59" fmla="*/ 2147483646 h 155"/>
                    <a:gd name="T60" fmla="*/ 2147483646 w 100"/>
                    <a:gd name="T61" fmla="*/ 2147483646 h 155"/>
                    <a:gd name="T62" fmla="*/ 2147483646 w 100"/>
                    <a:gd name="T63" fmla="*/ 2147483646 h 155"/>
                    <a:gd name="T64" fmla="*/ 2147483646 w 100"/>
                    <a:gd name="T65" fmla="*/ 2147483646 h 155"/>
                    <a:gd name="T66" fmla="*/ 2147483646 w 100"/>
                    <a:gd name="T67" fmla="*/ 2147483646 h 155"/>
                    <a:gd name="T68" fmla="*/ 2147483646 w 100"/>
                    <a:gd name="T69" fmla="*/ 2147483646 h 155"/>
                    <a:gd name="T70" fmla="*/ 2147483646 w 100"/>
                    <a:gd name="T71" fmla="*/ 2147483646 h 155"/>
                    <a:gd name="T72" fmla="*/ 2147483646 w 100"/>
                    <a:gd name="T73" fmla="*/ 2147483646 h 155"/>
                    <a:gd name="T74" fmla="*/ 2147483646 w 100"/>
                    <a:gd name="T75" fmla="*/ 2147483646 h 155"/>
                    <a:gd name="T76" fmla="*/ 2147483646 w 100"/>
                    <a:gd name="T77" fmla="*/ 2147483646 h 155"/>
                    <a:gd name="T78" fmla="*/ 2147483646 w 100"/>
                    <a:gd name="T79" fmla="*/ 0 h 155"/>
                    <a:gd name="T80" fmla="*/ 2147483646 w 100"/>
                    <a:gd name="T81" fmla="*/ 0 h 155"/>
                    <a:gd name="T82" fmla="*/ 2147483646 w 100"/>
                    <a:gd name="T83" fmla="*/ 0 h 155"/>
                    <a:gd name="T84" fmla="*/ 2147483646 w 100"/>
                    <a:gd name="T85" fmla="*/ 2147483646 h 15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00"/>
                    <a:gd name="T130" fmla="*/ 0 h 155"/>
                    <a:gd name="T131" fmla="*/ 100 w 100"/>
                    <a:gd name="T132" fmla="*/ 155 h 15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00" h="155">
                      <a:moveTo>
                        <a:pt x="100" y="1"/>
                      </a:moveTo>
                      <a:lnTo>
                        <a:pt x="100" y="30"/>
                      </a:lnTo>
                      <a:lnTo>
                        <a:pt x="100" y="55"/>
                      </a:lnTo>
                      <a:lnTo>
                        <a:pt x="100" y="78"/>
                      </a:lnTo>
                      <a:lnTo>
                        <a:pt x="100" y="99"/>
                      </a:lnTo>
                      <a:lnTo>
                        <a:pt x="98" y="109"/>
                      </a:lnTo>
                      <a:lnTo>
                        <a:pt x="94" y="118"/>
                      </a:lnTo>
                      <a:lnTo>
                        <a:pt x="89" y="128"/>
                      </a:lnTo>
                      <a:lnTo>
                        <a:pt x="82" y="137"/>
                      </a:lnTo>
                      <a:lnTo>
                        <a:pt x="73" y="144"/>
                      </a:lnTo>
                      <a:lnTo>
                        <a:pt x="62" y="150"/>
                      </a:lnTo>
                      <a:lnTo>
                        <a:pt x="57" y="152"/>
                      </a:lnTo>
                      <a:lnTo>
                        <a:pt x="51" y="154"/>
                      </a:lnTo>
                      <a:lnTo>
                        <a:pt x="46" y="155"/>
                      </a:lnTo>
                      <a:lnTo>
                        <a:pt x="39" y="155"/>
                      </a:lnTo>
                      <a:lnTo>
                        <a:pt x="35" y="154"/>
                      </a:lnTo>
                      <a:lnTo>
                        <a:pt x="30" y="153"/>
                      </a:lnTo>
                      <a:lnTo>
                        <a:pt x="26" y="151"/>
                      </a:lnTo>
                      <a:lnTo>
                        <a:pt x="22" y="149"/>
                      </a:lnTo>
                      <a:lnTo>
                        <a:pt x="15" y="142"/>
                      </a:lnTo>
                      <a:lnTo>
                        <a:pt x="9" y="134"/>
                      </a:lnTo>
                      <a:lnTo>
                        <a:pt x="5" y="124"/>
                      </a:lnTo>
                      <a:lnTo>
                        <a:pt x="2" y="113"/>
                      </a:lnTo>
                      <a:lnTo>
                        <a:pt x="0" y="103"/>
                      </a:lnTo>
                      <a:lnTo>
                        <a:pt x="0" y="93"/>
                      </a:lnTo>
                      <a:lnTo>
                        <a:pt x="0" y="77"/>
                      </a:lnTo>
                      <a:lnTo>
                        <a:pt x="0" y="65"/>
                      </a:lnTo>
                      <a:lnTo>
                        <a:pt x="0" y="56"/>
                      </a:lnTo>
                      <a:lnTo>
                        <a:pt x="0" y="50"/>
                      </a:lnTo>
                      <a:lnTo>
                        <a:pt x="15" y="50"/>
                      </a:lnTo>
                      <a:lnTo>
                        <a:pt x="26" y="50"/>
                      </a:lnTo>
                      <a:lnTo>
                        <a:pt x="26" y="40"/>
                      </a:lnTo>
                      <a:lnTo>
                        <a:pt x="27" y="31"/>
                      </a:lnTo>
                      <a:lnTo>
                        <a:pt x="29" y="23"/>
                      </a:lnTo>
                      <a:lnTo>
                        <a:pt x="31" y="17"/>
                      </a:lnTo>
                      <a:lnTo>
                        <a:pt x="35" y="12"/>
                      </a:lnTo>
                      <a:lnTo>
                        <a:pt x="39" y="7"/>
                      </a:lnTo>
                      <a:lnTo>
                        <a:pt x="42" y="4"/>
                      </a:lnTo>
                      <a:lnTo>
                        <a:pt x="48" y="2"/>
                      </a:lnTo>
                      <a:lnTo>
                        <a:pt x="59" y="0"/>
                      </a:lnTo>
                      <a:lnTo>
                        <a:pt x="71" y="0"/>
                      </a:lnTo>
                      <a:lnTo>
                        <a:pt x="84" y="0"/>
                      </a:lnTo>
                      <a:lnTo>
                        <a:pt x="100" y="1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424" name="Group 535">
                  <a:extLst>
                    <a:ext uri="{FF2B5EF4-FFF2-40B4-BE49-F238E27FC236}">
                      <a16:creationId xmlns:a16="http://schemas.microsoft.com/office/drawing/2014/main" xmlns="" id="{8647D18E-6A9E-4520-AF48-D968F712130A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371"/>
                  </p:custDataLst>
                </p:nvPr>
              </p:nvGrpSpPr>
              <p:grpSpPr bwMode="auto">
                <a:xfrm>
                  <a:off x="4583113" y="2328863"/>
                  <a:ext cx="482600" cy="201612"/>
                  <a:chOff x="3289" y="1830"/>
                  <a:chExt cx="363" cy="128"/>
                </a:xfrm>
                <a:solidFill>
                  <a:srgbClr val="FFFFFF">
                    <a:lumMod val="75000"/>
                  </a:srgbClr>
                </a:solidFill>
              </p:grpSpPr>
              <p:sp>
                <p:nvSpPr>
                  <p:cNvPr id="435" name="Freeform 536">
                    <a:extLst>
                      <a:ext uri="{FF2B5EF4-FFF2-40B4-BE49-F238E27FC236}">
                        <a16:creationId xmlns:a16="http://schemas.microsoft.com/office/drawing/2014/main" xmlns="" id="{1D4C84F3-9741-4D52-ADED-CE5BCACFE24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289" y="1871"/>
                    <a:ext cx="4" cy="3"/>
                  </a:xfrm>
                  <a:custGeom>
                    <a:avLst/>
                    <a:gdLst>
                      <a:gd name="T0" fmla="*/ 0 w 13"/>
                      <a:gd name="T1" fmla="*/ 0 h 7"/>
                      <a:gd name="T2" fmla="*/ 0 w 13"/>
                      <a:gd name="T3" fmla="*/ 0 h 7"/>
                      <a:gd name="T4" fmla="*/ 0 w 13"/>
                      <a:gd name="T5" fmla="*/ 0 h 7"/>
                      <a:gd name="T6" fmla="*/ 0 w 13"/>
                      <a:gd name="T7" fmla="*/ 0 h 7"/>
                      <a:gd name="T8" fmla="*/ 0 w 13"/>
                      <a:gd name="T9" fmla="*/ 0 h 7"/>
                      <a:gd name="T10" fmla="*/ 0 w 13"/>
                      <a:gd name="T11" fmla="*/ 0 h 7"/>
                      <a:gd name="T12" fmla="*/ 0 w 13"/>
                      <a:gd name="T13" fmla="*/ 0 h 7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3"/>
                      <a:gd name="T22" fmla="*/ 0 h 7"/>
                      <a:gd name="T23" fmla="*/ 13 w 13"/>
                      <a:gd name="T24" fmla="*/ 7 h 7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3" h="7">
                        <a:moveTo>
                          <a:pt x="13" y="0"/>
                        </a:moveTo>
                        <a:lnTo>
                          <a:pt x="12" y="1"/>
                        </a:lnTo>
                        <a:lnTo>
                          <a:pt x="9" y="3"/>
                        </a:lnTo>
                        <a:lnTo>
                          <a:pt x="4" y="5"/>
                        </a:lnTo>
                        <a:lnTo>
                          <a:pt x="0" y="7"/>
                        </a:lnTo>
                        <a:lnTo>
                          <a:pt x="7" y="3"/>
                        </a:lnTo>
                        <a:lnTo>
                          <a:pt x="13" y="0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36" name="Freeform 537">
                    <a:extLst>
                      <a:ext uri="{FF2B5EF4-FFF2-40B4-BE49-F238E27FC236}">
                        <a16:creationId xmlns:a16="http://schemas.microsoft.com/office/drawing/2014/main" xmlns="" id="{A46C825B-81D0-449C-8EB9-026C09B7307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24" y="1937"/>
                    <a:ext cx="10" cy="3"/>
                  </a:xfrm>
                  <a:custGeom>
                    <a:avLst/>
                    <a:gdLst>
                      <a:gd name="T0" fmla="*/ 0 w 34"/>
                      <a:gd name="T1" fmla="*/ 0 h 8"/>
                      <a:gd name="T2" fmla="*/ 0 w 34"/>
                      <a:gd name="T3" fmla="*/ 0 h 8"/>
                      <a:gd name="T4" fmla="*/ 0 w 34"/>
                      <a:gd name="T5" fmla="*/ 0 h 8"/>
                      <a:gd name="T6" fmla="*/ 0 w 34"/>
                      <a:gd name="T7" fmla="*/ 0 h 8"/>
                      <a:gd name="T8" fmla="*/ 0 w 34"/>
                      <a:gd name="T9" fmla="*/ 0 h 8"/>
                      <a:gd name="T10" fmla="*/ 0 w 34"/>
                      <a:gd name="T11" fmla="*/ 0 h 8"/>
                      <a:gd name="T12" fmla="*/ 0 w 34"/>
                      <a:gd name="T13" fmla="*/ 0 h 8"/>
                      <a:gd name="T14" fmla="*/ 0 w 34"/>
                      <a:gd name="T15" fmla="*/ 0 h 8"/>
                      <a:gd name="T16" fmla="*/ 0 w 34"/>
                      <a:gd name="T17" fmla="*/ 0 h 8"/>
                      <a:gd name="T18" fmla="*/ 0 w 34"/>
                      <a:gd name="T19" fmla="*/ 0 h 8"/>
                      <a:gd name="T20" fmla="*/ 0 w 34"/>
                      <a:gd name="T21" fmla="*/ 0 h 8"/>
                      <a:gd name="T22" fmla="*/ 0 w 34"/>
                      <a:gd name="T23" fmla="*/ 0 h 8"/>
                      <a:gd name="T24" fmla="*/ 0 w 34"/>
                      <a:gd name="T25" fmla="*/ 0 h 8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34"/>
                      <a:gd name="T40" fmla="*/ 0 h 8"/>
                      <a:gd name="T41" fmla="*/ 34 w 34"/>
                      <a:gd name="T42" fmla="*/ 8 h 8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34" h="8">
                        <a:moveTo>
                          <a:pt x="0" y="6"/>
                        </a:moveTo>
                        <a:lnTo>
                          <a:pt x="7" y="5"/>
                        </a:lnTo>
                        <a:lnTo>
                          <a:pt x="15" y="3"/>
                        </a:lnTo>
                        <a:lnTo>
                          <a:pt x="25" y="1"/>
                        </a:lnTo>
                        <a:lnTo>
                          <a:pt x="34" y="0"/>
                        </a:lnTo>
                        <a:lnTo>
                          <a:pt x="31" y="2"/>
                        </a:lnTo>
                        <a:lnTo>
                          <a:pt x="27" y="4"/>
                        </a:lnTo>
                        <a:lnTo>
                          <a:pt x="22" y="6"/>
                        </a:lnTo>
                        <a:lnTo>
                          <a:pt x="18" y="7"/>
                        </a:lnTo>
                        <a:lnTo>
                          <a:pt x="12" y="8"/>
                        </a:lnTo>
                        <a:lnTo>
                          <a:pt x="8" y="8"/>
                        </a:lnTo>
                        <a:lnTo>
                          <a:pt x="4" y="8"/>
                        </a:lnTo>
                        <a:lnTo>
                          <a:pt x="0" y="6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37" name="Freeform 538">
                    <a:extLst>
                      <a:ext uri="{FF2B5EF4-FFF2-40B4-BE49-F238E27FC236}">
                        <a16:creationId xmlns:a16="http://schemas.microsoft.com/office/drawing/2014/main" xmlns="" id="{085C2281-7271-4413-8D48-3D9475B8DA1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43" y="1948"/>
                    <a:ext cx="4" cy="8"/>
                  </a:xfrm>
                  <a:custGeom>
                    <a:avLst/>
                    <a:gdLst>
                      <a:gd name="T0" fmla="*/ 0 w 13"/>
                      <a:gd name="T1" fmla="*/ 0 h 24"/>
                      <a:gd name="T2" fmla="*/ 0 w 13"/>
                      <a:gd name="T3" fmla="*/ 0 h 24"/>
                      <a:gd name="T4" fmla="*/ 0 w 13"/>
                      <a:gd name="T5" fmla="*/ 0 h 24"/>
                      <a:gd name="T6" fmla="*/ 0 w 13"/>
                      <a:gd name="T7" fmla="*/ 0 h 24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13"/>
                      <a:gd name="T13" fmla="*/ 0 h 24"/>
                      <a:gd name="T14" fmla="*/ 13 w 13"/>
                      <a:gd name="T15" fmla="*/ 24 h 24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13" h="24">
                        <a:moveTo>
                          <a:pt x="0" y="24"/>
                        </a:moveTo>
                        <a:lnTo>
                          <a:pt x="0" y="0"/>
                        </a:lnTo>
                        <a:lnTo>
                          <a:pt x="13" y="12"/>
                        </a:lnTo>
                        <a:lnTo>
                          <a:pt x="0" y="24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38" name="Freeform 539">
                    <a:extLst>
                      <a:ext uri="{FF2B5EF4-FFF2-40B4-BE49-F238E27FC236}">
                        <a16:creationId xmlns:a16="http://schemas.microsoft.com/office/drawing/2014/main" xmlns="" id="{BA6A36FB-C84F-4C5D-BD9C-482BDEBF14E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13" y="1834"/>
                    <a:ext cx="34" cy="23"/>
                  </a:xfrm>
                  <a:custGeom>
                    <a:avLst/>
                    <a:gdLst>
                      <a:gd name="T0" fmla="*/ 0 w 107"/>
                      <a:gd name="T1" fmla="*/ 0 h 69"/>
                      <a:gd name="T2" fmla="*/ 0 w 107"/>
                      <a:gd name="T3" fmla="*/ 0 h 69"/>
                      <a:gd name="T4" fmla="*/ 0 w 107"/>
                      <a:gd name="T5" fmla="*/ 0 h 69"/>
                      <a:gd name="T6" fmla="*/ 0 w 107"/>
                      <a:gd name="T7" fmla="*/ 0 h 69"/>
                      <a:gd name="T8" fmla="*/ 0 w 107"/>
                      <a:gd name="T9" fmla="*/ 0 h 69"/>
                      <a:gd name="T10" fmla="*/ 0 w 107"/>
                      <a:gd name="T11" fmla="*/ 0 h 69"/>
                      <a:gd name="T12" fmla="*/ 0 w 107"/>
                      <a:gd name="T13" fmla="*/ 0 h 69"/>
                      <a:gd name="T14" fmla="*/ 0 w 107"/>
                      <a:gd name="T15" fmla="*/ 0 h 69"/>
                      <a:gd name="T16" fmla="*/ 0 w 107"/>
                      <a:gd name="T17" fmla="*/ 0 h 69"/>
                      <a:gd name="T18" fmla="*/ 0 w 107"/>
                      <a:gd name="T19" fmla="*/ 0 h 69"/>
                      <a:gd name="T20" fmla="*/ 0 w 107"/>
                      <a:gd name="T21" fmla="*/ 0 h 69"/>
                      <a:gd name="T22" fmla="*/ 0 w 107"/>
                      <a:gd name="T23" fmla="*/ 0 h 69"/>
                      <a:gd name="T24" fmla="*/ 0 w 107"/>
                      <a:gd name="T25" fmla="*/ 0 h 69"/>
                      <a:gd name="T26" fmla="*/ 0 w 107"/>
                      <a:gd name="T27" fmla="*/ 0 h 69"/>
                      <a:gd name="T28" fmla="*/ 0 w 107"/>
                      <a:gd name="T29" fmla="*/ 0 h 69"/>
                      <a:gd name="T30" fmla="*/ 0 w 107"/>
                      <a:gd name="T31" fmla="*/ 0 h 69"/>
                      <a:gd name="T32" fmla="*/ 0 w 107"/>
                      <a:gd name="T33" fmla="*/ 0 h 69"/>
                      <a:gd name="T34" fmla="*/ 0 w 107"/>
                      <a:gd name="T35" fmla="*/ 0 h 69"/>
                      <a:gd name="T36" fmla="*/ 0 w 107"/>
                      <a:gd name="T37" fmla="*/ 0 h 69"/>
                      <a:gd name="T38" fmla="*/ 0 w 107"/>
                      <a:gd name="T39" fmla="*/ 0 h 69"/>
                      <a:gd name="T40" fmla="*/ 0 w 107"/>
                      <a:gd name="T41" fmla="*/ 0 h 69"/>
                      <a:gd name="T42" fmla="*/ 0 w 107"/>
                      <a:gd name="T43" fmla="*/ 0 h 69"/>
                      <a:gd name="T44" fmla="*/ 0 w 107"/>
                      <a:gd name="T45" fmla="*/ 0 h 69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107"/>
                      <a:gd name="T70" fmla="*/ 0 h 69"/>
                      <a:gd name="T71" fmla="*/ 107 w 107"/>
                      <a:gd name="T72" fmla="*/ 69 h 69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107" h="69">
                        <a:moveTo>
                          <a:pt x="0" y="13"/>
                        </a:moveTo>
                        <a:lnTo>
                          <a:pt x="0" y="27"/>
                        </a:lnTo>
                        <a:lnTo>
                          <a:pt x="0" y="45"/>
                        </a:lnTo>
                        <a:lnTo>
                          <a:pt x="0" y="62"/>
                        </a:lnTo>
                        <a:lnTo>
                          <a:pt x="0" y="69"/>
                        </a:lnTo>
                        <a:lnTo>
                          <a:pt x="16" y="66"/>
                        </a:lnTo>
                        <a:lnTo>
                          <a:pt x="49" y="58"/>
                        </a:lnTo>
                        <a:lnTo>
                          <a:pt x="85" y="50"/>
                        </a:lnTo>
                        <a:lnTo>
                          <a:pt x="107" y="44"/>
                        </a:lnTo>
                        <a:lnTo>
                          <a:pt x="101" y="38"/>
                        </a:lnTo>
                        <a:lnTo>
                          <a:pt x="94" y="34"/>
                        </a:lnTo>
                        <a:lnTo>
                          <a:pt x="86" y="30"/>
                        </a:lnTo>
                        <a:lnTo>
                          <a:pt x="78" y="27"/>
                        </a:lnTo>
                        <a:lnTo>
                          <a:pt x="72" y="23"/>
                        </a:lnTo>
                        <a:lnTo>
                          <a:pt x="65" y="18"/>
                        </a:lnTo>
                        <a:lnTo>
                          <a:pt x="63" y="15"/>
                        </a:lnTo>
                        <a:lnTo>
                          <a:pt x="62" y="11"/>
                        </a:lnTo>
                        <a:lnTo>
                          <a:pt x="61" y="7"/>
                        </a:lnTo>
                        <a:lnTo>
                          <a:pt x="61" y="0"/>
                        </a:lnTo>
                        <a:lnTo>
                          <a:pt x="54" y="1"/>
                        </a:lnTo>
                        <a:lnTo>
                          <a:pt x="38" y="4"/>
                        </a:lnTo>
                        <a:lnTo>
                          <a:pt x="18" y="9"/>
                        </a:lnTo>
                        <a:lnTo>
                          <a:pt x="0" y="13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39" name="Freeform 540">
                    <a:extLst>
                      <a:ext uri="{FF2B5EF4-FFF2-40B4-BE49-F238E27FC236}">
                        <a16:creationId xmlns:a16="http://schemas.microsoft.com/office/drawing/2014/main" xmlns="" id="{C7E0E902-B889-47AB-A197-E007FE6586F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02" y="1830"/>
                    <a:ext cx="350" cy="128"/>
                  </a:xfrm>
                  <a:custGeom>
                    <a:avLst/>
                    <a:gdLst>
                      <a:gd name="T0" fmla="*/ 4 w 1070"/>
                      <a:gd name="T1" fmla="*/ 1 h 382"/>
                      <a:gd name="T2" fmla="*/ 4 w 1070"/>
                      <a:gd name="T3" fmla="*/ 0 h 382"/>
                      <a:gd name="T4" fmla="*/ 4 w 1070"/>
                      <a:gd name="T5" fmla="*/ 0 h 382"/>
                      <a:gd name="T6" fmla="*/ 4 w 1070"/>
                      <a:gd name="T7" fmla="*/ 0 h 382"/>
                      <a:gd name="T8" fmla="*/ 3 w 1070"/>
                      <a:gd name="T9" fmla="*/ 0 h 382"/>
                      <a:gd name="T10" fmla="*/ 3 w 1070"/>
                      <a:gd name="T11" fmla="*/ 0 h 382"/>
                      <a:gd name="T12" fmla="*/ 3 w 1070"/>
                      <a:gd name="T13" fmla="*/ 0 h 382"/>
                      <a:gd name="T14" fmla="*/ 2 w 1070"/>
                      <a:gd name="T15" fmla="*/ 0 h 382"/>
                      <a:gd name="T16" fmla="*/ 2 w 1070"/>
                      <a:gd name="T17" fmla="*/ 0 h 382"/>
                      <a:gd name="T18" fmla="*/ 2 w 1070"/>
                      <a:gd name="T19" fmla="*/ 0 h 382"/>
                      <a:gd name="T20" fmla="*/ 2 w 1070"/>
                      <a:gd name="T21" fmla="*/ 0 h 382"/>
                      <a:gd name="T22" fmla="*/ 2 w 1070"/>
                      <a:gd name="T23" fmla="*/ 0 h 382"/>
                      <a:gd name="T24" fmla="*/ 2 w 1070"/>
                      <a:gd name="T25" fmla="*/ 0 h 382"/>
                      <a:gd name="T26" fmla="*/ 2 w 1070"/>
                      <a:gd name="T27" fmla="*/ 0 h 382"/>
                      <a:gd name="T28" fmla="*/ 1 w 1070"/>
                      <a:gd name="T29" fmla="*/ 0 h 382"/>
                      <a:gd name="T30" fmla="*/ 1 w 1070"/>
                      <a:gd name="T31" fmla="*/ 0 h 382"/>
                      <a:gd name="T32" fmla="*/ 1 w 1070"/>
                      <a:gd name="T33" fmla="*/ 0 h 382"/>
                      <a:gd name="T34" fmla="*/ 1 w 1070"/>
                      <a:gd name="T35" fmla="*/ 0 h 382"/>
                      <a:gd name="T36" fmla="*/ 1 w 1070"/>
                      <a:gd name="T37" fmla="*/ 0 h 382"/>
                      <a:gd name="T38" fmla="*/ 0 w 1070"/>
                      <a:gd name="T39" fmla="*/ 0 h 382"/>
                      <a:gd name="T40" fmla="*/ 0 w 1070"/>
                      <a:gd name="T41" fmla="*/ 0 h 382"/>
                      <a:gd name="T42" fmla="*/ 0 w 1070"/>
                      <a:gd name="T43" fmla="*/ 0 h 382"/>
                      <a:gd name="T44" fmla="*/ 0 w 1070"/>
                      <a:gd name="T45" fmla="*/ 1 h 382"/>
                      <a:gd name="T46" fmla="*/ 0 w 1070"/>
                      <a:gd name="T47" fmla="*/ 1 h 382"/>
                      <a:gd name="T48" fmla="*/ 0 w 1070"/>
                      <a:gd name="T49" fmla="*/ 1 h 382"/>
                      <a:gd name="T50" fmla="*/ 0 w 1070"/>
                      <a:gd name="T51" fmla="*/ 1 h 382"/>
                      <a:gd name="T52" fmla="*/ 0 w 1070"/>
                      <a:gd name="T53" fmla="*/ 1 h 382"/>
                      <a:gd name="T54" fmla="*/ 0 w 1070"/>
                      <a:gd name="T55" fmla="*/ 1 h 382"/>
                      <a:gd name="T56" fmla="*/ 0 w 1070"/>
                      <a:gd name="T57" fmla="*/ 1 h 382"/>
                      <a:gd name="T58" fmla="*/ 0 w 1070"/>
                      <a:gd name="T59" fmla="*/ 1 h 382"/>
                      <a:gd name="T60" fmla="*/ 1 w 1070"/>
                      <a:gd name="T61" fmla="*/ 1 h 382"/>
                      <a:gd name="T62" fmla="*/ 1 w 1070"/>
                      <a:gd name="T63" fmla="*/ 2 h 382"/>
                      <a:gd name="T64" fmla="*/ 1 w 1070"/>
                      <a:gd name="T65" fmla="*/ 1 h 382"/>
                      <a:gd name="T66" fmla="*/ 1 w 1070"/>
                      <a:gd name="T67" fmla="*/ 1 h 382"/>
                      <a:gd name="T68" fmla="*/ 1 w 1070"/>
                      <a:gd name="T69" fmla="*/ 1 h 382"/>
                      <a:gd name="T70" fmla="*/ 1 w 1070"/>
                      <a:gd name="T71" fmla="*/ 1 h 382"/>
                      <a:gd name="T72" fmla="*/ 1 w 1070"/>
                      <a:gd name="T73" fmla="*/ 1 h 382"/>
                      <a:gd name="T74" fmla="*/ 2 w 1070"/>
                      <a:gd name="T75" fmla="*/ 2 h 382"/>
                      <a:gd name="T76" fmla="*/ 2 w 1070"/>
                      <a:gd name="T77" fmla="*/ 1 h 382"/>
                      <a:gd name="T78" fmla="*/ 2 w 1070"/>
                      <a:gd name="T79" fmla="*/ 1 h 382"/>
                      <a:gd name="T80" fmla="*/ 2 w 1070"/>
                      <a:gd name="T81" fmla="*/ 1 h 382"/>
                      <a:gd name="T82" fmla="*/ 2 w 1070"/>
                      <a:gd name="T83" fmla="*/ 1 h 382"/>
                      <a:gd name="T84" fmla="*/ 2 w 1070"/>
                      <a:gd name="T85" fmla="*/ 2 h 382"/>
                      <a:gd name="T86" fmla="*/ 2 w 1070"/>
                      <a:gd name="T87" fmla="*/ 2 h 382"/>
                      <a:gd name="T88" fmla="*/ 2 w 1070"/>
                      <a:gd name="T89" fmla="*/ 2 h 382"/>
                      <a:gd name="T90" fmla="*/ 3 w 1070"/>
                      <a:gd name="T91" fmla="*/ 1 h 382"/>
                      <a:gd name="T92" fmla="*/ 3 w 1070"/>
                      <a:gd name="T93" fmla="*/ 1 h 382"/>
                      <a:gd name="T94" fmla="*/ 3 w 1070"/>
                      <a:gd name="T95" fmla="*/ 1 h 382"/>
                      <a:gd name="T96" fmla="*/ 3 w 1070"/>
                      <a:gd name="T97" fmla="*/ 1 h 382"/>
                      <a:gd name="T98" fmla="*/ 4 w 1070"/>
                      <a:gd name="T99" fmla="*/ 1 h 382"/>
                      <a:gd name="T100" fmla="*/ 4 w 1070"/>
                      <a:gd name="T101" fmla="*/ 1 h 382"/>
                      <a:gd name="T102" fmla="*/ 4 w 1070"/>
                      <a:gd name="T103" fmla="*/ 1 h 382"/>
                      <a:gd name="T104" fmla="*/ 4 w 1070"/>
                      <a:gd name="T105" fmla="*/ 1 h 382"/>
                      <a:gd name="T106" fmla="*/ 4 w 1070"/>
                      <a:gd name="T107" fmla="*/ 1 h 382"/>
                      <a:gd name="T108" fmla="*/ 4 w 1070"/>
                      <a:gd name="T109" fmla="*/ 1 h 382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1070"/>
                      <a:gd name="T166" fmla="*/ 0 h 382"/>
                      <a:gd name="T167" fmla="*/ 1070 w 1070"/>
                      <a:gd name="T168" fmla="*/ 382 h 382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1070" h="382">
                        <a:moveTo>
                          <a:pt x="1011" y="142"/>
                        </a:moveTo>
                        <a:lnTo>
                          <a:pt x="1011" y="136"/>
                        </a:lnTo>
                        <a:lnTo>
                          <a:pt x="1011" y="123"/>
                        </a:lnTo>
                        <a:lnTo>
                          <a:pt x="1000" y="125"/>
                        </a:lnTo>
                        <a:lnTo>
                          <a:pt x="992" y="124"/>
                        </a:lnTo>
                        <a:lnTo>
                          <a:pt x="984" y="122"/>
                        </a:lnTo>
                        <a:lnTo>
                          <a:pt x="980" y="119"/>
                        </a:lnTo>
                        <a:lnTo>
                          <a:pt x="976" y="114"/>
                        </a:lnTo>
                        <a:lnTo>
                          <a:pt x="972" y="109"/>
                        </a:lnTo>
                        <a:lnTo>
                          <a:pt x="970" y="103"/>
                        </a:lnTo>
                        <a:lnTo>
                          <a:pt x="969" y="96"/>
                        </a:lnTo>
                        <a:lnTo>
                          <a:pt x="967" y="82"/>
                        </a:lnTo>
                        <a:lnTo>
                          <a:pt x="966" y="68"/>
                        </a:lnTo>
                        <a:lnTo>
                          <a:pt x="965" y="62"/>
                        </a:lnTo>
                        <a:lnTo>
                          <a:pt x="962" y="57"/>
                        </a:lnTo>
                        <a:lnTo>
                          <a:pt x="960" y="53"/>
                        </a:lnTo>
                        <a:lnTo>
                          <a:pt x="957" y="50"/>
                        </a:lnTo>
                        <a:lnTo>
                          <a:pt x="950" y="44"/>
                        </a:lnTo>
                        <a:lnTo>
                          <a:pt x="944" y="40"/>
                        </a:lnTo>
                        <a:lnTo>
                          <a:pt x="936" y="36"/>
                        </a:lnTo>
                        <a:lnTo>
                          <a:pt x="928" y="33"/>
                        </a:lnTo>
                        <a:lnTo>
                          <a:pt x="912" y="28"/>
                        </a:lnTo>
                        <a:lnTo>
                          <a:pt x="894" y="25"/>
                        </a:lnTo>
                        <a:lnTo>
                          <a:pt x="857" y="22"/>
                        </a:lnTo>
                        <a:lnTo>
                          <a:pt x="817" y="19"/>
                        </a:lnTo>
                        <a:lnTo>
                          <a:pt x="799" y="29"/>
                        </a:lnTo>
                        <a:lnTo>
                          <a:pt x="769" y="43"/>
                        </a:lnTo>
                        <a:lnTo>
                          <a:pt x="752" y="50"/>
                        </a:lnTo>
                        <a:lnTo>
                          <a:pt x="734" y="56"/>
                        </a:lnTo>
                        <a:lnTo>
                          <a:pt x="726" y="58"/>
                        </a:lnTo>
                        <a:lnTo>
                          <a:pt x="719" y="60"/>
                        </a:lnTo>
                        <a:lnTo>
                          <a:pt x="711" y="61"/>
                        </a:lnTo>
                        <a:lnTo>
                          <a:pt x="704" y="62"/>
                        </a:lnTo>
                        <a:lnTo>
                          <a:pt x="692" y="63"/>
                        </a:lnTo>
                        <a:lnTo>
                          <a:pt x="678" y="65"/>
                        </a:lnTo>
                        <a:lnTo>
                          <a:pt x="664" y="67"/>
                        </a:lnTo>
                        <a:lnTo>
                          <a:pt x="652" y="68"/>
                        </a:lnTo>
                        <a:lnTo>
                          <a:pt x="644" y="68"/>
                        </a:lnTo>
                        <a:lnTo>
                          <a:pt x="637" y="67"/>
                        </a:lnTo>
                        <a:lnTo>
                          <a:pt x="632" y="65"/>
                        </a:lnTo>
                        <a:lnTo>
                          <a:pt x="626" y="63"/>
                        </a:lnTo>
                        <a:lnTo>
                          <a:pt x="622" y="59"/>
                        </a:lnTo>
                        <a:lnTo>
                          <a:pt x="618" y="55"/>
                        </a:lnTo>
                        <a:lnTo>
                          <a:pt x="614" y="50"/>
                        </a:lnTo>
                        <a:lnTo>
                          <a:pt x="612" y="44"/>
                        </a:lnTo>
                        <a:lnTo>
                          <a:pt x="601" y="45"/>
                        </a:lnTo>
                        <a:lnTo>
                          <a:pt x="591" y="44"/>
                        </a:lnTo>
                        <a:lnTo>
                          <a:pt x="581" y="42"/>
                        </a:lnTo>
                        <a:lnTo>
                          <a:pt x="571" y="40"/>
                        </a:lnTo>
                        <a:lnTo>
                          <a:pt x="560" y="37"/>
                        </a:lnTo>
                        <a:lnTo>
                          <a:pt x="549" y="34"/>
                        </a:lnTo>
                        <a:lnTo>
                          <a:pt x="537" y="32"/>
                        </a:lnTo>
                        <a:lnTo>
                          <a:pt x="525" y="32"/>
                        </a:lnTo>
                        <a:lnTo>
                          <a:pt x="525" y="25"/>
                        </a:lnTo>
                        <a:lnTo>
                          <a:pt x="525" y="19"/>
                        </a:lnTo>
                        <a:lnTo>
                          <a:pt x="512" y="22"/>
                        </a:lnTo>
                        <a:lnTo>
                          <a:pt x="499" y="25"/>
                        </a:lnTo>
                        <a:lnTo>
                          <a:pt x="493" y="25"/>
                        </a:lnTo>
                        <a:lnTo>
                          <a:pt x="488" y="23"/>
                        </a:lnTo>
                        <a:lnTo>
                          <a:pt x="483" y="21"/>
                        </a:lnTo>
                        <a:lnTo>
                          <a:pt x="477" y="17"/>
                        </a:lnTo>
                        <a:lnTo>
                          <a:pt x="473" y="13"/>
                        </a:lnTo>
                        <a:lnTo>
                          <a:pt x="468" y="9"/>
                        </a:lnTo>
                        <a:lnTo>
                          <a:pt x="466" y="5"/>
                        </a:lnTo>
                        <a:lnTo>
                          <a:pt x="465" y="0"/>
                        </a:lnTo>
                        <a:lnTo>
                          <a:pt x="456" y="5"/>
                        </a:lnTo>
                        <a:lnTo>
                          <a:pt x="445" y="9"/>
                        </a:lnTo>
                        <a:lnTo>
                          <a:pt x="432" y="12"/>
                        </a:lnTo>
                        <a:lnTo>
                          <a:pt x="419" y="14"/>
                        </a:lnTo>
                        <a:lnTo>
                          <a:pt x="390" y="16"/>
                        </a:lnTo>
                        <a:lnTo>
                          <a:pt x="360" y="19"/>
                        </a:lnTo>
                        <a:lnTo>
                          <a:pt x="343" y="20"/>
                        </a:lnTo>
                        <a:lnTo>
                          <a:pt x="329" y="21"/>
                        </a:lnTo>
                        <a:lnTo>
                          <a:pt x="313" y="23"/>
                        </a:lnTo>
                        <a:lnTo>
                          <a:pt x="299" y="26"/>
                        </a:lnTo>
                        <a:lnTo>
                          <a:pt x="286" y="30"/>
                        </a:lnTo>
                        <a:lnTo>
                          <a:pt x="274" y="35"/>
                        </a:lnTo>
                        <a:lnTo>
                          <a:pt x="267" y="38"/>
                        </a:lnTo>
                        <a:lnTo>
                          <a:pt x="262" y="41"/>
                        </a:lnTo>
                        <a:lnTo>
                          <a:pt x="257" y="45"/>
                        </a:lnTo>
                        <a:lnTo>
                          <a:pt x="253" y="50"/>
                        </a:lnTo>
                        <a:lnTo>
                          <a:pt x="147" y="50"/>
                        </a:lnTo>
                        <a:lnTo>
                          <a:pt x="145" y="54"/>
                        </a:lnTo>
                        <a:lnTo>
                          <a:pt x="142" y="58"/>
                        </a:lnTo>
                        <a:lnTo>
                          <a:pt x="138" y="61"/>
                        </a:lnTo>
                        <a:lnTo>
                          <a:pt x="133" y="62"/>
                        </a:lnTo>
                        <a:lnTo>
                          <a:pt x="143" y="65"/>
                        </a:lnTo>
                        <a:lnTo>
                          <a:pt x="153" y="68"/>
                        </a:lnTo>
                        <a:lnTo>
                          <a:pt x="163" y="70"/>
                        </a:lnTo>
                        <a:lnTo>
                          <a:pt x="173" y="75"/>
                        </a:lnTo>
                        <a:lnTo>
                          <a:pt x="173" y="79"/>
                        </a:lnTo>
                        <a:lnTo>
                          <a:pt x="172" y="83"/>
                        </a:lnTo>
                        <a:lnTo>
                          <a:pt x="170" y="86"/>
                        </a:lnTo>
                        <a:lnTo>
                          <a:pt x="167" y="88"/>
                        </a:lnTo>
                        <a:lnTo>
                          <a:pt x="164" y="90"/>
                        </a:lnTo>
                        <a:lnTo>
                          <a:pt x="161" y="91"/>
                        </a:lnTo>
                        <a:lnTo>
                          <a:pt x="158" y="92"/>
                        </a:lnTo>
                        <a:lnTo>
                          <a:pt x="153" y="93"/>
                        </a:lnTo>
                        <a:lnTo>
                          <a:pt x="133" y="94"/>
                        </a:lnTo>
                        <a:lnTo>
                          <a:pt x="114" y="93"/>
                        </a:lnTo>
                        <a:lnTo>
                          <a:pt x="108" y="93"/>
                        </a:lnTo>
                        <a:lnTo>
                          <a:pt x="94" y="93"/>
                        </a:lnTo>
                        <a:lnTo>
                          <a:pt x="74" y="93"/>
                        </a:lnTo>
                        <a:lnTo>
                          <a:pt x="53" y="93"/>
                        </a:lnTo>
                        <a:lnTo>
                          <a:pt x="42" y="94"/>
                        </a:lnTo>
                        <a:lnTo>
                          <a:pt x="31" y="95"/>
                        </a:lnTo>
                        <a:lnTo>
                          <a:pt x="22" y="99"/>
                        </a:lnTo>
                        <a:lnTo>
                          <a:pt x="15" y="104"/>
                        </a:lnTo>
                        <a:lnTo>
                          <a:pt x="11" y="107"/>
                        </a:lnTo>
                        <a:lnTo>
                          <a:pt x="8" y="110"/>
                        </a:lnTo>
                        <a:lnTo>
                          <a:pt x="6" y="114"/>
                        </a:lnTo>
                        <a:lnTo>
                          <a:pt x="4" y="119"/>
                        </a:lnTo>
                        <a:lnTo>
                          <a:pt x="2" y="130"/>
                        </a:lnTo>
                        <a:lnTo>
                          <a:pt x="0" y="142"/>
                        </a:lnTo>
                        <a:lnTo>
                          <a:pt x="0" y="147"/>
                        </a:lnTo>
                        <a:lnTo>
                          <a:pt x="2" y="151"/>
                        </a:lnTo>
                        <a:lnTo>
                          <a:pt x="4" y="154"/>
                        </a:lnTo>
                        <a:lnTo>
                          <a:pt x="5" y="157"/>
                        </a:lnTo>
                        <a:lnTo>
                          <a:pt x="10" y="162"/>
                        </a:lnTo>
                        <a:lnTo>
                          <a:pt x="16" y="167"/>
                        </a:lnTo>
                        <a:lnTo>
                          <a:pt x="20" y="173"/>
                        </a:lnTo>
                        <a:lnTo>
                          <a:pt x="22" y="179"/>
                        </a:lnTo>
                        <a:lnTo>
                          <a:pt x="24" y="183"/>
                        </a:lnTo>
                        <a:lnTo>
                          <a:pt x="24" y="188"/>
                        </a:lnTo>
                        <a:lnTo>
                          <a:pt x="22" y="193"/>
                        </a:lnTo>
                        <a:lnTo>
                          <a:pt x="20" y="198"/>
                        </a:lnTo>
                        <a:lnTo>
                          <a:pt x="19" y="200"/>
                        </a:lnTo>
                        <a:lnTo>
                          <a:pt x="19" y="203"/>
                        </a:lnTo>
                        <a:lnTo>
                          <a:pt x="20" y="206"/>
                        </a:lnTo>
                        <a:lnTo>
                          <a:pt x="21" y="210"/>
                        </a:lnTo>
                        <a:lnTo>
                          <a:pt x="25" y="217"/>
                        </a:lnTo>
                        <a:lnTo>
                          <a:pt x="30" y="224"/>
                        </a:lnTo>
                        <a:lnTo>
                          <a:pt x="37" y="230"/>
                        </a:lnTo>
                        <a:lnTo>
                          <a:pt x="44" y="235"/>
                        </a:lnTo>
                        <a:lnTo>
                          <a:pt x="49" y="237"/>
                        </a:lnTo>
                        <a:lnTo>
                          <a:pt x="52" y="239"/>
                        </a:lnTo>
                        <a:lnTo>
                          <a:pt x="56" y="241"/>
                        </a:lnTo>
                        <a:lnTo>
                          <a:pt x="60" y="241"/>
                        </a:lnTo>
                        <a:lnTo>
                          <a:pt x="59" y="250"/>
                        </a:lnTo>
                        <a:lnTo>
                          <a:pt x="56" y="259"/>
                        </a:lnTo>
                        <a:lnTo>
                          <a:pt x="52" y="266"/>
                        </a:lnTo>
                        <a:lnTo>
                          <a:pt x="47" y="271"/>
                        </a:lnTo>
                        <a:lnTo>
                          <a:pt x="56" y="271"/>
                        </a:lnTo>
                        <a:lnTo>
                          <a:pt x="66" y="271"/>
                        </a:lnTo>
                        <a:lnTo>
                          <a:pt x="74" y="271"/>
                        </a:lnTo>
                        <a:lnTo>
                          <a:pt x="81" y="271"/>
                        </a:lnTo>
                        <a:lnTo>
                          <a:pt x="82" y="275"/>
                        </a:lnTo>
                        <a:lnTo>
                          <a:pt x="84" y="280"/>
                        </a:lnTo>
                        <a:lnTo>
                          <a:pt x="89" y="284"/>
                        </a:lnTo>
                        <a:lnTo>
                          <a:pt x="96" y="290"/>
                        </a:lnTo>
                        <a:lnTo>
                          <a:pt x="112" y="302"/>
                        </a:lnTo>
                        <a:lnTo>
                          <a:pt x="131" y="313"/>
                        </a:lnTo>
                        <a:lnTo>
                          <a:pt x="170" y="334"/>
                        </a:lnTo>
                        <a:lnTo>
                          <a:pt x="193" y="345"/>
                        </a:lnTo>
                        <a:lnTo>
                          <a:pt x="205" y="352"/>
                        </a:lnTo>
                        <a:lnTo>
                          <a:pt x="218" y="360"/>
                        </a:lnTo>
                        <a:lnTo>
                          <a:pt x="226" y="364"/>
                        </a:lnTo>
                        <a:lnTo>
                          <a:pt x="234" y="367"/>
                        </a:lnTo>
                        <a:lnTo>
                          <a:pt x="243" y="370"/>
                        </a:lnTo>
                        <a:lnTo>
                          <a:pt x="253" y="370"/>
                        </a:lnTo>
                        <a:lnTo>
                          <a:pt x="255" y="370"/>
                        </a:lnTo>
                        <a:lnTo>
                          <a:pt x="257" y="367"/>
                        </a:lnTo>
                        <a:lnTo>
                          <a:pt x="261" y="365"/>
                        </a:lnTo>
                        <a:lnTo>
                          <a:pt x="264" y="361"/>
                        </a:lnTo>
                        <a:lnTo>
                          <a:pt x="267" y="358"/>
                        </a:lnTo>
                        <a:lnTo>
                          <a:pt x="271" y="355"/>
                        </a:lnTo>
                        <a:lnTo>
                          <a:pt x="275" y="353"/>
                        </a:lnTo>
                        <a:lnTo>
                          <a:pt x="279" y="352"/>
                        </a:lnTo>
                        <a:lnTo>
                          <a:pt x="277" y="344"/>
                        </a:lnTo>
                        <a:lnTo>
                          <a:pt x="277" y="338"/>
                        </a:lnTo>
                        <a:lnTo>
                          <a:pt x="278" y="332"/>
                        </a:lnTo>
                        <a:lnTo>
                          <a:pt x="280" y="326"/>
                        </a:lnTo>
                        <a:lnTo>
                          <a:pt x="284" y="322"/>
                        </a:lnTo>
                        <a:lnTo>
                          <a:pt x="289" y="318"/>
                        </a:lnTo>
                        <a:lnTo>
                          <a:pt x="297" y="316"/>
                        </a:lnTo>
                        <a:lnTo>
                          <a:pt x="306" y="315"/>
                        </a:lnTo>
                        <a:lnTo>
                          <a:pt x="316" y="315"/>
                        </a:lnTo>
                        <a:lnTo>
                          <a:pt x="323" y="317"/>
                        </a:lnTo>
                        <a:lnTo>
                          <a:pt x="329" y="320"/>
                        </a:lnTo>
                        <a:lnTo>
                          <a:pt x="334" y="323"/>
                        </a:lnTo>
                        <a:lnTo>
                          <a:pt x="343" y="332"/>
                        </a:lnTo>
                        <a:lnTo>
                          <a:pt x="350" y="342"/>
                        </a:lnTo>
                        <a:lnTo>
                          <a:pt x="353" y="347"/>
                        </a:lnTo>
                        <a:lnTo>
                          <a:pt x="357" y="353"/>
                        </a:lnTo>
                        <a:lnTo>
                          <a:pt x="362" y="358"/>
                        </a:lnTo>
                        <a:lnTo>
                          <a:pt x="367" y="362"/>
                        </a:lnTo>
                        <a:lnTo>
                          <a:pt x="373" y="365"/>
                        </a:lnTo>
                        <a:lnTo>
                          <a:pt x="380" y="368"/>
                        </a:lnTo>
                        <a:lnTo>
                          <a:pt x="389" y="370"/>
                        </a:lnTo>
                        <a:lnTo>
                          <a:pt x="399" y="370"/>
                        </a:lnTo>
                        <a:lnTo>
                          <a:pt x="409" y="370"/>
                        </a:lnTo>
                        <a:lnTo>
                          <a:pt x="418" y="369"/>
                        </a:lnTo>
                        <a:lnTo>
                          <a:pt x="425" y="367"/>
                        </a:lnTo>
                        <a:lnTo>
                          <a:pt x="433" y="365"/>
                        </a:lnTo>
                        <a:lnTo>
                          <a:pt x="447" y="359"/>
                        </a:lnTo>
                        <a:lnTo>
                          <a:pt x="459" y="352"/>
                        </a:lnTo>
                        <a:lnTo>
                          <a:pt x="472" y="345"/>
                        </a:lnTo>
                        <a:lnTo>
                          <a:pt x="483" y="339"/>
                        </a:lnTo>
                        <a:lnTo>
                          <a:pt x="488" y="336"/>
                        </a:lnTo>
                        <a:lnTo>
                          <a:pt x="493" y="335"/>
                        </a:lnTo>
                        <a:lnTo>
                          <a:pt x="499" y="333"/>
                        </a:lnTo>
                        <a:lnTo>
                          <a:pt x="506" y="333"/>
                        </a:lnTo>
                        <a:lnTo>
                          <a:pt x="512" y="332"/>
                        </a:lnTo>
                        <a:lnTo>
                          <a:pt x="521" y="329"/>
                        </a:lnTo>
                        <a:lnTo>
                          <a:pt x="525" y="327"/>
                        </a:lnTo>
                        <a:lnTo>
                          <a:pt x="529" y="325"/>
                        </a:lnTo>
                        <a:lnTo>
                          <a:pt x="531" y="323"/>
                        </a:lnTo>
                        <a:lnTo>
                          <a:pt x="532" y="321"/>
                        </a:lnTo>
                        <a:lnTo>
                          <a:pt x="565" y="321"/>
                        </a:lnTo>
                        <a:lnTo>
                          <a:pt x="564" y="326"/>
                        </a:lnTo>
                        <a:lnTo>
                          <a:pt x="563" y="333"/>
                        </a:lnTo>
                        <a:lnTo>
                          <a:pt x="564" y="341"/>
                        </a:lnTo>
                        <a:lnTo>
                          <a:pt x="565" y="349"/>
                        </a:lnTo>
                        <a:lnTo>
                          <a:pt x="566" y="358"/>
                        </a:lnTo>
                        <a:lnTo>
                          <a:pt x="567" y="367"/>
                        </a:lnTo>
                        <a:lnTo>
                          <a:pt x="567" y="375"/>
                        </a:lnTo>
                        <a:lnTo>
                          <a:pt x="565" y="382"/>
                        </a:lnTo>
                        <a:lnTo>
                          <a:pt x="575" y="381"/>
                        </a:lnTo>
                        <a:lnTo>
                          <a:pt x="582" y="379"/>
                        </a:lnTo>
                        <a:lnTo>
                          <a:pt x="590" y="377"/>
                        </a:lnTo>
                        <a:lnTo>
                          <a:pt x="596" y="375"/>
                        </a:lnTo>
                        <a:lnTo>
                          <a:pt x="601" y="372"/>
                        </a:lnTo>
                        <a:lnTo>
                          <a:pt x="605" y="369"/>
                        </a:lnTo>
                        <a:lnTo>
                          <a:pt x="610" y="366"/>
                        </a:lnTo>
                        <a:lnTo>
                          <a:pt x="613" y="362"/>
                        </a:lnTo>
                        <a:lnTo>
                          <a:pt x="623" y="345"/>
                        </a:lnTo>
                        <a:lnTo>
                          <a:pt x="632" y="327"/>
                        </a:lnTo>
                        <a:lnTo>
                          <a:pt x="636" y="331"/>
                        </a:lnTo>
                        <a:lnTo>
                          <a:pt x="641" y="334"/>
                        </a:lnTo>
                        <a:lnTo>
                          <a:pt x="647" y="336"/>
                        </a:lnTo>
                        <a:lnTo>
                          <a:pt x="654" y="337"/>
                        </a:lnTo>
                        <a:lnTo>
                          <a:pt x="669" y="338"/>
                        </a:lnTo>
                        <a:lnTo>
                          <a:pt x="687" y="336"/>
                        </a:lnTo>
                        <a:lnTo>
                          <a:pt x="721" y="330"/>
                        </a:lnTo>
                        <a:lnTo>
                          <a:pt x="752" y="327"/>
                        </a:lnTo>
                        <a:lnTo>
                          <a:pt x="767" y="327"/>
                        </a:lnTo>
                        <a:lnTo>
                          <a:pt x="781" y="325"/>
                        </a:lnTo>
                        <a:lnTo>
                          <a:pt x="794" y="324"/>
                        </a:lnTo>
                        <a:lnTo>
                          <a:pt x="808" y="321"/>
                        </a:lnTo>
                        <a:lnTo>
                          <a:pt x="831" y="315"/>
                        </a:lnTo>
                        <a:lnTo>
                          <a:pt x="853" y="307"/>
                        </a:lnTo>
                        <a:lnTo>
                          <a:pt x="873" y="299"/>
                        </a:lnTo>
                        <a:lnTo>
                          <a:pt x="895" y="290"/>
                        </a:lnTo>
                        <a:lnTo>
                          <a:pt x="906" y="287"/>
                        </a:lnTo>
                        <a:lnTo>
                          <a:pt x="918" y="283"/>
                        </a:lnTo>
                        <a:lnTo>
                          <a:pt x="930" y="280"/>
                        </a:lnTo>
                        <a:lnTo>
                          <a:pt x="944" y="278"/>
                        </a:lnTo>
                        <a:lnTo>
                          <a:pt x="951" y="279"/>
                        </a:lnTo>
                        <a:lnTo>
                          <a:pt x="961" y="284"/>
                        </a:lnTo>
                        <a:lnTo>
                          <a:pt x="967" y="286"/>
                        </a:lnTo>
                        <a:lnTo>
                          <a:pt x="972" y="288"/>
                        </a:lnTo>
                        <a:lnTo>
                          <a:pt x="979" y="289"/>
                        </a:lnTo>
                        <a:lnTo>
                          <a:pt x="983" y="290"/>
                        </a:lnTo>
                        <a:lnTo>
                          <a:pt x="995" y="290"/>
                        </a:lnTo>
                        <a:lnTo>
                          <a:pt x="1005" y="293"/>
                        </a:lnTo>
                        <a:lnTo>
                          <a:pt x="1015" y="295"/>
                        </a:lnTo>
                        <a:lnTo>
                          <a:pt x="1024" y="300"/>
                        </a:lnTo>
                        <a:lnTo>
                          <a:pt x="1034" y="303"/>
                        </a:lnTo>
                        <a:lnTo>
                          <a:pt x="1045" y="306"/>
                        </a:lnTo>
                        <a:lnTo>
                          <a:pt x="1056" y="308"/>
                        </a:lnTo>
                        <a:lnTo>
                          <a:pt x="1070" y="309"/>
                        </a:lnTo>
                        <a:lnTo>
                          <a:pt x="1068" y="297"/>
                        </a:lnTo>
                        <a:lnTo>
                          <a:pt x="1063" y="286"/>
                        </a:lnTo>
                        <a:lnTo>
                          <a:pt x="1060" y="276"/>
                        </a:lnTo>
                        <a:lnTo>
                          <a:pt x="1056" y="268"/>
                        </a:lnTo>
                        <a:lnTo>
                          <a:pt x="1047" y="254"/>
                        </a:lnTo>
                        <a:lnTo>
                          <a:pt x="1038" y="241"/>
                        </a:lnTo>
                        <a:lnTo>
                          <a:pt x="1034" y="233"/>
                        </a:lnTo>
                        <a:lnTo>
                          <a:pt x="1030" y="226"/>
                        </a:lnTo>
                        <a:lnTo>
                          <a:pt x="1026" y="219"/>
                        </a:lnTo>
                        <a:lnTo>
                          <a:pt x="1024" y="211"/>
                        </a:lnTo>
                        <a:lnTo>
                          <a:pt x="1021" y="202"/>
                        </a:lnTo>
                        <a:lnTo>
                          <a:pt x="1018" y="192"/>
                        </a:lnTo>
                        <a:lnTo>
                          <a:pt x="1017" y="179"/>
                        </a:lnTo>
                        <a:lnTo>
                          <a:pt x="1017" y="167"/>
                        </a:lnTo>
                        <a:lnTo>
                          <a:pt x="1014" y="152"/>
                        </a:lnTo>
                        <a:lnTo>
                          <a:pt x="1011" y="142"/>
                        </a:lnTo>
                      </a:path>
                    </a:pathLst>
                  </a:custGeom>
                  <a:grpFill/>
                  <a:ln w="9525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pPr defTabSz="914378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s-ES" sz="1800">
                      <a:solidFill>
                        <a:sysClr val="windowText" lastClr="000000"/>
                      </a:solidFill>
                      <a:latin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425" name="Freeform 541">
                  <a:extLst>
                    <a:ext uri="{FF2B5EF4-FFF2-40B4-BE49-F238E27FC236}">
                      <a16:creationId xmlns:a16="http://schemas.microsoft.com/office/drawing/2014/main" xmlns="" id="{96B032A8-8DCB-4567-A482-94653A0A4E81}"/>
                    </a:ext>
                  </a:extLst>
                </p:cNvPr>
                <p:cNvSpPr>
                  <a:spLocks/>
                </p:cNvSpPr>
                <p:nvPr>
                  <p:custDataLst>
                    <p:tags r:id="rId372"/>
                  </p:custDataLst>
                </p:nvPr>
              </p:nvSpPr>
              <p:spPr bwMode="auto">
                <a:xfrm>
                  <a:off x="2571750" y="3481388"/>
                  <a:ext cx="100013" cy="122237"/>
                </a:xfrm>
                <a:custGeom>
                  <a:avLst/>
                  <a:gdLst>
                    <a:gd name="T0" fmla="*/ 2147483646 w 226"/>
                    <a:gd name="T1" fmla="*/ 2147483646 h 237"/>
                    <a:gd name="T2" fmla="*/ 2147483646 w 226"/>
                    <a:gd name="T3" fmla="*/ 2147483646 h 237"/>
                    <a:gd name="T4" fmla="*/ 2147483646 w 226"/>
                    <a:gd name="T5" fmla="*/ 2147483646 h 237"/>
                    <a:gd name="T6" fmla="*/ 2147483646 w 226"/>
                    <a:gd name="T7" fmla="*/ 2147483646 h 237"/>
                    <a:gd name="T8" fmla="*/ 2147483646 w 226"/>
                    <a:gd name="T9" fmla="*/ 2147483646 h 237"/>
                    <a:gd name="T10" fmla="*/ 2147483646 w 226"/>
                    <a:gd name="T11" fmla="*/ 2147483646 h 237"/>
                    <a:gd name="T12" fmla="*/ 2147483646 w 226"/>
                    <a:gd name="T13" fmla="*/ 2147483646 h 237"/>
                    <a:gd name="T14" fmla="*/ 2147483646 w 226"/>
                    <a:gd name="T15" fmla="*/ 2147483646 h 237"/>
                    <a:gd name="T16" fmla="*/ 2147483646 w 226"/>
                    <a:gd name="T17" fmla="*/ 2147483646 h 237"/>
                    <a:gd name="T18" fmla="*/ 2147483646 w 226"/>
                    <a:gd name="T19" fmla="*/ 2147483646 h 237"/>
                    <a:gd name="T20" fmla="*/ 2147483646 w 226"/>
                    <a:gd name="T21" fmla="*/ 2147483646 h 237"/>
                    <a:gd name="T22" fmla="*/ 2147483646 w 226"/>
                    <a:gd name="T23" fmla="*/ 2147483646 h 237"/>
                    <a:gd name="T24" fmla="*/ 2147483646 w 226"/>
                    <a:gd name="T25" fmla="*/ 2147483646 h 237"/>
                    <a:gd name="T26" fmla="*/ 2147483646 w 226"/>
                    <a:gd name="T27" fmla="*/ 2147483646 h 237"/>
                    <a:gd name="T28" fmla="*/ 2147483646 w 226"/>
                    <a:gd name="T29" fmla="*/ 2147483646 h 237"/>
                    <a:gd name="T30" fmla="*/ 2147483646 w 226"/>
                    <a:gd name="T31" fmla="*/ 2147483646 h 237"/>
                    <a:gd name="T32" fmla="*/ 2147483646 w 226"/>
                    <a:gd name="T33" fmla="*/ 2147483646 h 237"/>
                    <a:gd name="T34" fmla="*/ 2147483646 w 226"/>
                    <a:gd name="T35" fmla="*/ 2147483646 h 237"/>
                    <a:gd name="T36" fmla="*/ 2147483646 w 226"/>
                    <a:gd name="T37" fmla="*/ 2147483646 h 237"/>
                    <a:gd name="T38" fmla="*/ 2147483646 w 226"/>
                    <a:gd name="T39" fmla="*/ 2147483646 h 237"/>
                    <a:gd name="T40" fmla="*/ 2147483646 w 226"/>
                    <a:gd name="T41" fmla="*/ 2147483646 h 237"/>
                    <a:gd name="T42" fmla="*/ 2147483646 w 226"/>
                    <a:gd name="T43" fmla="*/ 2147483646 h 237"/>
                    <a:gd name="T44" fmla="*/ 2147483646 w 226"/>
                    <a:gd name="T45" fmla="*/ 2147483646 h 237"/>
                    <a:gd name="T46" fmla="*/ 2147483646 w 226"/>
                    <a:gd name="T47" fmla="*/ 2147483646 h 237"/>
                    <a:gd name="T48" fmla="*/ 2147483646 w 226"/>
                    <a:gd name="T49" fmla="*/ 2147483646 h 237"/>
                    <a:gd name="T50" fmla="*/ 2147483646 w 226"/>
                    <a:gd name="T51" fmla="*/ 2147483646 h 237"/>
                    <a:gd name="T52" fmla="*/ 2147483646 w 226"/>
                    <a:gd name="T53" fmla="*/ 2147483646 h 237"/>
                    <a:gd name="T54" fmla="*/ 2147483646 w 226"/>
                    <a:gd name="T55" fmla="*/ 2147483646 h 237"/>
                    <a:gd name="T56" fmla="*/ 2147483646 w 226"/>
                    <a:gd name="T57" fmla="*/ 2147483646 h 237"/>
                    <a:gd name="T58" fmla="*/ 0 w 226"/>
                    <a:gd name="T59" fmla="*/ 2147483646 h 237"/>
                    <a:gd name="T60" fmla="*/ 2147483646 w 226"/>
                    <a:gd name="T61" fmla="*/ 2147483646 h 237"/>
                    <a:gd name="T62" fmla="*/ 2147483646 w 226"/>
                    <a:gd name="T63" fmla="*/ 2147483646 h 237"/>
                    <a:gd name="T64" fmla="*/ 2147483646 w 226"/>
                    <a:gd name="T65" fmla="*/ 2147483646 h 237"/>
                    <a:gd name="T66" fmla="*/ 2147483646 w 226"/>
                    <a:gd name="T67" fmla="*/ 2147483646 h 237"/>
                    <a:gd name="T68" fmla="*/ 2147483646 w 226"/>
                    <a:gd name="T69" fmla="*/ 2147483646 h 237"/>
                    <a:gd name="T70" fmla="*/ 2147483646 w 226"/>
                    <a:gd name="T71" fmla="*/ 2147483646 h 23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26"/>
                    <a:gd name="T109" fmla="*/ 0 h 237"/>
                    <a:gd name="T110" fmla="*/ 226 w 226"/>
                    <a:gd name="T111" fmla="*/ 237 h 23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26" h="237">
                      <a:moveTo>
                        <a:pt x="61" y="234"/>
                      </a:moveTo>
                      <a:lnTo>
                        <a:pt x="63" y="236"/>
                      </a:lnTo>
                      <a:lnTo>
                        <a:pt x="65" y="237"/>
                      </a:lnTo>
                      <a:lnTo>
                        <a:pt x="68" y="237"/>
                      </a:lnTo>
                      <a:lnTo>
                        <a:pt x="70" y="237"/>
                      </a:lnTo>
                      <a:lnTo>
                        <a:pt x="75" y="235"/>
                      </a:lnTo>
                      <a:lnTo>
                        <a:pt x="80" y="234"/>
                      </a:lnTo>
                      <a:lnTo>
                        <a:pt x="83" y="234"/>
                      </a:lnTo>
                      <a:lnTo>
                        <a:pt x="86" y="232"/>
                      </a:lnTo>
                      <a:lnTo>
                        <a:pt x="89" y="230"/>
                      </a:lnTo>
                      <a:lnTo>
                        <a:pt x="92" y="227"/>
                      </a:lnTo>
                      <a:lnTo>
                        <a:pt x="96" y="223"/>
                      </a:lnTo>
                      <a:lnTo>
                        <a:pt x="98" y="219"/>
                      </a:lnTo>
                      <a:lnTo>
                        <a:pt x="99" y="214"/>
                      </a:lnTo>
                      <a:lnTo>
                        <a:pt x="100" y="209"/>
                      </a:lnTo>
                      <a:lnTo>
                        <a:pt x="123" y="209"/>
                      </a:lnTo>
                      <a:lnTo>
                        <a:pt x="145" y="208"/>
                      </a:lnTo>
                      <a:lnTo>
                        <a:pt x="166" y="205"/>
                      </a:lnTo>
                      <a:lnTo>
                        <a:pt x="186" y="201"/>
                      </a:lnTo>
                      <a:lnTo>
                        <a:pt x="195" y="198"/>
                      </a:lnTo>
                      <a:lnTo>
                        <a:pt x="202" y="195"/>
                      </a:lnTo>
                      <a:lnTo>
                        <a:pt x="209" y="191"/>
                      </a:lnTo>
                      <a:lnTo>
                        <a:pt x="215" y="186"/>
                      </a:lnTo>
                      <a:lnTo>
                        <a:pt x="220" y="181"/>
                      </a:lnTo>
                      <a:lnTo>
                        <a:pt x="223" y="175"/>
                      </a:lnTo>
                      <a:lnTo>
                        <a:pt x="225" y="168"/>
                      </a:lnTo>
                      <a:lnTo>
                        <a:pt x="226" y="161"/>
                      </a:lnTo>
                      <a:lnTo>
                        <a:pt x="226" y="153"/>
                      </a:lnTo>
                      <a:lnTo>
                        <a:pt x="225" y="147"/>
                      </a:lnTo>
                      <a:lnTo>
                        <a:pt x="223" y="140"/>
                      </a:lnTo>
                      <a:lnTo>
                        <a:pt x="221" y="134"/>
                      </a:lnTo>
                      <a:lnTo>
                        <a:pt x="215" y="123"/>
                      </a:lnTo>
                      <a:lnTo>
                        <a:pt x="210" y="112"/>
                      </a:lnTo>
                      <a:lnTo>
                        <a:pt x="203" y="100"/>
                      </a:lnTo>
                      <a:lnTo>
                        <a:pt x="198" y="90"/>
                      </a:lnTo>
                      <a:lnTo>
                        <a:pt x="196" y="84"/>
                      </a:lnTo>
                      <a:lnTo>
                        <a:pt x="195" y="79"/>
                      </a:lnTo>
                      <a:lnTo>
                        <a:pt x="193" y="74"/>
                      </a:lnTo>
                      <a:lnTo>
                        <a:pt x="193" y="68"/>
                      </a:lnTo>
                      <a:lnTo>
                        <a:pt x="195" y="59"/>
                      </a:lnTo>
                      <a:lnTo>
                        <a:pt x="197" y="51"/>
                      </a:lnTo>
                      <a:lnTo>
                        <a:pt x="200" y="43"/>
                      </a:lnTo>
                      <a:lnTo>
                        <a:pt x="204" y="36"/>
                      </a:lnTo>
                      <a:lnTo>
                        <a:pt x="213" y="25"/>
                      </a:lnTo>
                      <a:lnTo>
                        <a:pt x="220" y="19"/>
                      </a:lnTo>
                      <a:lnTo>
                        <a:pt x="213" y="14"/>
                      </a:lnTo>
                      <a:lnTo>
                        <a:pt x="203" y="11"/>
                      </a:lnTo>
                      <a:lnTo>
                        <a:pt x="191" y="7"/>
                      </a:lnTo>
                      <a:lnTo>
                        <a:pt x="179" y="5"/>
                      </a:lnTo>
                      <a:lnTo>
                        <a:pt x="154" y="2"/>
                      </a:lnTo>
                      <a:lnTo>
                        <a:pt x="133" y="0"/>
                      </a:lnTo>
                      <a:lnTo>
                        <a:pt x="20" y="6"/>
                      </a:lnTo>
                      <a:lnTo>
                        <a:pt x="20" y="19"/>
                      </a:lnTo>
                      <a:lnTo>
                        <a:pt x="18" y="31"/>
                      </a:lnTo>
                      <a:lnTo>
                        <a:pt x="14" y="42"/>
                      </a:lnTo>
                      <a:lnTo>
                        <a:pt x="10" y="54"/>
                      </a:lnTo>
                      <a:lnTo>
                        <a:pt x="7" y="66"/>
                      </a:lnTo>
                      <a:lnTo>
                        <a:pt x="3" y="79"/>
                      </a:lnTo>
                      <a:lnTo>
                        <a:pt x="1" y="93"/>
                      </a:lnTo>
                      <a:lnTo>
                        <a:pt x="0" y="111"/>
                      </a:lnTo>
                      <a:lnTo>
                        <a:pt x="1" y="121"/>
                      </a:lnTo>
                      <a:lnTo>
                        <a:pt x="3" y="130"/>
                      </a:lnTo>
                      <a:lnTo>
                        <a:pt x="6" y="138"/>
                      </a:lnTo>
                      <a:lnTo>
                        <a:pt x="10" y="146"/>
                      </a:lnTo>
                      <a:lnTo>
                        <a:pt x="19" y="159"/>
                      </a:lnTo>
                      <a:lnTo>
                        <a:pt x="30" y="173"/>
                      </a:lnTo>
                      <a:lnTo>
                        <a:pt x="41" y="185"/>
                      </a:lnTo>
                      <a:lnTo>
                        <a:pt x="51" y="199"/>
                      </a:lnTo>
                      <a:lnTo>
                        <a:pt x="55" y="207"/>
                      </a:lnTo>
                      <a:lnTo>
                        <a:pt x="57" y="216"/>
                      </a:lnTo>
                      <a:lnTo>
                        <a:pt x="59" y="225"/>
                      </a:lnTo>
                      <a:lnTo>
                        <a:pt x="61" y="23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26" name="Freeform 542">
                  <a:extLst>
                    <a:ext uri="{FF2B5EF4-FFF2-40B4-BE49-F238E27FC236}">
                      <a16:creationId xmlns:a16="http://schemas.microsoft.com/office/drawing/2014/main" xmlns="" id="{240331EE-EE4A-460C-8C33-DD11DE667596}"/>
                    </a:ext>
                  </a:extLst>
                </p:cNvPr>
                <p:cNvSpPr>
                  <a:spLocks/>
                </p:cNvSpPr>
                <p:nvPr>
                  <p:custDataLst>
                    <p:tags r:id="rId373"/>
                  </p:custDataLst>
                </p:nvPr>
              </p:nvSpPr>
              <p:spPr bwMode="auto">
                <a:xfrm>
                  <a:off x="6516688" y="2917825"/>
                  <a:ext cx="207962" cy="458788"/>
                </a:xfrm>
                <a:custGeom>
                  <a:avLst/>
                  <a:gdLst>
                    <a:gd name="T0" fmla="*/ 2147483646 w 478"/>
                    <a:gd name="T1" fmla="*/ 2147483646 h 875"/>
                    <a:gd name="T2" fmla="*/ 2147483646 w 478"/>
                    <a:gd name="T3" fmla="*/ 2147483646 h 875"/>
                    <a:gd name="T4" fmla="*/ 2147483646 w 478"/>
                    <a:gd name="T5" fmla="*/ 2147483646 h 875"/>
                    <a:gd name="T6" fmla="*/ 2147483646 w 478"/>
                    <a:gd name="T7" fmla="*/ 2147483646 h 875"/>
                    <a:gd name="T8" fmla="*/ 2147483646 w 478"/>
                    <a:gd name="T9" fmla="*/ 2147483646 h 875"/>
                    <a:gd name="T10" fmla="*/ 2147483646 w 478"/>
                    <a:gd name="T11" fmla="*/ 2147483646 h 875"/>
                    <a:gd name="T12" fmla="*/ 2147483646 w 478"/>
                    <a:gd name="T13" fmla="*/ 2147483646 h 875"/>
                    <a:gd name="T14" fmla="*/ 2147483646 w 478"/>
                    <a:gd name="T15" fmla="*/ 2147483646 h 875"/>
                    <a:gd name="T16" fmla="*/ 2147483646 w 478"/>
                    <a:gd name="T17" fmla="*/ 2147483646 h 875"/>
                    <a:gd name="T18" fmla="*/ 2147483646 w 478"/>
                    <a:gd name="T19" fmla="*/ 2147483646 h 875"/>
                    <a:gd name="T20" fmla="*/ 2147483646 w 478"/>
                    <a:gd name="T21" fmla="*/ 2147483646 h 875"/>
                    <a:gd name="T22" fmla="*/ 2147483646 w 478"/>
                    <a:gd name="T23" fmla="*/ 2147483646 h 875"/>
                    <a:gd name="T24" fmla="*/ 2147483646 w 478"/>
                    <a:gd name="T25" fmla="*/ 2147483646 h 875"/>
                    <a:gd name="T26" fmla="*/ 2147483646 w 478"/>
                    <a:gd name="T27" fmla="*/ 2147483646 h 875"/>
                    <a:gd name="T28" fmla="*/ 2147483646 w 478"/>
                    <a:gd name="T29" fmla="*/ 2147483646 h 875"/>
                    <a:gd name="T30" fmla="*/ 2147483646 w 478"/>
                    <a:gd name="T31" fmla="*/ 2147483646 h 875"/>
                    <a:gd name="T32" fmla="*/ 2147483646 w 478"/>
                    <a:gd name="T33" fmla="*/ 2147483646 h 875"/>
                    <a:gd name="T34" fmla="*/ 2147483646 w 478"/>
                    <a:gd name="T35" fmla="*/ 2147483646 h 875"/>
                    <a:gd name="T36" fmla="*/ 2147483646 w 478"/>
                    <a:gd name="T37" fmla="*/ 2147483646 h 875"/>
                    <a:gd name="T38" fmla="*/ 2147483646 w 478"/>
                    <a:gd name="T39" fmla="*/ 2147483646 h 875"/>
                    <a:gd name="T40" fmla="*/ 2147483646 w 478"/>
                    <a:gd name="T41" fmla="*/ 2147483646 h 875"/>
                    <a:gd name="T42" fmla="*/ 2147483646 w 478"/>
                    <a:gd name="T43" fmla="*/ 2147483646 h 875"/>
                    <a:gd name="T44" fmla="*/ 2147483646 w 478"/>
                    <a:gd name="T45" fmla="*/ 2147483646 h 875"/>
                    <a:gd name="T46" fmla="*/ 2147483646 w 478"/>
                    <a:gd name="T47" fmla="*/ 2147483646 h 875"/>
                    <a:gd name="T48" fmla="*/ 2147483646 w 478"/>
                    <a:gd name="T49" fmla="*/ 2147483646 h 875"/>
                    <a:gd name="T50" fmla="*/ 2147483646 w 478"/>
                    <a:gd name="T51" fmla="*/ 2147483646 h 875"/>
                    <a:gd name="T52" fmla="*/ 2147483646 w 478"/>
                    <a:gd name="T53" fmla="*/ 2147483646 h 875"/>
                    <a:gd name="T54" fmla="*/ 2147483646 w 478"/>
                    <a:gd name="T55" fmla="*/ 2147483646 h 875"/>
                    <a:gd name="T56" fmla="*/ 2147483646 w 478"/>
                    <a:gd name="T57" fmla="*/ 2147483646 h 875"/>
                    <a:gd name="T58" fmla="*/ 2147483646 w 478"/>
                    <a:gd name="T59" fmla="*/ 2147483646 h 875"/>
                    <a:gd name="T60" fmla="*/ 2147483646 w 478"/>
                    <a:gd name="T61" fmla="*/ 2147483646 h 875"/>
                    <a:gd name="T62" fmla="*/ 2147483646 w 478"/>
                    <a:gd name="T63" fmla="*/ 2147483646 h 875"/>
                    <a:gd name="T64" fmla="*/ 2147483646 w 478"/>
                    <a:gd name="T65" fmla="*/ 2147483646 h 875"/>
                    <a:gd name="T66" fmla="*/ 2147483646 w 478"/>
                    <a:gd name="T67" fmla="*/ 2147483646 h 875"/>
                    <a:gd name="T68" fmla="*/ 2147483646 w 478"/>
                    <a:gd name="T69" fmla="*/ 2147483646 h 875"/>
                    <a:gd name="T70" fmla="*/ 2147483646 w 478"/>
                    <a:gd name="T71" fmla="*/ 2147483646 h 875"/>
                    <a:gd name="T72" fmla="*/ 2147483646 w 478"/>
                    <a:gd name="T73" fmla="*/ 2147483646 h 875"/>
                    <a:gd name="T74" fmla="*/ 2147483646 w 478"/>
                    <a:gd name="T75" fmla="*/ 2147483646 h 875"/>
                    <a:gd name="T76" fmla="*/ 2147483646 w 478"/>
                    <a:gd name="T77" fmla="*/ 2147483646 h 875"/>
                    <a:gd name="T78" fmla="*/ 2147483646 w 478"/>
                    <a:gd name="T79" fmla="*/ 2147483646 h 875"/>
                    <a:gd name="T80" fmla="*/ 2147483646 w 478"/>
                    <a:gd name="T81" fmla="*/ 2147483646 h 875"/>
                    <a:gd name="T82" fmla="*/ 2147483646 w 478"/>
                    <a:gd name="T83" fmla="*/ 2147483646 h 875"/>
                    <a:gd name="T84" fmla="*/ 2147483646 w 478"/>
                    <a:gd name="T85" fmla="*/ 2147483646 h 875"/>
                    <a:gd name="T86" fmla="*/ 2147483646 w 478"/>
                    <a:gd name="T87" fmla="*/ 2147483646 h 875"/>
                    <a:gd name="T88" fmla="*/ 2147483646 w 478"/>
                    <a:gd name="T89" fmla="*/ 2147483646 h 875"/>
                    <a:gd name="T90" fmla="*/ 2147483646 w 478"/>
                    <a:gd name="T91" fmla="*/ 2147483646 h 875"/>
                    <a:gd name="T92" fmla="*/ 2147483646 w 478"/>
                    <a:gd name="T93" fmla="*/ 2147483646 h 875"/>
                    <a:gd name="T94" fmla="*/ 2147483646 w 478"/>
                    <a:gd name="T95" fmla="*/ 2147483646 h 875"/>
                    <a:gd name="T96" fmla="*/ 2147483646 w 478"/>
                    <a:gd name="T97" fmla="*/ 2147483646 h 875"/>
                    <a:gd name="T98" fmla="*/ 2147483646 w 478"/>
                    <a:gd name="T99" fmla="*/ 2147483646 h 875"/>
                    <a:gd name="T100" fmla="*/ 2147483646 w 478"/>
                    <a:gd name="T101" fmla="*/ 2147483646 h 875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478"/>
                    <a:gd name="T154" fmla="*/ 0 h 875"/>
                    <a:gd name="T155" fmla="*/ 478 w 478"/>
                    <a:gd name="T156" fmla="*/ 875 h 875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478" h="875">
                      <a:moveTo>
                        <a:pt x="299" y="104"/>
                      </a:moveTo>
                      <a:lnTo>
                        <a:pt x="295" y="106"/>
                      </a:lnTo>
                      <a:lnTo>
                        <a:pt x="287" y="109"/>
                      </a:lnTo>
                      <a:lnTo>
                        <a:pt x="277" y="116"/>
                      </a:lnTo>
                      <a:lnTo>
                        <a:pt x="264" y="126"/>
                      </a:lnTo>
                      <a:lnTo>
                        <a:pt x="250" y="138"/>
                      </a:lnTo>
                      <a:lnTo>
                        <a:pt x="233" y="154"/>
                      </a:lnTo>
                      <a:lnTo>
                        <a:pt x="217" y="173"/>
                      </a:lnTo>
                      <a:lnTo>
                        <a:pt x="199" y="197"/>
                      </a:lnTo>
                      <a:lnTo>
                        <a:pt x="197" y="201"/>
                      </a:lnTo>
                      <a:lnTo>
                        <a:pt x="197" y="207"/>
                      </a:lnTo>
                      <a:lnTo>
                        <a:pt x="198" y="213"/>
                      </a:lnTo>
                      <a:lnTo>
                        <a:pt x="199" y="221"/>
                      </a:lnTo>
                      <a:lnTo>
                        <a:pt x="202" y="229"/>
                      </a:lnTo>
                      <a:lnTo>
                        <a:pt x="206" y="239"/>
                      </a:lnTo>
                      <a:lnTo>
                        <a:pt x="210" y="248"/>
                      </a:lnTo>
                      <a:lnTo>
                        <a:pt x="214" y="256"/>
                      </a:lnTo>
                      <a:lnTo>
                        <a:pt x="221" y="265"/>
                      </a:lnTo>
                      <a:lnTo>
                        <a:pt x="226" y="273"/>
                      </a:lnTo>
                      <a:lnTo>
                        <a:pt x="233" y="281"/>
                      </a:lnTo>
                      <a:lnTo>
                        <a:pt x="240" y="288"/>
                      </a:lnTo>
                      <a:lnTo>
                        <a:pt x="246" y="294"/>
                      </a:lnTo>
                      <a:lnTo>
                        <a:pt x="253" y="298"/>
                      </a:lnTo>
                      <a:lnTo>
                        <a:pt x="259" y="301"/>
                      </a:lnTo>
                      <a:lnTo>
                        <a:pt x="266" y="302"/>
                      </a:lnTo>
                      <a:lnTo>
                        <a:pt x="271" y="314"/>
                      </a:lnTo>
                      <a:lnTo>
                        <a:pt x="279" y="329"/>
                      </a:lnTo>
                      <a:lnTo>
                        <a:pt x="286" y="346"/>
                      </a:lnTo>
                      <a:lnTo>
                        <a:pt x="292" y="357"/>
                      </a:lnTo>
                      <a:lnTo>
                        <a:pt x="295" y="361"/>
                      </a:lnTo>
                      <a:lnTo>
                        <a:pt x="298" y="365"/>
                      </a:lnTo>
                      <a:lnTo>
                        <a:pt x="302" y="367"/>
                      </a:lnTo>
                      <a:lnTo>
                        <a:pt x="305" y="369"/>
                      </a:lnTo>
                      <a:lnTo>
                        <a:pt x="313" y="372"/>
                      </a:lnTo>
                      <a:lnTo>
                        <a:pt x="319" y="376"/>
                      </a:lnTo>
                      <a:lnTo>
                        <a:pt x="438" y="499"/>
                      </a:lnTo>
                      <a:lnTo>
                        <a:pt x="453" y="535"/>
                      </a:lnTo>
                      <a:lnTo>
                        <a:pt x="466" y="571"/>
                      </a:lnTo>
                      <a:lnTo>
                        <a:pt x="471" y="589"/>
                      </a:lnTo>
                      <a:lnTo>
                        <a:pt x="475" y="607"/>
                      </a:lnTo>
                      <a:lnTo>
                        <a:pt x="477" y="627"/>
                      </a:lnTo>
                      <a:lnTo>
                        <a:pt x="478" y="647"/>
                      </a:lnTo>
                      <a:lnTo>
                        <a:pt x="477" y="666"/>
                      </a:lnTo>
                      <a:lnTo>
                        <a:pt x="476" y="680"/>
                      </a:lnTo>
                      <a:lnTo>
                        <a:pt x="476" y="687"/>
                      </a:lnTo>
                      <a:lnTo>
                        <a:pt x="476" y="693"/>
                      </a:lnTo>
                      <a:lnTo>
                        <a:pt x="476" y="700"/>
                      </a:lnTo>
                      <a:lnTo>
                        <a:pt x="478" y="708"/>
                      </a:lnTo>
                      <a:lnTo>
                        <a:pt x="467" y="711"/>
                      </a:lnTo>
                      <a:lnTo>
                        <a:pt x="457" y="714"/>
                      </a:lnTo>
                      <a:lnTo>
                        <a:pt x="447" y="718"/>
                      </a:lnTo>
                      <a:lnTo>
                        <a:pt x="437" y="722"/>
                      </a:lnTo>
                      <a:lnTo>
                        <a:pt x="428" y="727"/>
                      </a:lnTo>
                      <a:lnTo>
                        <a:pt x="420" y="733"/>
                      </a:lnTo>
                      <a:lnTo>
                        <a:pt x="412" y="739"/>
                      </a:lnTo>
                      <a:lnTo>
                        <a:pt x="404" y="744"/>
                      </a:lnTo>
                      <a:lnTo>
                        <a:pt x="391" y="756"/>
                      </a:lnTo>
                      <a:lnTo>
                        <a:pt x="380" y="767"/>
                      </a:lnTo>
                      <a:lnTo>
                        <a:pt x="371" y="778"/>
                      </a:lnTo>
                      <a:lnTo>
                        <a:pt x="365" y="789"/>
                      </a:lnTo>
                      <a:lnTo>
                        <a:pt x="360" y="786"/>
                      </a:lnTo>
                      <a:lnTo>
                        <a:pt x="354" y="785"/>
                      </a:lnTo>
                      <a:lnTo>
                        <a:pt x="348" y="785"/>
                      </a:lnTo>
                      <a:lnTo>
                        <a:pt x="342" y="786"/>
                      </a:lnTo>
                      <a:lnTo>
                        <a:pt x="330" y="788"/>
                      </a:lnTo>
                      <a:lnTo>
                        <a:pt x="319" y="789"/>
                      </a:lnTo>
                      <a:lnTo>
                        <a:pt x="318" y="793"/>
                      </a:lnTo>
                      <a:lnTo>
                        <a:pt x="316" y="798"/>
                      </a:lnTo>
                      <a:lnTo>
                        <a:pt x="313" y="804"/>
                      </a:lnTo>
                      <a:lnTo>
                        <a:pt x="310" y="810"/>
                      </a:lnTo>
                      <a:lnTo>
                        <a:pt x="300" y="824"/>
                      </a:lnTo>
                      <a:lnTo>
                        <a:pt x="289" y="838"/>
                      </a:lnTo>
                      <a:lnTo>
                        <a:pt x="276" y="853"/>
                      </a:lnTo>
                      <a:lnTo>
                        <a:pt x="263" y="864"/>
                      </a:lnTo>
                      <a:lnTo>
                        <a:pt x="256" y="868"/>
                      </a:lnTo>
                      <a:lnTo>
                        <a:pt x="250" y="872"/>
                      </a:lnTo>
                      <a:lnTo>
                        <a:pt x="244" y="874"/>
                      </a:lnTo>
                      <a:lnTo>
                        <a:pt x="239" y="875"/>
                      </a:lnTo>
                      <a:lnTo>
                        <a:pt x="236" y="874"/>
                      </a:lnTo>
                      <a:lnTo>
                        <a:pt x="234" y="872"/>
                      </a:lnTo>
                      <a:lnTo>
                        <a:pt x="232" y="868"/>
                      </a:lnTo>
                      <a:lnTo>
                        <a:pt x="230" y="864"/>
                      </a:lnTo>
                      <a:lnTo>
                        <a:pt x="226" y="854"/>
                      </a:lnTo>
                      <a:lnTo>
                        <a:pt x="225" y="844"/>
                      </a:lnTo>
                      <a:lnTo>
                        <a:pt x="226" y="830"/>
                      </a:lnTo>
                      <a:lnTo>
                        <a:pt x="229" y="816"/>
                      </a:lnTo>
                      <a:lnTo>
                        <a:pt x="231" y="800"/>
                      </a:lnTo>
                      <a:lnTo>
                        <a:pt x="232" y="782"/>
                      </a:lnTo>
                      <a:lnTo>
                        <a:pt x="244" y="779"/>
                      </a:lnTo>
                      <a:lnTo>
                        <a:pt x="253" y="775"/>
                      </a:lnTo>
                      <a:lnTo>
                        <a:pt x="262" y="770"/>
                      </a:lnTo>
                      <a:lnTo>
                        <a:pt x="269" y="765"/>
                      </a:lnTo>
                      <a:lnTo>
                        <a:pt x="277" y="760"/>
                      </a:lnTo>
                      <a:lnTo>
                        <a:pt x="285" y="756"/>
                      </a:lnTo>
                      <a:lnTo>
                        <a:pt x="289" y="754"/>
                      </a:lnTo>
                      <a:lnTo>
                        <a:pt x="295" y="753"/>
                      </a:lnTo>
                      <a:lnTo>
                        <a:pt x="300" y="752"/>
                      </a:lnTo>
                      <a:lnTo>
                        <a:pt x="305" y="752"/>
                      </a:lnTo>
                      <a:lnTo>
                        <a:pt x="305" y="743"/>
                      </a:lnTo>
                      <a:lnTo>
                        <a:pt x="308" y="733"/>
                      </a:lnTo>
                      <a:lnTo>
                        <a:pt x="311" y="723"/>
                      </a:lnTo>
                      <a:lnTo>
                        <a:pt x="314" y="714"/>
                      </a:lnTo>
                      <a:lnTo>
                        <a:pt x="319" y="705"/>
                      </a:lnTo>
                      <a:lnTo>
                        <a:pt x="324" y="695"/>
                      </a:lnTo>
                      <a:lnTo>
                        <a:pt x="330" y="686"/>
                      </a:lnTo>
                      <a:lnTo>
                        <a:pt x="336" y="677"/>
                      </a:lnTo>
                      <a:lnTo>
                        <a:pt x="349" y="659"/>
                      </a:lnTo>
                      <a:lnTo>
                        <a:pt x="365" y="643"/>
                      </a:lnTo>
                      <a:lnTo>
                        <a:pt x="378" y="629"/>
                      </a:lnTo>
                      <a:lnTo>
                        <a:pt x="392" y="616"/>
                      </a:lnTo>
                      <a:lnTo>
                        <a:pt x="371" y="536"/>
                      </a:lnTo>
                      <a:lnTo>
                        <a:pt x="371" y="514"/>
                      </a:lnTo>
                      <a:lnTo>
                        <a:pt x="368" y="493"/>
                      </a:lnTo>
                      <a:lnTo>
                        <a:pt x="364" y="475"/>
                      </a:lnTo>
                      <a:lnTo>
                        <a:pt x="357" y="458"/>
                      </a:lnTo>
                      <a:lnTo>
                        <a:pt x="349" y="442"/>
                      </a:lnTo>
                      <a:lnTo>
                        <a:pt x="341" y="427"/>
                      </a:lnTo>
                      <a:lnTo>
                        <a:pt x="331" y="414"/>
                      </a:lnTo>
                      <a:lnTo>
                        <a:pt x="321" y="402"/>
                      </a:lnTo>
                      <a:lnTo>
                        <a:pt x="297" y="377"/>
                      </a:lnTo>
                      <a:lnTo>
                        <a:pt x="271" y="355"/>
                      </a:lnTo>
                      <a:lnTo>
                        <a:pt x="245" y="332"/>
                      </a:lnTo>
                      <a:lnTo>
                        <a:pt x="219" y="308"/>
                      </a:lnTo>
                      <a:lnTo>
                        <a:pt x="199" y="292"/>
                      </a:lnTo>
                      <a:lnTo>
                        <a:pt x="179" y="273"/>
                      </a:lnTo>
                      <a:lnTo>
                        <a:pt x="161" y="255"/>
                      </a:lnTo>
                      <a:lnTo>
                        <a:pt x="142" y="237"/>
                      </a:lnTo>
                      <a:lnTo>
                        <a:pt x="124" y="217"/>
                      </a:lnTo>
                      <a:lnTo>
                        <a:pt x="108" y="198"/>
                      </a:lnTo>
                      <a:lnTo>
                        <a:pt x="92" y="179"/>
                      </a:lnTo>
                      <a:lnTo>
                        <a:pt x="79" y="160"/>
                      </a:lnTo>
                      <a:lnTo>
                        <a:pt x="72" y="146"/>
                      </a:lnTo>
                      <a:lnTo>
                        <a:pt x="63" y="133"/>
                      </a:lnTo>
                      <a:lnTo>
                        <a:pt x="53" y="118"/>
                      </a:lnTo>
                      <a:lnTo>
                        <a:pt x="42" y="104"/>
                      </a:lnTo>
                      <a:lnTo>
                        <a:pt x="21" y="77"/>
                      </a:lnTo>
                      <a:lnTo>
                        <a:pt x="0" y="49"/>
                      </a:lnTo>
                      <a:lnTo>
                        <a:pt x="46" y="41"/>
                      </a:lnTo>
                      <a:lnTo>
                        <a:pt x="91" y="32"/>
                      </a:lnTo>
                      <a:lnTo>
                        <a:pt x="111" y="26"/>
                      </a:lnTo>
                      <a:lnTo>
                        <a:pt x="129" y="19"/>
                      </a:lnTo>
                      <a:lnTo>
                        <a:pt x="136" y="15"/>
                      </a:lnTo>
                      <a:lnTo>
                        <a:pt x="143" y="11"/>
                      </a:lnTo>
                      <a:lnTo>
                        <a:pt x="148" y="5"/>
                      </a:lnTo>
                      <a:lnTo>
                        <a:pt x="153" y="0"/>
                      </a:lnTo>
                      <a:lnTo>
                        <a:pt x="163" y="9"/>
                      </a:lnTo>
                      <a:lnTo>
                        <a:pt x="175" y="16"/>
                      </a:lnTo>
                      <a:lnTo>
                        <a:pt x="186" y="21"/>
                      </a:lnTo>
                      <a:lnTo>
                        <a:pt x="198" y="26"/>
                      </a:lnTo>
                      <a:lnTo>
                        <a:pt x="221" y="35"/>
                      </a:lnTo>
                      <a:lnTo>
                        <a:pt x="239" y="43"/>
                      </a:lnTo>
                      <a:lnTo>
                        <a:pt x="256" y="55"/>
                      </a:lnTo>
                      <a:lnTo>
                        <a:pt x="269" y="67"/>
                      </a:lnTo>
                      <a:lnTo>
                        <a:pt x="282" y="82"/>
                      </a:lnTo>
                      <a:lnTo>
                        <a:pt x="299" y="10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27" name="Freeform 543">
                  <a:extLst>
                    <a:ext uri="{FF2B5EF4-FFF2-40B4-BE49-F238E27FC236}">
                      <a16:creationId xmlns:a16="http://schemas.microsoft.com/office/drawing/2014/main" xmlns="" id="{CBF22E77-A1F6-49CE-8212-F13D90BBAC99}"/>
                    </a:ext>
                  </a:extLst>
                </p:cNvPr>
                <p:cNvSpPr>
                  <a:spLocks/>
                </p:cNvSpPr>
                <p:nvPr>
                  <p:custDataLst>
                    <p:tags r:id="rId374"/>
                  </p:custDataLst>
                </p:nvPr>
              </p:nvSpPr>
              <p:spPr bwMode="auto">
                <a:xfrm>
                  <a:off x="6604000" y="3603625"/>
                  <a:ext cx="25400" cy="57150"/>
                </a:xfrm>
                <a:custGeom>
                  <a:avLst/>
                  <a:gdLst>
                    <a:gd name="T0" fmla="*/ 2147483646 w 59"/>
                    <a:gd name="T1" fmla="*/ 2147483646 h 31"/>
                    <a:gd name="T2" fmla="*/ 2147483646 w 59"/>
                    <a:gd name="T3" fmla="*/ 2147483646 h 31"/>
                    <a:gd name="T4" fmla="*/ 2147483646 w 59"/>
                    <a:gd name="T5" fmla="*/ 2147483646 h 31"/>
                    <a:gd name="T6" fmla="*/ 2147483646 w 59"/>
                    <a:gd name="T7" fmla="*/ 2147483646 h 31"/>
                    <a:gd name="T8" fmla="*/ 2147483646 w 59"/>
                    <a:gd name="T9" fmla="*/ 2147483646 h 31"/>
                    <a:gd name="T10" fmla="*/ 2147483646 w 59"/>
                    <a:gd name="T11" fmla="*/ 2147483646 h 31"/>
                    <a:gd name="T12" fmla="*/ 2147483646 w 59"/>
                    <a:gd name="T13" fmla="*/ 2147483646 h 31"/>
                    <a:gd name="T14" fmla="*/ 2147483646 w 59"/>
                    <a:gd name="T15" fmla="*/ 2147483646 h 31"/>
                    <a:gd name="T16" fmla="*/ 2147483646 w 59"/>
                    <a:gd name="T17" fmla="*/ 2147483646 h 31"/>
                    <a:gd name="T18" fmla="*/ 2147483646 w 59"/>
                    <a:gd name="T19" fmla="*/ 2147483646 h 31"/>
                    <a:gd name="T20" fmla="*/ 2147483646 w 59"/>
                    <a:gd name="T21" fmla="*/ 2147483646 h 31"/>
                    <a:gd name="T22" fmla="*/ 2147483646 w 59"/>
                    <a:gd name="T23" fmla="*/ 2147483646 h 31"/>
                    <a:gd name="T24" fmla="*/ 2147483646 w 59"/>
                    <a:gd name="T25" fmla="*/ 2147483646 h 31"/>
                    <a:gd name="T26" fmla="*/ 2147483646 w 59"/>
                    <a:gd name="T27" fmla="*/ 2147483646 h 31"/>
                    <a:gd name="T28" fmla="*/ 0 w 59"/>
                    <a:gd name="T29" fmla="*/ 2147483646 h 31"/>
                    <a:gd name="T30" fmla="*/ 2147483646 w 59"/>
                    <a:gd name="T31" fmla="*/ 2147483646 h 31"/>
                    <a:gd name="T32" fmla="*/ 2147483646 w 59"/>
                    <a:gd name="T33" fmla="*/ 2147483646 h 31"/>
                    <a:gd name="T34" fmla="*/ 2147483646 w 59"/>
                    <a:gd name="T35" fmla="*/ 2147483646 h 31"/>
                    <a:gd name="T36" fmla="*/ 2147483646 w 59"/>
                    <a:gd name="T37" fmla="*/ 2147483646 h 31"/>
                    <a:gd name="T38" fmla="*/ 2147483646 w 59"/>
                    <a:gd name="T39" fmla="*/ 2147483646 h 31"/>
                    <a:gd name="T40" fmla="*/ 2147483646 w 59"/>
                    <a:gd name="T41" fmla="*/ 0 h 31"/>
                    <a:gd name="T42" fmla="*/ 2147483646 w 59"/>
                    <a:gd name="T43" fmla="*/ 0 h 31"/>
                    <a:gd name="T44" fmla="*/ 2147483646 w 59"/>
                    <a:gd name="T45" fmla="*/ 2147483646 h 31"/>
                    <a:gd name="T46" fmla="*/ 2147483646 w 59"/>
                    <a:gd name="T47" fmla="*/ 2147483646 h 31"/>
                    <a:gd name="T48" fmla="*/ 2147483646 w 59"/>
                    <a:gd name="T49" fmla="*/ 2147483646 h 31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59"/>
                    <a:gd name="T76" fmla="*/ 0 h 31"/>
                    <a:gd name="T77" fmla="*/ 59 w 59"/>
                    <a:gd name="T78" fmla="*/ 31 h 31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59" h="31">
                      <a:moveTo>
                        <a:pt x="59" y="6"/>
                      </a:moveTo>
                      <a:lnTo>
                        <a:pt x="57" y="11"/>
                      </a:lnTo>
                      <a:lnTo>
                        <a:pt x="53" y="15"/>
                      </a:lnTo>
                      <a:lnTo>
                        <a:pt x="49" y="19"/>
                      </a:lnTo>
                      <a:lnTo>
                        <a:pt x="45" y="24"/>
                      </a:lnTo>
                      <a:lnTo>
                        <a:pt x="40" y="27"/>
                      </a:lnTo>
                      <a:lnTo>
                        <a:pt x="36" y="29"/>
                      </a:lnTo>
                      <a:lnTo>
                        <a:pt x="30" y="31"/>
                      </a:lnTo>
                      <a:lnTo>
                        <a:pt x="26" y="31"/>
                      </a:lnTo>
                      <a:lnTo>
                        <a:pt x="21" y="31"/>
                      </a:lnTo>
                      <a:lnTo>
                        <a:pt x="17" y="30"/>
                      </a:lnTo>
                      <a:lnTo>
                        <a:pt x="14" y="29"/>
                      </a:lnTo>
                      <a:lnTo>
                        <a:pt x="11" y="27"/>
                      </a:lnTo>
                      <a:lnTo>
                        <a:pt x="4" y="20"/>
                      </a:lnTo>
                      <a:lnTo>
                        <a:pt x="0" y="12"/>
                      </a:lnTo>
                      <a:lnTo>
                        <a:pt x="1" y="9"/>
                      </a:lnTo>
                      <a:lnTo>
                        <a:pt x="3" y="6"/>
                      </a:lnTo>
                      <a:lnTo>
                        <a:pt x="5" y="4"/>
                      </a:lnTo>
                      <a:lnTo>
                        <a:pt x="8" y="3"/>
                      </a:lnTo>
                      <a:lnTo>
                        <a:pt x="16" y="1"/>
                      </a:lnTo>
                      <a:lnTo>
                        <a:pt x="24" y="0"/>
                      </a:lnTo>
                      <a:lnTo>
                        <a:pt x="34" y="0"/>
                      </a:lnTo>
                      <a:lnTo>
                        <a:pt x="42" y="2"/>
                      </a:lnTo>
                      <a:lnTo>
                        <a:pt x="51" y="4"/>
                      </a:lnTo>
                      <a:lnTo>
                        <a:pt x="59" y="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28" name="Freeform 544">
                  <a:extLst>
                    <a:ext uri="{FF2B5EF4-FFF2-40B4-BE49-F238E27FC236}">
                      <a16:creationId xmlns:a16="http://schemas.microsoft.com/office/drawing/2014/main" xmlns="" id="{FE6D874F-08AF-4625-A5E2-D549827982E3}"/>
                    </a:ext>
                  </a:extLst>
                </p:cNvPr>
                <p:cNvSpPr>
                  <a:spLocks/>
                </p:cNvSpPr>
                <p:nvPr>
                  <p:custDataLst>
                    <p:tags r:id="rId375"/>
                  </p:custDataLst>
                </p:nvPr>
              </p:nvSpPr>
              <p:spPr bwMode="auto">
                <a:xfrm>
                  <a:off x="5295900" y="2862263"/>
                  <a:ext cx="174625" cy="271462"/>
                </a:xfrm>
                <a:custGeom>
                  <a:avLst/>
                  <a:gdLst>
                    <a:gd name="T0" fmla="*/ 2147483646 w 399"/>
                    <a:gd name="T1" fmla="*/ 2147483646 h 518"/>
                    <a:gd name="T2" fmla="*/ 2147483646 w 399"/>
                    <a:gd name="T3" fmla="*/ 2147483646 h 518"/>
                    <a:gd name="T4" fmla="*/ 2147483646 w 399"/>
                    <a:gd name="T5" fmla="*/ 2147483646 h 518"/>
                    <a:gd name="T6" fmla="*/ 2147483646 w 399"/>
                    <a:gd name="T7" fmla="*/ 2147483646 h 518"/>
                    <a:gd name="T8" fmla="*/ 2147483646 w 399"/>
                    <a:gd name="T9" fmla="*/ 2147483646 h 518"/>
                    <a:gd name="T10" fmla="*/ 2147483646 w 399"/>
                    <a:gd name="T11" fmla="*/ 2147483646 h 518"/>
                    <a:gd name="T12" fmla="*/ 2147483646 w 399"/>
                    <a:gd name="T13" fmla="*/ 2147483646 h 518"/>
                    <a:gd name="T14" fmla="*/ 2147483646 w 399"/>
                    <a:gd name="T15" fmla="*/ 2147483646 h 518"/>
                    <a:gd name="T16" fmla="*/ 2147483646 w 399"/>
                    <a:gd name="T17" fmla="*/ 2147483646 h 518"/>
                    <a:gd name="T18" fmla="*/ 2147483646 w 399"/>
                    <a:gd name="T19" fmla="*/ 2147483646 h 518"/>
                    <a:gd name="T20" fmla="*/ 2147483646 w 399"/>
                    <a:gd name="T21" fmla="*/ 2147483646 h 518"/>
                    <a:gd name="T22" fmla="*/ 2147483646 w 399"/>
                    <a:gd name="T23" fmla="*/ 2147483646 h 518"/>
                    <a:gd name="T24" fmla="*/ 2147483646 w 399"/>
                    <a:gd name="T25" fmla="*/ 2147483646 h 518"/>
                    <a:gd name="T26" fmla="*/ 2147483646 w 399"/>
                    <a:gd name="T27" fmla="*/ 2147483646 h 518"/>
                    <a:gd name="T28" fmla="*/ 2147483646 w 399"/>
                    <a:gd name="T29" fmla="*/ 2147483646 h 518"/>
                    <a:gd name="T30" fmla="*/ 2147483646 w 399"/>
                    <a:gd name="T31" fmla="*/ 2147483646 h 518"/>
                    <a:gd name="T32" fmla="*/ 2147483646 w 399"/>
                    <a:gd name="T33" fmla="*/ 2147483646 h 518"/>
                    <a:gd name="T34" fmla="*/ 2147483646 w 399"/>
                    <a:gd name="T35" fmla="*/ 2147483646 h 518"/>
                    <a:gd name="T36" fmla="*/ 2147483646 w 399"/>
                    <a:gd name="T37" fmla="*/ 2147483646 h 518"/>
                    <a:gd name="T38" fmla="*/ 2147483646 w 399"/>
                    <a:gd name="T39" fmla="*/ 2147483646 h 518"/>
                    <a:gd name="T40" fmla="*/ 2147483646 w 399"/>
                    <a:gd name="T41" fmla="*/ 2147483646 h 518"/>
                    <a:gd name="T42" fmla="*/ 2147483646 w 399"/>
                    <a:gd name="T43" fmla="*/ 2147483646 h 518"/>
                    <a:gd name="T44" fmla="*/ 2147483646 w 399"/>
                    <a:gd name="T45" fmla="*/ 2147483646 h 518"/>
                    <a:gd name="T46" fmla="*/ 2147483646 w 399"/>
                    <a:gd name="T47" fmla="*/ 2147483646 h 518"/>
                    <a:gd name="T48" fmla="*/ 2147483646 w 399"/>
                    <a:gd name="T49" fmla="*/ 2147483646 h 518"/>
                    <a:gd name="T50" fmla="*/ 2147483646 w 399"/>
                    <a:gd name="T51" fmla="*/ 2147483646 h 518"/>
                    <a:gd name="T52" fmla="*/ 2147483646 w 399"/>
                    <a:gd name="T53" fmla="*/ 2147483646 h 518"/>
                    <a:gd name="T54" fmla="*/ 2147483646 w 399"/>
                    <a:gd name="T55" fmla="*/ 2147483646 h 518"/>
                    <a:gd name="T56" fmla="*/ 2147483646 w 399"/>
                    <a:gd name="T57" fmla="*/ 2147483646 h 518"/>
                    <a:gd name="T58" fmla="*/ 2147483646 w 399"/>
                    <a:gd name="T59" fmla="*/ 2147483646 h 518"/>
                    <a:gd name="T60" fmla="*/ 2147483646 w 399"/>
                    <a:gd name="T61" fmla="*/ 2147483646 h 518"/>
                    <a:gd name="T62" fmla="*/ 2147483646 w 399"/>
                    <a:gd name="T63" fmla="*/ 2147483646 h 518"/>
                    <a:gd name="T64" fmla="*/ 2147483646 w 399"/>
                    <a:gd name="T65" fmla="*/ 2147483646 h 518"/>
                    <a:gd name="T66" fmla="*/ 2147483646 w 399"/>
                    <a:gd name="T67" fmla="*/ 2147483646 h 518"/>
                    <a:gd name="T68" fmla="*/ 2147483646 w 399"/>
                    <a:gd name="T69" fmla="*/ 2147483646 h 518"/>
                    <a:gd name="T70" fmla="*/ 2147483646 w 399"/>
                    <a:gd name="T71" fmla="*/ 2147483646 h 518"/>
                    <a:gd name="T72" fmla="*/ 2147483646 w 399"/>
                    <a:gd name="T73" fmla="*/ 2147483646 h 518"/>
                    <a:gd name="T74" fmla="*/ 2147483646 w 399"/>
                    <a:gd name="T75" fmla="*/ 2147483646 h 518"/>
                    <a:gd name="T76" fmla="*/ 2147483646 w 399"/>
                    <a:gd name="T77" fmla="*/ 2147483646 h 518"/>
                    <a:gd name="T78" fmla="*/ 2147483646 w 399"/>
                    <a:gd name="T79" fmla="*/ 2147483646 h 518"/>
                    <a:gd name="T80" fmla="*/ 2147483646 w 399"/>
                    <a:gd name="T81" fmla="*/ 2147483646 h 518"/>
                    <a:gd name="T82" fmla="*/ 2147483646 w 399"/>
                    <a:gd name="T83" fmla="*/ 2147483646 h 518"/>
                    <a:gd name="T84" fmla="*/ 2147483646 w 399"/>
                    <a:gd name="T85" fmla="*/ 2147483646 h 518"/>
                    <a:gd name="T86" fmla="*/ 0 w 399"/>
                    <a:gd name="T87" fmla="*/ 2147483646 h 518"/>
                    <a:gd name="T88" fmla="*/ 2147483646 w 399"/>
                    <a:gd name="T89" fmla="*/ 2147483646 h 518"/>
                    <a:gd name="T90" fmla="*/ 2147483646 w 399"/>
                    <a:gd name="T91" fmla="*/ 0 h 518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399"/>
                    <a:gd name="T139" fmla="*/ 0 h 518"/>
                    <a:gd name="T140" fmla="*/ 399 w 399"/>
                    <a:gd name="T141" fmla="*/ 518 h 518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399" h="518">
                      <a:moveTo>
                        <a:pt x="200" y="0"/>
                      </a:moveTo>
                      <a:lnTo>
                        <a:pt x="200" y="8"/>
                      </a:lnTo>
                      <a:lnTo>
                        <a:pt x="201" y="15"/>
                      </a:lnTo>
                      <a:lnTo>
                        <a:pt x="202" y="22"/>
                      </a:lnTo>
                      <a:lnTo>
                        <a:pt x="205" y="29"/>
                      </a:lnTo>
                      <a:lnTo>
                        <a:pt x="208" y="36"/>
                      </a:lnTo>
                      <a:lnTo>
                        <a:pt x="211" y="42"/>
                      </a:lnTo>
                      <a:lnTo>
                        <a:pt x="214" y="49"/>
                      </a:lnTo>
                      <a:lnTo>
                        <a:pt x="219" y="56"/>
                      </a:lnTo>
                      <a:lnTo>
                        <a:pt x="224" y="63"/>
                      </a:lnTo>
                      <a:lnTo>
                        <a:pt x="230" y="69"/>
                      </a:lnTo>
                      <a:lnTo>
                        <a:pt x="235" y="75"/>
                      </a:lnTo>
                      <a:lnTo>
                        <a:pt x="242" y="81"/>
                      </a:lnTo>
                      <a:lnTo>
                        <a:pt x="249" y="86"/>
                      </a:lnTo>
                      <a:lnTo>
                        <a:pt x="256" y="91"/>
                      </a:lnTo>
                      <a:lnTo>
                        <a:pt x="264" y="95"/>
                      </a:lnTo>
                      <a:lnTo>
                        <a:pt x="273" y="98"/>
                      </a:lnTo>
                      <a:lnTo>
                        <a:pt x="316" y="106"/>
                      </a:lnTo>
                      <a:lnTo>
                        <a:pt x="356" y="116"/>
                      </a:lnTo>
                      <a:lnTo>
                        <a:pt x="365" y="119"/>
                      </a:lnTo>
                      <a:lnTo>
                        <a:pt x="374" y="123"/>
                      </a:lnTo>
                      <a:lnTo>
                        <a:pt x="380" y="127"/>
                      </a:lnTo>
                      <a:lnTo>
                        <a:pt x="387" y="132"/>
                      </a:lnTo>
                      <a:lnTo>
                        <a:pt x="392" y="137"/>
                      </a:lnTo>
                      <a:lnTo>
                        <a:pt x="396" y="144"/>
                      </a:lnTo>
                      <a:lnTo>
                        <a:pt x="398" y="151"/>
                      </a:lnTo>
                      <a:lnTo>
                        <a:pt x="399" y="160"/>
                      </a:lnTo>
                      <a:lnTo>
                        <a:pt x="398" y="174"/>
                      </a:lnTo>
                      <a:lnTo>
                        <a:pt x="396" y="187"/>
                      </a:lnTo>
                      <a:lnTo>
                        <a:pt x="390" y="200"/>
                      </a:lnTo>
                      <a:lnTo>
                        <a:pt x="385" y="213"/>
                      </a:lnTo>
                      <a:lnTo>
                        <a:pt x="369" y="239"/>
                      </a:lnTo>
                      <a:lnTo>
                        <a:pt x="353" y="263"/>
                      </a:lnTo>
                      <a:lnTo>
                        <a:pt x="344" y="276"/>
                      </a:lnTo>
                      <a:lnTo>
                        <a:pt x="335" y="290"/>
                      </a:lnTo>
                      <a:lnTo>
                        <a:pt x="328" y="303"/>
                      </a:lnTo>
                      <a:lnTo>
                        <a:pt x="321" y="316"/>
                      </a:lnTo>
                      <a:lnTo>
                        <a:pt x="314" y="330"/>
                      </a:lnTo>
                      <a:lnTo>
                        <a:pt x="310" y="345"/>
                      </a:lnTo>
                      <a:lnTo>
                        <a:pt x="307" y="360"/>
                      </a:lnTo>
                      <a:lnTo>
                        <a:pt x="306" y="376"/>
                      </a:lnTo>
                      <a:lnTo>
                        <a:pt x="297" y="377"/>
                      </a:lnTo>
                      <a:lnTo>
                        <a:pt x="284" y="381"/>
                      </a:lnTo>
                      <a:lnTo>
                        <a:pt x="268" y="387"/>
                      </a:lnTo>
                      <a:lnTo>
                        <a:pt x="254" y="395"/>
                      </a:lnTo>
                      <a:lnTo>
                        <a:pt x="246" y="399"/>
                      </a:lnTo>
                      <a:lnTo>
                        <a:pt x="241" y="403"/>
                      </a:lnTo>
                      <a:lnTo>
                        <a:pt x="235" y="408"/>
                      </a:lnTo>
                      <a:lnTo>
                        <a:pt x="231" y="413"/>
                      </a:lnTo>
                      <a:lnTo>
                        <a:pt x="227" y="417"/>
                      </a:lnTo>
                      <a:lnTo>
                        <a:pt x="225" y="422"/>
                      </a:lnTo>
                      <a:lnTo>
                        <a:pt x="224" y="427"/>
                      </a:lnTo>
                      <a:lnTo>
                        <a:pt x="227" y="431"/>
                      </a:lnTo>
                      <a:lnTo>
                        <a:pt x="213" y="438"/>
                      </a:lnTo>
                      <a:lnTo>
                        <a:pt x="197" y="446"/>
                      </a:lnTo>
                      <a:lnTo>
                        <a:pt x="188" y="450"/>
                      </a:lnTo>
                      <a:lnTo>
                        <a:pt x="179" y="454"/>
                      </a:lnTo>
                      <a:lnTo>
                        <a:pt x="173" y="456"/>
                      </a:lnTo>
                      <a:lnTo>
                        <a:pt x="166" y="456"/>
                      </a:lnTo>
                      <a:lnTo>
                        <a:pt x="166" y="467"/>
                      </a:lnTo>
                      <a:lnTo>
                        <a:pt x="163" y="475"/>
                      </a:lnTo>
                      <a:lnTo>
                        <a:pt x="158" y="481"/>
                      </a:lnTo>
                      <a:lnTo>
                        <a:pt x="153" y="486"/>
                      </a:lnTo>
                      <a:lnTo>
                        <a:pt x="146" y="490"/>
                      </a:lnTo>
                      <a:lnTo>
                        <a:pt x="139" y="493"/>
                      </a:lnTo>
                      <a:lnTo>
                        <a:pt x="131" y="494"/>
                      </a:lnTo>
                      <a:lnTo>
                        <a:pt x="122" y="496"/>
                      </a:lnTo>
                      <a:lnTo>
                        <a:pt x="102" y="498"/>
                      </a:lnTo>
                      <a:lnTo>
                        <a:pt x="83" y="501"/>
                      </a:lnTo>
                      <a:lnTo>
                        <a:pt x="73" y="504"/>
                      </a:lnTo>
                      <a:lnTo>
                        <a:pt x="64" y="507"/>
                      </a:lnTo>
                      <a:lnTo>
                        <a:pt x="55" y="512"/>
                      </a:lnTo>
                      <a:lnTo>
                        <a:pt x="46" y="518"/>
                      </a:lnTo>
                      <a:lnTo>
                        <a:pt x="46" y="514"/>
                      </a:lnTo>
                      <a:lnTo>
                        <a:pt x="45" y="510"/>
                      </a:lnTo>
                      <a:lnTo>
                        <a:pt x="43" y="506"/>
                      </a:lnTo>
                      <a:lnTo>
                        <a:pt x="40" y="501"/>
                      </a:lnTo>
                      <a:lnTo>
                        <a:pt x="38" y="497"/>
                      </a:lnTo>
                      <a:lnTo>
                        <a:pt x="36" y="492"/>
                      </a:lnTo>
                      <a:lnTo>
                        <a:pt x="34" y="487"/>
                      </a:lnTo>
                      <a:lnTo>
                        <a:pt x="33" y="481"/>
                      </a:lnTo>
                      <a:lnTo>
                        <a:pt x="33" y="468"/>
                      </a:lnTo>
                      <a:lnTo>
                        <a:pt x="31" y="456"/>
                      </a:lnTo>
                      <a:lnTo>
                        <a:pt x="29" y="445"/>
                      </a:lnTo>
                      <a:lnTo>
                        <a:pt x="26" y="436"/>
                      </a:lnTo>
                      <a:lnTo>
                        <a:pt x="17" y="418"/>
                      </a:lnTo>
                      <a:lnTo>
                        <a:pt x="7" y="401"/>
                      </a:lnTo>
                      <a:lnTo>
                        <a:pt x="0" y="358"/>
                      </a:lnTo>
                      <a:lnTo>
                        <a:pt x="113" y="332"/>
                      </a:lnTo>
                      <a:lnTo>
                        <a:pt x="194" y="185"/>
                      </a:lnTo>
                      <a:lnTo>
                        <a:pt x="166" y="136"/>
                      </a:lnTo>
                      <a:lnTo>
                        <a:pt x="200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29" name="Freeform 545">
                  <a:extLst>
                    <a:ext uri="{FF2B5EF4-FFF2-40B4-BE49-F238E27FC236}">
                      <a16:creationId xmlns:a16="http://schemas.microsoft.com/office/drawing/2014/main" xmlns="" id="{4ED258A6-9040-4BC9-9DE0-9F5F95F02193}"/>
                    </a:ext>
                  </a:extLst>
                </p:cNvPr>
                <p:cNvSpPr>
                  <a:spLocks/>
                </p:cNvSpPr>
                <p:nvPr>
                  <p:custDataLst>
                    <p:tags r:id="rId376"/>
                  </p:custDataLst>
                </p:nvPr>
              </p:nvSpPr>
              <p:spPr bwMode="auto">
                <a:xfrm>
                  <a:off x="4022725" y="2916238"/>
                  <a:ext cx="376238" cy="385762"/>
                </a:xfrm>
                <a:custGeom>
                  <a:avLst/>
                  <a:gdLst>
                    <a:gd name="T0" fmla="*/ 2147483646 w 866"/>
                    <a:gd name="T1" fmla="*/ 2147483646 h 740"/>
                    <a:gd name="T2" fmla="*/ 2147483646 w 866"/>
                    <a:gd name="T3" fmla="*/ 2147483646 h 740"/>
                    <a:gd name="T4" fmla="*/ 2147483646 w 866"/>
                    <a:gd name="T5" fmla="*/ 2147483646 h 740"/>
                    <a:gd name="T6" fmla="*/ 2147483646 w 866"/>
                    <a:gd name="T7" fmla="*/ 2147483646 h 740"/>
                    <a:gd name="T8" fmla="*/ 2147483646 w 866"/>
                    <a:gd name="T9" fmla="*/ 2147483646 h 740"/>
                    <a:gd name="T10" fmla="*/ 2147483646 w 866"/>
                    <a:gd name="T11" fmla="*/ 2147483646 h 740"/>
                    <a:gd name="T12" fmla="*/ 2147483646 w 866"/>
                    <a:gd name="T13" fmla="*/ 2147483646 h 740"/>
                    <a:gd name="T14" fmla="*/ 2147483646 w 866"/>
                    <a:gd name="T15" fmla="*/ 2147483646 h 740"/>
                    <a:gd name="T16" fmla="*/ 2147483646 w 866"/>
                    <a:gd name="T17" fmla="*/ 2147483646 h 740"/>
                    <a:gd name="T18" fmla="*/ 2147483646 w 866"/>
                    <a:gd name="T19" fmla="*/ 2147483646 h 740"/>
                    <a:gd name="T20" fmla="*/ 2147483646 w 866"/>
                    <a:gd name="T21" fmla="*/ 2147483646 h 740"/>
                    <a:gd name="T22" fmla="*/ 2147483646 w 866"/>
                    <a:gd name="T23" fmla="*/ 2147483646 h 740"/>
                    <a:gd name="T24" fmla="*/ 2147483646 w 866"/>
                    <a:gd name="T25" fmla="*/ 2147483646 h 740"/>
                    <a:gd name="T26" fmla="*/ 2147483646 w 866"/>
                    <a:gd name="T27" fmla="*/ 2147483646 h 740"/>
                    <a:gd name="T28" fmla="*/ 2147483646 w 866"/>
                    <a:gd name="T29" fmla="*/ 2147483646 h 740"/>
                    <a:gd name="T30" fmla="*/ 2147483646 w 866"/>
                    <a:gd name="T31" fmla="*/ 2147483646 h 740"/>
                    <a:gd name="T32" fmla="*/ 2147483646 w 866"/>
                    <a:gd name="T33" fmla="*/ 2147483646 h 740"/>
                    <a:gd name="T34" fmla="*/ 2147483646 w 866"/>
                    <a:gd name="T35" fmla="*/ 2147483646 h 740"/>
                    <a:gd name="T36" fmla="*/ 2147483646 w 866"/>
                    <a:gd name="T37" fmla="*/ 2147483646 h 740"/>
                    <a:gd name="T38" fmla="*/ 2147483646 w 866"/>
                    <a:gd name="T39" fmla="*/ 2147483646 h 740"/>
                    <a:gd name="T40" fmla="*/ 2147483646 w 866"/>
                    <a:gd name="T41" fmla="*/ 2147483646 h 740"/>
                    <a:gd name="T42" fmla="*/ 2147483646 w 866"/>
                    <a:gd name="T43" fmla="*/ 2147483646 h 740"/>
                    <a:gd name="T44" fmla="*/ 2147483646 w 866"/>
                    <a:gd name="T45" fmla="*/ 2147483646 h 740"/>
                    <a:gd name="T46" fmla="*/ 2147483646 w 866"/>
                    <a:gd name="T47" fmla="*/ 2147483646 h 740"/>
                    <a:gd name="T48" fmla="*/ 2147483646 w 866"/>
                    <a:gd name="T49" fmla="*/ 2147483646 h 740"/>
                    <a:gd name="T50" fmla="*/ 2147483646 w 866"/>
                    <a:gd name="T51" fmla="*/ 2147483646 h 740"/>
                    <a:gd name="T52" fmla="*/ 2147483646 w 866"/>
                    <a:gd name="T53" fmla="*/ 2147483646 h 740"/>
                    <a:gd name="T54" fmla="*/ 2147483646 w 866"/>
                    <a:gd name="T55" fmla="*/ 2147483646 h 740"/>
                    <a:gd name="T56" fmla="*/ 2147483646 w 866"/>
                    <a:gd name="T57" fmla="*/ 2147483646 h 740"/>
                    <a:gd name="T58" fmla="*/ 2147483646 w 866"/>
                    <a:gd name="T59" fmla="*/ 2147483646 h 740"/>
                    <a:gd name="T60" fmla="*/ 2147483646 w 866"/>
                    <a:gd name="T61" fmla="*/ 2147483646 h 740"/>
                    <a:gd name="T62" fmla="*/ 2147483646 w 866"/>
                    <a:gd name="T63" fmla="*/ 2147483646 h 740"/>
                    <a:gd name="T64" fmla="*/ 2147483646 w 866"/>
                    <a:gd name="T65" fmla="*/ 2147483646 h 740"/>
                    <a:gd name="T66" fmla="*/ 2147483646 w 866"/>
                    <a:gd name="T67" fmla="*/ 2147483646 h 740"/>
                    <a:gd name="T68" fmla="*/ 2147483646 w 866"/>
                    <a:gd name="T69" fmla="*/ 2147483646 h 740"/>
                    <a:gd name="T70" fmla="*/ 2147483646 w 866"/>
                    <a:gd name="T71" fmla="*/ 2147483646 h 740"/>
                    <a:gd name="T72" fmla="*/ 2147483646 w 866"/>
                    <a:gd name="T73" fmla="*/ 2147483646 h 740"/>
                    <a:gd name="T74" fmla="*/ 2147483646 w 866"/>
                    <a:gd name="T75" fmla="*/ 2147483646 h 740"/>
                    <a:gd name="T76" fmla="*/ 2147483646 w 866"/>
                    <a:gd name="T77" fmla="*/ 2147483646 h 740"/>
                    <a:gd name="T78" fmla="*/ 2147483646 w 866"/>
                    <a:gd name="T79" fmla="*/ 2147483646 h 740"/>
                    <a:gd name="T80" fmla="*/ 2147483646 w 866"/>
                    <a:gd name="T81" fmla="*/ 2147483646 h 740"/>
                    <a:gd name="T82" fmla="*/ 2147483646 w 866"/>
                    <a:gd name="T83" fmla="*/ 2147483646 h 740"/>
                    <a:gd name="T84" fmla="*/ 2147483646 w 866"/>
                    <a:gd name="T85" fmla="*/ 2147483646 h 740"/>
                    <a:gd name="T86" fmla="*/ 2147483646 w 866"/>
                    <a:gd name="T87" fmla="*/ 2147483646 h 740"/>
                    <a:gd name="T88" fmla="*/ 2147483646 w 866"/>
                    <a:gd name="T89" fmla="*/ 2147483646 h 740"/>
                    <a:gd name="T90" fmla="*/ 2147483646 w 866"/>
                    <a:gd name="T91" fmla="*/ 2147483646 h 740"/>
                    <a:gd name="T92" fmla="*/ 2147483646 w 866"/>
                    <a:gd name="T93" fmla="*/ 2147483646 h 740"/>
                    <a:gd name="T94" fmla="*/ 2147483646 w 866"/>
                    <a:gd name="T95" fmla="*/ 2147483646 h 740"/>
                    <a:gd name="T96" fmla="*/ 2147483646 w 866"/>
                    <a:gd name="T97" fmla="*/ 2147483646 h 740"/>
                    <a:gd name="T98" fmla="*/ 2147483646 w 866"/>
                    <a:gd name="T99" fmla="*/ 2147483646 h 740"/>
                    <a:gd name="T100" fmla="*/ 2147483646 w 866"/>
                    <a:gd name="T101" fmla="*/ 2147483646 h 740"/>
                    <a:gd name="T102" fmla="*/ 2147483646 w 866"/>
                    <a:gd name="T103" fmla="*/ 2147483646 h 740"/>
                    <a:gd name="T104" fmla="*/ 2147483646 w 866"/>
                    <a:gd name="T105" fmla="*/ 2147483646 h 74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866"/>
                    <a:gd name="T160" fmla="*/ 0 h 740"/>
                    <a:gd name="T161" fmla="*/ 866 w 866"/>
                    <a:gd name="T162" fmla="*/ 740 h 74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866" h="740">
                      <a:moveTo>
                        <a:pt x="219" y="283"/>
                      </a:moveTo>
                      <a:lnTo>
                        <a:pt x="223" y="278"/>
                      </a:lnTo>
                      <a:lnTo>
                        <a:pt x="227" y="273"/>
                      </a:lnTo>
                      <a:lnTo>
                        <a:pt x="231" y="270"/>
                      </a:lnTo>
                      <a:lnTo>
                        <a:pt x="234" y="267"/>
                      </a:lnTo>
                      <a:lnTo>
                        <a:pt x="238" y="266"/>
                      </a:lnTo>
                      <a:lnTo>
                        <a:pt x="242" y="264"/>
                      </a:lnTo>
                      <a:lnTo>
                        <a:pt x="245" y="264"/>
                      </a:lnTo>
                      <a:lnTo>
                        <a:pt x="250" y="264"/>
                      </a:lnTo>
                      <a:lnTo>
                        <a:pt x="256" y="265"/>
                      </a:lnTo>
                      <a:lnTo>
                        <a:pt x="264" y="268"/>
                      </a:lnTo>
                      <a:lnTo>
                        <a:pt x="272" y="272"/>
                      </a:lnTo>
                      <a:lnTo>
                        <a:pt x="279" y="277"/>
                      </a:lnTo>
                      <a:lnTo>
                        <a:pt x="645" y="6"/>
                      </a:lnTo>
                      <a:lnTo>
                        <a:pt x="649" y="3"/>
                      </a:lnTo>
                      <a:lnTo>
                        <a:pt x="654" y="1"/>
                      </a:lnTo>
                      <a:lnTo>
                        <a:pt x="658" y="0"/>
                      </a:lnTo>
                      <a:lnTo>
                        <a:pt x="663" y="0"/>
                      </a:lnTo>
                      <a:lnTo>
                        <a:pt x="671" y="2"/>
                      </a:lnTo>
                      <a:lnTo>
                        <a:pt x="679" y="6"/>
                      </a:lnTo>
                      <a:lnTo>
                        <a:pt x="689" y="11"/>
                      </a:lnTo>
                      <a:lnTo>
                        <a:pt x="699" y="17"/>
                      </a:lnTo>
                      <a:lnTo>
                        <a:pt x="704" y="19"/>
                      </a:lnTo>
                      <a:lnTo>
                        <a:pt x="711" y="21"/>
                      </a:lnTo>
                      <a:lnTo>
                        <a:pt x="717" y="23"/>
                      </a:lnTo>
                      <a:lnTo>
                        <a:pt x="724" y="25"/>
                      </a:lnTo>
                      <a:lnTo>
                        <a:pt x="726" y="30"/>
                      </a:lnTo>
                      <a:lnTo>
                        <a:pt x="730" y="35"/>
                      </a:lnTo>
                      <a:lnTo>
                        <a:pt x="736" y="42"/>
                      </a:lnTo>
                      <a:lnTo>
                        <a:pt x="744" y="47"/>
                      </a:lnTo>
                      <a:lnTo>
                        <a:pt x="752" y="53"/>
                      </a:lnTo>
                      <a:lnTo>
                        <a:pt x="760" y="57"/>
                      </a:lnTo>
                      <a:lnTo>
                        <a:pt x="769" y="60"/>
                      </a:lnTo>
                      <a:lnTo>
                        <a:pt x="778" y="61"/>
                      </a:lnTo>
                      <a:lnTo>
                        <a:pt x="784" y="60"/>
                      </a:lnTo>
                      <a:lnTo>
                        <a:pt x="791" y="59"/>
                      </a:lnTo>
                      <a:lnTo>
                        <a:pt x="798" y="57"/>
                      </a:lnTo>
                      <a:lnTo>
                        <a:pt x="804" y="54"/>
                      </a:lnTo>
                      <a:lnTo>
                        <a:pt x="816" y="48"/>
                      </a:lnTo>
                      <a:lnTo>
                        <a:pt x="831" y="43"/>
                      </a:lnTo>
                      <a:lnTo>
                        <a:pt x="824" y="122"/>
                      </a:lnTo>
                      <a:lnTo>
                        <a:pt x="836" y="140"/>
                      </a:lnTo>
                      <a:lnTo>
                        <a:pt x="846" y="154"/>
                      </a:lnTo>
                      <a:lnTo>
                        <a:pt x="854" y="166"/>
                      </a:lnTo>
                      <a:lnTo>
                        <a:pt x="859" y="177"/>
                      </a:lnTo>
                      <a:lnTo>
                        <a:pt x="862" y="188"/>
                      </a:lnTo>
                      <a:lnTo>
                        <a:pt x="865" y="197"/>
                      </a:lnTo>
                      <a:lnTo>
                        <a:pt x="866" y="205"/>
                      </a:lnTo>
                      <a:lnTo>
                        <a:pt x="865" y="211"/>
                      </a:lnTo>
                      <a:lnTo>
                        <a:pt x="857" y="234"/>
                      </a:lnTo>
                      <a:lnTo>
                        <a:pt x="850" y="259"/>
                      </a:lnTo>
                      <a:lnTo>
                        <a:pt x="850" y="301"/>
                      </a:lnTo>
                      <a:lnTo>
                        <a:pt x="850" y="334"/>
                      </a:lnTo>
                      <a:lnTo>
                        <a:pt x="850" y="350"/>
                      </a:lnTo>
                      <a:lnTo>
                        <a:pt x="849" y="364"/>
                      </a:lnTo>
                      <a:lnTo>
                        <a:pt x="848" y="376"/>
                      </a:lnTo>
                      <a:lnTo>
                        <a:pt x="846" y="388"/>
                      </a:lnTo>
                      <a:lnTo>
                        <a:pt x="843" y="399"/>
                      </a:lnTo>
                      <a:lnTo>
                        <a:pt x="839" y="411"/>
                      </a:lnTo>
                      <a:lnTo>
                        <a:pt x="834" y="421"/>
                      </a:lnTo>
                      <a:lnTo>
                        <a:pt x="828" y="432"/>
                      </a:lnTo>
                      <a:lnTo>
                        <a:pt x="821" y="443"/>
                      </a:lnTo>
                      <a:lnTo>
                        <a:pt x="813" y="454"/>
                      </a:lnTo>
                      <a:lnTo>
                        <a:pt x="802" y="467"/>
                      </a:lnTo>
                      <a:lnTo>
                        <a:pt x="791" y="480"/>
                      </a:lnTo>
                      <a:lnTo>
                        <a:pt x="786" y="486"/>
                      </a:lnTo>
                      <a:lnTo>
                        <a:pt x="781" y="493"/>
                      </a:lnTo>
                      <a:lnTo>
                        <a:pt x="777" y="499"/>
                      </a:lnTo>
                      <a:lnTo>
                        <a:pt x="773" y="506"/>
                      </a:lnTo>
                      <a:lnTo>
                        <a:pt x="768" y="522"/>
                      </a:lnTo>
                      <a:lnTo>
                        <a:pt x="764" y="537"/>
                      </a:lnTo>
                      <a:lnTo>
                        <a:pt x="758" y="567"/>
                      </a:lnTo>
                      <a:lnTo>
                        <a:pt x="755" y="593"/>
                      </a:lnTo>
                      <a:lnTo>
                        <a:pt x="731" y="585"/>
                      </a:lnTo>
                      <a:lnTo>
                        <a:pt x="698" y="591"/>
                      </a:lnTo>
                      <a:lnTo>
                        <a:pt x="711" y="629"/>
                      </a:lnTo>
                      <a:lnTo>
                        <a:pt x="719" y="636"/>
                      </a:lnTo>
                      <a:lnTo>
                        <a:pt x="704" y="641"/>
                      </a:lnTo>
                      <a:lnTo>
                        <a:pt x="692" y="645"/>
                      </a:lnTo>
                      <a:lnTo>
                        <a:pt x="680" y="646"/>
                      </a:lnTo>
                      <a:lnTo>
                        <a:pt x="670" y="646"/>
                      </a:lnTo>
                      <a:lnTo>
                        <a:pt x="661" y="644"/>
                      </a:lnTo>
                      <a:lnTo>
                        <a:pt x="653" y="641"/>
                      </a:lnTo>
                      <a:lnTo>
                        <a:pt x="644" y="638"/>
                      </a:lnTo>
                      <a:lnTo>
                        <a:pt x="636" y="634"/>
                      </a:lnTo>
                      <a:lnTo>
                        <a:pt x="629" y="631"/>
                      </a:lnTo>
                      <a:lnTo>
                        <a:pt x="620" y="628"/>
                      </a:lnTo>
                      <a:lnTo>
                        <a:pt x="611" y="625"/>
                      </a:lnTo>
                      <a:lnTo>
                        <a:pt x="601" y="624"/>
                      </a:lnTo>
                      <a:lnTo>
                        <a:pt x="591" y="625"/>
                      </a:lnTo>
                      <a:lnTo>
                        <a:pt x="579" y="628"/>
                      </a:lnTo>
                      <a:lnTo>
                        <a:pt x="566" y="633"/>
                      </a:lnTo>
                      <a:lnTo>
                        <a:pt x="552" y="641"/>
                      </a:lnTo>
                      <a:lnTo>
                        <a:pt x="543" y="646"/>
                      </a:lnTo>
                      <a:lnTo>
                        <a:pt x="536" y="652"/>
                      </a:lnTo>
                      <a:lnTo>
                        <a:pt x="530" y="659"/>
                      </a:lnTo>
                      <a:lnTo>
                        <a:pt x="525" y="666"/>
                      </a:lnTo>
                      <a:lnTo>
                        <a:pt x="520" y="673"/>
                      </a:lnTo>
                      <a:lnTo>
                        <a:pt x="514" y="678"/>
                      </a:lnTo>
                      <a:lnTo>
                        <a:pt x="511" y="680"/>
                      </a:lnTo>
                      <a:lnTo>
                        <a:pt x="508" y="683"/>
                      </a:lnTo>
                      <a:lnTo>
                        <a:pt x="503" y="684"/>
                      </a:lnTo>
                      <a:lnTo>
                        <a:pt x="499" y="684"/>
                      </a:lnTo>
                      <a:lnTo>
                        <a:pt x="491" y="684"/>
                      </a:lnTo>
                      <a:lnTo>
                        <a:pt x="486" y="682"/>
                      </a:lnTo>
                      <a:lnTo>
                        <a:pt x="481" y="679"/>
                      </a:lnTo>
                      <a:lnTo>
                        <a:pt x="477" y="676"/>
                      </a:lnTo>
                      <a:lnTo>
                        <a:pt x="470" y="668"/>
                      </a:lnTo>
                      <a:lnTo>
                        <a:pt x="465" y="659"/>
                      </a:lnTo>
                      <a:lnTo>
                        <a:pt x="458" y="650"/>
                      </a:lnTo>
                      <a:lnTo>
                        <a:pt x="451" y="642"/>
                      </a:lnTo>
                      <a:lnTo>
                        <a:pt x="446" y="639"/>
                      </a:lnTo>
                      <a:lnTo>
                        <a:pt x="441" y="637"/>
                      </a:lnTo>
                      <a:lnTo>
                        <a:pt x="433" y="635"/>
                      </a:lnTo>
                      <a:lnTo>
                        <a:pt x="425" y="635"/>
                      </a:lnTo>
                      <a:lnTo>
                        <a:pt x="421" y="635"/>
                      </a:lnTo>
                      <a:lnTo>
                        <a:pt x="417" y="638"/>
                      </a:lnTo>
                      <a:lnTo>
                        <a:pt x="412" y="640"/>
                      </a:lnTo>
                      <a:lnTo>
                        <a:pt x="409" y="644"/>
                      </a:lnTo>
                      <a:lnTo>
                        <a:pt x="405" y="647"/>
                      </a:lnTo>
                      <a:lnTo>
                        <a:pt x="401" y="650"/>
                      </a:lnTo>
                      <a:lnTo>
                        <a:pt x="397" y="652"/>
                      </a:lnTo>
                      <a:lnTo>
                        <a:pt x="392" y="653"/>
                      </a:lnTo>
                      <a:lnTo>
                        <a:pt x="384" y="652"/>
                      </a:lnTo>
                      <a:lnTo>
                        <a:pt x="376" y="651"/>
                      </a:lnTo>
                      <a:lnTo>
                        <a:pt x="369" y="648"/>
                      </a:lnTo>
                      <a:lnTo>
                        <a:pt x="363" y="645"/>
                      </a:lnTo>
                      <a:lnTo>
                        <a:pt x="350" y="638"/>
                      </a:lnTo>
                      <a:lnTo>
                        <a:pt x="339" y="629"/>
                      </a:lnTo>
                      <a:lnTo>
                        <a:pt x="327" y="619"/>
                      </a:lnTo>
                      <a:lnTo>
                        <a:pt x="312" y="611"/>
                      </a:lnTo>
                      <a:lnTo>
                        <a:pt x="306" y="608"/>
                      </a:lnTo>
                      <a:lnTo>
                        <a:pt x="297" y="606"/>
                      </a:lnTo>
                      <a:lnTo>
                        <a:pt x="289" y="604"/>
                      </a:lnTo>
                      <a:lnTo>
                        <a:pt x="279" y="603"/>
                      </a:lnTo>
                      <a:lnTo>
                        <a:pt x="271" y="604"/>
                      </a:lnTo>
                      <a:lnTo>
                        <a:pt x="262" y="606"/>
                      </a:lnTo>
                      <a:lnTo>
                        <a:pt x="253" y="610"/>
                      </a:lnTo>
                      <a:lnTo>
                        <a:pt x="245" y="615"/>
                      </a:lnTo>
                      <a:lnTo>
                        <a:pt x="237" y="620"/>
                      </a:lnTo>
                      <a:lnTo>
                        <a:pt x="229" y="628"/>
                      </a:lnTo>
                      <a:lnTo>
                        <a:pt x="222" y="636"/>
                      </a:lnTo>
                      <a:lnTo>
                        <a:pt x="216" y="644"/>
                      </a:lnTo>
                      <a:lnTo>
                        <a:pt x="209" y="653"/>
                      </a:lnTo>
                      <a:lnTo>
                        <a:pt x="204" y="662"/>
                      </a:lnTo>
                      <a:lnTo>
                        <a:pt x="198" y="671"/>
                      </a:lnTo>
                      <a:lnTo>
                        <a:pt x="194" y="682"/>
                      </a:lnTo>
                      <a:lnTo>
                        <a:pt x="190" y="692"/>
                      </a:lnTo>
                      <a:lnTo>
                        <a:pt x="188" y="702"/>
                      </a:lnTo>
                      <a:lnTo>
                        <a:pt x="187" y="711"/>
                      </a:lnTo>
                      <a:lnTo>
                        <a:pt x="186" y="720"/>
                      </a:lnTo>
                      <a:lnTo>
                        <a:pt x="178" y="719"/>
                      </a:lnTo>
                      <a:lnTo>
                        <a:pt x="172" y="717"/>
                      </a:lnTo>
                      <a:lnTo>
                        <a:pt x="164" y="712"/>
                      </a:lnTo>
                      <a:lnTo>
                        <a:pt x="156" y="708"/>
                      </a:lnTo>
                      <a:lnTo>
                        <a:pt x="149" y="702"/>
                      </a:lnTo>
                      <a:lnTo>
                        <a:pt x="141" y="697"/>
                      </a:lnTo>
                      <a:lnTo>
                        <a:pt x="134" y="693"/>
                      </a:lnTo>
                      <a:lnTo>
                        <a:pt x="127" y="690"/>
                      </a:lnTo>
                      <a:lnTo>
                        <a:pt x="100" y="740"/>
                      </a:lnTo>
                      <a:lnTo>
                        <a:pt x="73" y="740"/>
                      </a:lnTo>
                      <a:lnTo>
                        <a:pt x="70" y="725"/>
                      </a:lnTo>
                      <a:lnTo>
                        <a:pt x="67" y="712"/>
                      </a:lnTo>
                      <a:lnTo>
                        <a:pt x="66" y="699"/>
                      </a:lnTo>
                      <a:lnTo>
                        <a:pt x="66" y="686"/>
                      </a:lnTo>
                      <a:lnTo>
                        <a:pt x="66" y="672"/>
                      </a:lnTo>
                      <a:lnTo>
                        <a:pt x="66" y="658"/>
                      </a:lnTo>
                      <a:lnTo>
                        <a:pt x="64" y="644"/>
                      </a:lnTo>
                      <a:lnTo>
                        <a:pt x="60" y="629"/>
                      </a:lnTo>
                      <a:lnTo>
                        <a:pt x="58" y="622"/>
                      </a:lnTo>
                      <a:lnTo>
                        <a:pt x="53" y="618"/>
                      </a:lnTo>
                      <a:lnTo>
                        <a:pt x="50" y="613"/>
                      </a:lnTo>
                      <a:lnTo>
                        <a:pt x="46" y="609"/>
                      </a:lnTo>
                      <a:lnTo>
                        <a:pt x="36" y="601"/>
                      </a:lnTo>
                      <a:lnTo>
                        <a:pt x="25" y="592"/>
                      </a:lnTo>
                      <a:lnTo>
                        <a:pt x="20" y="587"/>
                      </a:lnTo>
                      <a:lnTo>
                        <a:pt x="16" y="581"/>
                      </a:lnTo>
                      <a:lnTo>
                        <a:pt x="11" y="575"/>
                      </a:lnTo>
                      <a:lnTo>
                        <a:pt x="8" y="566"/>
                      </a:lnTo>
                      <a:lnTo>
                        <a:pt x="5" y="558"/>
                      </a:lnTo>
                      <a:lnTo>
                        <a:pt x="3" y="548"/>
                      </a:lnTo>
                      <a:lnTo>
                        <a:pt x="0" y="537"/>
                      </a:lnTo>
                      <a:lnTo>
                        <a:pt x="0" y="524"/>
                      </a:lnTo>
                      <a:lnTo>
                        <a:pt x="53" y="530"/>
                      </a:lnTo>
                      <a:lnTo>
                        <a:pt x="59" y="526"/>
                      </a:lnTo>
                      <a:lnTo>
                        <a:pt x="64" y="522"/>
                      </a:lnTo>
                      <a:lnTo>
                        <a:pt x="71" y="520"/>
                      </a:lnTo>
                      <a:lnTo>
                        <a:pt x="76" y="518"/>
                      </a:lnTo>
                      <a:lnTo>
                        <a:pt x="91" y="514"/>
                      </a:lnTo>
                      <a:lnTo>
                        <a:pt x="106" y="512"/>
                      </a:lnTo>
                      <a:lnTo>
                        <a:pt x="121" y="511"/>
                      </a:lnTo>
                      <a:lnTo>
                        <a:pt x="139" y="510"/>
                      </a:lnTo>
                      <a:lnTo>
                        <a:pt x="155" y="508"/>
                      </a:lnTo>
                      <a:lnTo>
                        <a:pt x="173" y="505"/>
                      </a:lnTo>
                      <a:lnTo>
                        <a:pt x="177" y="503"/>
                      </a:lnTo>
                      <a:lnTo>
                        <a:pt x="182" y="500"/>
                      </a:lnTo>
                      <a:lnTo>
                        <a:pt x="185" y="497"/>
                      </a:lnTo>
                      <a:lnTo>
                        <a:pt x="189" y="494"/>
                      </a:lnTo>
                      <a:lnTo>
                        <a:pt x="196" y="485"/>
                      </a:lnTo>
                      <a:lnTo>
                        <a:pt x="201" y="475"/>
                      </a:lnTo>
                      <a:lnTo>
                        <a:pt x="207" y="464"/>
                      </a:lnTo>
                      <a:lnTo>
                        <a:pt x="211" y="451"/>
                      </a:lnTo>
                      <a:lnTo>
                        <a:pt x="216" y="438"/>
                      </a:lnTo>
                      <a:lnTo>
                        <a:pt x="219" y="424"/>
                      </a:lnTo>
                      <a:lnTo>
                        <a:pt x="221" y="410"/>
                      </a:lnTo>
                      <a:lnTo>
                        <a:pt x="223" y="395"/>
                      </a:lnTo>
                      <a:lnTo>
                        <a:pt x="224" y="381"/>
                      </a:lnTo>
                      <a:lnTo>
                        <a:pt x="224" y="367"/>
                      </a:lnTo>
                      <a:lnTo>
                        <a:pt x="224" y="354"/>
                      </a:lnTo>
                      <a:lnTo>
                        <a:pt x="223" y="341"/>
                      </a:lnTo>
                      <a:lnTo>
                        <a:pt x="221" y="330"/>
                      </a:lnTo>
                      <a:lnTo>
                        <a:pt x="219" y="320"/>
                      </a:lnTo>
                      <a:lnTo>
                        <a:pt x="219" y="283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30" name="Freeform 546">
                  <a:extLst>
                    <a:ext uri="{FF2B5EF4-FFF2-40B4-BE49-F238E27FC236}">
                      <a16:creationId xmlns:a16="http://schemas.microsoft.com/office/drawing/2014/main" xmlns="" id="{07B364C3-0661-4D67-AEBA-B3E0DBAE23BB}"/>
                    </a:ext>
                  </a:extLst>
                </p:cNvPr>
                <p:cNvSpPr>
                  <a:spLocks/>
                </p:cNvSpPr>
                <p:nvPr>
                  <p:custDataLst>
                    <p:tags r:id="rId377"/>
                  </p:custDataLst>
                </p:nvPr>
              </p:nvSpPr>
              <p:spPr bwMode="auto">
                <a:xfrm>
                  <a:off x="3692525" y="2533650"/>
                  <a:ext cx="300038" cy="260350"/>
                </a:xfrm>
                <a:custGeom>
                  <a:avLst/>
                  <a:gdLst>
                    <a:gd name="T0" fmla="*/ 2147483646 w 697"/>
                    <a:gd name="T1" fmla="*/ 2147483646 h 500"/>
                    <a:gd name="T2" fmla="*/ 2147483646 w 697"/>
                    <a:gd name="T3" fmla="*/ 2147483646 h 500"/>
                    <a:gd name="T4" fmla="*/ 2147483646 w 697"/>
                    <a:gd name="T5" fmla="*/ 2147483646 h 500"/>
                    <a:gd name="T6" fmla="*/ 2147483646 w 697"/>
                    <a:gd name="T7" fmla="*/ 2147483646 h 500"/>
                    <a:gd name="T8" fmla="*/ 2147483646 w 697"/>
                    <a:gd name="T9" fmla="*/ 2147483646 h 500"/>
                    <a:gd name="T10" fmla="*/ 2147483646 w 697"/>
                    <a:gd name="T11" fmla="*/ 2147483646 h 500"/>
                    <a:gd name="T12" fmla="*/ 2147483646 w 697"/>
                    <a:gd name="T13" fmla="*/ 2147483646 h 500"/>
                    <a:gd name="T14" fmla="*/ 2147483646 w 697"/>
                    <a:gd name="T15" fmla="*/ 2147483646 h 500"/>
                    <a:gd name="T16" fmla="*/ 2147483646 w 697"/>
                    <a:gd name="T17" fmla="*/ 2147483646 h 500"/>
                    <a:gd name="T18" fmla="*/ 2147483646 w 697"/>
                    <a:gd name="T19" fmla="*/ 2147483646 h 500"/>
                    <a:gd name="T20" fmla="*/ 2147483646 w 697"/>
                    <a:gd name="T21" fmla="*/ 2147483646 h 500"/>
                    <a:gd name="T22" fmla="*/ 2147483646 w 697"/>
                    <a:gd name="T23" fmla="*/ 2147483646 h 500"/>
                    <a:gd name="T24" fmla="*/ 2147483646 w 697"/>
                    <a:gd name="T25" fmla="*/ 2147483646 h 500"/>
                    <a:gd name="T26" fmla="*/ 2147483646 w 697"/>
                    <a:gd name="T27" fmla="*/ 2147483646 h 500"/>
                    <a:gd name="T28" fmla="*/ 2147483646 w 697"/>
                    <a:gd name="T29" fmla="*/ 2147483646 h 500"/>
                    <a:gd name="T30" fmla="*/ 2147483646 w 697"/>
                    <a:gd name="T31" fmla="*/ 2147483646 h 500"/>
                    <a:gd name="T32" fmla="*/ 2147483646 w 697"/>
                    <a:gd name="T33" fmla="*/ 2147483646 h 500"/>
                    <a:gd name="T34" fmla="*/ 2147483646 w 697"/>
                    <a:gd name="T35" fmla="*/ 2147483646 h 500"/>
                    <a:gd name="T36" fmla="*/ 2147483646 w 697"/>
                    <a:gd name="T37" fmla="*/ 2147483646 h 500"/>
                    <a:gd name="T38" fmla="*/ 2147483646 w 697"/>
                    <a:gd name="T39" fmla="*/ 2147483646 h 500"/>
                    <a:gd name="T40" fmla="*/ 2147483646 w 697"/>
                    <a:gd name="T41" fmla="*/ 2147483646 h 500"/>
                    <a:gd name="T42" fmla="*/ 2147483646 w 697"/>
                    <a:gd name="T43" fmla="*/ 2147483646 h 500"/>
                    <a:gd name="T44" fmla="*/ 2147483646 w 697"/>
                    <a:gd name="T45" fmla="*/ 2147483646 h 500"/>
                    <a:gd name="T46" fmla="*/ 2147483646 w 697"/>
                    <a:gd name="T47" fmla="*/ 2147483646 h 500"/>
                    <a:gd name="T48" fmla="*/ 2147483646 w 697"/>
                    <a:gd name="T49" fmla="*/ 2147483646 h 500"/>
                    <a:gd name="T50" fmla="*/ 2147483646 w 697"/>
                    <a:gd name="T51" fmla="*/ 2147483646 h 500"/>
                    <a:gd name="T52" fmla="*/ 2147483646 w 697"/>
                    <a:gd name="T53" fmla="*/ 2147483646 h 500"/>
                    <a:gd name="T54" fmla="*/ 2147483646 w 697"/>
                    <a:gd name="T55" fmla="*/ 2147483646 h 500"/>
                    <a:gd name="T56" fmla="*/ 2147483646 w 697"/>
                    <a:gd name="T57" fmla="*/ 2147483646 h 500"/>
                    <a:gd name="T58" fmla="*/ 2147483646 w 697"/>
                    <a:gd name="T59" fmla="*/ 2147483646 h 500"/>
                    <a:gd name="T60" fmla="*/ 2147483646 w 697"/>
                    <a:gd name="T61" fmla="*/ 2147483646 h 500"/>
                    <a:gd name="T62" fmla="*/ 2147483646 w 697"/>
                    <a:gd name="T63" fmla="*/ 2147483646 h 500"/>
                    <a:gd name="T64" fmla="*/ 2147483646 w 697"/>
                    <a:gd name="T65" fmla="*/ 2147483646 h 500"/>
                    <a:gd name="T66" fmla="*/ 2147483646 w 697"/>
                    <a:gd name="T67" fmla="*/ 2147483646 h 500"/>
                    <a:gd name="T68" fmla="*/ 2147483646 w 697"/>
                    <a:gd name="T69" fmla="*/ 2147483646 h 500"/>
                    <a:gd name="T70" fmla="*/ 2147483646 w 697"/>
                    <a:gd name="T71" fmla="*/ 2147483646 h 500"/>
                    <a:gd name="T72" fmla="*/ 2147483646 w 697"/>
                    <a:gd name="T73" fmla="*/ 2147483646 h 500"/>
                    <a:gd name="T74" fmla="*/ 2147483646 w 697"/>
                    <a:gd name="T75" fmla="*/ 2147483646 h 500"/>
                    <a:gd name="T76" fmla="*/ 2147483646 w 697"/>
                    <a:gd name="T77" fmla="*/ 2147483646 h 500"/>
                    <a:gd name="T78" fmla="*/ 2147483646 w 697"/>
                    <a:gd name="T79" fmla="*/ 2147483646 h 500"/>
                    <a:gd name="T80" fmla="*/ 2147483646 w 697"/>
                    <a:gd name="T81" fmla="*/ 2147483646 h 500"/>
                    <a:gd name="T82" fmla="*/ 2147483646 w 697"/>
                    <a:gd name="T83" fmla="*/ 2147483646 h 500"/>
                    <a:gd name="T84" fmla="*/ 2147483646 w 697"/>
                    <a:gd name="T85" fmla="*/ 2147483646 h 500"/>
                    <a:gd name="T86" fmla="*/ 2147483646 w 697"/>
                    <a:gd name="T87" fmla="*/ 2147483646 h 500"/>
                    <a:gd name="T88" fmla="*/ 2147483646 w 697"/>
                    <a:gd name="T89" fmla="*/ 2147483646 h 500"/>
                    <a:gd name="T90" fmla="*/ 2147483646 w 697"/>
                    <a:gd name="T91" fmla="*/ 2147483646 h 500"/>
                    <a:gd name="T92" fmla="*/ 2147483646 w 697"/>
                    <a:gd name="T93" fmla="*/ 2147483646 h 500"/>
                    <a:gd name="T94" fmla="*/ 2147483646 w 697"/>
                    <a:gd name="T95" fmla="*/ 2147483646 h 500"/>
                    <a:gd name="T96" fmla="*/ 2147483646 w 697"/>
                    <a:gd name="T97" fmla="*/ 2147483646 h 500"/>
                    <a:gd name="T98" fmla="*/ 2147483646 w 697"/>
                    <a:gd name="T99" fmla="*/ 2147483646 h 500"/>
                    <a:gd name="T100" fmla="*/ 2147483646 w 697"/>
                    <a:gd name="T101" fmla="*/ 2147483646 h 500"/>
                    <a:gd name="T102" fmla="*/ 2147483646 w 697"/>
                    <a:gd name="T103" fmla="*/ 2147483646 h 500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697"/>
                    <a:gd name="T157" fmla="*/ 0 h 500"/>
                    <a:gd name="T158" fmla="*/ 697 w 697"/>
                    <a:gd name="T159" fmla="*/ 500 h 500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697" h="500">
                      <a:moveTo>
                        <a:pt x="631" y="50"/>
                      </a:moveTo>
                      <a:lnTo>
                        <a:pt x="635" y="51"/>
                      </a:lnTo>
                      <a:lnTo>
                        <a:pt x="648" y="53"/>
                      </a:lnTo>
                      <a:lnTo>
                        <a:pt x="659" y="55"/>
                      </a:lnTo>
                      <a:lnTo>
                        <a:pt x="664" y="56"/>
                      </a:lnTo>
                      <a:lnTo>
                        <a:pt x="657" y="161"/>
                      </a:lnTo>
                      <a:lnTo>
                        <a:pt x="657" y="163"/>
                      </a:lnTo>
                      <a:lnTo>
                        <a:pt x="659" y="165"/>
                      </a:lnTo>
                      <a:lnTo>
                        <a:pt x="661" y="167"/>
                      </a:lnTo>
                      <a:lnTo>
                        <a:pt x="664" y="169"/>
                      </a:lnTo>
                      <a:lnTo>
                        <a:pt x="669" y="173"/>
                      </a:lnTo>
                      <a:lnTo>
                        <a:pt x="677" y="177"/>
                      </a:lnTo>
                      <a:lnTo>
                        <a:pt x="685" y="181"/>
                      </a:lnTo>
                      <a:lnTo>
                        <a:pt x="691" y="185"/>
                      </a:lnTo>
                      <a:lnTo>
                        <a:pt x="694" y="189"/>
                      </a:lnTo>
                      <a:lnTo>
                        <a:pt x="696" y="192"/>
                      </a:lnTo>
                      <a:lnTo>
                        <a:pt x="697" y="195"/>
                      </a:lnTo>
                      <a:lnTo>
                        <a:pt x="697" y="198"/>
                      </a:lnTo>
                      <a:lnTo>
                        <a:pt x="697" y="203"/>
                      </a:lnTo>
                      <a:lnTo>
                        <a:pt x="696" y="208"/>
                      </a:lnTo>
                      <a:lnTo>
                        <a:pt x="694" y="211"/>
                      </a:lnTo>
                      <a:lnTo>
                        <a:pt x="691" y="214"/>
                      </a:lnTo>
                      <a:lnTo>
                        <a:pt x="688" y="216"/>
                      </a:lnTo>
                      <a:lnTo>
                        <a:pt x="685" y="217"/>
                      </a:lnTo>
                      <a:lnTo>
                        <a:pt x="680" y="218"/>
                      </a:lnTo>
                      <a:lnTo>
                        <a:pt x="676" y="219"/>
                      </a:lnTo>
                      <a:lnTo>
                        <a:pt x="655" y="218"/>
                      </a:lnTo>
                      <a:lnTo>
                        <a:pt x="631" y="216"/>
                      </a:lnTo>
                      <a:lnTo>
                        <a:pt x="619" y="221"/>
                      </a:lnTo>
                      <a:lnTo>
                        <a:pt x="605" y="228"/>
                      </a:lnTo>
                      <a:lnTo>
                        <a:pt x="589" y="235"/>
                      </a:lnTo>
                      <a:lnTo>
                        <a:pt x="574" y="245"/>
                      </a:lnTo>
                      <a:lnTo>
                        <a:pt x="567" y="250"/>
                      </a:lnTo>
                      <a:lnTo>
                        <a:pt x="560" y="256"/>
                      </a:lnTo>
                      <a:lnTo>
                        <a:pt x="554" y="261"/>
                      </a:lnTo>
                      <a:lnTo>
                        <a:pt x="549" y="267"/>
                      </a:lnTo>
                      <a:lnTo>
                        <a:pt x="544" y="274"/>
                      </a:lnTo>
                      <a:lnTo>
                        <a:pt x="541" y="281"/>
                      </a:lnTo>
                      <a:lnTo>
                        <a:pt x="539" y="288"/>
                      </a:lnTo>
                      <a:lnTo>
                        <a:pt x="538" y="296"/>
                      </a:lnTo>
                      <a:lnTo>
                        <a:pt x="529" y="299"/>
                      </a:lnTo>
                      <a:lnTo>
                        <a:pt x="521" y="302"/>
                      </a:lnTo>
                      <a:lnTo>
                        <a:pt x="514" y="306"/>
                      </a:lnTo>
                      <a:lnTo>
                        <a:pt x="506" y="312"/>
                      </a:lnTo>
                      <a:lnTo>
                        <a:pt x="491" y="324"/>
                      </a:lnTo>
                      <a:lnTo>
                        <a:pt x="475" y="339"/>
                      </a:lnTo>
                      <a:lnTo>
                        <a:pt x="465" y="346"/>
                      </a:lnTo>
                      <a:lnTo>
                        <a:pt x="455" y="352"/>
                      </a:lnTo>
                      <a:lnTo>
                        <a:pt x="445" y="360"/>
                      </a:lnTo>
                      <a:lnTo>
                        <a:pt x="433" y="365"/>
                      </a:lnTo>
                      <a:lnTo>
                        <a:pt x="420" y="370"/>
                      </a:lnTo>
                      <a:lnTo>
                        <a:pt x="406" y="373"/>
                      </a:lnTo>
                      <a:lnTo>
                        <a:pt x="389" y="376"/>
                      </a:lnTo>
                      <a:lnTo>
                        <a:pt x="372" y="377"/>
                      </a:lnTo>
                      <a:lnTo>
                        <a:pt x="361" y="377"/>
                      </a:lnTo>
                      <a:lnTo>
                        <a:pt x="352" y="378"/>
                      </a:lnTo>
                      <a:lnTo>
                        <a:pt x="344" y="380"/>
                      </a:lnTo>
                      <a:lnTo>
                        <a:pt x="337" y="382"/>
                      </a:lnTo>
                      <a:lnTo>
                        <a:pt x="326" y="389"/>
                      </a:lnTo>
                      <a:lnTo>
                        <a:pt x="316" y="396"/>
                      </a:lnTo>
                      <a:lnTo>
                        <a:pt x="306" y="404"/>
                      </a:lnTo>
                      <a:lnTo>
                        <a:pt x="296" y="413"/>
                      </a:lnTo>
                      <a:lnTo>
                        <a:pt x="290" y="417"/>
                      </a:lnTo>
                      <a:lnTo>
                        <a:pt x="283" y="420"/>
                      </a:lnTo>
                      <a:lnTo>
                        <a:pt x="274" y="423"/>
                      </a:lnTo>
                      <a:lnTo>
                        <a:pt x="265" y="426"/>
                      </a:lnTo>
                      <a:lnTo>
                        <a:pt x="272" y="494"/>
                      </a:lnTo>
                      <a:lnTo>
                        <a:pt x="0" y="500"/>
                      </a:lnTo>
                      <a:lnTo>
                        <a:pt x="5" y="496"/>
                      </a:lnTo>
                      <a:lnTo>
                        <a:pt x="13" y="492"/>
                      </a:lnTo>
                      <a:lnTo>
                        <a:pt x="22" y="490"/>
                      </a:lnTo>
                      <a:lnTo>
                        <a:pt x="32" y="487"/>
                      </a:lnTo>
                      <a:lnTo>
                        <a:pt x="55" y="483"/>
                      </a:lnTo>
                      <a:lnTo>
                        <a:pt x="80" y="475"/>
                      </a:lnTo>
                      <a:lnTo>
                        <a:pt x="85" y="473"/>
                      </a:lnTo>
                      <a:lnTo>
                        <a:pt x="90" y="469"/>
                      </a:lnTo>
                      <a:lnTo>
                        <a:pt x="92" y="465"/>
                      </a:lnTo>
                      <a:lnTo>
                        <a:pt x="93" y="459"/>
                      </a:lnTo>
                      <a:lnTo>
                        <a:pt x="93" y="451"/>
                      </a:lnTo>
                      <a:lnTo>
                        <a:pt x="93" y="444"/>
                      </a:lnTo>
                      <a:lnTo>
                        <a:pt x="99" y="438"/>
                      </a:lnTo>
                      <a:lnTo>
                        <a:pt x="104" y="432"/>
                      </a:lnTo>
                      <a:lnTo>
                        <a:pt x="112" y="427"/>
                      </a:lnTo>
                      <a:lnTo>
                        <a:pt x="119" y="422"/>
                      </a:lnTo>
                      <a:lnTo>
                        <a:pt x="136" y="414"/>
                      </a:lnTo>
                      <a:lnTo>
                        <a:pt x="152" y="404"/>
                      </a:lnTo>
                      <a:lnTo>
                        <a:pt x="160" y="399"/>
                      </a:lnTo>
                      <a:lnTo>
                        <a:pt x="168" y="394"/>
                      </a:lnTo>
                      <a:lnTo>
                        <a:pt x="174" y="388"/>
                      </a:lnTo>
                      <a:lnTo>
                        <a:pt x="181" y="382"/>
                      </a:lnTo>
                      <a:lnTo>
                        <a:pt x="185" y="375"/>
                      </a:lnTo>
                      <a:lnTo>
                        <a:pt x="189" y="366"/>
                      </a:lnTo>
                      <a:lnTo>
                        <a:pt x="192" y="357"/>
                      </a:lnTo>
                      <a:lnTo>
                        <a:pt x="192" y="345"/>
                      </a:lnTo>
                      <a:lnTo>
                        <a:pt x="193" y="332"/>
                      </a:lnTo>
                      <a:lnTo>
                        <a:pt x="193" y="316"/>
                      </a:lnTo>
                      <a:lnTo>
                        <a:pt x="194" y="296"/>
                      </a:lnTo>
                      <a:lnTo>
                        <a:pt x="195" y="275"/>
                      </a:lnTo>
                      <a:lnTo>
                        <a:pt x="195" y="254"/>
                      </a:lnTo>
                      <a:lnTo>
                        <a:pt x="195" y="232"/>
                      </a:lnTo>
                      <a:lnTo>
                        <a:pt x="194" y="211"/>
                      </a:lnTo>
                      <a:lnTo>
                        <a:pt x="192" y="192"/>
                      </a:lnTo>
                      <a:lnTo>
                        <a:pt x="201" y="192"/>
                      </a:lnTo>
                      <a:lnTo>
                        <a:pt x="207" y="190"/>
                      </a:lnTo>
                      <a:lnTo>
                        <a:pt x="214" y="189"/>
                      </a:lnTo>
                      <a:lnTo>
                        <a:pt x="219" y="185"/>
                      </a:lnTo>
                      <a:lnTo>
                        <a:pt x="224" y="182"/>
                      </a:lnTo>
                      <a:lnTo>
                        <a:pt x="228" y="179"/>
                      </a:lnTo>
                      <a:lnTo>
                        <a:pt x="232" y="176"/>
                      </a:lnTo>
                      <a:lnTo>
                        <a:pt x="236" y="172"/>
                      </a:lnTo>
                      <a:lnTo>
                        <a:pt x="241" y="165"/>
                      </a:lnTo>
                      <a:lnTo>
                        <a:pt x="247" y="158"/>
                      </a:lnTo>
                      <a:lnTo>
                        <a:pt x="249" y="155"/>
                      </a:lnTo>
                      <a:lnTo>
                        <a:pt x="252" y="152"/>
                      </a:lnTo>
                      <a:lnTo>
                        <a:pt x="256" y="150"/>
                      </a:lnTo>
                      <a:lnTo>
                        <a:pt x="259" y="149"/>
                      </a:lnTo>
                      <a:lnTo>
                        <a:pt x="281" y="146"/>
                      </a:lnTo>
                      <a:lnTo>
                        <a:pt x="297" y="145"/>
                      </a:lnTo>
                      <a:lnTo>
                        <a:pt x="306" y="144"/>
                      </a:lnTo>
                      <a:lnTo>
                        <a:pt x="314" y="143"/>
                      </a:lnTo>
                      <a:lnTo>
                        <a:pt x="323" y="140"/>
                      </a:lnTo>
                      <a:lnTo>
                        <a:pt x="331" y="137"/>
                      </a:lnTo>
                      <a:lnTo>
                        <a:pt x="340" y="131"/>
                      </a:lnTo>
                      <a:lnTo>
                        <a:pt x="348" y="124"/>
                      </a:lnTo>
                      <a:lnTo>
                        <a:pt x="354" y="116"/>
                      </a:lnTo>
                      <a:lnTo>
                        <a:pt x="360" y="108"/>
                      </a:lnTo>
                      <a:lnTo>
                        <a:pt x="371" y="89"/>
                      </a:lnTo>
                      <a:lnTo>
                        <a:pt x="380" y="68"/>
                      </a:lnTo>
                      <a:lnTo>
                        <a:pt x="388" y="48"/>
                      </a:lnTo>
                      <a:lnTo>
                        <a:pt x="397" y="29"/>
                      </a:lnTo>
                      <a:lnTo>
                        <a:pt x="402" y="21"/>
                      </a:lnTo>
                      <a:lnTo>
                        <a:pt x="407" y="12"/>
                      </a:lnTo>
                      <a:lnTo>
                        <a:pt x="413" y="6"/>
                      </a:lnTo>
                      <a:lnTo>
                        <a:pt x="418" y="0"/>
                      </a:lnTo>
                      <a:lnTo>
                        <a:pt x="426" y="8"/>
                      </a:lnTo>
                      <a:lnTo>
                        <a:pt x="433" y="14"/>
                      </a:lnTo>
                      <a:lnTo>
                        <a:pt x="441" y="17"/>
                      </a:lnTo>
                      <a:lnTo>
                        <a:pt x="449" y="20"/>
                      </a:lnTo>
                      <a:lnTo>
                        <a:pt x="465" y="20"/>
                      </a:lnTo>
                      <a:lnTo>
                        <a:pt x="485" y="20"/>
                      </a:lnTo>
                      <a:lnTo>
                        <a:pt x="512" y="18"/>
                      </a:lnTo>
                      <a:lnTo>
                        <a:pt x="543" y="16"/>
                      </a:lnTo>
                      <a:lnTo>
                        <a:pt x="571" y="14"/>
                      </a:lnTo>
                      <a:lnTo>
                        <a:pt x="590" y="13"/>
                      </a:lnTo>
                      <a:lnTo>
                        <a:pt x="594" y="13"/>
                      </a:lnTo>
                      <a:lnTo>
                        <a:pt x="595" y="15"/>
                      </a:lnTo>
                      <a:lnTo>
                        <a:pt x="597" y="17"/>
                      </a:lnTo>
                      <a:lnTo>
                        <a:pt x="599" y="21"/>
                      </a:lnTo>
                      <a:lnTo>
                        <a:pt x="601" y="28"/>
                      </a:lnTo>
                      <a:lnTo>
                        <a:pt x="605" y="36"/>
                      </a:lnTo>
                      <a:lnTo>
                        <a:pt x="607" y="44"/>
                      </a:lnTo>
                      <a:lnTo>
                        <a:pt x="609" y="49"/>
                      </a:lnTo>
                      <a:lnTo>
                        <a:pt x="611" y="51"/>
                      </a:lnTo>
                      <a:lnTo>
                        <a:pt x="613" y="52"/>
                      </a:lnTo>
                      <a:lnTo>
                        <a:pt x="615" y="51"/>
                      </a:lnTo>
                      <a:lnTo>
                        <a:pt x="618" y="50"/>
                      </a:lnTo>
                      <a:lnTo>
                        <a:pt x="631" y="5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31" name="Freeform 547">
                  <a:extLst>
                    <a:ext uri="{FF2B5EF4-FFF2-40B4-BE49-F238E27FC236}">
                      <a16:creationId xmlns:a16="http://schemas.microsoft.com/office/drawing/2014/main" xmlns="" id="{C736FBDD-DFA0-4DB2-BF71-531B58A0D563}"/>
                    </a:ext>
                  </a:extLst>
                </p:cNvPr>
                <p:cNvSpPr>
                  <a:spLocks/>
                </p:cNvSpPr>
                <p:nvPr>
                  <p:custDataLst>
                    <p:tags r:id="rId378"/>
                  </p:custDataLst>
                </p:nvPr>
              </p:nvSpPr>
              <p:spPr bwMode="auto">
                <a:xfrm>
                  <a:off x="4392613" y="1463675"/>
                  <a:ext cx="236537" cy="92075"/>
                </a:xfrm>
                <a:custGeom>
                  <a:avLst/>
                  <a:gdLst>
                    <a:gd name="T0" fmla="*/ 2147483646 w 546"/>
                    <a:gd name="T1" fmla="*/ 2147483646 h 173"/>
                    <a:gd name="T2" fmla="*/ 2147483646 w 546"/>
                    <a:gd name="T3" fmla="*/ 2147483646 h 173"/>
                    <a:gd name="T4" fmla="*/ 2147483646 w 546"/>
                    <a:gd name="T5" fmla="*/ 2147483646 h 173"/>
                    <a:gd name="T6" fmla="*/ 2147483646 w 546"/>
                    <a:gd name="T7" fmla="*/ 2147483646 h 173"/>
                    <a:gd name="T8" fmla="*/ 2147483646 w 546"/>
                    <a:gd name="T9" fmla="*/ 2147483646 h 173"/>
                    <a:gd name="T10" fmla="*/ 2147483646 w 546"/>
                    <a:gd name="T11" fmla="*/ 2147483646 h 173"/>
                    <a:gd name="T12" fmla="*/ 2147483646 w 546"/>
                    <a:gd name="T13" fmla="*/ 2147483646 h 173"/>
                    <a:gd name="T14" fmla="*/ 2147483646 w 546"/>
                    <a:gd name="T15" fmla="*/ 2147483646 h 173"/>
                    <a:gd name="T16" fmla="*/ 2147483646 w 546"/>
                    <a:gd name="T17" fmla="*/ 2147483646 h 173"/>
                    <a:gd name="T18" fmla="*/ 2147483646 w 546"/>
                    <a:gd name="T19" fmla="*/ 2147483646 h 173"/>
                    <a:gd name="T20" fmla="*/ 2147483646 w 546"/>
                    <a:gd name="T21" fmla="*/ 2147483646 h 173"/>
                    <a:gd name="T22" fmla="*/ 2147483646 w 546"/>
                    <a:gd name="T23" fmla="*/ 2147483646 h 173"/>
                    <a:gd name="T24" fmla="*/ 2147483646 w 546"/>
                    <a:gd name="T25" fmla="*/ 2147483646 h 173"/>
                    <a:gd name="T26" fmla="*/ 2147483646 w 546"/>
                    <a:gd name="T27" fmla="*/ 2147483646 h 173"/>
                    <a:gd name="T28" fmla="*/ 2147483646 w 546"/>
                    <a:gd name="T29" fmla="*/ 0 h 173"/>
                    <a:gd name="T30" fmla="*/ 2147483646 w 546"/>
                    <a:gd name="T31" fmla="*/ 2147483646 h 173"/>
                    <a:gd name="T32" fmla="*/ 2147483646 w 546"/>
                    <a:gd name="T33" fmla="*/ 2147483646 h 173"/>
                    <a:gd name="T34" fmla="*/ 2147483646 w 546"/>
                    <a:gd name="T35" fmla="*/ 2147483646 h 173"/>
                    <a:gd name="T36" fmla="*/ 2147483646 w 546"/>
                    <a:gd name="T37" fmla="*/ 2147483646 h 173"/>
                    <a:gd name="T38" fmla="*/ 2147483646 w 546"/>
                    <a:gd name="T39" fmla="*/ 2147483646 h 173"/>
                    <a:gd name="T40" fmla="*/ 2147483646 w 546"/>
                    <a:gd name="T41" fmla="*/ 2147483646 h 173"/>
                    <a:gd name="T42" fmla="*/ 2147483646 w 546"/>
                    <a:gd name="T43" fmla="*/ 2147483646 h 173"/>
                    <a:gd name="T44" fmla="*/ 2147483646 w 546"/>
                    <a:gd name="T45" fmla="*/ 2147483646 h 173"/>
                    <a:gd name="T46" fmla="*/ 2147483646 w 546"/>
                    <a:gd name="T47" fmla="*/ 2147483646 h 173"/>
                    <a:gd name="T48" fmla="*/ 2147483646 w 546"/>
                    <a:gd name="T49" fmla="*/ 2147483646 h 173"/>
                    <a:gd name="T50" fmla="*/ 2147483646 w 546"/>
                    <a:gd name="T51" fmla="*/ 2147483646 h 173"/>
                    <a:gd name="T52" fmla="*/ 2147483646 w 546"/>
                    <a:gd name="T53" fmla="*/ 2147483646 h 173"/>
                    <a:gd name="T54" fmla="*/ 2147483646 w 546"/>
                    <a:gd name="T55" fmla="*/ 2147483646 h 173"/>
                    <a:gd name="T56" fmla="*/ 2147483646 w 546"/>
                    <a:gd name="T57" fmla="*/ 2147483646 h 173"/>
                    <a:gd name="T58" fmla="*/ 2147483646 w 546"/>
                    <a:gd name="T59" fmla="*/ 2147483646 h 173"/>
                    <a:gd name="T60" fmla="*/ 2147483646 w 546"/>
                    <a:gd name="T61" fmla="*/ 2147483646 h 173"/>
                    <a:gd name="T62" fmla="*/ 2147483646 w 546"/>
                    <a:gd name="T63" fmla="*/ 2147483646 h 173"/>
                    <a:gd name="T64" fmla="*/ 2147483646 w 546"/>
                    <a:gd name="T65" fmla="*/ 2147483646 h 173"/>
                    <a:gd name="T66" fmla="*/ 2147483646 w 546"/>
                    <a:gd name="T67" fmla="*/ 2147483646 h 173"/>
                    <a:gd name="T68" fmla="*/ 2147483646 w 546"/>
                    <a:gd name="T69" fmla="*/ 2147483646 h 173"/>
                    <a:gd name="T70" fmla="*/ 2147483646 w 546"/>
                    <a:gd name="T71" fmla="*/ 2147483646 h 173"/>
                    <a:gd name="T72" fmla="*/ 2147483646 w 546"/>
                    <a:gd name="T73" fmla="*/ 2147483646 h 173"/>
                    <a:gd name="T74" fmla="*/ 2147483646 w 546"/>
                    <a:gd name="T75" fmla="*/ 2147483646 h 173"/>
                    <a:gd name="T76" fmla="*/ 2147483646 w 546"/>
                    <a:gd name="T77" fmla="*/ 2147483646 h 173"/>
                    <a:gd name="T78" fmla="*/ 2147483646 w 546"/>
                    <a:gd name="T79" fmla="*/ 2147483646 h 173"/>
                    <a:gd name="T80" fmla="*/ 2147483646 w 546"/>
                    <a:gd name="T81" fmla="*/ 2147483646 h 173"/>
                    <a:gd name="T82" fmla="*/ 2147483646 w 546"/>
                    <a:gd name="T83" fmla="*/ 2147483646 h 173"/>
                    <a:gd name="T84" fmla="*/ 2147483646 w 546"/>
                    <a:gd name="T85" fmla="*/ 2147483646 h 173"/>
                    <a:gd name="T86" fmla="*/ 2147483646 w 546"/>
                    <a:gd name="T87" fmla="*/ 2147483646 h 173"/>
                    <a:gd name="T88" fmla="*/ 2147483646 w 546"/>
                    <a:gd name="T89" fmla="*/ 2147483646 h 173"/>
                    <a:gd name="T90" fmla="*/ 2147483646 w 546"/>
                    <a:gd name="T91" fmla="*/ 2147483646 h 173"/>
                    <a:gd name="T92" fmla="*/ 2147483646 w 546"/>
                    <a:gd name="T93" fmla="*/ 2147483646 h 173"/>
                    <a:gd name="T94" fmla="*/ 2147483646 w 546"/>
                    <a:gd name="T95" fmla="*/ 2147483646 h 173"/>
                    <a:gd name="T96" fmla="*/ 2147483646 w 546"/>
                    <a:gd name="T97" fmla="*/ 2147483646 h 173"/>
                    <a:gd name="T98" fmla="*/ 2147483646 w 546"/>
                    <a:gd name="T99" fmla="*/ 2147483646 h 173"/>
                    <a:gd name="T100" fmla="*/ 2147483646 w 546"/>
                    <a:gd name="T101" fmla="*/ 2147483646 h 173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546"/>
                    <a:gd name="T154" fmla="*/ 0 h 173"/>
                    <a:gd name="T155" fmla="*/ 546 w 546"/>
                    <a:gd name="T156" fmla="*/ 173 h 173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546" h="173">
                      <a:moveTo>
                        <a:pt x="47" y="12"/>
                      </a:moveTo>
                      <a:lnTo>
                        <a:pt x="61" y="15"/>
                      </a:lnTo>
                      <a:lnTo>
                        <a:pt x="74" y="19"/>
                      </a:lnTo>
                      <a:lnTo>
                        <a:pt x="61" y="38"/>
                      </a:lnTo>
                      <a:lnTo>
                        <a:pt x="87" y="38"/>
                      </a:lnTo>
                      <a:lnTo>
                        <a:pt x="94" y="34"/>
                      </a:lnTo>
                      <a:lnTo>
                        <a:pt x="102" y="31"/>
                      </a:lnTo>
                      <a:lnTo>
                        <a:pt x="107" y="29"/>
                      </a:lnTo>
                      <a:lnTo>
                        <a:pt x="110" y="27"/>
                      </a:lnTo>
                      <a:lnTo>
                        <a:pt x="112" y="23"/>
                      </a:lnTo>
                      <a:lnTo>
                        <a:pt x="113" y="19"/>
                      </a:lnTo>
                      <a:lnTo>
                        <a:pt x="132" y="27"/>
                      </a:lnTo>
                      <a:lnTo>
                        <a:pt x="142" y="32"/>
                      </a:lnTo>
                      <a:lnTo>
                        <a:pt x="150" y="36"/>
                      </a:lnTo>
                      <a:lnTo>
                        <a:pt x="161" y="44"/>
                      </a:lnTo>
                      <a:lnTo>
                        <a:pt x="161" y="19"/>
                      </a:lnTo>
                      <a:lnTo>
                        <a:pt x="188" y="19"/>
                      </a:lnTo>
                      <a:lnTo>
                        <a:pt x="209" y="19"/>
                      </a:lnTo>
                      <a:lnTo>
                        <a:pt x="224" y="19"/>
                      </a:lnTo>
                      <a:lnTo>
                        <a:pt x="233" y="19"/>
                      </a:lnTo>
                      <a:lnTo>
                        <a:pt x="243" y="19"/>
                      </a:lnTo>
                      <a:lnTo>
                        <a:pt x="253" y="19"/>
                      </a:lnTo>
                      <a:lnTo>
                        <a:pt x="256" y="17"/>
                      </a:lnTo>
                      <a:lnTo>
                        <a:pt x="260" y="16"/>
                      </a:lnTo>
                      <a:lnTo>
                        <a:pt x="264" y="14"/>
                      </a:lnTo>
                      <a:lnTo>
                        <a:pt x="266" y="12"/>
                      </a:lnTo>
                      <a:lnTo>
                        <a:pt x="269" y="14"/>
                      </a:lnTo>
                      <a:lnTo>
                        <a:pt x="273" y="14"/>
                      </a:lnTo>
                      <a:lnTo>
                        <a:pt x="276" y="13"/>
                      </a:lnTo>
                      <a:lnTo>
                        <a:pt x="279" y="11"/>
                      </a:lnTo>
                      <a:lnTo>
                        <a:pt x="281" y="8"/>
                      </a:lnTo>
                      <a:lnTo>
                        <a:pt x="285" y="6"/>
                      </a:lnTo>
                      <a:lnTo>
                        <a:pt x="286" y="3"/>
                      </a:lnTo>
                      <a:lnTo>
                        <a:pt x="287" y="0"/>
                      </a:lnTo>
                      <a:lnTo>
                        <a:pt x="320" y="0"/>
                      </a:lnTo>
                      <a:lnTo>
                        <a:pt x="321" y="5"/>
                      </a:lnTo>
                      <a:lnTo>
                        <a:pt x="324" y="9"/>
                      </a:lnTo>
                      <a:lnTo>
                        <a:pt x="329" y="11"/>
                      </a:lnTo>
                      <a:lnTo>
                        <a:pt x="333" y="12"/>
                      </a:lnTo>
                      <a:lnTo>
                        <a:pt x="338" y="11"/>
                      </a:lnTo>
                      <a:lnTo>
                        <a:pt x="345" y="9"/>
                      </a:lnTo>
                      <a:lnTo>
                        <a:pt x="348" y="7"/>
                      </a:lnTo>
                      <a:lnTo>
                        <a:pt x="351" y="5"/>
                      </a:lnTo>
                      <a:lnTo>
                        <a:pt x="353" y="3"/>
                      </a:lnTo>
                      <a:lnTo>
                        <a:pt x="353" y="0"/>
                      </a:lnTo>
                      <a:lnTo>
                        <a:pt x="358" y="3"/>
                      </a:lnTo>
                      <a:lnTo>
                        <a:pt x="363" y="6"/>
                      </a:lnTo>
                      <a:lnTo>
                        <a:pt x="367" y="7"/>
                      </a:lnTo>
                      <a:lnTo>
                        <a:pt x="371" y="8"/>
                      </a:lnTo>
                      <a:lnTo>
                        <a:pt x="380" y="8"/>
                      </a:lnTo>
                      <a:lnTo>
                        <a:pt x="389" y="7"/>
                      </a:lnTo>
                      <a:lnTo>
                        <a:pt x="404" y="3"/>
                      </a:lnTo>
                      <a:lnTo>
                        <a:pt x="420" y="0"/>
                      </a:lnTo>
                      <a:lnTo>
                        <a:pt x="436" y="1"/>
                      </a:lnTo>
                      <a:lnTo>
                        <a:pt x="453" y="2"/>
                      </a:lnTo>
                      <a:lnTo>
                        <a:pt x="467" y="4"/>
                      </a:lnTo>
                      <a:lnTo>
                        <a:pt x="482" y="6"/>
                      </a:lnTo>
                      <a:lnTo>
                        <a:pt x="498" y="9"/>
                      </a:lnTo>
                      <a:lnTo>
                        <a:pt x="513" y="11"/>
                      </a:lnTo>
                      <a:lnTo>
                        <a:pt x="528" y="12"/>
                      </a:lnTo>
                      <a:lnTo>
                        <a:pt x="546" y="12"/>
                      </a:lnTo>
                      <a:lnTo>
                        <a:pt x="546" y="44"/>
                      </a:lnTo>
                      <a:lnTo>
                        <a:pt x="545" y="49"/>
                      </a:lnTo>
                      <a:lnTo>
                        <a:pt x="542" y="55"/>
                      </a:lnTo>
                      <a:lnTo>
                        <a:pt x="539" y="58"/>
                      </a:lnTo>
                      <a:lnTo>
                        <a:pt x="537" y="60"/>
                      </a:lnTo>
                      <a:lnTo>
                        <a:pt x="535" y="61"/>
                      </a:lnTo>
                      <a:lnTo>
                        <a:pt x="533" y="62"/>
                      </a:lnTo>
                      <a:lnTo>
                        <a:pt x="513" y="62"/>
                      </a:lnTo>
                      <a:lnTo>
                        <a:pt x="498" y="60"/>
                      </a:lnTo>
                      <a:lnTo>
                        <a:pt x="490" y="57"/>
                      </a:lnTo>
                      <a:lnTo>
                        <a:pt x="483" y="54"/>
                      </a:lnTo>
                      <a:lnTo>
                        <a:pt x="478" y="50"/>
                      </a:lnTo>
                      <a:lnTo>
                        <a:pt x="472" y="44"/>
                      </a:lnTo>
                      <a:lnTo>
                        <a:pt x="413" y="44"/>
                      </a:lnTo>
                      <a:lnTo>
                        <a:pt x="421" y="58"/>
                      </a:lnTo>
                      <a:lnTo>
                        <a:pt x="428" y="70"/>
                      </a:lnTo>
                      <a:lnTo>
                        <a:pt x="438" y="81"/>
                      </a:lnTo>
                      <a:lnTo>
                        <a:pt x="448" y="89"/>
                      </a:lnTo>
                      <a:lnTo>
                        <a:pt x="459" y="96"/>
                      </a:lnTo>
                      <a:lnTo>
                        <a:pt x="471" y="102"/>
                      </a:lnTo>
                      <a:lnTo>
                        <a:pt x="484" y="107"/>
                      </a:lnTo>
                      <a:lnTo>
                        <a:pt x="499" y="111"/>
                      </a:lnTo>
                      <a:lnTo>
                        <a:pt x="493" y="119"/>
                      </a:lnTo>
                      <a:lnTo>
                        <a:pt x="488" y="126"/>
                      </a:lnTo>
                      <a:lnTo>
                        <a:pt x="481" y="132"/>
                      </a:lnTo>
                      <a:lnTo>
                        <a:pt x="475" y="136"/>
                      </a:lnTo>
                      <a:lnTo>
                        <a:pt x="466" y="139"/>
                      </a:lnTo>
                      <a:lnTo>
                        <a:pt x="458" y="141"/>
                      </a:lnTo>
                      <a:lnTo>
                        <a:pt x="449" y="142"/>
                      </a:lnTo>
                      <a:lnTo>
                        <a:pt x="439" y="142"/>
                      </a:lnTo>
                      <a:lnTo>
                        <a:pt x="432" y="142"/>
                      </a:lnTo>
                      <a:lnTo>
                        <a:pt x="426" y="141"/>
                      </a:lnTo>
                      <a:lnTo>
                        <a:pt x="421" y="139"/>
                      </a:lnTo>
                      <a:lnTo>
                        <a:pt x="416" y="136"/>
                      </a:lnTo>
                      <a:lnTo>
                        <a:pt x="412" y="134"/>
                      </a:lnTo>
                      <a:lnTo>
                        <a:pt x="409" y="132"/>
                      </a:lnTo>
                      <a:lnTo>
                        <a:pt x="404" y="131"/>
                      </a:lnTo>
                      <a:lnTo>
                        <a:pt x="399" y="130"/>
                      </a:lnTo>
                      <a:lnTo>
                        <a:pt x="394" y="128"/>
                      </a:lnTo>
                      <a:lnTo>
                        <a:pt x="390" y="125"/>
                      </a:lnTo>
                      <a:lnTo>
                        <a:pt x="385" y="121"/>
                      </a:lnTo>
                      <a:lnTo>
                        <a:pt x="381" y="116"/>
                      </a:lnTo>
                      <a:lnTo>
                        <a:pt x="378" y="110"/>
                      </a:lnTo>
                      <a:lnTo>
                        <a:pt x="375" y="104"/>
                      </a:lnTo>
                      <a:lnTo>
                        <a:pt x="374" y="98"/>
                      </a:lnTo>
                      <a:lnTo>
                        <a:pt x="372" y="93"/>
                      </a:lnTo>
                      <a:lnTo>
                        <a:pt x="365" y="92"/>
                      </a:lnTo>
                      <a:lnTo>
                        <a:pt x="358" y="90"/>
                      </a:lnTo>
                      <a:lnTo>
                        <a:pt x="351" y="87"/>
                      </a:lnTo>
                      <a:lnTo>
                        <a:pt x="344" y="84"/>
                      </a:lnTo>
                      <a:lnTo>
                        <a:pt x="337" y="81"/>
                      </a:lnTo>
                      <a:lnTo>
                        <a:pt x="331" y="78"/>
                      </a:lnTo>
                      <a:lnTo>
                        <a:pt x="325" y="76"/>
                      </a:lnTo>
                      <a:lnTo>
                        <a:pt x="320" y="75"/>
                      </a:lnTo>
                      <a:lnTo>
                        <a:pt x="314" y="78"/>
                      </a:lnTo>
                      <a:lnTo>
                        <a:pt x="303" y="87"/>
                      </a:lnTo>
                      <a:lnTo>
                        <a:pt x="289" y="101"/>
                      </a:lnTo>
                      <a:lnTo>
                        <a:pt x="274" y="117"/>
                      </a:lnTo>
                      <a:lnTo>
                        <a:pt x="258" y="134"/>
                      </a:lnTo>
                      <a:lnTo>
                        <a:pt x="246" y="150"/>
                      </a:lnTo>
                      <a:lnTo>
                        <a:pt x="241" y="157"/>
                      </a:lnTo>
                      <a:lnTo>
                        <a:pt x="236" y="163"/>
                      </a:lnTo>
                      <a:lnTo>
                        <a:pt x="234" y="169"/>
                      </a:lnTo>
                      <a:lnTo>
                        <a:pt x="233" y="173"/>
                      </a:lnTo>
                      <a:lnTo>
                        <a:pt x="220" y="172"/>
                      </a:lnTo>
                      <a:lnTo>
                        <a:pt x="209" y="171"/>
                      </a:lnTo>
                      <a:lnTo>
                        <a:pt x="198" y="169"/>
                      </a:lnTo>
                      <a:lnTo>
                        <a:pt x="188" y="167"/>
                      </a:lnTo>
                      <a:lnTo>
                        <a:pt x="180" y="163"/>
                      </a:lnTo>
                      <a:lnTo>
                        <a:pt x="172" y="160"/>
                      </a:lnTo>
                      <a:lnTo>
                        <a:pt x="165" y="155"/>
                      </a:lnTo>
                      <a:lnTo>
                        <a:pt x="158" y="151"/>
                      </a:lnTo>
                      <a:lnTo>
                        <a:pt x="136" y="128"/>
                      </a:lnTo>
                      <a:lnTo>
                        <a:pt x="113" y="105"/>
                      </a:lnTo>
                      <a:lnTo>
                        <a:pt x="108" y="100"/>
                      </a:lnTo>
                      <a:lnTo>
                        <a:pt x="101" y="95"/>
                      </a:lnTo>
                      <a:lnTo>
                        <a:pt x="95" y="91"/>
                      </a:lnTo>
                      <a:lnTo>
                        <a:pt x="88" y="87"/>
                      </a:lnTo>
                      <a:lnTo>
                        <a:pt x="74" y="81"/>
                      </a:lnTo>
                      <a:lnTo>
                        <a:pt x="60" y="76"/>
                      </a:lnTo>
                      <a:lnTo>
                        <a:pt x="45" y="70"/>
                      </a:lnTo>
                      <a:lnTo>
                        <a:pt x="31" y="64"/>
                      </a:lnTo>
                      <a:lnTo>
                        <a:pt x="16" y="58"/>
                      </a:lnTo>
                      <a:lnTo>
                        <a:pt x="0" y="50"/>
                      </a:lnTo>
                      <a:lnTo>
                        <a:pt x="6" y="41"/>
                      </a:lnTo>
                      <a:lnTo>
                        <a:pt x="11" y="34"/>
                      </a:lnTo>
                      <a:lnTo>
                        <a:pt x="16" y="28"/>
                      </a:lnTo>
                      <a:lnTo>
                        <a:pt x="21" y="22"/>
                      </a:lnTo>
                      <a:lnTo>
                        <a:pt x="28" y="19"/>
                      </a:lnTo>
                      <a:lnTo>
                        <a:pt x="33" y="15"/>
                      </a:lnTo>
                      <a:lnTo>
                        <a:pt x="40" y="13"/>
                      </a:lnTo>
                      <a:lnTo>
                        <a:pt x="47" y="12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32" name="Freeform 548">
                  <a:extLst>
                    <a:ext uri="{FF2B5EF4-FFF2-40B4-BE49-F238E27FC236}">
                      <a16:creationId xmlns:a16="http://schemas.microsoft.com/office/drawing/2014/main" xmlns="" id="{1B5E2A4F-AC07-4225-AF60-35859B2B3A6A}"/>
                    </a:ext>
                  </a:extLst>
                </p:cNvPr>
                <p:cNvSpPr>
                  <a:spLocks/>
                </p:cNvSpPr>
                <p:nvPr>
                  <p:custDataLst>
                    <p:tags r:id="rId379"/>
                  </p:custDataLst>
                </p:nvPr>
              </p:nvSpPr>
              <p:spPr bwMode="auto">
                <a:xfrm>
                  <a:off x="4903788" y="1447800"/>
                  <a:ext cx="107950" cy="60325"/>
                </a:xfrm>
                <a:custGeom>
                  <a:avLst/>
                  <a:gdLst>
                    <a:gd name="T0" fmla="*/ 2147483646 w 246"/>
                    <a:gd name="T1" fmla="*/ 2147483646 h 42"/>
                    <a:gd name="T2" fmla="*/ 2147483646 w 246"/>
                    <a:gd name="T3" fmla="*/ 2147483646 h 42"/>
                    <a:gd name="T4" fmla="*/ 2147483646 w 246"/>
                    <a:gd name="T5" fmla="*/ 2147483646 h 42"/>
                    <a:gd name="T6" fmla="*/ 2147483646 w 246"/>
                    <a:gd name="T7" fmla="*/ 2147483646 h 42"/>
                    <a:gd name="T8" fmla="*/ 2147483646 w 246"/>
                    <a:gd name="T9" fmla="*/ 2147483646 h 42"/>
                    <a:gd name="T10" fmla="*/ 2147483646 w 246"/>
                    <a:gd name="T11" fmla="*/ 2147483646 h 42"/>
                    <a:gd name="T12" fmla="*/ 2147483646 w 246"/>
                    <a:gd name="T13" fmla="*/ 2147483646 h 42"/>
                    <a:gd name="T14" fmla="*/ 2147483646 w 246"/>
                    <a:gd name="T15" fmla="*/ 2147483646 h 42"/>
                    <a:gd name="T16" fmla="*/ 2147483646 w 246"/>
                    <a:gd name="T17" fmla="*/ 2147483646 h 42"/>
                    <a:gd name="T18" fmla="*/ 2147483646 w 246"/>
                    <a:gd name="T19" fmla="*/ 2147483646 h 42"/>
                    <a:gd name="T20" fmla="*/ 2147483646 w 246"/>
                    <a:gd name="T21" fmla="*/ 2147483646 h 42"/>
                    <a:gd name="T22" fmla="*/ 2147483646 w 246"/>
                    <a:gd name="T23" fmla="*/ 2147483646 h 42"/>
                    <a:gd name="T24" fmla="*/ 2147483646 w 246"/>
                    <a:gd name="T25" fmla="*/ 2147483646 h 42"/>
                    <a:gd name="T26" fmla="*/ 2147483646 w 246"/>
                    <a:gd name="T27" fmla="*/ 2147483646 h 42"/>
                    <a:gd name="T28" fmla="*/ 2147483646 w 246"/>
                    <a:gd name="T29" fmla="*/ 2147483646 h 42"/>
                    <a:gd name="T30" fmla="*/ 2147483646 w 246"/>
                    <a:gd name="T31" fmla="*/ 2147483646 h 42"/>
                    <a:gd name="T32" fmla="*/ 2147483646 w 246"/>
                    <a:gd name="T33" fmla="*/ 2147483646 h 42"/>
                    <a:gd name="T34" fmla="*/ 2147483646 w 246"/>
                    <a:gd name="T35" fmla="*/ 2147483646 h 42"/>
                    <a:gd name="T36" fmla="*/ 2147483646 w 246"/>
                    <a:gd name="T37" fmla="*/ 2147483646 h 42"/>
                    <a:gd name="T38" fmla="*/ 2147483646 w 246"/>
                    <a:gd name="T39" fmla="*/ 2147483646 h 42"/>
                    <a:gd name="T40" fmla="*/ 2147483646 w 246"/>
                    <a:gd name="T41" fmla="*/ 2147483646 h 42"/>
                    <a:gd name="T42" fmla="*/ 2147483646 w 246"/>
                    <a:gd name="T43" fmla="*/ 2147483646 h 42"/>
                    <a:gd name="T44" fmla="*/ 2147483646 w 246"/>
                    <a:gd name="T45" fmla="*/ 2147483646 h 42"/>
                    <a:gd name="T46" fmla="*/ 2147483646 w 246"/>
                    <a:gd name="T47" fmla="*/ 2147483646 h 42"/>
                    <a:gd name="T48" fmla="*/ 2147483646 w 246"/>
                    <a:gd name="T49" fmla="*/ 2147483646 h 42"/>
                    <a:gd name="T50" fmla="*/ 2147483646 w 246"/>
                    <a:gd name="T51" fmla="*/ 2147483646 h 42"/>
                    <a:gd name="T52" fmla="*/ 2147483646 w 246"/>
                    <a:gd name="T53" fmla="*/ 2147483646 h 42"/>
                    <a:gd name="T54" fmla="*/ 2147483646 w 246"/>
                    <a:gd name="T55" fmla="*/ 2147483646 h 42"/>
                    <a:gd name="T56" fmla="*/ 2147483646 w 246"/>
                    <a:gd name="T57" fmla="*/ 2147483646 h 42"/>
                    <a:gd name="T58" fmla="*/ 2147483646 w 246"/>
                    <a:gd name="T59" fmla="*/ 2147483646 h 42"/>
                    <a:gd name="T60" fmla="*/ 2147483646 w 246"/>
                    <a:gd name="T61" fmla="*/ 2147483646 h 42"/>
                    <a:gd name="T62" fmla="*/ 2147483646 w 246"/>
                    <a:gd name="T63" fmla="*/ 2147483646 h 42"/>
                    <a:gd name="T64" fmla="*/ 2147483646 w 246"/>
                    <a:gd name="T65" fmla="*/ 0 h 42"/>
                    <a:gd name="T66" fmla="*/ 2147483646 w 246"/>
                    <a:gd name="T67" fmla="*/ 2147483646 h 42"/>
                    <a:gd name="T68" fmla="*/ 2147483646 w 246"/>
                    <a:gd name="T69" fmla="*/ 2147483646 h 42"/>
                    <a:gd name="T70" fmla="*/ 2147483646 w 246"/>
                    <a:gd name="T71" fmla="*/ 2147483646 h 42"/>
                    <a:gd name="T72" fmla="*/ 2147483646 w 246"/>
                    <a:gd name="T73" fmla="*/ 2147483646 h 42"/>
                    <a:gd name="T74" fmla="*/ 2147483646 w 246"/>
                    <a:gd name="T75" fmla="*/ 2147483646 h 42"/>
                    <a:gd name="T76" fmla="*/ 2147483646 w 246"/>
                    <a:gd name="T77" fmla="*/ 2147483646 h 42"/>
                    <a:gd name="T78" fmla="*/ 2147483646 w 246"/>
                    <a:gd name="T79" fmla="*/ 2147483646 h 42"/>
                    <a:gd name="T80" fmla="*/ 2147483646 w 246"/>
                    <a:gd name="T81" fmla="*/ 2147483646 h 42"/>
                    <a:gd name="T82" fmla="*/ 2147483646 w 246"/>
                    <a:gd name="T83" fmla="*/ 2147483646 h 42"/>
                    <a:gd name="T84" fmla="*/ 2147483646 w 246"/>
                    <a:gd name="T85" fmla="*/ 2147483646 h 42"/>
                    <a:gd name="T86" fmla="*/ 2147483646 w 246"/>
                    <a:gd name="T87" fmla="*/ 2147483646 h 42"/>
                    <a:gd name="T88" fmla="*/ 2147483646 w 246"/>
                    <a:gd name="T89" fmla="*/ 2147483646 h 42"/>
                    <a:gd name="T90" fmla="*/ 2147483646 w 246"/>
                    <a:gd name="T91" fmla="*/ 2147483646 h 42"/>
                    <a:gd name="T92" fmla="*/ 0 w 246"/>
                    <a:gd name="T93" fmla="*/ 2147483646 h 42"/>
                    <a:gd name="T94" fmla="*/ 2147483646 w 246"/>
                    <a:gd name="T95" fmla="*/ 2147483646 h 42"/>
                    <a:gd name="T96" fmla="*/ 2147483646 w 246"/>
                    <a:gd name="T97" fmla="*/ 2147483646 h 42"/>
                    <a:gd name="T98" fmla="*/ 2147483646 w 246"/>
                    <a:gd name="T99" fmla="*/ 2147483646 h 42"/>
                    <a:gd name="T100" fmla="*/ 2147483646 w 246"/>
                    <a:gd name="T101" fmla="*/ 2147483646 h 42"/>
                    <a:gd name="T102" fmla="*/ 2147483646 w 246"/>
                    <a:gd name="T103" fmla="*/ 2147483646 h 42"/>
                    <a:gd name="T104" fmla="*/ 2147483646 w 246"/>
                    <a:gd name="T105" fmla="*/ 2147483646 h 42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46"/>
                    <a:gd name="T160" fmla="*/ 0 h 42"/>
                    <a:gd name="T161" fmla="*/ 246 w 246"/>
                    <a:gd name="T162" fmla="*/ 42 h 42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46" h="42">
                      <a:moveTo>
                        <a:pt x="27" y="36"/>
                      </a:moveTo>
                      <a:lnTo>
                        <a:pt x="36" y="36"/>
                      </a:lnTo>
                      <a:lnTo>
                        <a:pt x="45" y="35"/>
                      </a:lnTo>
                      <a:lnTo>
                        <a:pt x="53" y="33"/>
                      </a:lnTo>
                      <a:lnTo>
                        <a:pt x="59" y="31"/>
                      </a:lnTo>
                      <a:lnTo>
                        <a:pt x="66" y="30"/>
                      </a:lnTo>
                      <a:lnTo>
                        <a:pt x="72" y="29"/>
                      </a:lnTo>
                      <a:lnTo>
                        <a:pt x="80" y="29"/>
                      </a:lnTo>
                      <a:lnTo>
                        <a:pt x="87" y="30"/>
                      </a:lnTo>
                      <a:lnTo>
                        <a:pt x="87" y="42"/>
                      </a:lnTo>
                      <a:lnTo>
                        <a:pt x="154" y="42"/>
                      </a:lnTo>
                      <a:lnTo>
                        <a:pt x="154" y="39"/>
                      </a:lnTo>
                      <a:lnTo>
                        <a:pt x="156" y="36"/>
                      </a:lnTo>
                      <a:lnTo>
                        <a:pt x="159" y="33"/>
                      </a:lnTo>
                      <a:lnTo>
                        <a:pt x="163" y="31"/>
                      </a:lnTo>
                      <a:lnTo>
                        <a:pt x="175" y="26"/>
                      </a:lnTo>
                      <a:lnTo>
                        <a:pt x="190" y="23"/>
                      </a:lnTo>
                      <a:lnTo>
                        <a:pt x="221" y="17"/>
                      </a:lnTo>
                      <a:lnTo>
                        <a:pt x="246" y="12"/>
                      </a:lnTo>
                      <a:lnTo>
                        <a:pt x="212" y="13"/>
                      </a:lnTo>
                      <a:lnTo>
                        <a:pt x="186" y="14"/>
                      </a:lnTo>
                      <a:lnTo>
                        <a:pt x="178" y="15"/>
                      </a:lnTo>
                      <a:lnTo>
                        <a:pt x="171" y="15"/>
                      </a:lnTo>
                      <a:lnTo>
                        <a:pt x="168" y="14"/>
                      </a:lnTo>
                      <a:lnTo>
                        <a:pt x="167" y="12"/>
                      </a:lnTo>
                      <a:lnTo>
                        <a:pt x="159" y="16"/>
                      </a:lnTo>
                      <a:lnTo>
                        <a:pt x="152" y="17"/>
                      </a:lnTo>
                      <a:lnTo>
                        <a:pt x="147" y="17"/>
                      </a:lnTo>
                      <a:lnTo>
                        <a:pt x="141" y="15"/>
                      </a:lnTo>
                      <a:lnTo>
                        <a:pt x="137" y="12"/>
                      </a:lnTo>
                      <a:lnTo>
                        <a:pt x="133" y="9"/>
                      </a:lnTo>
                      <a:lnTo>
                        <a:pt x="129" y="5"/>
                      </a:lnTo>
                      <a:lnTo>
                        <a:pt x="126" y="0"/>
                      </a:lnTo>
                      <a:lnTo>
                        <a:pt x="121" y="2"/>
                      </a:lnTo>
                      <a:lnTo>
                        <a:pt x="113" y="4"/>
                      </a:lnTo>
                      <a:lnTo>
                        <a:pt x="103" y="5"/>
                      </a:lnTo>
                      <a:lnTo>
                        <a:pt x="93" y="5"/>
                      </a:lnTo>
                      <a:lnTo>
                        <a:pt x="74" y="6"/>
                      </a:lnTo>
                      <a:lnTo>
                        <a:pt x="60" y="6"/>
                      </a:lnTo>
                      <a:lnTo>
                        <a:pt x="58" y="9"/>
                      </a:lnTo>
                      <a:lnTo>
                        <a:pt x="56" y="12"/>
                      </a:lnTo>
                      <a:lnTo>
                        <a:pt x="54" y="15"/>
                      </a:lnTo>
                      <a:lnTo>
                        <a:pt x="50" y="17"/>
                      </a:lnTo>
                      <a:lnTo>
                        <a:pt x="42" y="20"/>
                      </a:lnTo>
                      <a:lnTo>
                        <a:pt x="33" y="22"/>
                      </a:lnTo>
                      <a:lnTo>
                        <a:pt x="14" y="24"/>
                      </a:lnTo>
                      <a:lnTo>
                        <a:pt x="0" y="24"/>
                      </a:lnTo>
                      <a:lnTo>
                        <a:pt x="1" y="27"/>
                      </a:lnTo>
                      <a:lnTo>
                        <a:pt x="3" y="29"/>
                      </a:lnTo>
                      <a:lnTo>
                        <a:pt x="5" y="31"/>
                      </a:lnTo>
                      <a:lnTo>
                        <a:pt x="9" y="33"/>
                      </a:lnTo>
                      <a:lnTo>
                        <a:pt x="17" y="35"/>
                      </a:lnTo>
                      <a:lnTo>
                        <a:pt x="27" y="36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33" name="Freeform 549">
                  <a:extLst>
                    <a:ext uri="{FF2B5EF4-FFF2-40B4-BE49-F238E27FC236}">
                      <a16:creationId xmlns:a16="http://schemas.microsoft.com/office/drawing/2014/main" xmlns="" id="{206C90DF-2197-4F40-B1FA-716278BFC52C}"/>
                    </a:ext>
                  </a:extLst>
                </p:cNvPr>
                <p:cNvSpPr>
                  <a:spLocks/>
                </p:cNvSpPr>
                <p:nvPr>
                  <p:custDataLst>
                    <p:tags r:id="rId380"/>
                  </p:custDataLst>
                </p:nvPr>
              </p:nvSpPr>
              <p:spPr bwMode="auto">
                <a:xfrm>
                  <a:off x="5046663" y="1430338"/>
                  <a:ext cx="63500" cy="57150"/>
                </a:xfrm>
                <a:custGeom>
                  <a:avLst/>
                  <a:gdLst>
                    <a:gd name="T0" fmla="*/ 2147483646 w 149"/>
                    <a:gd name="T1" fmla="*/ 0 h 61"/>
                    <a:gd name="T2" fmla="*/ 2147483646 w 149"/>
                    <a:gd name="T3" fmla="*/ 2147483646 h 61"/>
                    <a:gd name="T4" fmla="*/ 2147483646 w 149"/>
                    <a:gd name="T5" fmla="*/ 2147483646 h 61"/>
                    <a:gd name="T6" fmla="*/ 2147483646 w 149"/>
                    <a:gd name="T7" fmla="*/ 2147483646 h 61"/>
                    <a:gd name="T8" fmla="*/ 2147483646 w 149"/>
                    <a:gd name="T9" fmla="*/ 2147483646 h 61"/>
                    <a:gd name="T10" fmla="*/ 2147483646 w 149"/>
                    <a:gd name="T11" fmla="*/ 2147483646 h 61"/>
                    <a:gd name="T12" fmla="*/ 2147483646 w 149"/>
                    <a:gd name="T13" fmla="*/ 2147483646 h 61"/>
                    <a:gd name="T14" fmla="*/ 2147483646 w 149"/>
                    <a:gd name="T15" fmla="*/ 2147483646 h 61"/>
                    <a:gd name="T16" fmla="*/ 2147483646 w 149"/>
                    <a:gd name="T17" fmla="*/ 2147483646 h 61"/>
                    <a:gd name="T18" fmla="*/ 2147483646 w 149"/>
                    <a:gd name="T19" fmla="*/ 2147483646 h 61"/>
                    <a:gd name="T20" fmla="*/ 2147483646 w 149"/>
                    <a:gd name="T21" fmla="*/ 2147483646 h 61"/>
                    <a:gd name="T22" fmla="*/ 2147483646 w 149"/>
                    <a:gd name="T23" fmla="*/ 2147483646 h 61"/>
                    <a:gd name="T24" fmla="*/ 2147483646 w 149"/>
                    <a:gd name="T25" fmla="*/ 2147483646 h 61"/>
                    <a:gd name="T26" fmla="*/ 2147483646 w 149"/>
                    <a:gd name="T27" fmla="*/ 2147483646 h 61"/>
                    <a:gd name="T28" fmla="*/ 2147483646 w 149"/>
                    <a:gd name="T29" fmla="*/ 2147483646 h 61"/>
                    <a:gd name="T30" fmla="*/ 2147483646 w 149"/>
                    <a:gd name="T31" fmla="*/ 2147483646 h 61"/>
                    <a:gd name="T32" fmla="*/ 2147483646 w 149"/>
                    <a:gd name="T33" fmla="*/ 2147483646 h 61"/>
                    <a:gd name="T34" fmla="*/ 2147483646 w 149"/>
                    <a:gd name="T35" fmla="*/ 2147483646 h 61"/>
                    <a:gd name="T36" fmla="*/ 2147483646 w 149"/>
                    <a:gd name="T37" fmla="*/ 2147483646 h 61"/>
                    <a:gd name="T38" fmla="*/ 2147483646 w 149"/>
                    <a:gd name="T39" fmla="*/ 2147483646 h 61"/>
                    <a:gd name="T40" fmla="*/ 2147483646 w 149"/>
                    <a:gd name="T41" fmla="*/ 2147483646 h 61"/>
                    <a:gd name="T42" fmla="*/ 2147483646 w 149"/>
                    <a:gd name="T43" fmla="*/ 2147483646 h 61"/>
                    <a:gd name="T44" fmla="*/ 2147483646 w 149"/>
                    <a:gd name="T45" fmla="*/ 2147483646 h 61"/>
                    <a:gd name="T46" fmla="*/ 2147483646 w 149"/>
                    <a:gd name="T47" fmla="*/ 2147483646 h 61"/>
                    <a:gd name="T48" fmla="*/ 2147483646 w 149"/>
                    <a:gd name="T49" fmla="*/ 2147483646 h 61"/>
                    <a:gd name="T50" fmla="*/ 2147483646 w 149"/>
                    <a:gd name="T51" fmla="*/ 2147483646 h 61"/>
                    <a:gd name="T52" fmla="*/ 2147483646 w 149"/>
                    <a:gd name="T53" fmla="*/ 2147483646 h 61"/>
                    <a:gd name="T54" fmla="*/ 2147483646 w 149"/>
                    <a:gd name="T55" fmla="*/ 2147483646 h 61"/>
                    <a:gd name="T56" fmla="*/ 2147483646 w 149"/>
                    <a:gd name="T57" fmla="*/ 2147483646 h 61"/>
                    <a:gd name="T58" fmla="*/ 2147483646 w 149"/>
                    <a:gd name="T59" fmla="*/ 2147483646 h 61"/>
                    <a:gd name="T60" fmla="*/ 2147483646 w 149"/>
                    <a:gd name="T61" fmla="*/ 2147483646 h 61"/>
                    <a:gd name="T62" fmla="*/ 2147483646 w 149"/>
                    <a:gd name="T63" fmla="*/ 2147483646 h 61"/>
                    <a:gd name="T64" fmla="*/ 0 w 149"/>
                    <a:gd name="T65" fmla="*/ 2147483646 h 61"/>
                    <a:gd name="T66" fmla="*/ 0 w 149"/>
                    <a:gd name="T67" fmla="*/ 2147483646 h 61"/>
                    <a:gd name="T68" fmla="*/ 2147483646 w 149"/>
                    <a:gd name="T69" fmla="*/ 2147483646 h 61"/>
                    <a:gd name="T70" fmla="*/ 2147483646 w 149"/>
                    <a:gd name="T71" fmla="*/ 2147483646 h 61"/>
                    <a:gd name="T72" fmla="*/ 2147483646 w 149"/>
                    <a:gd name="T73" fmla="*/ 2147483646 h 61"/>
                    <a:gd name="T74" fmla="*/ 2147483646 w 149"/>
                    <a:gd name="T75" fmla="*/ 2147483646 h 61"/>
                    <a:gd name="T76" fmla="*/ 2147483646 w 149"/>
                    <a:gd name="T77" fmla="*/ 2147483646 h 61"/>
                    <a:gd name="T78" fmla="*/ 2147483646 w 149"/>
                    <a:gd name="T79" fmla="*/ 2147483646 h 61"/>
                    <a:gd name="T80" fmla="*/ 2147483646 w 149"/>
                    <a:gd name="T81" fmla="*/ 2147483646 h 61"/>
                    <a:gd name="T82" fmla="*/ 2147483646 w 149"/>
                    <a:gd name="T83" fmla="*/ 2147483646 h 61"/>
                    <a:gd name="T84" fmla="*/ 2147483646 w 149"/>
                    <a:gd name="T85" fmla="*/ 0 h 61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49"/>
                    <a:gd name="T130" fmla="*/ 0 h 61"/>
                    <a:gd name="T131" fmla="*/ 149 w 149"/>
                    <a:gd name="T132" fmla="*/ 61 h 61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49" h="61">
                      <a:moveTo>
                        <a:pt x="103" y="0"/>
                      </a:moveTo>
                      <a:lnTo>
                        <a:pt x="118" y="1"/>
                      </a:lnTo>
                      <a:lnTo>
                        <a:pt x="134" y="3"/>
                      </a:lnTo>
                      <a:lnTo>
                        <a:pt x="145" y="5"/>
                      </a:lnTo>
                      <a:lnTo>
                        <a:pt x="149" y="6"/>
                      </a:lnTo>
                      <a:lnTo>
                        <a:pt x="149" y="8"/>
                      </a:lnTo>
                      <a:lnTo>
                        <a:pt x="147" y="10"/>
                      </a:lnTo>
                      <a:lnTo>
                        <a:pt x="145" y="12"/>
                      </a:lnTo>
                      <a:lnTo>
                        <a:pt x="141" y="13"/>
                      </a:lnTo>
                      <a:lnTo>
                        <a:pt x="137" y="14"/>
                      </a:lnTo>
                      <a:lnTo>
                        <a:pt x="132" y="14"/>
                      </a:lnTo>
                      <a:lnTo>
                        <a:pt x="127" y="14"/>
                      </a:lnTo>
                      <a:lnTo>
                        <a:pt x="123" y="12"/>
                      </a:lnTo>
                      <a:lnTo>
                        <a:pt x="123" y="23"/>
                      </a:lnTo>
                      <a:lnTo>
                        <a:pt x="123" y="33"/>
                      </a:lnTo>
                      <a:lnTo>
                        <a:pt x="123" y="41"/>
                      </a:lnTo>
                      <a:lnTo>
                        <a:pt x="123" y="49"/>
                      </a:lnTo>
                      <a:lnTo>
                        <a:pt x="116" y="50"/>
                      </a:lnTo>
                      <a:lnTo>
                        <a:pt x="109" y="51"/>
                      </a:lnTo>
                      <a:lnTo>
                        <a:pt x="104" y="53"/>
                      </a:lnTo>
                      <a:lnTo>
                        <a:pt x="100" y="55"/>
                      </a:lnTo>
                      <a:lnTo>
                        <a:pt x="94" y="57"/>
                      </a:lnTo>
                      <a:lnTo>
                        <a:pt x="89" y="59"/>
                      </a:lnTo>
                      <a:lnTo>
                        <a:pt x="83" y="61"/>
                      </a:lnTo>
                      <a:lnTo>
                        <a:pt x="76" y="61"/>
                      </a:lnTo>
                      <a:lnTo>
                        <a:pt x="67" y="60"/>
                      </a:lnTo>
                      <a:lnTo>
                        <a:pt x="53" y="57"/>
                      </a:lnTo>
                      <a:lnTo>
                        <a:pt x="39" y="54"/>
                      </a:lnTo>
                      <a:lnTo>
                        <a:pt x="25" y="49"/>
                      </a:lnTo>
                      <a:lnTo>
                        <a:pt x="12" y="45"/>
                      </a:lnTo>
                      <a:lnTo>
                        <a:pt x="3" y="41"/>
                      </a:lnTo>
                      <a:lnTo>
                        <a:pt x="1" y="39"/>
                      </a:lnTo>
                      <a:lnTo>
                        <a:pt x="0" y="38"/>
                      </a:lnTo>
                      <a:lnTo>
                        <a:pt x="0" y="37"/>
                      </a:lnTo>
                      <a:lnTo>
                        <a:pt x="3" y="37"/>
                      </a:lnTo>
                      <a:lnTo>
                        <a:pt x="19" y="36"/>
                      </a:lnTo>
                      <a:lnTo>
                        <a:pt x="35" y="35"/>
                      </a:lnTo>
                      <a:lnTo>
                        <a:pt x="48" y="32"/>
                      </a:lnTo>
                      <a:lnTo>
                        <a:pt x="60" y="27"/>
                      </a:lnTo>
                      <a:lnTo>
                        <a:pt x="72" y="22"/>
                      </a:lnTo>
                      <a:lnTo>
                        <a:pt x="82" y="16"/>
                      </a:lnTo>
                      <a:lnTo>
                        <a:pt x="93" y="8"/>
                      </a:lnTo>
                      <a:lnTo>
                        <a:pt x="103" y="0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434" name="Freeform 550">
                  <a:extLst>
                    <a:ext uri="{FF2B5EF4-FFF2-40B4-BE49-F238E27FC236}">
                      <a16:creationId xmlns:a16="http://schemas.microsoft.com/office/drawing/2014/main" xmlns="" id="{2C21AEEB-C56D-48FC-A8AE-7A073D413008}"/>
                    </a:ext>
                  </a:extLst>
                </p:cNvPr>
                <p:cNvSpPr>
                  <a:spLocks/>
                </p:cNvSpPr>
                <p:nvPr>
                  <p:custDataLst>
                    <p:tags r:id="rId381"/>
                  </p:custDataLst>
                </p:nvPr>
              </p:nvSpPr>
              <p:spPr bwMode="auto">
                <a:xfrm>
                  <a:off x="5083175" y="1438275"/>
                  <a:ext cx="130175" cy="57150"/>
                </a:xfrm>
                <a:custGeom>
                  <a:avLst/>
                  <a:gdLst>
                    <a:gd name="T0" fmla="*/ 2147483646 w 299"/>
                    <a:gd name="T1" fmla="*/ 2147483646 h 74"/>
                    <a:gd name="T2" fmla="*/ 2147483646 w 299"/>
                    <a:gd name="T3" fmla="*/ 2147483646 h 74"/>
                    <a:gd name="T4" fmla="*/ 2147483646 w 299"/>
                    <a:gd name="T5" fmla="*/ 2147483646 h 74"/>
                    <a:gd name="T6" fmla="*/ 2147483646 w 299"/>
                    <a:gd name="T7" fmla="*/ 2147483646 h 74"/>
                    <a:gd name="T8" fmla="*/ 2147483646 w 299"/>
                    <a:gd name="T9" fmla="*/ 2147483646 h 74"/>
                    <a:gd name="T10" fmla="*/ 2147483646 w 299"/>
                    <a:gd name="T11" fmla="*/ 2147483646 h 74"/>
                    <a:gd name="T12" fmla="*/ 2147483646 w 299"/>
                    <a:gd name="T13" fmla="*/ 2147483646 h 74"/>
                    <a:gd name="T14" fmla="*/ 2147483646 w 299"/>
                    <a:gd name="T15" fmla="*/ 2147483646 h 74"/>
                    <a:gd name="T16" fmla="*/ 2147483646 w 299"/>
                    <a:gd name="T17" fmla="*/ 2147483646 h 74"/>
                    <a:gd name="T18" fmla="*/ 2147483646 w 299"/>
                    <a:gd name="T19" fmla="*/ 2147483646 h 74"/>
                    <a:gd name="T20" fmla="*/ 2147483646 w 299"/>
                    <a:gd name="T21" fmla="*/ 2147483646 h 74"/>
                    <a:gd name="T22" fmla="*/ 2147483646 w 299"/>
                    <a:gd name="T23" fmla="*/ 2147483646 h 74"/>
                    <a:gd name="T24" fmla="*/ 2147483646 w 299"/>
                    <a:gd name="T25" fmla="*/ 2147483646 h 74"/>
                    <a:gd name="T26" fmla="*/ 2147483646 w 299"/>
                    <a:gd name="T27" fmla="*/ 2147483646 h 74"/>
                    <a:gd name="T28" fmla="*/ 2147483646 w 299"/>
                    <a:gd name="T29" fmla="*/ 2147483646 h 74"/>
                    <a:gd name="T30" fmla="*/ 2147483646 w 299"/>
                    <a:gd name="T31" fmla="*/ 2147483646 h 74"/>
                    <a:gd name="T32" fmla="*/ 2147483646 w 299"/>
                    <a:gd name="T33" fmla="*/ 2147483646 h 74"/>
                    <a:gd name="T34" fmla="*/ 2147483646 w 299"/>
                    <a:gd name="T35" fmla="*/ 2147483646 h 74"/>
                    <a:gd name="T36" fmla="*/ 2147483646 w 299"/>
                    <a:gd name="T37" fmla="*/ 2147483646 h 74"/>
                    <a:gd name="T38" fmla="*/ 2147483646 w 299"/>
                    <a:gd name="T39" fmla="*/ 2147483646 h 74"/>
                    <a:gd name="T40" fmla="*/ 2147483646 w 299"/>
                    <a:gd name="T41" fmla="*/ 2147483646 h 74"/>
                    <a:gd name="T42" fmla="*/ 2147483646 w 299"/>
                    <a:gd name="T43" fmla="*/ 2147483646 h 74"/>
                    <a:gd name="T44" fmla="*/ 2147483646 w 299"/>
                    <a:gd name="T45" fmla="*/ 0 h 74"/>
                    <a:gd name="T46" fmla="*/ 2147483646 w 299"/>
                    <a:gd name="T47" fmla="*/ 2147483646 h 74"/>
                    <a:gd name="T48" fmla="*/ 2147483646 w 299"/>
                    <a:gd name="T49" fmla="*/ 2147483646 h 74"/>
                    <a:gd name="T50" fmla="*/ 2147483646 w 299"/>
                    <a:gd name="T51" fmla="*/ 2147483646 h 74"/>
                    <a:gd name="T52" fmla="*/ 2147483646 w 299"/>
                    <a:gd name="T53" fmla="*/ 2147483646 h 74"/>
                    <a:gd name="T54" fmla="*/ 2147483646 w 299"/>
                    <a:gd name="T55" fmla="*/ 2147483646 h 74"/>
                    <a:gd name="T56" fmla="*/ 2147483646 w 299"/>
                    <a:gd name="T57" fmla="*/ 2147483646 h 74"/>
                    <a:gd name="T58" fmla="*/ 2147483646 w 299"/>
                    <a:gd name="T59" fmla="*/ 2147483646 h 74"/>
                    <a:gd name="T60" fmla="*/ 2147483646 w 299"/>
                    <a:gd name="T61" fmla="*/ 2147483646 h 74"/>
                    <a:gd name="T62" fmla="*/ 2147483646 w 299"/>
                    <a:gd name="T63" fmla="*/ 2147483646 h 74"/>
                    <a:gd name="T64" fmla="*/ 2147483646 w 299"/>
                    <a:gd name="T65" fmla="*/ 2147483646 h 74"/>
                    <a:gd name="T66" fmla="*/ 2147483646 w 299"/>
                    <a:gd name="T67" fmla="*/ 2147483646 h 74"/>
                    <a:gd name="T68" fmla="*/ 2147483646 w 299"/>
                    <a:gd name="T69" fmla="*/ 2147483646 h 74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99"/>
                    <a:gd name="T106" fmla="*/ 0 h 74"/>
                    <a:gd name="T107" fmla="*/ 299 w 299"/>
                    <a:gd name="T108" fmla="*/ 74 h 74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99" h="74">
                      <a:moveTo>
                        <a:pt x="126" y="74"/>
                      </a:moveTo>
                      <a:lnTo>
                        <a:pt x="133" y="72"/>
                      </a:lnTo>
                      <a:lnTo>
                        <a:pt x="142" y="69"/>
                      </a:lnTo>
                      <a:lnTo>
                        <a:pt x="154" y="65"/>
                      </a:lnTo>
                      <a:lnTo>
                        <a:pt x="166" y="60"/>
                      </a:lnTo>
                      <a:lnTo>
                        <a:pt x="178" y="54"/>
                      </a:lnTo>
                      <a:lnTo>
                        <a:pt x="189" y="48"/>
                      </a:lnTo>
                      <a:lnTo>
                        <a:pt x="199" y="42"/>
                      </a:lnTo>
                      <a:lnTo>
                        <a:pt x="205" y="37"/>
                      </a:lnTo>
                      <a:lnTo>
                        <a:pt x="207" y="40"/>
                      </a:lnTo>
                      <a:lnTo>
                        <a:pt x="209" y="43"/>
                      </a:lnTo>
                      <a:lnTo>
                        <a:pt x="211" y="46"/>
                      </a:lnTo>
                      <a:lnTo>
                        <a:pt x="214" y="48"/>
                      </a:lnTo>
                      <a:lnTo>
                        <a:pt x="220" y="51"/>
                      </a:lnTo>
                      <a:lnTo>
                        <a:pt x="227" y="53"/>
                      </a:lnTo>
                      <a:lnTo>
                        <a:pt x="243" y="55"/>
                      </a:lnTo>
                      <a:lnTo>
                        <a:pt x="259" y="55"/>
                      </a:lnTo>
                      <a:lnTo>
                        <a:pt x="269" y="55"/>
                      </a:lnTo>
                      <a:lnTo>
                        <a:pt x="278" y="55"/>
                      </a:lnTo>
                      <a:lnTo>
                        <a:pt x="286" y="55"/>
                      </a:lnTo>
                      <a:lnTo>
                        <a:pt x="292" y="55"/>
                      </a:lnTo>
                      <a:lnTo>
                        <a:pt x="293" y="46"/>
                      </a:lnTo>
                      <a:lnTo>
                        <a:pt x="295" y="38"/>
                      </a:lnTo>
                      <a:lnTo>
                        <a:pt x="298" y="31"/>
                      </a:lnTo>
                      <a:lnTo>
                        <a:pt x="299" y="25"/>
                      </a:lnTo>
                      <a:lnTo>
                        <a:pt x="279" y="25"/>
                      </a:lnTo>
                      <a:lnTo>
                        <a:pt x="260" y="25"/>
                      </a:lnTo>
                      <a:lnTo>
                        <a:pt x="244" y="25"/>
                      </a:lnTo>
                      <a:lnTo>
                        <a:pt x="232" y="25"/>
                      </a:lnTo>
                      <a:lnTo>
                        <a:pt x="225" y="25"/>
                      </a:lnTo>
                      <a:lnTo>
                        <a:pt x="220" y="26"/>
                      </a:lnTo>
                      <a:lnTo>
                        <a:pt x="214" y="27"/>
                      </a:lnTo>
                      <a:lnTo>
                        <a:pt x="211" y="29"/>
                      </a:lnTo>
                      <a:lnTo>
                        <a:pt x="204" y="33"/>
                      </a:lnTo>
                      <a:lnTo>
                        <a:pt x="199" y="37"/>
                      </a:lnTo>
                      <a:lnTo>
                        <a:pt x="172" y="37"/>
                      </a:lnTo>
                      <a:lnTo>
                        <a:pt x="174" y="32"/>
                      </a:lnTo>
                      <a:lnTo>
                        <a:pt x="176" y="28"/>
                      </a:lnTo>
                      <a:lnTo>
                        <a:pt x="178" y="24"/>
                      </a:lnTo>
                      <a:lnTo>
                        <a:pt x="180" y="21"/>
                      </a:lnTo>
                      <a:lnTo>
                        <a:pt x="187" y="16"/>
                      </a:lnTo>
                      <a:lnTo>
                        <a:pt x="194" y="13"/>
                      </a:lnTo>
                      <a:lnTo>
                        <a:pt x="202" y="11"/>
                      </a:lnTo>
                      <a:lnTo>
                        <a:pt x="210" y="9"/>
                      </a:lnTo>
                      <a:lnTo>
                        <a:pt x="217" y="5"/>
                      </a:lnTo>
                      <a:lnTo>
                        <a:pt x="225" y="0"/>
                      </a:lnTo>
                      <a:lnTo>
                        <a:pt x="199" y="0"/>
                      </a:lnTo>
                      <a:lnTo>
                        <a:pt x="185" y="3"/>
                      </a:lnTo>
                      <a:lnTo>
                        <a:pt x="170" y="7"/>
                      </a:lnTo>
                      <a:lnTo>
                        <a:pt x="157" y="11"/>
                      </a:lnTo>
                      <a:lnTo>
                        <a:pt x="145" y="18"/>
                      </a:lnTo>
                      <a:lnTo>
                        <a:pt x="134" y="25"/>
                      </a:lnTo>
                      <a:lnTo>
                        <a:pt x="123" y="32"/>
                      </a:lnTo>
                      <a:lnTo>
                        <a:pt x="114" y="40"/>
                      </a:lnTo>
                      <a:lnTo>
                        <a:pt x="105" y="49"/>
                      </a:lnTo>
                      <a:lnTo>
                        <a:pt x="100" y="53"/>
                      </a:lnTo>
                      <a:lnTo>
                        <a:pt x="95" y="56"/>
                      </a:lnTo>
                      <a:lnTo>
                        <a:pt x="87" y="59"/>
                      </a:lnTo>
                      <a:lnTo>
                        <a:pt x="80" y="61"/>
                      </a:lnTo>
                      <a:lnTo>
                        <a:pt x="64" y="63"/>
                      </a:lnTo>
                      <a:lnTo>
                        <a:pt x="47" y="64"/>
                      </a:lnTo>
                      <a:lnTo>
                        <a:pt x="32" y="64"/>
                      </a:lnTo>
                      <a:lnTo>
                        <a:pt x="18" y="65"/>
                      </a:lnTo>
                      <a:lnTo>
                        <a:pt x="12" y="67"/>
                      </a:lnTo>
                      <a:lnTo>
                        <a:pt x="7" y="68"/>
                      </a:lnTo>
                      <a:lnTo>
                        <a:pt x="2" y="70"/>
                      </a:lnTo>
                      <a:lnTo>
                        <a:pt x="0" y="74"/>
                      </a:lnTo>
                      <a:lnTo>
                        <a:pt x="39" y="74"/>
                      </a:lnTo>
                      <a:lnTo>
                        <a:pt x="73" y="74"/>
                      </a:lnTo>
                      <a:lnTo>
                        <a:pt x="102" y="74"/>
                      </a:lnTo>
                      <a:lnTo>
                        <a:pt x="126" y="74"/>
                      </a:lnTo>
                    </a:path>
                  </a:pathLst>
                </a:custGeom>
                <a:solidFill>
                  <a:srgbClr val="FFFFFF">
                    <a:lumMod val="75000"/>
                  </a:srgbClr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defTabSz="914378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s-ES" sz="1800">
                    <a:solidFill>
                      <a:sysClr val="windowText" lastClr="000000"/>
                    </a:solidFill>
                    <a:latin typeface="Arial" panose="020B0604020202020204" pitchFamily="34" charset="0"/>
                  </a:endParaRPr>
                </a:p>
              </p:txBody>
            </p:sp>
          </p:grpSp>
          <p:sp>
            <p:nvSpPr>
              <p:cNvPr id="45" name="Arco 44">
                <a:extLst>
                  <a:ext uri="{FF2B5EF4-FFF2-40B4-BE49-F238E27FC236}">
                    <a16:creationId xmlns:a16="http://schemas.microsoft.com/office/drawing/2014/main" xmlns="" id="{BD16FB9F-73F8-48E9-B7E8-6248D85871A4}"/>
                  </a:ext>
                </a:extLst>
              </p:cNvPr>
              <p:cNvSpPr/>
              <p:nvPr/>
            </p:nvSpPr>
            <p:spPr>
              <a:xfrm flipH="1">
                <a:off x="3010785" y="2906528"/>
                <a:ext cx="5044241" cy="3420000"/>
              </a:xfrm>
              <a:prstGeom prst="arc">
                <a:avLst/>
              </a:prstGeom>
              <a:ln w="25400">
                <a:prstDash val="sysDash"/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800"/>
              </a:p>
            </p:txBody>
          </p:sp>
          <p:sp>
            <p:nvSpPr>
              <p:cNvPr id="46" name="Arco 45">
                <a:extLst>
                  <a:ext uri="{FF2B5EF4-FFF2-40B4-BE49-F238E27FC236}">
                    <a16:creationId xmlns:a16="http://schemas.microsoft.com/office/drawing/2014/main" xmlns="" id="{58577CDF-4B16-49AE-86C9-E3CFEB9EA451}"/>
                  </a:ext>
                </a:extLst>
              </p:cNvPr>
              <p:cNvSpPr/>
              <p:nvPr/>
            </p:nvSpPr>
            <p:spPr>
              <a:xfrm flipV="1">
                <a:off x="-805582" y="1520520"/>
                <a:ext cx="7469894" cy="2844000"/>
              </a:xfrm>
              <a:prstGeom prst="arc">
                <a:avLst/>
              </a:prstGeom>
              <a:ln w="25400"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800"/>
              </a:p>
            </p:txBody>
          </p:sp>
          <p:sp>
            <p:nvSpPr>
              <p:cNvPr id="47" name="Shape 96">
                <a:extLst>
                  <a:ext uri="{FF2B5EF4-FFF2-40B4-BE49-F238E27FC236}">
                    <a16:creationId xmlns:a16="http://schemas.microsoft.com/office/drawing/2014/main" xmlns="" id="{1F0589D9-01C4-4E0F-AEF7-6D33CF1915BD}"/>
                  </a:ext>
                </a:extLst>
              </p:cNvPr>
              <p:cNvSpPr txBox="1"/>
              <p:nvPr/>
            </p:nvSpPr>
            <p:spPr>
              <a:xfrm>
                <a:off x="6407809" y="2501222"/>
                <a:ext cx="1634566" cy="3214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>
                  <a:buClr>
                    <a:schemeClr val="dk1"/>
                  </a:buClr>
                  <a:buSzPct val="25000"/>
                </a:pPr>
                <a:r>
                  <a:rPr lang="es-ES" sz="825" b="1" dirty="0">
                    <a:solidFill>
                      <a:schemeClr val="bg1"/>
                    </a:solidFill>
                    <a:latin typeface="Montserrat"/>
                    <a:ea typeface="Montserrat"/>
                    <a:cs typeface="Montserrat"/>
                    <a:sym typeface="Montserrat"/>
                  </a:rPr>
                  <a:t>China</a:t>
                </a:r>
                <a:endParaRPr lang="es" sz="825" b="1" dirty="0">
                  <a:solidFill>
                    <a:schemeClr val="bg1"/>
                  </a:solidFill>
                  <a:latin typeface="Montserrat"/>
                  <a:ea typeface="Montserrat"/>
                  <a:cs typeface="Montserrat"/>
                  <a:sym typeface="Montserrat"/>
                </a:endParaRPr>
              </a:p>
            </p:txBody>
          </p:sp>
          <p:sp>
            <p:nvSpPr>
              <p:cNvPr id="48" name="Shape 96">
                <a:extLst>
                  <a:ext uri="{FF2B5EF4-FFF2-40B4-BE49-F238E27FC236}">
                    <a16:creationId xmlns:a16="http://schemas.microsoft.com/office/drawing/2014/main" xmlns="" id="{AFE78937-21FA-4813-94E1-24F5B7C3869B}"/>
                  </a:ext>
                </a:extLst>
              </p:cNvPr>
              <p:cNvSpPr txBox="1"/>
              <p:nvPr/>
            </p:nvSpPr>
            <p:spPr>
              <a:xfrm>
                <a:off x="5415752" y="2923762"/>
                <a:ext cx="1903653" cy="3214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>
                  <a:buClr>
                    <a:schemeClr val="dk1"/>
                  </a:buClr>
                  <a:buSzPct val="25000"/>
                </a:pPr>
                <a:r>
                  <a:rPr lang="es-ES" sz="825" b="1" dirty="0">
                    <a:solidFill>
                      <a:schemeClr val="accent1">
                        <a:lumMod val="50000"/>
                      </a:schemeClr>
                    </a:solidFill>
                    <a:latin typeface="Montserrat"/>
                    <a:ea typeface="Montserrat"/>
                    <a:cs typeface="Montserrat"/>
                    <a:sym typeface="Montserrat"/>
                  </a:rPr>
                  <a:t>E.A.U.</a:t>
                </a:r>
                <a:endParaRPr lang="es" sz="825" b="1" dirty="0">
                  <a:solidFill>
                    <a:schemeClr val="accent1">
                      <a:lumMod val="50000"/>
                    </a:schemeClr>
                  </a:solidFill>
                  <a:latin typeface="Montserrat"/>
                  <a:ea typeface="Montserrat"/>
                  <a:cs typeface="Montserrat"/>
                  <a:sym typeface="Montserrat"/>
                </a:endParaRPr>
              </a:p>
            </p:txBody>
          </p:sp>
          <p:sp>
            <p:nvSpPr>
              <p:cNvPr id="49" name="Shape 96">
                <a:extLst>
                  <a:ext uri="{FF2B5EF4-FFF2-40B4-BE49-F238E27FC236}">
                    <a16:creationId xmlns:a16="http://schemas.microsoft.com/office/drawing/2014/main" xmlns="" id="{CD0E7ED4-1167-44A5-AA93-F60AA993355C}"/>
                  </a:ext>
                </a:extLst>
              </p:cNvPr>
              <p:cNvSpPr txBox="1"/>
              <p:nvPr/>
            </p:nvSpPr>
            <p:spPr>
              <a:xfrm>
                <a:off x="3643440" y="1977173"/>
                <a:ext cx="1627913" cy="2597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>
                  <a:buClr>
                    <a:schemeClr val="dk1"/>
                  </a:buClr>
                  <a:buSzPct val="25000"/>
                </a:pPr>
                <a:r>
                  <a:rPr lang="es-ES" sz="825" b="1" dirty="0">
                    <a:solidFill>
                      <a:schemeClr val="accent1">
                        <a:lumMod val="50000"/>
                      </a:schemeClr>
                    </a:solidFill>
                    <a:latin typeface="Montserrat"/>
                    <a:ea typeface="Montserrat"/>
                    <a:cs typeface="Montserrat"/>
                    <a:sym typeface="Montserrat"/>
                  </a:rPr>
                  <a:t>P. Bajos o Bélgica</a:t>
                </a:r>
                <a:endParaRPr lang="es" sz="825" b="1" dirty="0">
                  <a:solidFill>
                    <a:schemeClr val="accent1">
                      <a:lumMod val="50000"/>
                    </a:schemeClr>
                  </a:solidFill>
                  <a:latin typeface="Montserrat"/>
                  <a:ea typeface="Montserrat"/>
                  <a:cs typeface="Montserrat"/>
                  <a:sym typeface="Montserrat"/>
                </a:endParaRPr>
              </a:p>
            </p:txBody>
          </p:sp>
          <p:sp>
            <p:nvSpPr>
              <p:cNvPr id="50" name="Shape 96">
                <a:extLst>
                  <a:ext uri="{FF2B5EF4-FFF2-40B4-BE49-F238E27FC236}">
                    <a16:creationId xmlns:a16="http://schemas.microsoft.com/office/drawing/2014/main" xmlns="" id="{45BE5132-BF72-4B75-91C0-2ABFB056D076}"/>
                  </a:ext>
                </a:extLst>
              </p:cNvPr>
              <p:cNvSpPr txBox="1"/>
              <p:nvPr/>
            </p:nvSpPr>
            <p:spPr>
              <a:xfrm>
                <a:off x="4933315" y="3119579"/>
                <a:ext cx="274229" cy="31180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>
                  <a:defRPr sz="900" b="1">
                    <a:solidFill>
                      <a:schemeClr val="accent1">
                        <a:lumMod val="75000"/>
                      </a:schemeClr>
                    </a:solidFill>
                    <a:latin typeface="Montserrat" panose="020B0604020202020204" charset="0"/>
                  </a:defRPr>
                </a:lvl1pPr>
              </a:lstStyle>
              <a:p>
                <a:endParaRPr lang="es" dirty="0">
                  <a:sym typeface="Montserrat"/>
                </a:endParaRPr>
              </a:p>
            </p:txBody>
          </p:sp>
          <p:sp>
            <p:nvSpPr>
              <p:cNvPr id="51" name="Shape 96">
                <a:extLst>
                  <a:ext uri="{FF2B5EF4-FFF2-40B4-BE49-F238E27FC236}">
                    <a16:creationId xmlns:a16="http://schemas.microsoft.com/office/drawing/2014/main" xmlns="" id="{329644C8-A5CE-4737-BED1-0C32BE01D73F}"/>
                  </a:ext>
                </a:extLst>
              </p:cNvPr>
              <p:cNvSpPr txBox="1"/>
              <p:nvPr/>
            </p:nvSpPr>
            <p:spPr>
              <a:xfrm>
                <a:off x="1715309" y="2393303"/>
                <a:ext cx="1634567" cy="3214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pPr>
                  <a:buClr>
                    <a:schemeClr val="dk1"/>
                  </a:buClr>
                  <a:buSzPct val="25000"/>
                </a:pPr>
                <a:r>
                  <a:rPr lang="es-ES" sz="825" b="1" dirty="0">
                    <a:solidFill>
                      <a:schemeClr val="bg1"/>
                    </a:solidFill>
                    <a:latin typeface="Montserrat"/>
                    <a:ea typeface="Montserrat"/>
                    <a:cs typeface="Montserrat"/>
                    <a:sym typeface="Montserrat"/>
                  </a:rPr>
                  <a:t>EE.UU.</a:t>
                </a:r>
                <a:endParaRPr lang="es" sz="825" b="1" dirty="0">
                  <a:solidFill>
                    <a:schemeClr val="bg1"/>
                  </a:solidFill>
                  <a:latin typeface="Montserrat"/>
                  <a:ea typeface="Montserrat"/>
                  <a:cs typeface="Montserrat"/>
                  <a:sym typeface="Montserrat"/>
                </a:endParaRPr>
              </a:p>
            </p:txBody>
          </p:sp>
          <p:sp>
            <p:nvSpPr>
              <p:cNvPr id="52" name="1023 Arco">
                <a:extLst>
                  <a:ext uri="{FF2B5EF4-FFF2-40B4-BE49-F238E27FC236}">
                    <a16:creationId xmlns:a16="http://schemas.microsoft.com/office/drawing/2014/main" xmlns="" id="{C9DCFBBE-6788-4C78-8B13-100570653FCF}"/>
                  </a:ext>
                </a:extLst>
              </p:cNvPr>
              <p:cNvSpPr/>
              <p:nvPr/>
            </p:nvSpPr>
            <p:spPr>
              <a:xfrm rot="8267390" flipH="1">
                <a:off x="803545" y="1414145"/>
                <a:ext cx="1597327" cy="3609399"/>
              </a:xfrm>
              <a:prstGeom prst="arc">
                <a:avLst>
                  <a:gd name="adj1" fmla="val 16295787"/>
                  <a:gd name="adj2" fmla="val 20719809"/>
                </a:avLst>
              </a:prstGeom>
              <a:ln w="25400">
                <a:prstDash val="sysDash"/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AR" sz="1800"/>
              </a:p>
            </p:txBody>
          </p:sp>
          <p:sp>
            <p:nvSpPr>
              <p:cNvPr id="53" name="Arco 52">
                <a:extLst>
                  <a:ext uri="{FF2B5EF4-FFF2-40B4-BE49-F238E27FC236}">
                    <a16:creationId xmlns:a16="http://schemas.microsoft.com/office/drawing/2014/main" xmlns="" id="{EAADB23D-16B7-41F3-BF92-281D62010308}"/>
                  </a:ext>
                </a:extLst>
              </p:cNvPr>
              <p:cNvSpPr/>
              <p:nvPr/>
            </p:nvSpPr>
            <p:spPr>
              <a:xfrm flipH="1">
                <a:off x="3022112" y="2249885"/>
                <a:ext cx="2666264" cy="4392000"/>
              </a:xfrm>
              <a:prstGeom prst="arc">
                <a:avLst/>
              </a:prstGeom>
              <a:ln w="25400">
                <a:prstDash val="sysDash"/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800"/>
              </a:p>
            </p:txBody>
          </p:sp>
        </p:grpSp>
        <p:sp>
          <p:nvSpPr>
            <p:cNvPr id="43" name="Rectángulo 42">
              <a:extLst>
                <a:ext uri="{FF2B5EF4-FFF2-40B4-BE49-F238E27FC236}">
                  <a16:creationId xmlns:a16="http://schemas.microsoft.com/office/drawing/2014/main" xmlns="" id="{41DEAB19-E166-4440-94BD-8DE2D18D35EB}"/>
                </a:ext>
              </a:extLst>
            </p:cNvPr>
            <p:cNvSpPr/>
            <p:nvPr/>
          </p:nvSpPr>
          <p:spPr>
            <a:xfrm>
              <a:off x="4092831" y="2996257"/>
              <a:ext cx="4976674" cy="2074699"/>
            </a:xfrm>
            <a:prstGeom prst="rect">
              <a:avLst/>
            </a:prstGeom>
            <a:noFill/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800"/>
            </a:p>
          </p:txBody>
        </p:sp>
      </p:grpSp>
      <p:sp>
        <p:nvSpPr>
          <p:cNvPr id="601" name="Shape 96">
            <a:extLst>
              <a:ext uri="{FF2B5EF4-FFF2-40B4-BE49-F238E27FC236}">
                <a16:creationId xmlns:a16="http://schemas.microsoft.com/office/drawing/2014/main" xmlns="" id="{D54CD6EE-1D4F-4533-AA0C-2AA05A4E4315}"/>
              </a:ext>
            </a:extLst>
          </p:cNvPr>
          <p:cNvSpPr txBox="1"/>
          <p:nvPr/>
        </p:nvSpPr>
        <p:spPr>
          <a:xfrm>
            <a:off x="6893670" y="4096815"/>
            <a:ext cx="687532" cy="120017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>
              <a:buClr>
                <a:schemeClr val="dk1"/>
              </a:buClr>
              <a:buSzPct val="25000"/>
            </a:pPr>
            <a:r>
              <a:rPr lang="es-ES" sz="825" b="1" dirty="0">
                <a:solidFill>
                  <a:schemeClr val="accent1">
                    <a:lumMod val="50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Brasil</a:t>
            </a:r>
            <a:endParaRPr lang="es" sz="825" b="1" dirty="0">
              <a:solidFill>
                <a:schemeClr val="accent1">
                  <a:lumMod val="50000"/>
                </a:schemeClr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FEFEF"/>
        </a:solidFill>
        <a:effectLst/>
      </p:bgPr>
    </p:bg>
    <p:spTree>
      <p:nvGrpSpPr>
        <p:cNvPr id="1" name="Shape 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3" name="Shape 733"/>
          <p:cNvSpPr txBox="1"/>
          <p:nvPr/>
        </p:nvSpPr>
        <p:spPr>
          <a:xfrm>
            <a:off x="1092574" y="2120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cxnSp>
        <p:nvCxnSpPr>
          <p:cNvPr id="734" name="Shape 734"/>
          <p:cNvCxnSpPr/>
          <p:nvPr/>
        </p:nvCxnSpPr>
        <p:spPr>
          <a:xfrm>
            <a:off x="1129300" y="4828900"/>
            <a:ext cx="7620300" cy="0"/>
          </a:xfrm>
          <a:prstGeom prst="straightConnector1">
            <a:avLst/>
          </a:prstGeom>
          <a:noFill/>
          <a:ln w="38100" cap="flat" cmpd="sng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35" name="Shape 735"/>
          <p:cNvSpPr txBox="1"/>
          <p:nvPr/>
        </p:nvSpPr>
        <p:spPr>
          <a:xfrm>
            <a:off x="1129300" y="984250"/>
            <a:ext cx="7746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E</a:t>
            </a:r>
          </a:p>
        </p:txBody>
      </p:sp>
      <p:sp>
        <p:nvSpPr>
          <p:cNvPr id="736" name="Shape 736"/>
          <p:cNvSpPr txBox="1"/>
          <p:nvPr/>
        </p:nvSpPr>
        <p:spPr>
          <a:xfrm>
            <a:off x="8351075" y="212050"/>
            <a:ext cx="450000" cy="2544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2018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737" name="Shape 737"/>
          <p:cNvSpPr txBox="1"/>
          <p:nvPr/>
        </p:nvSpPr>
        <p:spPr>
          <a:xfrm>
            <a:off x="1092575" y="212050"/>
            <a:ext cx="44100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COMPAÑAMIENTO EN PROCESO EXPORTADO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738" name="Shape 738"/>
          <p:cNvSpPr txBox="1"/>
          <p:nvPr/>
        </p:nvSpPr>
        <p:spPr>
          <a:xfrm>
            <a:off x="7855125" y="984250"/>
            <a:ext cx="9150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</a:t>
            </a:r>
            <a:r>
              <a:rPr lang="es" sz="1400" b="1" i="0" u="none" strike="noStrike" cap="none">
                <a:solidFill>
                  <a:srgbClr val="00BCF1"/>
                </a:solidFill>
                <a:latin typeface="Montserrat"/>
                <a:ea typeface="Montserrat"/>
                <a:cs typeface="Montserrat"/>
                <a:sym typeface="Montserrat"/>
              </a:rPr>
              <a:t>Ex</a:t>
            </a:r>
          </a:p>
        </p:txBody>
      </p:sp>
      <p:sp>
        <p:nvSpPr>
          <p:cNvPr id="739" name="Shape 739"/>
          <p:cNvSpPr/>
          <p:nvPr/>
        </p:nvSpPr>
        <p:spPr>
          <a:xfrm>
            <a:off x="6961821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>
            <a:noFill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0" name="Shape 740"/>
          <p:cNvSpPr/>
          <p:nvPr/>
        </p:nvSpPr>
        <p:spPr>
          <a:xfrm>
            <a:off x="6133115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1" name="Shape 741"/>
          <p:cNvSpPr/>
          <p:nvPr/>
        </p:nvSpPr>
        <p:spPr>
          <a:xfrm>
            <a:off x="5308540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2" name="Shape 742"/>
          <p:cNvSpPr/>
          <p:nvPr/>
        </p:nvSpPr>
        <p:spPr>
          <a:xfrm>
            <a:off x="4501084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3" name="Shape 743"/>
          <p:cNvSpPr/>
          <p:nvPr/>
        </p:nvSpPr>
        <p:spPr>
          <a:xfrm>
            <a:off x="3655288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4" name="Shape 744"/>
          <p:cNvSpPr/>
          <p:nvPr/>
        </p:nvSpPr>
        <p:spPr>
          <a:xfrm>
            <a:off x="2814192" y="8620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5" name="Shape 745"/>
          <p:cNvSpPr/>
          <p:nvPr/>
        </p:nvSpPr>
        <p:spPr>
          <a:xfrm>
            <a:off x="2257381" y="8620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6" name="Shape 746"/>
          <p:cNvSpPr/>
          <p:nvPr/>
        </p:nvSpPr>
        <p:spPr>
          <a:xfrm>
            <a:off x="1954497" y="875527"/>
            <a:ext cx="608400" cy="583200"/>
          </a:xfrm>
          <a:prstGeom prst="ellipse">
            <a:avLst/>
          </a:prstGeom>
          <a:solidFill>
            <a:srgbClr val="0991D1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7" name="Shape 747"/>
          <p:cNvSpPr txBox="1"/>
          <p:nvPr/>
        </p:nvSpPr>
        <p:spPr>
          <a:xfrm>
            <a:off x="1946162" y="916150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Vis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exportadora</a:t>
            </a:r>
          </a:p>
        </p:txBody>
      </p:sp>
      <p:sp>
        <p:nvSpPr>
          <p:cNvPr id="748" name="Shape 748"/>
          <p:cNvSpPr txBox="1"/>
          <p:nvPr/>
        </p:nvSpPr>
        <p:spPr>
          <a:xfrm>
            <a:off x="2857100" y="984250"/>
            <a:ext cx="1007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Mercados</a:t>
            </a:r>
          </a:p>
        </p:txBody>
      </p:sp>
      <p:sp>
        <p:nvSpPr>
          <p:cNvPr id="749" name="Shape 749"/>
          <p:cNvSpPr txBox="1"/>
          <p:nvPr/>
        </p:nvSpPr>
        <p:spPr>
          <a:xfrm>
            <a:off x="3676751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Adecua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ducto</a:t>
            </a:r>
          </a:p>
        </p:txBody>
      </p:sp>
      <p:sp>
        <p:nvSpPr>
          <p:cNvPr id="750" name="Shape 750"/>
          <p:cNvSpPr txBox="1"/>
          <p:nvPr/>
        </p:nvSpPr>
        <p:spPr>
          <a:xfrm>
            <a:off x="4495114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apacidad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producción</a:t>
            </a:r>
          </a:p>
        </p:txBody>
      </p:sp>
      <p:sp>
        <p:nvSpPr>
          <p:cNvPr id="751" name="Shape 751"/>
          <p:cNvSpPr txBox="1"/>
          <p:nvPr/>
        </p:nvSpPr>
        <p:spPr>
          <a:xfrm>
            <a:off x="5432300" y="984250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Negocios</a:t>
            </a:r>
          </a:p>
        </p:txBody>
      </p:sp>
      <p:sp>
        <p:nvSpPr>
          <p:cNvPr id="752" name="Shape 752"/>
          <p:cNvSpPr txBox="1"/>
          <p:nvPr/>
        </p:nvSpPr>
        <p:spPr>
          <a:xfrm>
            <a:off x="6208175" y="852460"/>
            <a:ext cx="839400" cy="5895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Logística</a:t>
            </a:r>
          </a:p>
        </p:txBody>
      </p:sp>
      <p:sp>
        <p:nvSpPr>
          <p:cNvPr id="753" name="Shape 753"/>
          <p:cNvSpPr txBox="1"/>
          <p:nvPr/>
        </p:nvSpPr>
        <p:spPr>
          <a:xfrm>
            <a:off x="7073664" y="996318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Cobranza</a:t>
            </a:r>
          </a:p>
        </p:txBody>
      </p:sp>
      <p:sp>
        <p:nvSpPr>
          <p:cNvPr id="754" name="Shape 754"/>
          <p:cNvSpPr/>
          <p:nvPr/>
        </p:nvSpPr>
        <p:spPr>
          <a:xfrm>
            <a:off x="5308540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" name="Shape 755"/>
          <p:cNvSpPr/>
          <p:nvPr/>
        </p:nvSpPr>
        <p:spPr>
          <a:xfrm>
            <a:off x="4501084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" name="Shape 756"/>
          <p:cNvSpPr/>
          <p:nvPr/>
        </p:nvSpPr>
        <p:spPr>
          <a:xfrm>
            <a:off x="3655288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" name="Shape 757"/>
          <p:cNvSpPr/>
          <p:nvPr/>
        </p:nvSpPr>
        <p:spPr>
          <a:xfrm>
            <a:off x="2814192" y="15399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8" name="Shape 758"/>
          <p:cNvSpPr/>
          <p:nvPr/>
        </p:nvSpPr>
        <p:spPr>
          <a:xfrm>
            <a:off x="2257381" y="15399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" name="Shape 759"/>
          <p:cNvSpPr/>
          <p:nvPr/>
        </p:nvSpPr>
        <p:spPr>
          <a:xfrm>
            <a:off x="1954497" y="1553427"/>
            <a:ext cx="608400" cy="583200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0" name="Shape 760"/>
          <p:cNvSpPr txBox="1"/>
          <p:nvPr/>
        </p:nvSpPr>
        <p:spPr>
          <a:xfrm>
            <a:off x="1946150" y="1668481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ormación</a:t>
            </a:r>
          </a:p>
        </p:txBody>
      </p:sp>
      <p:sp>
        <p:nvSpPr>
          <p:cNvPr id="761" name="Shape 761"/>
          <p:cNvSpPr txBox="1"/>
          <p:nvPr/>
        </p:nvSpPr>
        <p:spPr>
          <a:xfrm>
            <a:off x="2815064" y="1629756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Inteligencia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</p:txBody>
      </p:sp>
      <p:sp>
        <p:nvSpPr>
          <p:cNvPr id="762" name="Shape 762"/>
          <p:cNvSpPr txBox="1"/>
          <p:nvPr/>
        </p:nvSpPr>
        <p:spPr>
          <a:xfrm>
            <a:off x="3698374" y="1667308"/>
            <a:ext cx="9642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ertificaciones</a:t>
            </a:r>
          </a:p>
        </p:txBody>
      </p:sp>
      <p:sp>
        <p:nvSpPr>
          <p:cNvPr id="763" name="Shape 763"/>
          <p:cNvSpPr txBox="1"/>
          <p:nvPr/>
        </p:nvSpPr>
        <p:spPr>
          <a:xfrm>
            <a:off x="4479614" y="1667300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inanciamiento</a:t>
            </a:r>
          </a:p>
        </p:txBody>
      </p:sp>
      <p:sp>
        <p:nvSpPr>
          <p:cNvPr id="764" name="Shape 764"/>
          <p:cNvSpPr txBox="1"/>
          <p:nvPr/>
        </p:nvSpPr>
        <p:spPr>
          <a:xfrm>
            <a:off x="5265472" y="1634141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mo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800" b="0" i="0" u="none" strike="noStrike" cap="none">
              <a:solidFill>
                <a:srgbClr val="FFFFFF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765" name="Shape 765"/>
          <p:cNvSpPr/>
          <p:nvPr/>
        </p:nvSpPr>
        <p:spPr>
          <a:xfrm>
            <a:off x="1946152" y="2217800"/>
            <a:ext cx="4325700" cy="333300"/>
          </a:xfrm>
          <a:prstGeom prst="roundRect">
            <a:avLst>
              <a:gd name="adj" fmla="val 50000"/>
            </a:avLst>
          </a:prstGeom>
          <a:solidFill>
            <a:srgbClr val="99999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  <p:sp>
        <p:nvSpPr>
          <p:cNvPr id="766" name="Shape 766"/>
          <p:cNvSpPr/>
          <p:nvPr/>
        </p:nvSpPr>
        <p:spPr>
          <a:xfrm>
            <a:off x="2106900" y="28378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ct val="25000"/>
              <a:buFont typeface="Montserrat"/>
              <a:buNone/>
            </a:pPr>
            <a:r>
              <a:rPr lang="es" sz="1200" b="1" i="0" u="none" strike="noStrike" cap="none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Acciones y herramientas de la Agencia</a:t>
            </a:r>
          </a:p>
        </p:txBody>
      </p:sp>
      <p:cxnSp>
        <p:nvCxnSpPr>
          <p:cNvPr id="767" name="Shape 767"/>
          <p:cNvCxnSpPr/>
          <p:nvPr/>
        </p:nvCxnSpPr>
        <p:spPr>
          <a:xfrm>
            <a:off x="2163000" y="3121127"/>
            <a:ext cx="35526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68" name="Shape 768"/>
          <p:cNvSpPr txBox="1"/>
          <p:nvPr/>
        </p:nvSpPr>
        <p:spPr>
          <a:xfrm>
            <a:off x="2042325" y="3096350"/>
            <a:ext cx="2577300" cy="786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2413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VUCE</a:t>
            </a:r>
          </a:p>
          <a:p>
            <a:pPr marL="241300" marR="0" lvl="0" indent="-215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Exporta Simple</a:t>
            </a:r>
          </a:p>
          <a:p>
            <a:pPr marL="241300" marR="0" lvl="0" indent="-215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Asistencia caso por caso</a:t>
            </a:r>
          </a:p>
        </p:txBody>
      </p:sp>
      <p:sp>
        <p:nvSpPr>
          <p:cNvPr id="769" name="Shape 769"/>
          <p:cNvSpPr/>
          <p:nvPr/>
        </p:nvSpPr>
        <p:spPr>
          <a:xfrm>
            <a:off x="5821400" y="3231225"/>
            <a:ext cx="2033700" cy="1380000"/>
          </a:xfrm>
          <a:prstGeom prst="roundRect">
            <a:avLst>
              <a:gd name="adj" fmla="val 8977"/>
            </a:avLst>
          </a:prstGeom>
          <a:solidFill>
            <a:srgbClr val="FFFFFF"/>
          </a:solidFill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200" b="1" i="0" u="none" strike="noStrike" cap="none">
              <a:solidFill>
                <a:srgbClr val="44546A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770" name="Shape 770"/>
          <p:cNvCxnSpPr/>
          <p:nvPr/>
        </p:nvCxnSpPr>
        <p:spPr>
          <a:xfrm>
            <a:off x="5821400" y="3126612"/>
            <a:ext cx="20337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71" name="Shape 771"/>
          <p:cNvSpPr/>
          <p:nvPr/>
        </p:nvSpPr>
        <p:spPr>
          <a:xfrm>
            <a:off x="5821399" y="2843337"/>
            <a:ext cx="2787000" cy="2055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ct val="25000"/>
              <a:buFont typeface="Montserrat"/>
              <a:buNone/>
            </a:pPr>
            <a:r>
              <a:rPr lang="es" sz="1200" b="1" i="0" u="none" strike="noStrike" cap="none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Organismos articulados</a:t>
            </a:r>
          </a:p>
        </p:txBody>
      </p:sp>
      <p:pic>
        <p:nvPicPr>
          <p:cNvPr id="772" name="Shape 772" descr="Resultado de imagen para anmat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876432" y="3772401"/>
            <a:ext cx="913200" cy="252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73" name="Shape 773" descr="Resultado de imagen para afip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821403" y="3503310"/>
            <a:ext cx="998100" cy="463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74" name="Shape 774" descr="Resultado de imagen para inpi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995385" y="4135330"/>
            <a:ext cx="793200" cy="2391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75" name="Shape 775"/>
          <p:cNvCxnSpPr/>
          <p:nvPr/>
        </p:nvCxnSpPr>
        <p:spPr>
          <a:xfrm>
            <a:off x="711596" y="832784"/>
            <a:ext cx="0" cy="1160100"/>
          </a:xfrm>
          <a:prstGeom prst="straightConnector1">
            <a:avLst/>
          </a:prstGeom>
          <a:noFill/>
          <a:ln w="9525" cap="flat" cmpd="sng">
            <a:solidFill>
              <a:srgbClr val="37475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76" name="Shape 776"/>
          <p:cNvSpPr txBox="1"/>
          <p:nvPr/>
        </p:nvSpPr>
        <p:spPr>
          <a:xfrm>
            <a:off x="218550" y="794800"/>
            <a:ext cx="450000" cy="179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fld id="{00000000-1234-1234-1234-123412341234}" type="slidenum"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74756"/>
                </a:buClr>
                <a:buSzPct val="25000"/>
                <a:buFont typeface="Montserrat"/>
                <a:buNone/>
              </a:pPr>
              <a:t>11</a:t>
            </a:fld>
            <a:endParaRPr lang="es" sz="1200" b="0" i="0" u="none" strike="noStrike" cap="none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777" name="Shape 777"/>
          <p:cNvSpPr/>
          <p:nvPr/>
        </p:nvSpPr>
        <p:spPr>
          <a:xfrm>
            <a:off x="1946149" y="2217800"/>
            <a:ext cx="5127600" cy="333300"/>
          </a:xfrm>
          <a:prstGeom prst="roundRect">
            <a:avLst>
              <a:gd name="adj" fmla="val 50000"/>
            </a:avLst>
          </a:prstGeom>
          <a:solidFill>
            <a:srgbClr val="99999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lt2"/>
        </a:solidFill>
        <a:effectLst/>
      </p:bgPr>
    </p:bg>
    <p:spTree>
      <p:nvGrpSpPr>
        <p:cNvPr id="1" name="Shape 8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3" name="Shape 80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853577" y="1664550"/>
            <a:ext cx="3995100" cy="2484300"/>
          </a:xfrm>
          <a:prstGeom prst="rect">
            <a:avLst/>
          </a:prstGeom>
          <a:noFill/>
          <a:ln>
            <a:noFill/>
          </a:ln>
        </p:spPr>
      </p:pic>
      <p:sp>
        <p:nvSpPr>
          <p:cNvPr id="804" name="Shape 804">
            <a:hlinkClick r:id="rId4"/>
          </p:cNvPr>
          <p:cNvSpPr/>
          <p:nvPr/>
        </p:nvSpPr>
        <p:spPr>
          <a:xfrm>
            <a:off x="7965893" y="4585647"/>
            <a:ext cx="550800" cy="225300"/>
          </a:xfrm>
          <a:prstGeom prst="roundRect">
            <a:avLst>
              <a:gd name="adj" fmla="val 16667"/>
            </a:avLst>
          </a:prstGeom>
          <a:solidFill>
            <a:srgbClr val="374756"/>
          </a:solidFill>
          <a:ln w="9525" cap="flat" cmpd="sng">
            <a:solidFill>
              <a:schemeClr val="lt1">
                <a:alpha val="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86000" tIns="43000" rIns="86000" bIns="430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9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Volver</a:t>
            </a:r>
          </a:p>
        </p:txBody>
      </p:sp>
      <p:sp>
        <p:nvSpPr>
          <p:cNvPr id="805" name="Shape 805"/>
          <p:cNvSpPr/>
          <p:nvPr/>
        </p:nvSpPr>
        <p:spPr>
          <a:xfrm>
            <a:off x="1092575" y="1600125"/>
            <a:ext cx="3761100" cy="33990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100" b="1" i="0" u="sng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B2C</a:t>
            </a:r>
          </a:p>
          <a:p>
            <a:pPr marL="241300" marR="0" lvl="0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374756"/>
              </a:buClr>
              <a:buSzPct val="100000"/>
              <a:buFont typeface="Montserrat"/>
              <a:buChar char="•"/>
            </a:pPr>
            <a:r>
              <a:rPr lang="es" sz="1100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5</a:t>
            </a:r>
            <a:r>
              <a:rPr lang="es" sz="11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 acciones en el canal: Red Shrimp, Argentine Week, Single’s Day ‘17, </a:t>
            </a:r>
            <a:r>
              <a:rPr lang="es-AR" sz="11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Mundial de Fútbol y </a:t>
            </a:r>
            <a:r>
              <a:rPr lang="es-AR" sz="1100" b="0" i="0" u="none" strike="noStrike" cap="none" dirty="0" err="1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Single’s</a:t>
            </a:r>
            <a:r>
              <a:rPr lang="es-AR" sz="11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 Day ‘18</a:t>
            </a:r>
            <a:endParaRPr lang="es" sz="1100" b="0" i="0" u="none" strike="noStrike" cap="none" dirty="0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241300" marR="0" lvl="0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374756"/>
              </a:buClr>
              <a:buSzPct val="100000"/>
              <a:buFont typeface="Montserrat"/>
              <a:buChar char="•"/>
            </a:pPr>
            <a:r>
              <a:rPr lang="es" sz="11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Flagship de vinos junto a WofA.</a:t>
            </a:r>
          </a:p>
          <a:p>
            <a:pPr marL="241300" marR="0" lvl="0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374756"/>
              </a:buClr>
              <a:buSzPct val="100000"/>
              <a:buFont typeface="Montserrat"/>
              <a:buChar char="•"/>
            </a:pPr>
            <a:r>
              <a:rPr lang="es" sz="11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Rondas inversas con importadores para aumentar presencia y lanzar Country Pavilion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100" b="1" i="0" u="sng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B2B</a:t>
            </a:r>
          </a:p>
          <a:p>
            <a:pPr marL="241300" marR="0" lvl="0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374756"/>
              </a:buClr>
              <a:buSzPct val="100000"/>
              <a:buFont typeface="Montserrat"/>
              <a:buChar char="•"/>
            </a:pPr>
            <a:r>
              <a:rPr lang="es" sz="11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200 PyMEs formadas por Alibaba y AAICI para desarrollar el canal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100" b="1" i="0" u="sng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Escalabilidad</a:t>
            </a:r>
          </a:p>
          <a:p>
            <a:pPr marL="241300" marR="0" lvl="0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374756"/>
              </a:buClr>
              <a:buSzPct val="100000"/>
              <a:buFont typeface="Montserrat"/>
              <a:buChar char="•"/>
            </a:pPr>
            <a:r>
              <a:rPr lang="es" sz="11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vanzar con otras plataformas enfocadas en otras geografías (Amazon Supplies, Ebay, ARIBA).</a:t>
            </a:r>
          </a:p>
          <a:p>
            <a:pPr marL="241300" marR="0" lvl="0" indent="-2413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sz="1100" b="0" i="0" u="none" strike="noStrike" cap="none" dirty="0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100" b="0" i="0" u="none" strike="noStrike" cap="none" dirty="0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806" name="Shape 806"/>
          <p:cNvSpPr/>
          <p:nvPr/>
        </p:nvSpPr>
        <p:spPr>
          <a:xfrm>
            <a:off x="246304" y="116925"/>
            <a:ext cx="6548400" cy="4836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700" b="1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807" name="Shape 807"/>
          <p:cNvCxnSpPr/>
          <p:nvPr/>
        </p:nvCxnSpPr>
        <p:spPr>
          <a:xfrm>
            <a:off x="711596" y="832784"/>
            <a:ext cx="0" cy="1160100"/>
          </a:xfrm>
          <a:prstGeom prst="straightConnector1">
            <a:avLst/>
          </a:prstGeom>
          <a:noFill/>
          <a:ln w="9525" cap="flat" cmpd="sng">
            <a:solidFill>
              <a:srgbClr val="37475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08" name="Shape 808"/>
          <p:cNvSpPr txBox="1"/>
          <p:nvPr/>
        </p:nvSpPr>
        <p:spPr>
          <a:xfrm>
            <a:off x="1092575" y="675150"/>
            <a:ext cx="7626600" cy="9894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" sz="2400" b="0" i="0" u="none" strike="noStrike" cap="none" dirty="0">
                <a:solidFill>
                  <a:srgbClr val="374756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DESARROLLO DEL CANAL DE E-COMMERCE: </a:t>
            </a:r>
            <a:r>
              <a:rPr lang="es" sz="2400" b="0" i="0" u="none" strike="noStrike" cap="none" dirty="0">
                <a:solidFill>
                  <a:srgbClr val="0090D0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AVANCES CON ALIBABA</a:t>
            </a:r>
          </a:p>
        </p:txBody>
      </p:sp>
      <p:sp>
        <p:nvSpPr>
          <p:cNvPr id="809" name="Shape 809"/>
          <p:cNvSpPr txBox="1"/>
          <p:nvPr/>
        </p:nvSpPr>
        <p:spPr>
          <a:xfrm>
            <a:off x="218550" y="794800"/>
            <a:ext cx="450000" cy="179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fld id="{00000000-1234-1234-1234-123412341234}" type="slidenum"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74756"/>
                </a:buClr>
                <a:buSzPct val="25000"/>
                <a:buFont typeface="Montserrat"/>
                <a:buNone/>
              </a:pPr>
              <a:t>12</a:t>
            </a:fld>
            <a:endParaRPr lang="es" sz="1200" b="0" i="0" u="none" strike="noStrike" cap="none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810" name="Shape 810"/>
          <p:cNvSpPr txBox="1"/>
          <p:nvPr/>
        </p:nvSpPr>
        <p:spPr>
          <a:xfrm>
            <a:off x="1092574" y="212050"/>
            <a:ext cx="786599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NEXO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8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" name="Shape 838"/>
          <p:cNvSpPr txBox="1"/>
          <p:nvPr/>
        </p:nvSpPr>
        <p:spPr>
          <a:xfrm>
            <a:off x="1092575" y="675150"/>
            <a:ext cx="7616100" cy="4998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" sz="3000" b="0" i="0" u="none" strike="noStrike" cap="none">
                <a:solidFill>
                  <a:srgbClr val="374756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GRUPOS EXPORTADORE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" sz="3000" b="0" i="0" u="none" strike="noStrike" cap="none">
                <a:solidFill>
                  <a:srgbClr val="0090D0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CASOS</a:t>
            </a:r>
          </a:p>
        </p:txBody>
      </p:sp>
      <p:cxnSp>
        <p:nvCxnSpPr>
          <p:cNvPr id="839" name="Shape 839"/>
          <p:cNvCxnSpPr/>
          <p:nvPr/>
        </p:nvCxnSpPr>
        <p:spPr>
          <a:xfrm>
            <a:off x="711596" y="832784"/>
            <a:ext cx="0" cy="1415400"/>
          </a:xfrm>
          <a:prstGeom prst="straightConnector1">
            <a:avLst/>
          </a:prstGeom>
          <a:noFill/>
          <a:ln w="9525" cap="flat" cmpd="sng">
            <a:solidFill>
              <a:srgbClr val="374756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841" name="Shape 841"/>
          <p:cNvGrpSpPr/>
          <p:nvPr/>
        </p:nvGrpSpPr>
        <p:grpSpPr>
          <a:xfrm>
            <a:off x="1281024" y="1755191"/>
            <a:ext cx="2286836" cy="1080664"/>
            <a:chOff x="6506343" y="1787719"/>
            <a:chExt cx="1894802" cy="1336959"/>
          </a:xfrm>
        </p:grpSpPr>
        <p:sp>
          <p:nvSpPr>
            <p:cNvPr id="842" name="Shape 842"/>
            <p:cNvSpPr/>
            <p:nvPr/>
          </p:nvSpPr>
          <p:spPr>
            <a:xfrm>
              <a:off x="6506345" y="1787719"/>
              <a:ext cx="1894800" cy="174600"/>
            </a:xfrm>
            <a:prstGeom prst="rect">
              <a:avLst/>
            </a:prstGeom>
            <a:solidFill>
              <a:srgbClr val="D0ECFF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3" name="Shape 843"/>
            <p:cNvSpPr/>
            <p:nvPr/>
          </p:nvSpPr>
          <p:spPr>
            <a:xfrm>
              <a:off x="6506343" y="1996678"/>
              <a:ext cx="1894799" cy="1128000"/>
            </a:xfrm>
            <a:prstGeom prst="rect">
              <a:avLst/>
            </a:prstGeom>
            <a:solidFill>
              <a:srgbClr val="D0ECFF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4" name="Shape 844"/>
            <p:cNvSpPr/>
            <p:nvPr/>
          </p:nvSpPr>
          <p:spPr>
            <a:xfrm>
              <a:off x="8236710" y="1810950"/>
              <a:ext cx="128100" cy="128100"/>
            </a:xfrm>
            <a:prstGeom prst="mathMultiply">
              <a:avLst>
                <a:gd name="adj1" fmla="val 23520"/>
              </a:avLst>
            </a:prstGeom>
            <a:solidFill>
              <a:srgbClr val="0071BB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45" name="Shape 845"/>
          <p:cNvSpPr txBox="1"/>
          <p:nvPr/>
        </p:nvSpPr>
        <p:spPr>
          <a:xfrm>
            <a:off x="1280950" y="1950700"/>
            <a:ext cx="2286900" cy="8853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ZAPALLO </a:t>
            </a: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(San Juan)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Integración horizontal y vertical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</a:t>
            </a:r>
            <a:r>
              <a:rPr lang="es" sz="10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Certificaron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Desarrollo genético y tecnología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USD 4,2 MM en 2016</a:t>
            </a:r>
          </a:p>
        </p:txBody>
      </p:sp>
      <p:grpSp>
        <p:nvGrpSpPr>
          <p:cNvPr id="847" name="Shape 847"/>
          <p:cNvGrpSpPr/>
          <p:nvPr/>
        </p:nvGrpSpPr>
        <p:grpSpPr>
          <a:xfrm>
            <a:off x="3646624" y="1755191"/>
            <a:ext cx="2286836" cy="1080664"/>
            <a:chOff x="6506343" y="1787719"/>
            <a:chExt cx="1894802" cy="1336959"/>
          </a:xfrm>
        </p:grpSpPr>
        <p:sp>
          <p:nvSpPr>
            <p:cNvPr id="848" name="Shape 848"/>
            <p:cNvSpPr/>
            <p:nvPr/>
          </p:nvSpPr>
          <p:spPr>
            <a:xfrm>
              <a:off x="6506345" y="1787719"/>
              <a:ext cx="1894800" cy="174600"/>
            </a:xfrm>
            <a:prstGeom prst="rect">
              <a:avLst/>
            </a:prstGeom>
            <a:solidFill>
              <a:srgbClr val="D0ECFF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9" name="Shape 849"/>
            <p:cNvSpPr/>
            <p:nvPr/>
          </p:nvSpPr>
          <p:spPr>
            <a:xfrm>
              <a:off x="6506343" y="1996678"/>
              <a:ext cx="1894799" cy="1128000"/>
            </a:xfrm>
            <a:prstGeom prst="rect">
              <a:avLst/>
            </a:prstGeom>
            <a:solidFill>
              <a:srgbClr val="D0ECFF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0" name="Shape 850"/>
            <p:cNvSpPr/>
            <p:nvPr/>
          </p:nvSpPr>
          <p:spPr>
            <a:xfrm>
              <a:off x="8236710" y="1810950"/>
              <a:ext cx="128100" cy="128100"/>
            </a:xfrm>
            <a:prstGeom prst="mathMultiply">
              <a:avLst>
                <a:gd name="adj1" fmla="val 23520"/>
              </a:avLst>
            </a:prstGeom>
            <a:solidFill>
              <a:srgbClr val="0071BB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51" name="Shape 851"/>
          <p:cNvGrpSpPr/>
          <p:nvPr/>
        </p:nvGrpSpPr>
        <p:grpSpPr>
          <a:xfrm>
            <a:off x="6012224" y="1755191"/>
            <a:ext cx="2286836" cy="1080664"/>
            <a:chOff x="6506343" y="1787719"/>
            <a:chExt cx="1894802" cy="1336959"/>
          </a:xfrm>
        </p:grpSpPr>
        <p:sp>
          <p:nvSpPr>
            <p:cNvPr id="852" name="Shape 852"/>
            <p:cNvSpPr/>
            <p:nvPr/>
          </p:nvSpPr>
          <p:spPr>
            <a:xfrm>
              <a:off x="6506345" y="1787719"/>
              <a:ext cx="1894800" cy="174600"/>
            </a:xfrm>
            <a:prstGeom prst="rect">
              <a:avLst/>
            </a:prstGeom>
            <a:solidFill>
              <a:srgbClr val="D0ECFF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3" name="Shape 853"/>
            <p:cNvSpPr/>
            <p:nvPr/>
          </p:nvSpPr>
          <p:spPr>
            <a:xfrm>
              <a:off x="6506343" y="1996678"/>
              <a:ext cx="1894799" cy="1128000"/>
            </a:xfrm>
            <a:prstGeom prst="rect">
              <a:avLst/>
            </a:prstGeom>
            <a:solidFill>
              <a:srgbClr val="D0ECFF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4" name="Shape 854"/>
            <p:cNvSpPr/>
            <p:nvPr/>
          </p:nvSpPr>
          <p:spPr>
            <a:xfrm>
              <a:off x="8236710" y="1810950"/>
              <a:ext cx="128100" cy="128100"/>
            </a:xfrm>
            <a:prstGeom prst="mathMultiply">
              <a:avLst>
                <a:gd name="adj1" fmla="val 23520"/>
              </a:avLst>
            </a:prstGeom>
            <a:solidFill>
              <a:srgbClr val="0071BB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55" name="Shape 855"/>
          <p:cNvGrpSpPr/>
          <p:nvPr/>
        </p:nvGrpSpPr>
        <p:grpSpPr>
          <a:xfrm>
            <a:off x="1281024" y="2924341"/>
            <a:ext cx="2286836" cy="1080664"/>
            <a:chOff x="6506343" y="1787719"/>
            <a:chExt cx="1894802" cy="1336959"/>
          </a:xfrm>
        </p:grpSpPr>
        <p:sp>
          <p:nvSpPr>
            <p:cNvPr id="856" name="Shape 856"/>
            <p:cNvSpPr/>
            <p:nvPr/>
          </p:nvSpPr>
          <p:spPr>
            <a:xfrm>
              <a:off x="6506345" y="1787719"/>
              <a:ext cx="1894800" cy="174600"/>
            </a:xfrm>
            <a:prstGeom prst="rect">
              <a:avLst/>
            </a:prstGeom>
            <a:solidFill>
              <a:srgbClr val="D0ECFF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7" name="Shape 857"/>
            <p:cNvSpPr/>
            <p:nvPr/>
          </p:nvSpPr>
          <p:spPr>
            <a:xfrm>
              <a:off x="6506343" y="1996678"/>
              <a:ext cx="1894799" cy="1128000"/>
            </a:xfrm>
            <a:prstGeom prst="rect">
              <a:avLst/>
            </a:prstGeom>
            <a:solidFill>
              <a:srgbClr val="D0ECFF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8" name="Shape 858"/>
            <p:cNvSpPr/>
            <p:nvPr/>
          </p:nvSpPr>
          <p:spPr>
            <a:xfrm>
              <a:off x="8236710" y="1810950"/>
              <a:ext cx="128100" cy="128100"/>
            </a:xfrm>
            <a:prstGeom prst="mathMultiply">
              <a:avLst>
                <a:gd name="adj1" fmla="val 23520"/>
              </a:avLst>
            </a:prstGeom>
            <a:solidFill>
              <a:srgbClr val="0071BB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59" name="Shape 859"/>
          <p:cNvGrpSpPr/>
          <p:nvPr/>
        </p:nvGrpSpPr>
        <p:grpSpPr>
          <a:xfrm>
            <a:off x="3646624" y="2924341"/>
            <a:ext cx="2286836" cy="1080664"/>
            <a:chOff x="6506343" y="1787719"/>
            <a:chExt cx="1894802" cy="1336959"/>
          </a:xfrm>
        </p:grpSpPr>
        <p:sp>
          <p:nvSpPr>
            <p:cNvPr id="860" name="Shape 860"/>
            <p:cNvSpPr/>
            <p:nvPr/>
          </p:nvSpPr>
          <p:spPr>
            <a:xfrm>
              <a:off x="6506345" y="1787719"/>
              <a:ext cx="1894800" cy="174600"/>
            </a:xfrm>
            <a:prstGeom prst="rect">
              <a:avLst/>
            </a:prstGeom>
            <a:solidFill>
              <a:srgbClr val="D0ECFF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61" name="Shape 861"/>
            <p:cNvSpPr/>
            <p:nvPr/>
          </p:nvSpPr>
          <p:spPr>
            <a:xfrm>
              <a:off x="6506343" y="1996678"/>
              <a:ext cx="1894799" cy="1128000"/>
            </a:xfrm>
            <a:prstGeom prst="rect">
              <a:avLst/>
            </a:prstGeom>
            <a:solidFill>
              <a:srgbClr val="D0ECFF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62" name="Shape 862"/>
            <p:cNvSpPr/>
            <p:nvPr/>
          </p:nvSpPr>
          <p:spPr>
            <a:xfrm>
              <a:off x="8236710" y="1810950"/>
              <a:ext cx="128100" cy="128100"/>
            </a:xfrm>
            <a:prstGeom prst="mathMultiply">
              <a:avLst>
                <a:gd name="adj1" fmla="val 23520"/>
              </a:avLst>
            </a:prstGeom>
            <a:solidFill>
              <a:srgbClr val="0071BB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63" name="Shape 863"/>
          <p:cNvGrpSpPr/>
          <p:nvPr/>
        </p:nvGrpSpPr>
        <p:grpSpPr>
          <a:xfrm>
            <a:off x="6012224" y="2924341"/>
            <a:ext cx="2286836" cy="1080664"/>
            <a:chOff x="6506343" y="1787719"/>
            <a:chExt cx="1894802" cy="1336959"/>
          </a:xfrm>
        </p:grpSpPr>
        <p:sp>
          <p:nvSpPr>
            <p:cNvPr id="864" name="Shape 864"/>
            <p:cNvSpPr/>
            <p:nvPr/>
          </p:nvSpPr>
          <p:spPr>
            <a:xfrm>
              <a:off x="6506345" y="1787719"/>
              <a:ext cx="1894800" cy="174600"/>
            </a:xfrm>
            <a:prstGeom prst="rect">
              <a:avLst/>
            </a:prstGeom>
            <a:solidFill>
              <a:srgbClr val="D0ECFF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65" name="Shape 865"/>
            <p:cNvSpPr/>
            <p:nvPr/>
          </p:nvSpPr>
          <p:spPr>
            <a:xfrm>
              <a:off x="6506343" y="1996678"/>
              <a:ext cx="1894799" cy="1128000"/>
            </a:xfrm>
            <a:prstGeom prst="rect">
              <a:avLst/>
            </a:prstGeom>
            <a:solidFill>
              <a:srgbClr val="D0ECFF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66" name="Shape 866"/>
            <p:cNvSpPr/>
            <p:nvPr/>
          </p:nvSpPr>
          <p:spPr>
            <a:xfrm>
              <a:off x="8236710" y="1810950"/>
              <a:ext cx="128100" cy="128100"/>
            </a:xfrm>
            <a:prstGeom prst="mathMultiply">
              <a:avLst>
                <a:gd name="adj1" fmla="val 23520"/>
              </a:avLst>
            </a:prstGeom>
            <a:solidFill>
              <a:srgbClr val="0071BB"/>
            </a:solidFill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67" name="Shape 867"/>
          <p:cNvSpPr txBox="1"/>
          <p:nvPr/>
        </p:nvSpPr>
        <p:spPr>
          <a:xfrm>
            <a:off x="3646550" y="1950700"/>
            <a:ext cx="2286900" cy="8853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TANGO FOODS</a:t>
            </a: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 (Buenos Aires)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Complementariedad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Desarrollo de </a:t>
            </a:r>
            <a:r>
              <a:rPr lang="es" sz="10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canale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USD 14,3 MM en 2016</a:t>
            </a:r>
          </a:p>
        </p:txBody>
      </p:sp>
      <p:sp>
        <p:nvSpPr>
          <p:cNvPr id="868" name="Shape 868"/>
          <p:cNvSpPr txBox="1"/>
          <p:nvPr/>
        </p:nvSpPr>
        <p:spPr>
          <a:xfrm>
            <a:off x="6012225" y="1950700"/>
            <a:ext cx="2286900" cy="8853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CONSCIOUS DRESS</a:t>
            </a: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 (Mendoza)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Complementariedad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Abrieron el mercado en </a:t>
            </a:r>
            <a:r>
              <a:rPr lang="es" sz="10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Japón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0" i="0" u="none" strike="noStrike" cap="none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869" name="Shape 869"/>
          <p:cNvSpPr txBox="1"/>
          <p:nvPr/>
        </p:nvSpPr>
        <p:spPr>
          <a:xfrm>
            <a:off x="1280950" y="3119700"/>
            <a:ext cx="2286900" cy="8853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8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RGENTINA OLIVE GROUP</a:t>
            </a: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 (La Rioja)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</a:t>
            </a:r>
            <a:r>
              <a:rPr lang="es" sz="10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Mayor exportador </a:t>
            </a: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de LATAM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China, Japón y Norte de Europa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USD 2 MM en 2016</a:t>
            </a:r>
          </a:p>
        </p:txBody>
      </p:sp>
      <p:sp>
        <p:nvSpPr>
          <p:cNvPr id="870" name="Shape 870"/>
          <p:cNvSpPr txBox="1"/>
          <p:nvPr/>
        </p:nvSpPr>
        <p:spPr>
          <a:xfrm>
            <a:off x="3646587" y="3119700"/>
            <a:ext cx="2286900" cy="8853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Meridiano </a:t>
            </a: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(CABA)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Formó la cámara sectorial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Pasaron de 6 a 44 galerías en 2016,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0" i="0" u="none" strike="noStrike" cap="none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871" name="Shape 871"/>
          <p:cNvSpPr txBox="1"/>
          <p:nvPr/>
        </p:nvSpPr>
        <p:spPr>
          <a:xfrm>
            <a:off x="6012237" y="3119700"/>
            <a:ext cx="2286900" cy="8853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Study in Mendoza </a:t>
            </a: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(Mendoza)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Oferta común de programa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Diplomado en Malbec (95% ext.)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" sz="10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- USD 2,8 MM en 2016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0" i="0" u="none" strike="noStrike" cap="none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" name="Shape 817"/>
          <p:cNvSpPr/>
          <p:nvPr/>
        </p:nvSpPr>
        <p:spPr>
          <a:xfrm>
            <a:off x="246304" y="116925"/>
            <a:ext cx="6548400" cy="4836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700" b="1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818" name="Shape 818"/>
          <p:cNvCxnSpPr/>
          <p:nvPr/>
        </p:nvCxnSpPr>
        <p:spPr>
          <a:xfrm>
            <a:off x="711596" y="832784"/>
            <a:ext cx="0" cy="747000"/>
          </a:xfrm>
          <a:prstGeom prst="straightConnector1">
            <a:avLst/>
          </a:prstGeom>
          <a:noFill/>
          <a:ln w="9525" cap="flat" cmpd="sng">
            <a:solidFill>
              <a:srgbClr val="37475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21" name="Shape 821"/>
          <p:cNvSpPr txBox="1"/>
          <p:nvPr/>
        </p:nvSpPr>
        <p:spPr>
          <a:xfrm>
            <a:off x="1092575" y="675150"/>
            <a:ext cx="7185900" cy="10419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3000" b="0" i="0" u="none" strike="noStrike" cap="none" dirty="0">
                <a:solidFill>
                  <a:srgbClr val="374756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OFERTA EXPORTABLE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-AR" sz="3000" b="0" i="0" u="none" strike="noStrike" cap="none" dirty="0">
                <a:solidFill>
                  <a:srgbClr val="374756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BUYARGENTINA.GOB.AR</a:t>
            </a:r>
            <a:endParaRPr lang="es" sz="3000" b="0" i="0" u="none" strike="noStrike" cap="none" dirty="0">
              <a:solidFill>
                <a:srgbClr val="374756"/>
              </a:solidFill>
              <a:latin typeface="Montserrat Black"/>
              <a:ea typeface="Montserrat Black"/>
              <a:cs typeface="Montserrat Black"/>
              <a:sym typeface="Montserrat Black"/>
            </a:endParaRPr>
          </a:p>
        </p:txBody>
      </p:sp>
      <p:cxnSp>
        <p:nvCxnSpPr>
          <p:cNvPr id="825" name="Shape 825"/>
          <p:cNvCxnSpPr/>
          <p:nvPr/>
        </p:nvCxnSpPr>
        <p:spPr>
          <a:xfrm>
            <a:off x="1129300" y="4828900"/>
            <a:ext cx="7620300" cy="0"/>
          </a:xfrm>
          <a:prstGeom prst="straightConnector1">
            <a:avLst/>
          </a:prstGeom>
          <a:noFill/>
          <a:ln w="38100" cap="flat" cmpd="sng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" name="Shape 93">
            <a:extLst>
              <a:ext uri="{FF2B5EF4-FFF2-40B4-BE49-F238E27FC236}">
                <a16:creationId xmlns:a16="http://schemas.microsoft.com/office/drawing/2014/main" xmlns="" id="{5D63008A-ABBC-4FE9-B7D6-F415117408E8}"/>
              </a:ext>
            </a:extLst>
          </p:cNvPr>
          <p:cNvSpPr txBox="1"/>
          <p:nvPr/>
        </p:nvSpPr>
        <p:spPr>
          <a:xfrm>
            <a:off x="8351075" y="212050"/>
            <a:ext cx="500400" cy="2544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2018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1C09A98E-8E99-4225-8C59-1837FB0279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4571" y="1717050"/>
            <a:ext cx="4326704" cy="3006786"/>
          </a:xfrm>
          <a:prstGeom prst="rect">
            <a:avLst/>
          </a:prstGeom>
        </p:spPr>
      </p:pic>
      <p:pic>
        <p:nvPicPr>
          <p:cNvPr id="10" name="Shape 822">
            <a:extLst>
              <a:ext uri="{FF2B5EF4-FFF2-40B4-BE49-F238E27FC236}">
                <a16:creationId xmlns:a16="http://schemas.microsoft.com/office/drawing/2014/main" xmlns="" id="{B0E16031-40A9-4DB8-87E3-DE93F707C487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7998" t="13081" r="32417" b="10585"/>
          <a:stretch/>
        </p:blipFill>
        <p:spPr>
          <a:xfrm>
            <a:off x="668550" y="2123298"/>
            <a:ext cx="140724" cy="173849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Shape 820">
            <a:extLst>
              <a:ext uri="{FF2B5EF4-FFF2-40B4-BE49-F238E27FC236}">
                <a16:creationId xmlns:a16="http://schemas.microsoft.com/office/drawing/2014/main" xmlns="" id="{57A7C35D-D38F-4EA2-82CD-228E8F2DD23F}"/>
              </a:ext>
            </a:extLst>
          </p:cNvPr>
          <p:cNvSpPr txBox="1"/>
          <p:nvPr/>
        </p:nvSpPr>
        <p:spPr>
          <a:xfrm>
            <a:off x="833401" y="1911325"/>
            <a:ext cx="48315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>
              <a:buClr>
                <a:srgbClr val="666666"/>
              </a:buClr>
              <a:buSzPct val="25000"/>
            </a:pPr>
            <a:r>
              <a:rPr lang="es" sz="1200" b="1" dirty="0">
                <a:solidFill>
                  <a:srgbClr val="0097A7"/>
                </a:solidFill>
                <a:latin typeface="Montserrat"/>
                <a:ea typeface="Montserrat"/>
                <a:cs typeface="Montserrat"/>
                <a:sym typeface="Montserrat"/>
              </a:rPr>
              <a:t>OBJETIVO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87B14273-E89E-46BF-ADE1-AF8AEBA4EE12}"/>
              </a:ext>
            </a:extLst>
          </p:cNvPr>
          <p:cNvSpPr/>
          <p:nvPr/>
        </p:nvSpPr>
        <p:spPr>
          <a:xfrm>
            <a:off x="831561" y="2072193"/>
            <a:ext cx="33473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200" dirty="0">
                <a:solidFill>
                  <a:srgbClr val="374756"/>
                </a:solidFill>
                <a:latin typeface="Montserrat"/>
                <a:sym typeface="Montserrat"/>
              </a:rPr>
              <a:t>Directorio con la oferta exportable argentina</a:t>
            </a:r>
            <a:endParaRPr lang="es-ES" sz="1200" dirty="0"/>
          </a:p>
        </p:txBody>
      </p:sp>
      <p:pic>
        <p:nvPicPr>
          <p:cNvPr id="13" name="Shape 822">
            <a:extLst>
              <a:ext uri="{FF2B5EF4-FFF2-40B4-BE49-F238E27FC236}">
                <a16:creationId xmlns:a16="http://schemas.microsoft.com/office/drawing/2014/main" xmlns="" id="{840697BE-A5ED-4700-8A5C-A77C3E896405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7998" t="13081" r="32417" b="10585"/>
          <a:stretch/>
        </p:blipFill>
        <p:spPr>
          <a:xfrm>
            <a:off x="668550" y="2684843"/>
            <a:ext cx="140724" cy="173849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4ED6EED6-1CB9-4657-9AAE-83F831C2CDF0}"/>
              </a:ext>
            </a:extLst>
          </p:cNvPr>
          <p:cNvSpPr/>
          <p:nvPr/>
        </p:nvSpPr>
        <p:spPr>
          <a:xfrm>
            <a:off x="831561" y="2633738"/>
            <a:ext cx="334734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200" dirty="0">
                <a:solidFill>
                  <a:srgbClr val="374756"/>
                </a:solidFill>
                <a:latin typeface="Montserrat"/>
                <a:sym typeface="Montserrat"/>
              </a:rPr>
              <a:t>Incrementar la visibilidad de las </a:t>
            </a:r>
            <a:r>
              <a:rPr lang="es-ES" sz="1200" dirty="0" err="1">
                <a:solidFill>
                  <a:srgbClr val="374756"/>
                </a:solidFill>
                <a:latin typeface="Montserrat"/>
                <a:sym typeface="Montserrat"/>
              </a:rPr>
              <a:t>PyMEs</a:t>
            </a:r>
            <a:endParaRPr lang="es-ES" sz="1200" dirty="0"/>
          </a:p>
        </p:txBody>
      </p:sp>
      <p:pic>
        <p:nvPicPr>
          <p:cNvPr id="15" name="Shape 822">
            <a:extLst>
              <a:ext uri="{FF2B5EF4-FFF2-40B4-BE49-F238E27FC236}">
                <a16:creationId xmlns:a16="http://schemas.microsoft.com/office/drawing/2014/main" xmlns="" id="{6EF578EF-9E81-4731-97E4-ACD0CCF576E2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7998" t="13081" r="32417" b="10585"/>
          <a:stretch/>
        </p:blipFill>
        <p:spPr>
          <a:xfrm>
            <a:off x="668550" y="3200802"/>
            <a:ext cx="140724" cy="173849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ángulo 17">
            <a:extLst>
              <a:ext uri="{FF2B5EF4-FFF2-40B4-BE49-F238E27FC236}">
                <a16:creationId xmlns:a16="http://schemas.microsoft.com/office/drawing/2014/main" xmlns="" id="{DD62A0B6-E344-4F5B-ABA0-DAB6B727CDA4}"/>
              </a:ext>
            </a:extLst>
          </p:cNvPr>
          <p:cNvSpPr/>
          <p:nvPr/>
        </p:nvSpPr>
        <p:spPr>
          <a:xfrm>
            <a:off x="831561" y="3149697"/>
            <a:ext cx="33473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200" dirty="0">
                <a:solidFill>
                  <a:srgbClr val="374756"/>
                </a:solidFill>
                <a:latin typeface="Montserrat"/>
                <a:sym typeface="Montserrat"/>
              </a:rPr>
              <a:t>Acercamiento a las </a:t>
            </a:r>
            <a:r>
              <a:rPr lang="es-ES" sz="1200" dirty="0" err="1">
                <a:solidFill>
                  <a:srgbClr val="374756"/>
                </a:solidFill>
                <a:latin typeface="Montserrat"/>
                <a:sym typeface="Montserrat"/>
              </a:rPr>
              <a:t>PyMEs</a:t>
            </a:r>
            <a:r>
              <a:rPr lang="es-ES" sz="1200" dirty="0">
                <a:solidFill>
                  <a:srgbClr val="374756"/>
                </a:solidFill>
                <a:latin typeface="Montserrat"/>
                <a:sym typeface="Montserrat"/>
              </a:rPr>
              <a:t> de las oportunidades comerciales relevadas por la Red Externa </a:t>
            </a:r>
            <a:endParaRPr lang="es-ES" sz="1200" dirty="0"/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xmlns="" id="{D1FC54E0-0E37-49F0-8436-736FD067CAFC}"/>
              </a:ext>
            </a:extLst>
          </p:cNvPr>
          <p:cNvSpPr/>
          <p:nvPr/>
        </p:nvSpPr>
        <p:spPr>
          <a:xfrm>
            <a:off x="809274" y="4113580"/>
            <a:ext cx="33473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solidFill>
                  <a:srgbClr val="0090D0"/>
                </a:solidFill>
                <a:latin typeface="Montserrat Black"/>
                <a:cs typeface="Montserrat Black"/>
                <a:sym typeface="Montserrat"/>
              </a:rPr>
              <a:t>0810-345-2892</a:t>
            </a:r>
          </a:p>
          <a:p>
            <a:r>
              <a:rPr lang="es-AR" sz="1600" dirty="0">
                <a:solidFill>
                  <a:srgbClr val="0090D0"/>
                </a:solidFill>
                <a:latin typeface="Montserrat Black"/>
                <a:cs typeface="Montserrat Black"/>
              </a:rPr>
              <a:t>info@buyargentina.gob.ar </a:t>
            </a:r>
            <a:endParaRPr lang="es-ES" sz="1600" dirty="0">
              <a:solidFill>
                <a:srgbClr val="0090D0"/>
              </a:solidFill>
              <a:latin typeface="Montserrat Black"/>
              <a:cs typeface="Montserrat Black"/>
            </a:endParaRPr>
          </a:p>
        </p:txBody>
      </p:sp>
      <p:sp>
        <p:nvSpPr>
          <p:cNvPr id="20" name="Shape 820">
            <a:extLst>
              <a:ext uri="{FF2B5EF4-FFF2-40B4-BE49-F238E27FC236}">
                <a16:creationId xmlns:a16="http://schemas.microsoft.com/office/drawing/2014/main" xmlns="" id="{E11C2C58-4F4C-4D5A-B427-0C69A2F194C0}"/>
              </a:ext>
            </a:extLst>
          </p:cNvPr>
          <p:cNvSpPr txBox="1"/>
          <p:nvPr/>
        </p:nvSpPr>
        <p:spPr>
          <a:xfrm>
            <a:off x="833401" y="3926126"/>
            <a:ext cx="48315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>
              <a:buClr>
                <a:srgbClr val="666666"/>
              </a:buClr>
              <a:buSzPct val="25000"/>
            </a:pPr>
            <a:r>
              <a:rPr lang="es-AR" sz="1200" b="1" dirty="0">
                <a:solidFill>
                  <a:srgbClr val="0097A7"/>
                </a:solidFill>
                <a:latin typeface="Montserrat"/>
                <a:ea typeface="Montserrat"/>
                <a:cs typeface="Montserrat"/>
                <a:sym typeface="Montserrat"/>
              </a:rPr>
              <a:t>Contacto</a:t>
            </a:r>
            <a:endParaRPr lang="es" sz="1200" b="1" dirty="0">
              <a:solidFill>
                <a:srgbClr val="0097A7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30535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7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2" name="Shape 782"/>
          <p:cNvPicPr preferRelativeResize="0"/>
          <p:nvPr/>
        </p:nvPicPr>
        <p:blipFill rotWithShape="1">
          <a:blip r:embed="rId3">
            <a:alphaModFix/>
          </a:blip>
          <a:srcRect t="-5911" b="18583"/>
          <a:stretch/>
        </p:blipFill>
        <p:spPr>
          <a:xfrm>
            <a:off x="-18475" y="-471175"/>
            <a:ext cx="9157201" cy="449147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83" name="Shape 783"/>
          <p:cNvCxnSpPr/>
          <p:nvPr/>
        </p:nvCxnSpPr>
        <p:spPr>
          <a:xfrm>
            <a:off x="1129300" y="4828900"/>
            <a:ext cx="7620300" cy="0"/>
          </a:xfrm>
          <a:prstGeom prst="straightConnector1">
            <a:avLst/>
          </a:prstGeom>
          <a:noFill/>
          <a:ln w="3810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84" name="Shape 784"/>
          <p:cNvSpPr/>
          <p:nvPr/>
        </p:nvSpPr>
        <p:spPr>
          <a:xfrm>
            <a:off x="1167249" y="797441"/>
            <a:ext cx="4498315" cy="278013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5" name="Shape 785"/>
          <p:cNvSpPr txBox="1"/>
          <p:nvPr/>
        </p:nvSpPr>
        <p:spPr>
          <a:xfrm>
            <a:off x="1253899" y="797442"/>
            <a:ext cx="4498315" cy="1954708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800" dirty="0">
                <a:solidFill>
                  <a:srgbClr val="0991D1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Contacto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endParaRPr lang="es" dirty="0">
              <a:solidFill>
                <a:srgbClr val="0991D1"/>
              </a:solidFill>
              <a:latin typeface="Montserrat Black"/>
              <a:ea typeface="Montserrat Black"/>
              <a:cs typeface="Montserrat Black"/>
              <a:sym typeface="Montserrat Black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-AR" dirty="0" err="1">
                <a:solidFill>
                  <a:srgbClr val="0991D1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iyomha</a:t>
            </a:r>
            <a:r>
              <a:rPr lang="es" dirty="0">
                <a:solidFill>
                  <a:srgbClr val="0991D1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@</a:t>
            </a:r>
            <a:r>
              <a:rPr lang="es-AR" dirty="0" err="1">
                <a:solidFill>
                  <a:srgbClr val="0991D1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inversionycomercio</a:t>
            </a:r>
            <a:r>
              <a:rPr lang="es" dirty="0">
                <a:solidFill>
                  <a:srgbClr val="0991D1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.org.a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endParaRPr lang="es" dirty="0">
              <a:solidFill>
                <a:srgbClr val="0991D1"/>
              </a:solidFill>
              <a:latin typeface="Montserrat Black"/>
              <a:ea typeface="Montserrat Black"/>
              <a:cs typeface="Montserrat Black"/>
              <a:sym typeface="Montserrat Black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dirty="0">
                <a:solidFill>
                  <a:srgbClr val="0991D1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atencionaempresas@inversionycom</a:t>
            </a:r>
            <a:r>
              <a:rPr lang="es-AR" dirty="0">
                <a:solidFill>
                  <a:srgbClr val="0991D1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ercio.org.ar</a:t>
            </a:r>
            <a:endParaRPr lang="es" dirty="0">
              <a:solidFill>
                <a:srgbClr val="0991D1"/>
              </a:solidFill>
              <a:latin typeface="Montserrat Black"/>
              <a:ea typeface="Montserrat Black"/>
              <a:cs typeface="Montserrat Black"/>
              <a:sym typeface="Montserrat Black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endParaRPr lang="es" dirty="0">
              <a:solidFill>
                <a:srgbClr val="0991D1"/>
              </a:solidFill>
              <a:latin typeface="Montserrat Black"/>
              <a:ea typeface="Montserrat Black"/>
              <a:cs typeface="Montserrat Black"/>
              <a:sym typeface="Montserrat Black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dirty="0">
                <a:solidFill>
                  <a:srgbClr val="0991D1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Teléfono:</a:t>
            </a:r>
          </a:p>
          <a:p>
            <a:pPr lvl="0">
              <a:buClr>
                <a:srgbClr val="666666"/>
              </a:buClr>
              <a:buSzPct val="25000"/>
            </a:pPr>
            <a:r>
              <a:rPr lang="es-AR" dirty="0">
                <a:solidFill>
                  <a:srgbClr val="0991D1"/>
                </a:solidFill>
                <a:latin typeface="Montserrat" panose="020B0604020202020204" charset="0"/>
                <a:cs typeface="Montserrat Black"/>
              </a:rPr>
              <a:t>+ 54 11 5199 2263</a:t>
            </a:r>
            <a:endParaRPr lang="es" dirty="0">
              <a:solidFill>
                <a:srgbClr val="0991D1"/>
              </a:solidFill>
              <a:latin typeface="Montserrat Black"/>
              <a:ea typeface="Montserrat Black"/>
              <a:cs typeface="Montserrat Black"/>
              <a:sym typeface="Montserrat Black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800" dirty="0">
              <a:solidFill>
                <a:srgbClr val="0991D1"/>
              </a:solidFill>
              <a:latin typeface="Montserrat Black"/>
              <a:ea typeface="Montserrat Black"/>
              <a:cs typeface="Montserrat Black"/>
              <a:sym typeface="Montserrat Black"/>
            </a:endParaRPr>
          </a:p>
        </p:txBody>
      </p:sp>
      <p:sp>
        <p:nvSpPr>
          <p:cNvPr id="786" name="Shape 786"/>
          <p:cNvSpPr/>
          <p:nvPr/>
        </p:nvSpPr>
        <p:spPr>
          <a:xfrm>
            <a:off x="1307625" y="2714175"/>
            <a:ext cx="3693600" cy="103800"/>
          </a:xfrm>
          <a:prstGeom prst="rect">
            <a:avLst/>
          </a:prstGeom>
          <a:solidFill>
            <a:srgbClr val="0991D1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87" name="Shape 78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307619" y="2906150"/>
            <a:ext cx="2949500" cy="6714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8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6" name="Shape 876"/>
          <p:cNvGraphicFramePr/>
          <p:nvPr>
            <p:extLst>
              <p:ext uri="{D42A27DB-BD31-4B8C-83A1-F6EECF244321}">
                <p14:modId xmlns:p14="http://schemas.microsoft.com/office/powerpoint/2010/main" xmlns="" val="1300298958"/>
              </p:ext>
            </p:extLst>
          </p:nvPr>
        </p:nvGraphicFramePr>
        <p:xfrm>
          <a:off x="1092574" y="1440337"/>
          <a:ext cx="7127800" cy="3423671"/>
        </p:xfrm>
        <a:graphic>
          <a:graphicData uri="http://schemas.openxmlformats.org/drawingml/2006/table">
            <a:tbl>
              <a:tblPr firstRow="1">
                <a:noFill/>
                <a:tableStyleId>{F09B3BC0-31AC-4512-8F80-F2E6E48409D9}</a:tableStyleId>
              </a:tblPr>
              <a:tblGrid>
                <a:gridCol w="15495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99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4952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099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4952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099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54952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327979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9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AGRO Y ALIMENTOS</a:t>
                      </a:r>
                      <a:r>
                        <a:rPr lang="es-AR" sz="9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A</a:t>
                      </a:r>
                      <a:endParaRPr lang="es" sz="9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b">
                    <a:solidFill>
                      <a:srgbClr val="007D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9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b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9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INDUSTRIA</a:t>
                      </a:r>
                    </a:p>
                  </a:txBody>
                  <a:tcPr marL="84425" marR="84425" marT="34300" marB="34300" anchor="b">
                    <a:solidFill>
                      <a:srgbClr val="007D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9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b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9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SERVICIOS</a:t>
                      </a:r>
                    </a:p>
                  </a:txBody>
                  <a:tcPr marL="84425" marR="84425" marT="34300" marB="34300" anchor="b">
                    <a:solidFill>
                      <a:srgbClr val="007D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9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b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9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INDUSTRIAS CREATIVAS</a:t>
                      </a:r>
                    </a:p>
                  </a:txBody>
                  <a:tcPr marL="84425" marR="84425" marT="34300" marB="34300" anchor="b">
                    <a:solidFill>
                      <a:srgbClr val="007D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-AR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Legumbres, especialidades, maní</a:t>
                      </a:r>
                      <a:endParaRPr lang="es"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Maquinaria Agrícola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E</a:t>
                      </a:r>
                      <a:r>
                        <a:rPr lang="es-AR" sz="800" u="none" strike="noStrike" cap="none" dirty="0" err="1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mprendedurismo</a:t>
                      </a:r>
                      <a:endParaRPr lang="es"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Moda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711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Industrializados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Autopartes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AgTech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Diseño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65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Carnes 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(vacuna, aviar, </a:t>
                      </a:r>
                      <a:r>
                        <a:rPr lang="es-AR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porcina, </a:t>
                      </a: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pesca)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Cosméticos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FinTech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Editorial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Frutihortícola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Máquinas y Packaging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-AR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Videojuegos</a:t>
                      </a:r>
                      <a:endParaRPr lang="es"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Música </a:t>
                      </a: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 (</a:t>
                      </a:r>
                      <a:r>
                        <a:rPr lang="es-AR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Bienes y Servicios)</a:t>
                      </a:r>
                      <a:endParaRPr lang="es"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8421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Vinos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Equipamiento Médico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-AR" sz="800" u="none" strike="noStrike" cap="none" dirty="0" err="1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TICs</a:t>
                      </a:r>
                      <a:endParaRPr lang="es"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ct val="25000"/>
                        <a:buFont typeface="Calibri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Audiovisual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4959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Lácteos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Maquinaria Gas y Petróleo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Educación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r>
                        <a:rPr lang="es-AR" sz="800" u="none" strike="noStrike" cap="none" dirty="0">
                          <a:solidFill>
                            <a:schemeClr val="dk1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Arte</a:t>
                      </a:r>
                      <a:endParaRPr sz="800" u="none" strike="noStrike" cap="none" dirty="0">
                        <a:solidFill>
                          <a:schemeClr val="dk1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61201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-AR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Nutrición Animal</a:t>
                      </a:r>
                      <a:endParaRPr lang="es"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ct val="25000"/>
                        <a:buFont typeface="Calibri"/>
                        <a:buNone/>
                      </a:pPr>
                      <a:r>
                        <a:rPr lang="es-AR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Biotecnología</a:t>
                      </a:r>
                      <a:endParaRPr lang="es"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-AR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Franquicias</a:t>
                      </a:r>
                      <a:endParaRPr lang="es"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extLst>
                  <a:ext uri="{0D108BD9-81ED-4DB2-BD59-A6C34878D82A}">
                    <a16:rowId xmlns:a16="http://schemas.microsoft.com/office/drawing/2014/main" xmlns="" val="104758556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Orgánicos, </a:t>
                      </a:r>
                      <a:r>
                        <a:rPr lang="es-AR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Alimentos saludables</a:t>
                      </a:r>
                      <a:endParaRPr lang="es"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ct val="25000"/>
                        <a:buFont typeface="Calibri"/>
                        <a:buNone/>
                      </a:pPr>
                      <a:r>
                        <a:rPr lang="es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Electro-electrónica</a:t>
                      </a: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endParaRPr lang="es"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E9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42179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-AR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Yerba Mate</a:t>
                      </a:r>
                      <a:endParaRPr lang="es"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endParaRPr lang="es" sz="800" b="0" i="0" u="none" strike="noStrike" cap="none" dirty="0">
                        <a:solidFill>
                          <a:schemeClr val="dk1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E9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05258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-AR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Apícola</a:t>
                      </a:r>
                      <a:endParaRPr lang="es"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endParaRPr lang="es" sz="800" b="0" i="0" u="none" strike="noStrike" cap="none" dirty="0">
                        <a:solidFill>
                          <a:schemeClr val="dk1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E9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extLst>
                  <a:ext uri="{0D108BD9-81ED-4DB2-BD59-A6C34878D82A}">
                    <a16:rowId xmlns:a16="http://schemas.microsoft.com/office/drawing/2014/main" xmlns="" val="1835606689"/>
                  </a:ext>
                </a:extLst>
              </a:tr>
              <a:tr h="205258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r>
                        <a:rPr lang="es-AR" sz="800" u="none" strike="noStrike" cap="none" dirty="0"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Olivícola</a:t>
                      </a:r>
                      <a:endParaRPr lang="es"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Montserrat"/>
                        <a:buNone/>
                      </a:pPr>
                      <a:endParaRPr lang="es" sz="800" b="0" i="0" u="none" strike="noStrike" cap="none" dirty="0">
                        <a:solidFill>
                          <a:schemeClr val="dk1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>
                    <a:solidFill>
                      <a:srgbClr val="E9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25000"/>
                        <a:buFont typeface="Arial"/>
                        <a:buNone/>
                      </a:pPr>
                      <a:endParaRPr sz="800" u="none" strike="noStrike" cap="none" dirty="0"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84425" marR="84425" marT="34300" marB="34300" anchor="ctr"/>
                </a:tc>
                <a:extLst>
                  <a:ext uri="{0D108BD9-81ED-4DB2-BD59-A6C34878D82A}">
                    <a16:rowId xmlns:a16="http://schemas.microsoft.com/office/drawing/2014/main" xmlns="" val="3257151453"/>
                  </a:ext>
                </a:extLst>
              </a:tr>
            </a:tbl>
          </a:graphicData>
        </a:graphic>
      </p:graphicFrame>
      <p:sp>
        <p:nvSpPr>
          <p:cNvPr id="877" name="Shape 877"/>
          <p:cNvSpPr txBox="1"/>
          <p:nvPr/>
        </p:nvSpPr>
        <p:spPr>
          <a:xfrm>
            <a:off x="913556" y="4958700"/>
            <a:ext cx="7127700" cy="1848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ct val="25000"/>
              <a:buFont typeface="Montserrat"/>
              <a:buNone/>
            </a:pPr>
            <a:r>
              <a:rPr lang="es" sz="900" b="0" i="0" u="none" strike="noStrike" cap="none" dirty="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rPr>
              <a:t>*Estimaciones AAICI en base a registro PyME y Observatorio de la Economía del Conocimiento</a:t>
            </a:r>
          </a:p>
        </p:txBody>
      </p:sp>
      <p:sp>
        <p:nvSpPr>
          <p:cNvPr id="878" name="Shape 878"/>
          <p:cNvSpPr txBox="1"/>
          <p:nvPr/>
        </p:nvSpPr>
        <p:spPr>
          <a:xfrm>
            <a:off x="1092575" y="675150"/>
            <a:ext cx="7616100" cy="4998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" sz="2400" b="0" i="0" u="none" strike="noStrike" cap="none">
                <a:solidFill>
                  <a:srgbClr val="374756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FOCO EN VALOR AGREGADO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" sz="2400" b="0" i="0" u="none" strike="noStrike" cap="none">
                <a:solidFill>
                  <a:srgbClr val="0090D0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SECTORES DE ACTIVIDAD PRIORITARIOS</a:t>
            </a:r>
          </a:p>
        </p:txBody>
      </p:sp>
      <p:cxnSp>
        <p:nvCxnSpPr>
          <p:cNvPr id="879" name="Shape 879"/>
          <p:cNvCxnSpPr/>
          <p:nvPr/>
        </p:nvCxnSpPr>
        <p:spPr>
          <a:xfrm>
            <a:off x="711596" y="832784"/>
            <a:ext cx="0" cy="1415400"/>
          </a:xfrm>
          <a:prstGeom prst="straightConnector1">
            <a:avLst/>
          </a:prstGeom>
          <a:noFill/>
          <a:ln w="9525" cap="flat" cmpd="sng">
            <a:solidFill>
              <a:srgbClr val="37475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80" name="Shape 880"/>
          <p:cNvSpPr txBox="1"/>
          <p:nvPr/>
        </p:nvSpPr>
        <p:spPr>
          <a:xfrm>
            <a:off x="218550" y="794800"/>
            <a:ext cx="450000" cy="179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21</a:t>
            </a:r>
          </a:p>
        </p:txBody>
      </p:sp>
      <p:sp>
        <p:nvSpPr>
          <p:cNvPr id="8" name="Shape 810">
            <a:extLst>
              <a:ext uri="{FF2B5EF4-FFF2-40B4-BE49-F238E27FC236}">
                <a16:creationId xmlns:a16="http://schemas.microsoft.com/office/drawing/2014/main" xmlns="" id="{C031D9DE-FE7C-4138-9EBF-7C4FB95DF449}"/>
              </a:ext>
            </a:extLst>
          </p:cNvPr>
          <p:cNvSpPr txBox="1"/>
          <p:nvPr/>
        </p:nvSpPr>
        <p:spPr>
          <a:xfrm>
            <a:off x="1092574" y="212050"/>
            <a:ext cx="786599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NEXO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Shape 69"/>
          <p:cNvPicPr preferRelativeResize="0"/>
          <p:nvPr/>
        </p:nvPicPr>
        <p:blipFill rotWithShape="1">
          <a:blip r:embed="rId3">
            <a:alphaModFix/>
          </a:blip>
          <a:srcRect t="-5911" b="18583"/>
          <a:stretch/>
        </p:blipFill>
        <p:spPr>
          <a:xfrm>
            <a:off x="-18475" y="-471175"/>
            <a:ext cx="9157201" cy="449147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0" name="Shape 70"/>
          <p:cNvCxnSpPr/>
          <p:nvPr/>
        </p:nvCxnSpPr>
        <p:spPr>
          <a:xfrm>
            <a:off x="1129300" y="4828900"/>
            <a:ext cx="7620300" cy="0"/>
          </a:xfrm>
          <a:prstGeom prst="straightConnector1">
            <a:avLst/>
          </a:prstGeom>
          <a:noFill/>
          <a:ln w="38100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1" name="Shape 71"/>
          <p:cNvSpPr/>
          <p:nvPr/>
        </p:nvSpPr>
        <p:spPr>
          <a:xfrm>
            <a:off x="1167250" y="873075"/>
            <a:ext cx="4052100" cy="2704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Shape 73"/>
          <p:cNvSpPr/>
          <p:nvPr/>
        </p:nvSpPr>
        <p:spPr>
          <a:xfrm>
            <a:off x="1307625" y="2714175"/>
            <a:ext cx="3693600" cy="103800"/>
          </a:xfrm>
          <a:prstGeom prst="rect">
            <a:avLst/>
          </a:prstGeom>
          <a:solidFill>
            <a:srgbClr val="0991D1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Shape 74"/>
          <p:cNvSpPr txBox="1"/>
          <p:nvPr/>
        </p:nvSpPr>
        <p:spPr>
          <a:xfrm>
            <a:off x="1307625" y="3016275"/>
            <a:ext cx="3693600" cy="3906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r>
              <a:rPr lang="es-AR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gosto</a:t>
            </a:r>
            <a:r>
              <a:rPr lang="es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 2018</a:t>
            </a:r>
          </a:p>
        </p:txBody>
      </p:sp>
      <p:pic>
        <p:nvPicPr>
          <p:cNvPr id="75" name="Shape 7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307625" y="1302736"/>
            <a:ext cx="2949500" cy="6714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3F3"/>
        </a:solidFill>
        <a:effectLst/>
      </p:bgPr>
    </p:bg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Shape 191"/>
          <p:cNvSpPr/>
          <p:nvPr/>
        </p:nvSpPr>
        <p:spPr>
          <a:xfrm>
            <a:off x="1142272" y="2113137"/>
            <a:ext cx="1850700" cy="333300"/>
          </a:xfrm>
          <a:prstGeom prst="roundRect">
            <a:avLst>
              <a:gd name="adj" fmla="val 50000"/>
            </a:avLst>
          </a:prstGeom>
          <a:solidFill>
            <a:srgbClr val="0991D1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Shape 192"/>
          <p:cNvSpPr/>
          <p:nvPr/>
        </p:nvSpPr>
        <p:spPr>
          <a:xfrm>
            <a:off x="1423758" y="2566713"/>
            <a:ext cx="1311000" cy="1324800"/>
          </a:xfrm>
          <a:prstGeom prst="roundRect">
            <a:avLst>
              <a:gd name="adj" fmla="val 50000"/>
            </a:avLst>
          </a:prstGeom>
          <a:solidFill>
            <a:srgbClr val="66CCFA">
              <a:alpha val="34901"/>
            </a:srgbClr>
          </a:solidFill>
          <a:ln>
            <a:noFill/>
          </a:ln>
          <a:effectLst>
            <a:outerShdw blurRad="38100" dist="12700" dir="5400000" algn="t" rotWithShape="0">
              <a:srgbClr val="000000">
                <a:alpha val="14509"/>
              </a:srgb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50" b="0" i="0" u="none" strike="noStrike" cap="none">
              <a:solidFill>
                <a:srgbClr val="FFFFFF"/>
              </a:solidFill>
              <a:latin typeface="Basic"/>
              <a:ea typeface="Basic"/>
              <a:cs typeface="Basic"/>
              <a:sym typeface="Basic"/>
            </a:endParaRPr>
          </a:p>
        </p:txBody>
      </p:sp>
      <p:sp>
        <p:nvSpPr>
          <p:cNvPr id="193" name="Shape 193"/>
          <p:cNvSpPr txBox="1"/>
          <p:nvPr/>
        </p:nvSpPr>
        <p:spPr>
          <a:xfrm>
            <a:off x="1386202" y="2810435"/>
            <a:ext cx="1453499" cy="601199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7A7"/>
              </a:buClr>
              <a:buFont typeface="Source Sans Pro"/>
              <a:buNone/>
            </a:pPr>
            <a:endParaRPr sz="1000" b="0" i="0" u="none" strike="noStrike" cap="none">
              <a:solidFill>
                <a:srgbClr val="27B2E5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7A7"/>
              </a:buClr>
              <a:buSzPct val="25000"/>
              <a:buFont typeface="Source Sans Pro"/>
              <a:buNone/>
            </a:pPr>
            <a:r>
              <a:rPr lang="es" sz="4000" b="0" i="0" u="none" strike="noStrike" cap="none">
                <a:solidFill>
                  <a:srgbClr val="0D8DCC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65</a:t>
            </a:r>
            <a:r>
              <a:rPr lang="es" sz="1800" b="0" i="0" u="none" strike="noStrike" cap="none">
                <a:solidFill>
                  <a:srgbClr val="0D8DCC"/>
                </a:solidFill>
                <a:latin typeface="Montserrat"/>
                <a:ea typeface="Montserrat"/>
                <a:cs typeface="Montserrat"/>
                <a:sym typeface="Montserrat"/>
              </a:rPr>
              <a:t>%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7A7"/>
              </a:buClr>
              <a:buFont typeface="Source Sans Pro"/>
              <a:buNone/>
            </a:pPr>
            <a:endParaRPr sz="900" b="1" i="0" u="none" strike="noStrike" cap="none">
              <a:solidFill>
                <a:srgbClr val="27B2E5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4" name="Shape 194"/>
          <p:cNvSpPr txBox="1"/>
          <p:nvPr/>
        </p:nvSpPr>
        <p:spPr>
          <a:xfrm>
            <a:off x="1392013" y="3304875"/>
            <a:ext cx="1310999" cy="4560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>
                <a:solidFill>
                  <a:srgbClr val="0D8DCC"/>
                </a:solidFill>
                <a:latin typeface="Montserrat"/>
                <a:ea typeface="Montserrat"/>
                <a:cs typeface="Montserrat"/>
                <a:sym typeface="Montserrat"/>
              </a:rPr>
              <a:t>DEL EMPLEO</a:t>
            </a:r>
          </a:p>
        </p:txBody>
      </p:sp>
      <p:sp>
        <p:nvSpPr>
          <p:cNvPr id="195" name="Shape 195"/>
          <p:cNvSpPr txBox="1"/>
          <p:nvPr/>
        </p:nvSpPr>
        <p:spPr>
          <a:xfrm>
            <a:off x="1155175" y="2148400"/>
            <a:ext cx="1761600" cy="2628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400" b="1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yME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300" b="1" i="0" u="none" strike="noStrike" cap="none">
              <a:solidFill>
                <a:srgbClr val="FFFFFF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196" name="Shape 196"/>
          <p:cNvCxnSpPr/>
          <p:nvPr/>
        </p:nvCxnSpPr>
        <p:spPr>
          <a:xfrm>
            <a:off x="711596" y="832784"/>
            <a:ext cx="0" cy="716400"/>
          </a:xfrm>
          <a:prstGeom prst="straightConnector1">
            <a:avLst/>
          </a:prstGeom>
          <a:noFill/>
          <a:ln w="9525" cap="flat" cmpd="sng">
            <a:solidFill>
              <a:srgbClr val="37475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7" name="Shape 197"/>
          <p:cNvSpPr txBox="1"/>
          <p:nvPr/>
        </p:nvSpPr>
        <p:spPr>
          <a:xfrm>
            <a:off x="1092575" y="675150"/>
            <a:ext cx="3534300" cy="10419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3000" b="0" i="0" u="none" strike="noStrike" cap="none">
                <a:solidFill>
                  <a:srgbClr val="374756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PyMEs</a:t>
            </a:r>
            <a:r>
              <a:rPr lang="es" sz="3000" b="0" i="0" u="none" strike="noStrike" cap="none">
                <a:solidFill>
                  <a:srgbClr val="00B0F0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3000" b="0" i="0" u="none" strike="noStrike" cap="none">
                <a:solidFill>
                  <a:srgbClr val="0C8DCC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EXPORTADORAS</a:t>
            </a:r>
          </a:p>
        </p:txBody>
      </p:sp>
      <p:sp>
        <p:nvSpPr>
          <p:cNvPr id="199" name="Shape 199"/>
          <p:cNvSpPr txBox="1"/>
          <p:nvPr/>
        </p:nvSpPr>
        <p:spPr>
          <a:xfrm>
            <a:off x="1092574" y="2120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200" name="Shape 200"/>
          <p:cNvSpPr/>
          <p:nvPr/>
        </p:nvSpPr>
        <p:spPr>
          <a:xfrm>
            <a:off x="3896949" y="2113150"/>
            <a:ext cx="2925300" cy="333300"/>
          </a:xfrm>
          <a:prstGeom prst="roundRect">
            <a:avLst>
              <a:gd name="adj" fmla="val 50000"/>
            </a:avLst>
          </a:prstGeom>
          <a:solidFill>
            <a:srgbClr val="0991D1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1" name="Shape 201"/>
          <p:cNvSpPr/>
          <p:nvPr/>
        </p:nvSpPr>
        <p:spPr>
          <a:xfrm>
            <a:off x="3965183" y="2566713"/>
            <a:ext cx="1311000" cy="1324800"/>
          </a:xfrm>
          <a:prstGeom prst="roundRect">
            <a:avLst>
              <a:gd name="adj" fmla="val 50000"/>
            </a:avLst>
          </a:prstGeom>
          <a:solidFill>
            <a:srgbClr val="66CCFA">
              <a:alpha val="34901"/>
            </a:srgbClr>
          </a:solidFill>
          <a:ln>
            <a:noFill/>
          </a:ln>
          <a:effectLst>
            <a:outerShdw blurRad="38100" dist="12700" dir="5400000" algn="t" rotWithShape="0">
              <a:srgbClr val="000000">
                <a:alpha val="14509"/>
              </a:srgb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50" b="0" i="0" u="none" strike="noStrike" cap="none">
              <a:solidFill>
                <a:srgbClr val="FFFFFF"/>
              </a:solidFill>
              <a:latin typeface="Basic"/>
              <a:ea typeface="Basic"/>
              <a:cs typeface="Basic"/>
              <a:sym typeface="Basic"/>
            </a:endParaRPr>
          </a:p>
        </p:txBody>
      </p:sp>
      <p:sp>
        <p:nvSpPr>
          <p:cNvPr id="202" name="Shape 202"/>
          <p:cNvSpPr txBox="1"/>
          <p:nvPr/>
        </p:nvSpPr>
        <p:spPr>
          <a:xfrm>
            <a:off x="3906106" y="2810435"/>
            <a:ext cx="1453500" cy="601199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7A7"/>
              </a:buClr>
              <a:buFont typeface="Source Sans Pro"/>
              <a:buNone/>
            </a:pPr>
            <a:endParaRPr sz="1000" b="0" i="0" u="none" strike="noStrike" cap="none">
              <a:solidFill>
                <a:srgbClr val="27B2E5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7A7"/>
              </a:buClr>
              <a:buSzPct val="25000"/>
              <a:buFont typeface="Source Sans Pro"/>
              <a:buNone/>
            </a:pPr>
            <a:r>
              <a:rPr lang="es" sz="4000" b="0" i="0" u="none" strike="noStrike" cap="none">
                <a:solidFill>
                  <a:srgbClr val="0D8DCC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+20</a:t>
            </a:r>
            <a:r>
              <a:rPr lang="es" sz="1800" b="0" i="0" u="none" strike="noStrike" cap="none">
                <a:solidFill>
                  <a:srgbClr val="0D8DCC"/>
                </a:solidFill>
                <a:latin typeface="Montserrat"/>
                <a:ea typeface="Montserrat"/>
                <a:cs typeface="Montserrat"/>
                <a:sym typeface="Montserrat"/>
              </a:rPr>
              <a:t>%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7A7"/>
              </a:buClr>
              <a:buFont typeface="Source Sans Pro"/>
              <a:buNone/>
            </a:pPr>
            <a:endParaRPr sz="900" b="1" i="0" u="none" strike="noStrike" cap="none">
              <a:solidFill>
                <a:srgbClr val="27B2E5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03" name="Shape 203"/>
          <p:cNvSpPr txBox="1"/>
          <p:nvPr/>
        </p:nvSpPr>
        <p:spPr>
          <a:xfrm>
            <a:off x="4066185" y="3304863"/>
            <a:ext cx="1045500" cy="4560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>
                <a:solidFill>
                  <a:srgbClr val="0D8DCC"/>
                </a:solidFill>
                <a:latin typeface="Montserrat"/>
                <a:ea typeface="Montserrat"/>
                <a:cs typeface="Montserrat"/>
                <a:sym typeface="Montserrat"/>
              </a:rPr>
              <a:t>SALARIOS</a:t>
            </a:r>
          </a:p>
        </p:txBody>
      </p:sp>
      <p:sp>
        <p:nvSpPr>
          <p:cNvPr id="204" name="Shape 204"/>
          <p:cNvSpPr txBox="1"/>
          <p:nvPr/>
        </p:nvSpPr>
        <p:spPr>
          <a:xfrm>
            <a:off x="4177899" y="2148400"/>
            <a:ext cx="2363400" cy="2628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400" b="1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yMEs EXPORTADORA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300" b="1" i="0" u="none" strike="noStrike" cap="none">
              <a:solidFill>
                <a:srgbClr val="FFFFFF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205" name="Shape 205"/>
          <p:cNvSpPr/>
          <p:nvPr/>
        </p:nvSpPr>
        <p:spPr>
          <a:xfrm>
            <a:off x="5418683" y="2566713"/>
            <a:ext cx="1311000" cy="1324800"/>
          </a:xfrm>
          <a:prstGeom prst="roundRect">
            <a:avLst>
              <a:gd name="adj" fmla="val 50000"/>
            </a:avLst>
          </a:prstGeom>
          <a:solidFill>
            <a:srgbClr val="66CCFA">
              <a:alpha val="34901"/>
            </a:srgbClr>
          </a:solidFill>
          <a:ln>
            <a:noFill/>
          </a:ln>
          <a:effectLst>
            <a:outerShdw blurRad="38100" dist="12700" dir="5400000" algn="t" rotWithShape="0">
              <a:srgbClr val="000000">
                <a:alpha val="14509"/>
              </a:srgbClr>
            </a:outerShdw>
          </a:effectLst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50" b="0" i="0" u="none" strike="noStrike" cap="none">
              <a:solidFill>
                <a:srgbClr val="FFFFFF"/>
              </a:solidFill>
              <a:latin typeface="Basic"/>
              <a:ea typeface="Basic"/>
              <a:cs typeface="Basic"/>
              <a:sym typeface="Basic"/>
            </a:endParaRPr>
          </a:p>
        </p:txBody>
      </p:sp>
      <p:sp>
        <p:nvSpPr>
          <p:cNvPr id="206" name="Shape 206"/>
          <p:cNvSpPr txBox="1"/>
          <p:nvPr/>
        </p:nvSpPr>
        <p:spPr>
          <a:xfrm>
            <a:off x="5359606" y="2971855"/>
            <a:ext cx="1453499" cy="601199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7A7"/>
              </a:buClr>
              <a:buFont typeface="Source Sans Pro"/>
              <a:buNone/>
            </a:pPr>
            <a:endParaRPr sz="1000" b="0" i="0" u="none" strike="noStrike" cap="none">
              <a:solidFill>
                <a:srgbClr val="27B2E5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7A7"/>
              </a:buClr>
              <a:buSzPct val="25000"/>
              <a:buFont typeface="Source Sans Pro"/>
              <a:buNone/>
            </a:pPr>
            <a:r>
              <a:rPr lang="es" sz="4000" b="0" i="0" u="none" strike="noStrike" cap="none">
                <a:solidFill>
                  <a:srgbClr val="0D8DCC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3X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7A7"/>
              </a:buClr>
              <a:buFont typeface="Source Sans Pro"/>
              <a:buNone/>
            </a:pPr>
            <a:endParaRPr sz="900" b="1" i="0" u="none" strike="noStrike" cap="none">
              <a:solidFill>
                <a:srgbClr val="27B2E5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07" name="Shape 207"/>
          <p:cNvSpPr txBox="1"/>
          <p:nvPr/>
        </p:nvSpPr>
        <p:spPr>
          <a:xfrm>
            <a:off x="5551435" y="2810413"/>
            <a:ext cx="1045500" cy="4560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>
                <a:solidFill>
                  <a:srgbClr val="0D8DCC"/>
                </a:solidFill>
                <a:latin typeface="Montserrat"/>
                <a:ea typeface="Montserrat"/>
                <a:cs typeface="Montserrat"/>
                <a:sym typeface="Montserrat"/>
              </a:rPr>
              <a:t>EMPLEAN</a:t>
            </a:r>
          </a:p>
        </p:txBody>
      </p:sp>
      <p:cxnSp>
        <p:nvCxnSpPr>
          <p:cNvPr id="208" name="Shape 208"/>
          <p:cNvCxnSpPr/>
          <p:nvPr/>
        </p:nvCxnSpPr>
        <p:spPr>
          <a:xfrm>
            <a:off x="1129300" y="4828900"/>
            <a:ext cx="7620300" cy="0"/>
          </a:xfrm>
          <a:prstGeom prst="straightConnector1">
            <a:avLst/>
          </a:prstGeom>
          <a:noFill/>
          <a:ln w="38100" cap="flat" cmpd="sng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09" name="Shape 209"/>
          <p:cNvSpPr txBox="1"/>
          <p:nvPr/>
        </p:nvSpPr>
        <p:spPr>
          <a:xfrm>
            <a:off x="1092574" y="2120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210" name="Shape 210"/>
          <p:cNvSpPr txBox="1"/>
          <p:nvPr/>
        </p:nvSpPr>
        <p:spPr>
          <a:xfrm>
            <a:off x="8351075" y="212050"/>
            <a:ext cx="500400" cy="2544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2018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cxnSp>
        <p:nvCxnSpPr>
          <p:cNvPr id="211" name="Shape 211"/>
          <p:cNvCxnSpPr/>
          <p:nvPr/>
        </p:nvCxnSpPr>
        <p:spPr>
          <a:xfrm>
            <a:off x="3528106" y="2113161"/>
            <a:ext cx="0" cy="1781999"/>
          </a:xfrm>
          <a:prstGeom prst="straightConnector1">
            <a:avLst/>
          </a:prstGeom>
          <a:noFill/>
          <a:ln w="28575" cap="flat" cmpd="sng">
            <a:solidFill>
              <a:srgbClr val="0BBEE7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12" name="Shape 212"/>
          <p:cNvSpPr txBox="1"/>
          <p:nvPr/>
        </p:nvSpPr>
        <p:spPr>
          <a:xfrm>
            <a:off x="4947174" y="4256700"/>
            <a:ext cx="6246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9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FUENTE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000000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213" name="Shape 213"/>
          <p:cNvSpPr txBox="1"/>
          <p:nvPr/>
        </p:nvSpPr>
        <p:spPr>
          <a:xfrm>
            <a:off x="5688775" y="4256710"/>
            <a:ext cx="1858800" cy="5031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" sz="9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Secretaría de Transformación Productiva en base a datos Aduana y SIPA</a:t>
            </a:r>
          </a:p>
        </p:txBody>
      </p:sp>
      <p:sp>
        <p:nvSpPr>
          <p:cNvPr id="214" name="Shape 214"/>
          <p:cNvSpPr txBox="1"/>
          <p:nvPr/>
        </p:nvSpPr>
        <p:spPr>
          <a:xfrm>
            <a:off x="1092574" y="2120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ESTRATEGIA DE EXPORTACIONES AGENCIA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215" name="Shape 215"/>
          <p:cNvSpPr/>
          <p:nvPr/>
        </p:nvSpPr>
        <p:spPr>
          <a:xfrm>
            <a:off x="1092500" y="1651575"/>
            <a:ext cx="3158100" cy="262800"/>
          </a:xfrm>
          <a:prstGeom prst="roundRect">
            <a:avLst>
              <a:gd name="adj" fmla="val 50000"/>
            </a:avLst>
          </a:prstGeom>
          <a:solidFill>
            <a:srgbClr val="374756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6" name="Shape 216"/>
          <p:cNvSpPr txBox="1"/>
          <p:nvPr/>
        </p:nvSpPr>
        <p:spPr>
          <a:xfrm>
            <a:off x="1129300" y="1655625"/>
            <a:ext cx="3121200" cy="2547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GENERACIÓN DE EMPLEO DE CALIDAD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300" b="0" i="0" u="none" strike="noStrike" cap="none">
              <a:solidFill>
                <a:srgbClr val="FFFFFF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EFEF"/>
        </a:solidFill>
        <a:effectLst/>
      </p:bgPr>
    </p:bg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Shape 230"/>
          <p:cNvSpPr txBox="1"/>
          <p:nvPr/>
        </p:nvSpPr>
        <p:spPr>
          <a:xfrm>
            <a:off x="1092574" y="2120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cxnSp>
        <p:nvCxnSpPr>
          <p:cNvPr id="231" name="Shape 231"/>
          <p:cNvCxnSpPr/>
          <p:nvPr/>
        </p:nvCxnSpPr>
        <p:spPr>
          <a:xfrm>
            <a:off x="1129300" y="4828900"/>
            <a:ext cx="7620300" cy="0"/>
          </a:xfrm>
          <a:prstGeom prst="straightConnector1">
            <a:avLst/>
          </a:prstGeom>
          <a:noFill/>
          <a:ln w="38100" cap="flat" cmpd="sng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32" name="Shape 232"/>
          <p:cNvSpPr txBox="1"/>
          <p:nvPr/>
        </p:nvSpPr>
        <p:spPr>
          <a:xfrm>
            <a:off x="1231800" y="2894800"/>
            <a:ext cx="7746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E</a:t>
            </a:r>
          </a:p>
        </p:txBody>
      </p:sp>
      <p:sp>
        <p:nvSpPr>
          <p:cNvPr id="233" name="Shape 233"/>
          <p:cNvSpPr txBox="1"/>
          <p:nvPr/>
        </p:nvSpPr>
        <p:spPr>
          <a:xfrm>
            <a:off x="8351075" y="212050"/>
            <a:ext cx="450000" cy="2544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2018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234" name="Shape 234"/>
          <p:cNvSpPr txBox="1"/>
          <p:nvPr/>
        </p:nvSpPr>
        <p:spPr>
          <a:xfrm>
            <a:off x="305377" y="1881425"/>
            <a:ext cx="9150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-AR" sz="11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LCANC</a:t>
            </a:r>
            <a:r>
              <a:rPr lang="es" sz="11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E</a:t>
            </a:r>
          </a:p>
        </p:txBody>
      </p:sp>
      <p:sp>
        <p:nvSpPr>
          <p:cNvPr id="235" name="Shape 235"/>
          <p:cNvSpPr txBox="1"/>
          <p:nvPr/>
        </p:nvSpPr>
        <p:spPr>
          <a:xfrm>
            <a:off x="7855125" y="2892125"/>
            <a:ext cx="9150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</a:t>
            </a:r>
            <a:r>
              <a:rPr lang="es" sz="1400" b="1" i="0" u="none" strike="noStrike" cap="none">
                <a:solidFill>
                  <a:srgbClr val="0BBEE7"/>
                </a:solidFill>
                <a:latin typeface="Montserrat"/>
                <a:ea typeface="Montserrat"/>
                <a:cs typeface="Montserrat"/>
                <a:sym typeface="Montserrat"/>
              </a:rPr>
              <a:t>Ex</a:t>
            </a:r>
          </a:p>
        </p:txBody>
      </p:sp>
      <p:sp>
        <p:nvSpPr>
          <p:cNvPr id="236" name="Shape 236"/>
          <p:cNvSpPr/>
          <p:nvPr/>
        </p:nvSpPr>
        <p:spPr>
          <a:xfrm>
            <a:off x="6961821" y="2769875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66CCFA">
              <a:alpha val="34901"/>
            </a:srgbClr>
          </a:solidFill>
          <a:ln>
            <a:noFill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7" name="Shape 237"/>
          <p:cNvSpPr/>
          <p:nvPr/>
        </p:nvSpPr>
        <p:spPr>
          <a:xfrm>
            <a:off x="6133115" y="2769875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8" name="Shape 238"/>
          <p:cNvSpPr/>
          <p:nvPr/>
        </p:nvSpPr>
        <p:spPr>
          <a:xfrm>
            <a:off x="5308540" y="2769875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" name="Shape 239"/>
          <p:cNvSpPr/>
          <p:nvPr/>
        </p:nvSpPr>
        <p:spPr>
          <a:xfrm>
            <a:off x="4501084" y="2769875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" name="Shape 240"/>
          <p:cNvSpPr/>
          <p:nvPr/>
        </p:nvSpPr>
        <p:spPr>
          <a:xfrm>
            <a:off x="3655288" y="2769875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" name="Shape 241"/>
          <p:cNvSpPr/>
          <p:nvPr/>
        </p:nvSpPr>
        <p:spPr>
          <a:xfrm>
            <a:off x="2814192" y="2769875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2" name="Shape 242"/>
          <p:cNvSpPr/>
          <p:nvPr/>
        </p:nvSpPr>
        <p:spPr>
          <a:xfrm>
            <a:off x="2257381" y="2769875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3" name="Shape 243"/>
          <p:cNvSpPr/>
          <p:nvPr/>
        </p:nvSpPr>
        <p:spPr>
          <a:xfrm>
            <a:off x="1954497" y="2783402"/>
            <a:ext cx="608400" cy="589500"/>
          </a:xfrm>
          <a:prstGeom prst="ellipse">
            <a:avLst/>
          </a:prstGeom>
          <a:solidFill>
            <a:srgbClr val="0991D1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4" name="Shape 244"/>
          <p:cNvSpPr txBox="1"/>
          <p:nvPr/>
        </p:nvSpPr>
        <p:spPr>
          <a:xfrm>
            <a:off x="1946162" y="2824025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 dirty="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Vis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 dirty="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exportadora</a:t>
            </a:r>
          </a:p>
        </p:txBody>
      </p:sp>
      <p:sp>
        <p:nvSpPr>
          <p:cNvPr id="245" name="Shape 245"/>
          <p:cNvSpPr txBox="1"/>
          <p:nvPr/>
        </p:nvSpPr>
        <p:spPr>
          <a:xfrm>
            <a:off x="2857095" y="2892125"/>
            <a:ext cx="1007399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Mercados</a:t>
            </a:r>
          </a:p>
        </p:txBody>
      </p:sp>
      <p:sp>
        <p:nvSpPr>
          <p:cNvPr id="246" name="Shape 246"/>
          <p:cNvSpPr txBox="1"/>
          <p:nvPr/>
        </p:nvSpPr>
        <p:spPr>
          <a:xfrm>
            <a:off x="3676751" y="2753581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Adecua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ducto</a:t>
            </a:r>
          </a:p>
        </p:txBody>
      </p:sp>
      <p:sp>
        <p:nvSpPr>
          <p:cNvPr id="247" name="Shape 247"/>
          <p:cNvSpPr txBox="1"/>
          <p:nvPr/>
        </p:nvSpPr>
        <p:spPr>
          <a:xfrm>
            <a:off x="4495114" y="2753581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apacidad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producción</a:t>
            </a:r>
          </a:p>
        </p:txBody>
      </p:sp>
      <p:sp>
        <p:nvSpPr>
          <p:cNvPr id="248" name="Shape 248"/>
          <p:cNvSpPr txBox="1"/>
          <p:nvPr/>
        </p:nvSpPr>
        <p:spPr>
          <a:xfrm>
            <a:off x="5432300" y="2892125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Negocios</a:t>
            </a:r>
          </a:p>
        </p:txBody>
      </p:sp>
      <p:sp>
        <p:nvSpPr>
          <p:cNvPr id="249" name="Shape 249"/>
          <p:cNvSpPr txBox="1"/>
          <p:nvPr/>
        </p:nvSpPr>
        <p:spPr>
          <a:xfrm>
            <a:off x="6240512" y="2884102"/>
            <a:ext cx="839399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Logística</a:t>
            </a:r>
          </a:p>
        </p:txBody>
      </p:sp>
      <p:sp>
        <p:nvSpPr>
          <p:cNvPr id="250" name="Shape 250"/>
          <p:cNvSpPr txBox="1"/>
          <p:nvPr/>
        </p:nvSpPr>
        <p:spPr>
          <a:xfrm>
            <a:off x="7073664" y="2904193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Cobranza</a:t>
            </a:r>
          </a:p>
        </p:txBody>
      </p:sp>
      <p:sp>
        <p:nvSpPr>
          <p:cNvPr id="251" name="Shape 251"/>
          <p:cNvSpPr/>
          <p:nvPr/>
        </p:nvSpPr>
        <p:spPr>
          <a:xfrm>
            <a:off x="1954499" y="1664975"/>
            <a:ext cx="2727000" cy="6384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ct val="25000"/>
              <a:buFont typeface="Montserrat"/>
              <a:buNone/>
            </a:pPr>
            <a:r>
              <a:rPr lang="es" sz="1200" b="1" i="0" u="none" strike="noStrike" cap="none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PyMEs exportadoras y no exportadoras</a:t>
            </a:r>
          </a:p>
        </p:txBody>
      </p:sp>
      <p:sp>
        <p:nvSpPr>
          <p:cNvPr id="252" name="Shape 252"/>
          <p:cNvSpPr/>
          <p:nvPr/>
        </p:nvSpPr>
        <p:spPr>
          <a:xfrm>
            <a:off x="4295161" y="1664982"/>
            <a:ext cx="3113699" cy="6384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ct val="25000"/>
              <a:buFont typeface="Montserrat"/>
              <a:buNone/>
            </a:pPr>
            <a:r>
              <a:rPr lang="es" sz="1200" b="1" i="0" u="none" strike="noStrike" cap="none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Valor Agregado </a:t>
            </a:r>
            <a:br>
              <a:rPr lang="es" sz="1200" b="1" i="0" u="none" strike="noStrike" cap="none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es" sz="1200" b="1" i="0" u="none" strike="noStrike" cap="none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28 sectores</a:t>
            </a:r>
          </a:p>
        </p:txBody>
      </p:sp>
      <p:cxnSp>
        <p:nvCxnSpPr>
          <p:cNvPr id="253" name="Shape 253"/>
          <p:cNvCxnSpPr/>
          <p:nvPr/>
        </p:nvCxnSpPr>
        <p:spPr>
          <a:xfrm>
            <a:off x="2010600" y="2205650"/>
            <a:ext cx="21645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54" name="Shape 254"/>
          <p:cNvCxnSpPr/>
          <p:nvPr/>
        </p:nvCxnSpPr>
        <p:spPr>
          <a:xfrm>
            <a:off x="4379350" y="2205650"/>
            <a:ext cx="34758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55" name="Shape 255"/>
          <p:cNvCxnSpPr/>
          <p:nvPr/>
        </p:nvCxnSpPr>
        <p:spPr>
          <a:xfrm flipH="1">
            <a:off x="2365600" y="3550400"/>
            <a:ext cx="9900" cy="56010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triangle" w="lg" len="lg"/>
            <a:tailEnd type="none" w="med" len="med"/>
          </a:ln>
        </p:spPr>
      </p:cxnSp>
      <p:sp>
        <p:nvSpPr>
          <p:cNvPr id="256" name="Shape 256"/>
          <p:cNvSpPr txBox="1"/>
          <p:nvPr/>
        </p:nvSpPr>
        <p:spPr>
          <a:xfrm>
            <a:off x="2839870" y="3687662"/>
            <a:ext cx="1007399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Mercados</a:t>
            </a:r>
          </a:p>
        </p:txBody>
      </p:sp>
      <p:sp>
        <p:nvSpPr>
          <p:cNvPr id="257" name="Shape 257"/>
          <p:cNvSpPr/>
          <p:nvPr/>
        </p:nvSpPr>
        <p:spPr>
          <a:xfrm>
            <a:off x="1931999" y="4179275"/>
            <a:ext cx="5127600" cy="333300"/>
          </a:xfrm>
          <a:prstGeom prst="roundRect">
            <a:avLst>
              <a:gd name="adj" fmla="val 50000"/>
            </a:avLst>
          </a:prstGeom>
          <a:solidFill>
            <a:srgbClr val="99999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  <p:sp>
        <p:nvSpPr>
          <p:cNvPr id="258" name="Shape 258"/>
          <p:cNvSpPr/>
          <p:nvPr/>
        </p:nvSpPr>
        <p:spPr>
          <a:xfrm>
            <a:off x="5291290" y="3553325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99999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" name="Shape 259"/>
          <p:cNvSpPr txBox="1"/>
          <p:nvPr/>
        </p:nvSpPr>
        <p:spPr>
          <a:xfrm>
            <a:off x="5289000" y="3653748"/>
            <a:ext cx="11265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mo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800" b="0" i="0" u="none" strike="noStrike" cap="none">
              <a:solidFill>
                <a:srgbClr val="FFFFFF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260" name="Shape 260"/>
          <p:cNvSpPr/>
          <p:nvPr/>
        </p:nvSpPr>
        <p:spPr>
          <a:xfrm>
            <a:off x="4483859" y="3554637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99999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1" name="Shape 261"/>
          <p:cNvSpPr txBox="1"/>
          <p:nvPr/>
        </p:nvSpPr>
        <p:spPr>
          <a:xfrm>
            <a:off x="4462389" y="3682037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inanciamiento</a:t>
            </a:r>
          </a:p>
        </p:txBody>
      </p:sp>
      <p:sp>
        <p:nvSpPr>
          <p:cNvPr id="262" name="Shape 262"/>
          <p:cNvSpPr/>
          <p:nvPr/>
        </p:nvSpPr>
        <p:spPr>
          <a:xfrm>
            <a:off x="3638063" y="3554637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99999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3" name="Shape 263"/>
          <p:cNvSpPr/>
          <p:nvPr/>
        </p:nvSpPr>
        <p:spPr>
          <a:xfrm>
            <a:off x="2796967" y="3554637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99999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4" name="Shape 264"/>
          <p:cNvSpPr txBox="1"/>
          <p:nvPr/>
        </p:nvSpPr>
        <p:spPr>
          <a:xfrm>
            <a:off x="2797839" y="3644494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Inteligencia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</p:txBody>
      </p:sp>
      <p:sp>
        <p:nvSpPr>
          <p:cNvPr id="265" name="Shape 265"/>
          <p:cNvSpPr txBox="1"/>
          <p:nvPr/>
        </p:nvSpPr>
        <p:spPr>
          <a:xfrm>
            <a:off x="3681149" y="3682045"/>
            <a:ext cx="9642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ertificaciones</a:t>
            </a:r>
          </a:p>
        </p:txBody>
      </p:sp>
      <p:sp>
        <p:nvSpPr>
          <p:cNvPr id="266" name="Shape 266"/>
          <p:cNvSpPr/>
          <p:nvPr/>
        </p:nvSpPr>
        <p:spPr>
          <a:xfrm>
            <a:off x="2240156" y="3554637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99999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7" name="Shape 267"/>
          <p:cNvSpPr/>
          <p:nvPr/>
        </p:nvSpPr>
        <p:spPr>
          <a:xfrm>
            <a:off x="1937272" y="3557532"/>
            <a:ext cx="608400" cy="589500"/>
          </a:xfrm>
          <a:prstGeom prst="ellipse">
            <a:avLst/>
          </a:prstGeom>
          <a:solidFill>
            <a:srgbClr val="99999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Shape 268"/>
          <p:cNvSpPr txBox="1"/>
          <p:nvPr/>
        </p:nvSpPr>
        <p:spPr>
          <a:xfrm>
            <a:off x="1928925" y="3672458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ormación</a:t>
            </a:r>
          </a:p>
        </p:txBody>
      </p:sp>
      <p:sp>
        <p:nvSpPr>
          <p:cNvPr id="269" name="Shape 269"/>
          <p:cNvSpPr txBox="1"/>
          <p:nvPr/>
        </p:nvSpPr>
        <p:spPr>
          <a:xfrm>
            <a:off x="-6863" y="2788800"/>
            <a:ext cx="1231200" cy="5601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1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CICLO</a:t>
            </a:r>
          </a:p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1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EXPORTADOR</a:t>
            </a:r>
          </a:p>
        </p:txBody>
      </p:sp>
      <p:cxnSp>
        <p:nvCxnSpPr>
          <p:cNvPr id="270" name="Shape 270"/>
          <p:cNvCxnSpPr/>
          <p:nvPr/>
        </p:nvCxnSpPr>
        <p:spPr>
          <a:xfrm>
            <a:off x="1208815" y="1739375"/>
            <a:ext cx="1800" cy="5640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71" name="Shape 271"/>
          <p:cNvCxnSpPr/>
          <p:nvPr/>
        </p:nvCxnSpPr>
        <p:spPr>
          <a:xfrm>
            <a:off x="1220875" y="2768400"/>
            <a:ext cx="0" cy="630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72" name="Shape 272"/>
          <p:cNvCxnSpPr/>
          <p:nvPr/>
        </p:nvCxnSpPr>
        <p:spPr>
          <a:xfrm>
            <a:off x="1219000" y="3526062"/>
            <a:ext cx="1800" cy="1013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73" name="Shape 273"/>
          <p:cNvSpPr txBox="1"/>
          <p:nvPr/>
        </p:nvSpPr>
        <p:spPr>
          <a:xfrm>
            <a:off x="-4025" y="3746500"/>
            <a:ext cx="1231200" cy="5601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1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HERRAMIENTAS DE APOYO</a:t>
            </a:r>
          </a:p>
        </p:txBody>
      </p:sp>
      <p:sp>
        <p:nvSpPr>
          <p:cNvPr id="274" name="Shape 274"/>
          <p:cNvSpPr txBox="1"/>
          <p:nvPr/>
        </p:nvSpPr>
        <p:spPr>
          <a:xfrm>
            <a:off x="1092575" y="212050"/>
            <a:ext cx="41964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TRANSFORMACIÓN A UNA AGENCIA MODERNA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275" name="Shape 275"/>
          <p:cNvSpPr txBox="1"/>
          <p:nvPr/>
        </p:nvSpPr>
        <p:spPr>
          <a:xfrm>
            <a:off x="1092575" y="675150"/>
            <a:ext cx="6071400" cy="4842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3000" b="0" i="0" u="none" strike="noStrike" cap="none">
                <a:solidFill>
                  <a:srgbClr val="374756"/>
                </a:solidFill>
                <a:latin typeface="Montserrat Black"/>
                <a:ea typeface="Montserrat Black"/>
                <a:cs typeface="Montserrat Black"/>
                <a:sym typeface="Montserrat Black"/>
              </a:rPr>
              <a:t>ROL AAICI</a:t>
            </a:r>
          </a:p>
        </p:txBody>
      </p:sp>
      <p:sp>
        <p:nvSpPr>
          <p:cNvPr id="276" name="Shape 276"/>
          <p:cNvSpPr/>
          <p:nvPr/>
        </p:nvSpPr>
        <p:spPr>
          <a:xfrm>
            <a:off x="1092500" y="1188875"/>
            <a:ext cx="4196400" cy="262800"/>
          </a:xfrm>
          <a:prstGeom prst="roundRect">
            <a:avLst>
              <a:gd name="adj" fmla="val 50000"/>
            </a:avLst>
          </a:prstGeom>
          <a:solidFill>
            <a:srgbClr val="374756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7" name="Shape 277"/>
          <p:cNvSpPr txBox="1"/>
          <p:nvPr/>
        </p:nvSpPr>
        <p:spPr>
          <a:xfrm>
            <a:off x="1129299" y="1192925"/>
            <a:ext cx="4803667" cy="230543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 dirty="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ACILITACIÓN DE NEGOCIOS Y ASESORÍA INTEGRAL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FEFEF"/>
        </a:solidFill>
        <a:effectLst/>
      </p:bgPr>
    </p:bg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Shape 330"/>
          <p:cNvSpPr/>
          <p:nvPr/>
        </p:nvSpPr>
        <p:spPr>
          <a:xfrm>
            <a:off x="5821400" y="3053000"/>
            <a:ext cx="2033700" cy="1558200"/>
          </a:xfrm>
          <a:prstGeom prst="roundRect">
            <a:avLst>
              <a:gd name="adj" fmla="val 8977"/>
            </a:avLst>
          </a:prstGeom>
          <a:solidFill>
            <a:srgbClr val="FFFFFF"/>
          </a:solidFill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200" b="1" i="0" u="none" strike="noStrike" cap="none">
              <a:solidFill>
                <a:srgbClr val="44546A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31" name="Shape 331"/>
          <p:cNvSpPr txBox="1"/>
          <p:nvPr/>
        </p:nvSpPr>
        <p:spPr>
          <a:xfrm>
            <a:off x="1092574" y="2120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cxnSp>
        <p:nvCxnSpPr>
          <p:cNvPr id="332" name="Shape 332"/>
          <p:cNvCxnSpPr/>
          <p:nvPr/>
        </p:nvCxnSpPr>
        <p:spPr>
          <a:xfrm>
            <a:off x="1129300" y="4828900"/>
            <a:ext cx="7620300" cy="0"/>
          </a:xfrm>
          <a:prstGeom prst="straightConnector1">
            <a:avLst/>
          </a:prstGeom>
          <a:noFill/>
          <a:ln w="38100" cap="flat" cmpd="sng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33" name="Shape 333"/>
          <p:cNvSpPr txBox="1"/>
          <p:nvPr/>
        </p:nvSpPr>
        <p:spPr>
          <a:xfrm>
            <a:off x="1129300" y="984250"/>
            <a:ext cx="7746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E</a:t>
            </a:r>
          </a:p>
        </p:txBody>
      </p:sp>
      <p:sp>
        <p:nvSpPr>
          <p:cNvPr id="334" name="Shape 334"/>
          <p:cNvSpPr txBox="1"/>
          <p:nvPr/>
        </p:nvSpPr>
        <p:spPr>
          <a:xfrm>
            <a:off x="8351075" y="212050"/>
            <a:ext cx="450000" cy="2544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2018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335" name="Shape 335"/>
          <p:cNvSpPr txBox="1"/>
          <p:nvPr/>
        </p:nvSpPr>
        <p:spPr>
          <a:xfrm>
            <a:off x="1092575" y="212050"/>
            <a:ext cx="48315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COMPAÑAMIENTO EN PROCESO EXPORTADOR</a:t>
            </a:r>
          </a:p>
        </p:txBody>
      </p:sp>
      <p:sp>
        <p:nvSpPr>
          <p:cNvPr id="336" name="Shape 336"/>
          <p:cNvSpPr txBox="1"/>
          <p:nvPr/>
        </p:nvSpPr>
        <p:spPr>
          <a:xfrm>
            <a:off x="7855125" y="984250"/>
            <a:ext cx="9150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</a:t>
            </a:r>
            <a:r>
              <a:rPr lang="es" sz="1400" b="1" i="0" u="none" strike="noStrike" cap="none">
                <a:solidFill>
                  <a:srgbClr val="27B2E5"/>
                </a:solidFill>
                <a:latin typeface="Montserrat"/>
                <a:ea typeface="Montserrat"/>
                <a:cs typeface="Montserrat"/>
                <a:sym typeface="Montserrat"/>
              </a:rPr>
              <a:t>Ex</a:t>
            </a:r>
          </a:p>
        </p:txBody>
      </p:sp>
      <p:sp>
        <p:nvSpPr>
          <p:cNvPr id="337" name="Shape 337"/>
          <p:cNvSpPr/>
          <p:nvPr/>
        </p:nvSpPr>
        <p:spPr>
          <a:xfrm>
            <a:off x="6961821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>
            <a:noFill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" name="Shape 338"/>
          <p:cNvSpPr/>
          <p:nvPr/>
        </p:nvSpPr>
        <p:spPr>
          <a:xfrm>
            <a:off x="6133115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9" name="Shape 339"/>
          <p:cNvSpPr/>
          <p:nvPr/>
        </p:nvSpPr>
        <p:spPr>
          <a:xfrm>
            <a:off x="5308540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0" name="Shape 340"/>
          <p:cNvSpPr/>
          <p:nvPr/>
        </p:nvSpPr>
        <p:spPr>
          <a:xfrm>
            <a:off x="4501084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1" name="Shape 341"/>
          <p:cNvSpPr/>
          <p:nvPr/>
        </p:nvSpPr>
        <p:spPr>
          <a:xfrm>
            <a:off x="3655288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2" name="Shape 342"/>
          <p:cNvSpPr/>
          <p:nvPr/>
        </p:nvSpPr>
        <p:spPr>
          <a:xfrm>
            <a:off x="2814192" y="8620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3" name="Shape 343"/>
          <p:cNvSpPr/>
          <p:nvPr/>
        </p:nvSpPr>
        <p:spPr>
          <a:xfrm>
            <a:off x="2257381" y="8620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4" name="Shape 344"/>
          <p:cNvSpPr/>
          <p:nvPr/>
        </p:nvSpPr>
        <p:spPr>
          <a:xfrm>
            <a:off x="1954497" y="875527"/>
            <a:ext cx="608400" cy="583200"/>
          </a:xfrm>
          <a:prstGeom prst="ellipse">
            <a:avLst/>
          </a:prstGeom>
          <a:solidFill>
            <a:srgbClr val="0991D1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5" name="Shape 345"/>
          <p:cNvSpPr txBox="1"/>
          <p:nvPr/>
        </p:nvSpPr>
        <p:spPr>
          <a:xfrm>
            <a:off x="1946162" y="916150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Vis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exportadora</a:t>
            </a:r>
          </a:p>
        </p:txBody>
      </p:sp>
      <p:sp>
        <p:nvSpPr>
          <p:cNvPr id="346" name="Shape 346"/>
          <p:cNvSpPr txBox="1"/>
          <p:nvPr/>
        </p:nvSpPr>
        <p:spPr>
          <a:xfrm>
            <a:off x="2857095" y="984250"/>
            <a:ext cx="1007399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Mercados</a:t>
            </a:r>
          </a:p>
        </p:txBody>
      </p:sp>
      <p:sp>
        <p:nvSpPr>
          <p:cNvPr id="347" name="Shape 347"/>
          <p:cNvSpPr txBox="1"/>
          <p:nvPr/>
        </p:nvSpPr>
        <p:spPr>
          <a:xfrm>
            <a:off x="3676751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Adecua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ducto</a:t>
            </a:r>
          </a:p>
        </p:txBody>
      </p:sp>
      <p:sp>
        <p:nvSpPr>
          <p:cNvPr id="348" name="Shape 348"/>
          <p:cNvSpPr txBox="1"/>
          <p:nvPr/>
        </p:nvSpPr>
        <p:spPr>
          <a:xfrm>
            <a:off x="4495114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apacidad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producción</a:t>
            </a:r>
          </a:p>
        </p:txBody>
      </p:sp>
      <p:sp>
        <p:nvSpPr>
          <p:cNvPr id="349" name="Shape 349"/>
          <p:cNvSpPr txBox="1"/>
          <p:nvPr/>
        </p:nvSpPr>
        <p:spPr>
          <a:xfrm>
            <a:off x="5432300" y="984250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Negocios</a:t>
            </a:r>
          </a:p>
        </p:txBody>
      </p:sp>
      <p:sp>
        <p:nvSpPr>
          <p:cNvPr id="350" name="Shape 350"/>
          <p:cNvSpPr txBox="1"/>
          <p:nvPr/>
        </p:nvSpPr>
        <p:spPr>
          <a:xfrm>
            <a:off x="6240512" y="984239"/>
            <a:ext cx="839399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Logística</a:t>
            </a:r>
          </a:p>
        </p:txBody>
      </p:sp>
      <p:sp>
        <p:nvSpPr>
          <p:cNvPr id="351" name="Shape 351"/>
          <p:cNvSpPr txBox="1"/>
          <p:nvPr/>
        </p:nvSpPr>
        <p:spPr>
          <a:xfrm>
            <a:off x="7073664" y="996318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 dirty="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branza</a:t>
            </a:r>
          </a:p>
        </p:txBody>
      </p:sp>
      <p:sp>
        <p:nvSpPr>
          <p:cNvPr id="352" name="Shape 352"/>
          <p:cNvSpPr/>
          <p:nvPr/>
        </p:nvSpPr>
        <p:spPr>
          <a:xfrm>
            <a:off x="5308540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3" name="Shape 353"/>
          <p:cNvSpPr/>
          <p:nvPr/>
        </p:nvSpPr>
        <p:spPr>
          <a:xfrm>
            <a:off x="4501084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4" name="Shape 354"/>
          <p:cNvSpPr/>
          <p:nvPr/>
        </p:nvSpPr>
        <p:spPr>
          <a:xfrm>
            <a:off x="3655288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5" name="Shape 355"/>
          <p:cNvSpPr/>
          <p:nvPr/>
        </p:nvSpPr>
        <p:spPr>
          <a:xfrm>
            <a:off x="2814192" y="15399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6" name="Shape 356"/>
          <p:cNvSpPr/>
          <p:nvPr/>
        </p:nvSpPr>
        <p:spPr>
          <a:xfrm>
            <a:off x="2257381" y="15399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99999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7" name="Shape 357"/>
          <p:cNvSpPr/>
          <p:nvPr/>
        </p:nvSpPr>
        <p:spPr>
          <a:xfrm>
            <a:off x="1954497" y="1553427"/>
            <a:ext cx="608400" cy="583200"/>
          </a:xfrm>
          <a:prstGeom prst="ellipse">
            <a:avLst/>
          </a:prstGeom>
          <a:solidFill>
            <a:srgbClr val="99999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8" name="Shape 358"/>
          <p:cNvSpPr txBox="1"/>
          <p:nvPr/>
        </p:nvSpPr>
        <p:spPr>
          <a:xfrm>
            <a:off x="1946150" y="1657721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ormación</a:t>
            </a:r>
          </a:p>
        </p:txBody>
      </p:sp>
      <p:sp>
        <p:nvSpPr>
          <p:cNvPr id="359" name="Shape 359"/>
          <p:cNvSpPr txBox="1"/>
          <p:nvPr/>
        </p:nvSpPr>
        <p:spPr>
          <a:xfrm>
            <a:off x="2815064" y="1629756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Inteligencia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</p:txBody>
      </p:sp>
      <p:sp>
        <p:nvSpPr>
          <p:cNvPr id="360" name="Shape 360"/>
          <p:cNvSpPr txBox="1"/>
          <p:nvPr/>
        </p:nvSpPr>
        <p:spPr>
          <a:xfrm>
            <a:off x="3698374" y="1667308"/>
            <a:ext cx="9642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ertificaciones</a:t>
            </a:r>
          </a:p>
        </p:txBody>
      </p:sp>
      <p:sp>
        <p:nvSpPr>
          <p:cNvPr id="361" name="Shape 361"/>
          <p:cNvSpPr txBox="1"/>
          <p:nvPr/>
        </p:nvSpPr>
        <p:spPr>
          <a:xfrm>
            <a:off x="4479614" y="1667300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inanciamiento</a:t>
            </a:r>
          </a:p>
        </p:txBody>
      </p:sp>
      <p:sp>
        <p:nvSpPr>
          <p:cNvPr id="362" name="Shape 362"/>
          <p:cNvSpPr txBox="1"/>
          <p:nvPr/>
        </p:nvSpPr>
        <p:spPr>
          <a:xfrm>
            <a:off x="5265472" y="1634141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mo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800" b="0" i="0" u="none" strike="noStrike" cap="none">
              <a:solidFill>
                <a:srgbClr val="FFFFFF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63" name="Shape 363"/>
          <p:cNvSpPr/>
          <p:nvPr/>
        </p:nvSpPr>
        <p:spPr>
          <a:xfrm>
            <a:off x="1946149" y="2217800"/>
            <a:ext cx="5127600" cy="333300"/>
          </a:xfrm>
          <a:prstGeom prst="roundRect">
            <a:avLst>
              <a:gd name="adj" fmla="val 50000"/>
            </a:avLst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  <p:sp>
        <p:nvSpPr>
          <p:cNvPr id="364" name="Shape 364"/>
          <p:cNvSpPr/>
          <p:nvPr/>
        </p:nvSpPr>
        <p:spPr>
          <a:xfrm>
            <a:off x="1954500" y="2685439"/>
            <a:ext cx="915000" cy="2055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ct val="25000"/>
              <a:buFont typeface="Montserrat"/>
              <a:buNone/>
            </a:pPr>
            <a:r>
              <a:rPr lang="es" sz="1200" b="1" i="0" u="none" strike="noStrike" cap="none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Acciones</a:t>
            </a:r>
          </a:p>
        </p:txBody>
      </p:sp>
      <p:cxnSp>
        <p:nvCxnSpPr>
          <p:cNvPr id="365" name="Shape 365"/>
          <p:cNvCxnSpPr/>
          <p:nvPr/>
        </p:nvCxnSpPr>
        <p:spPr>
          <a:xfrm>
            <a:off x="2010600" y="2968727"/>
            <a:ext cx="35526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366" name="Shape 366"/>
          <p:cNvCxnSpPr/>
          <p:nvPr/>
        </p:nvCxnSpPr>
        <p:spPr>
          <a:xfrm>
            <a:off x="5821400" y="2968725"/>
            <a:ext cx="20337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67" name="Shape 367"/>
          <p:cNvSpPr/>
          <p:nvPr/>
        </p:nvSpPr>
        <p:spPr>
          <a:xfrm>
            <a:off x="5821399" y="2685450"/>
            <a:ext cx="2787000" cy="2055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ct val="25000"/>
              <a:buFont typeface="Montserrat"/>
              <a:buNone/>
            </a:pPr>
            <a:r>
              <a:rPr lang="es" sz="1200" b="1" i="0" u="none" strike="noStrike" cap="none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Organismos articulados</a:t>
            </a:r>
          </a:p>
        </p:txBody>
      </p:sp>
      <p:sp>
        <p:nvSpPr>
          <p:cNvPr id="368" name="Shape 368"/>
          <p:cNvSpPr txBox="1"/>
          <p:nvPr/>
        </p:nvSpPr>
        <p:spPr>
          <a:xfrm>
            <a:off x="1870750" y="2972927"/>
            <a:ext cx="3809100" cy="1035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2413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116</a:t>
            </a:r>
            <a:r>
              <a:rPr lang="es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workshops a 2.700 PyMEs – Academia PyME</a:t>
            </a:r>
          </a:p>
          <a:p>
            <a:pPr marL="241300" marR="0" lvl="0" indent="-215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asaporte Emprendedo</a:t>
            </a:r>
            <a:r>
              <a:rPr lang="es-AR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r</a:t>
            </a:r>
            <a:endParaRPr lang="es" sz="1000" b="0" i="0" u="none" strike="noStrike" cap="none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241300" marR="0" lvl="0" indent="-215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Buenas Prácticas Exportadoras, 200 PyMEs</a:t>
            </a:r>
          </a:p>
          <a:p>
            <a:pPr marL="241300" marR="0" lvl="0" indent="-215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ujeres Exportadoras</a:t>
            </a:r>
          </a:p>
        </p:txBody>
      </p:sp>
      <p:pic>
        <p:nvPicPr>
          <p:cNvPr id="369" name="Shape 369" descr="Resultado de imagen para Endeavor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581001" y="3209125"/>
            <a:ext cx="1164600" cy="49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0" name="Shape 370" descr="Resultado de imagen para inti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984586" y="3236714"/>
            <a:ext cx="492000" cy="49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1" name="Shape 371" descr="Imagen relacionada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775242" y="3877979"/>
            <a:ext cx="776100" cy="542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2" name="Shape 372" descr="Resultado de imagen para academia pyme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984563" y="3794586"/>
            <a:ext cx="708900" cy="7089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73" name="Shape 373"/>
          <p:cNvCxnSpPr/>
          <p:nvPr/>
        </p:nvCxnSpPr>
        <p:spPr>
          <a:xfrm>
            <a:off x="711596" y="832784"/>
            <a:ext cx="0" cy="1160100"/>
          </a:xfrm>
          <a:prstGeom prst="straightConnector1">
            <a:avLst/>
          </a:prstGeom>
          <a:noFill/>
          <a:ln w="9525" cap="flat" cmpd="sng">
            <a:solidFill>
              <a:srgbClr val="37475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74" name="Shape 374"/>
          <p:cNvSpPr txBox="1"/>
          <p:nvPr/>
        </p:nvSpPr>
        <p:spPr>
          <a:xfrm>
            <a:off x="218550" y="794800"/>
            <a:ext cx="450000" cy="179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fld id="{00000000-1234-1234-1234-123412341234}" type="slidenum"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74756"/>
                </a:buClr>
                <a:buSzPct val="25000"/>
                <a:buFont typeface="Montserrat"/>
                <a:buNone/>
              </a:pPr>
              <a:t>5</a:t>
            </a:fld>
            <a:endParaRPr lang="es" sz="1200" b="0" i="0" u="none" strike="noStrike" cap="none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FEFEF"/>
        </a:solidFill>
        <a:effectLst/>
      </p:bgPr>
    </p:bg>
    <p:spTree>
      <p:nvGrpSpPr>
        <p:cNvPr id="1" name="Shape 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Shape 395"/>
          <p:cNvSpPr txBox="1"/>
          <p:nvPr/>
        </p:nvSpPr>
        <p:spPr>
          <a:xfrm>
            <a:off x="1092574" y="2120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396" name="Shape 396"/>
          <p:cNvSpPr txBox="1"/>
          <p:nvPr/>
        </p:nvSpPr>
        <p:spPr>
          <a:xfrm>
            <a:off x="1129300" y="984250"/>
            <a:ext cx="7746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E</a:t>
            </a:r>
          </a:p>
        </p:txBody>
      </p:sp>
      <p:sp>
        <p:nvSpPr>
          <p:cNvPr id="397" name="Shape 397"/>
          <p:cNvSpPr txBox="1"/>
          <p:nvPr/>
        </p:nvSpPr>
        <p:spPr>
          <a:xfrm>
            <a:off x="8351075" y="212050"/>
            <a:ext cx="450000" cy="2544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2018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398" name="Shape 398"/>
          <p:cNvSpPr txBox="1"/>
          <p:nvPr/>
        </p:nvSpPr>
        <p:spPr>
          <a:xfrm>
            <a:off x="1092575" y="212050"/>
            <a:ext cx="44100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COMPAÑAMIENTO EN PROCESO EXPORTADO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399" name="Shape 399"/>
          <p:cNvSpPr txBox="1"/>
          <p:nvPr/>
        </p:nvSpPr>
        <p:spPr>
          <a:xfrm>
            <a:off x="7855125" y="984250"/>
            <a:ext cx="9150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</a:t>
            </a:r>
            <a:r>
              <a:rPr lang="es" sz="1400" b="1" i="0" u="none" strike="noStrike" cap="none">
                <a:solidFill>
                  <a:srgbClr val="00BCF1"/>
                </a:solidFill>
                <a:latin typeface="Montserrat"/>
                <a:ea typeface="Montserrat"/>
                <a:cs typeface="Montserrat"/>
                <a:sym typeface="Montserrat"/>
              </a:rPr>
              <a:t>Ex</a:t>
            </a:r>
          </a:p>
        </p:txBody>
      </p:sp>
      <p:sp>
        <p:nvSpPr>
          <p:cNvPr id="400" name="Shape 400"/>
          <p:cNvSpPr/>
          <p:nvPr/>
        </p:nvSpPr>
        <p:spPr>
          <a:xfrm>
            <a:off x="6961821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>
            <a:noFill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1" name="Shape 401"/>
          <p:cNvSpPr/>
          <p:nvPr/>
        </p:nvSpPr>
        <p:spPr>
          <a:xfrm>
            <a:off x="6133115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2" name="Shape 402"/>
          <p:cNvSpPr/>
          <p:nvPr/>
        </p:nvSpPr>
        <p:spPr>
          <a:xfrm>
            <a:off x="5308540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3" name="Shape 403"/>
          <p:cNvSpPr/>
          <p:nvPr/>
        </p:nvSpPr>
        <p:spPr>
          <a:xfrm>
            <a:off x="4501084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4" name="Shape 404"/>
          <p:cNvSpPr/>
          <p:nvPr/>
        </p:nvSpPr>
        <p:spPr>
          <a:xfrm>
            <a:off x="3655288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5" name="Shape 405"/>
          <p:cNvSpPr/>
          <p:nvPr/>
        </p:nvSpPr>
        <p:spPr>
          <a:xfrm>
            <a:off x="2814192" y="8620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6" name="Shape 406"/>
          <p:cNvSpPr/>
          <p:nvPr/>
        </p:nvSpPr>
        <p:spPr>
          <a:xfrm>
            <a:off x="2257381" y="8620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" name="Shape 407"/>
          <p:cNvSpPr/>
          <p:nvPr/>
        </p:nvSpPr>
        <p:spPr>
          <a:xfrm>
            <a:off x="1954497" y="864894"/>
            <a:ext cx="608400" cy="589500"/>
          </a:xfrm>
          <a:prstGeom prst="ellipse">
            <a:avLst/>
          </a:prstGeom>
          <a:solidFill>
            <a:srgbClr val="B8E4FA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8" name="Shape 408"/>
          <p:cNvSpPr txBox="1"/>
          <p:nvPr/>
        </p:nvSpPr>
        <p:spPr>
          <a:xfrm>
            <a:off x="1946162" y="916150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Vis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exportadora</a:t>
            </a:r>
          </a:p>
        </p:txBody>
      </p:sp>
      <p:sp>
        <p:nvSpPr>
          <p:cNvPr id="409" name="Shape 409"/>
          <p:cNvSpPr txBox="1"/>
          <p:nvPr/>
        </p:nvSpPr>
        <p:spPr>
          <a:xfrm>
            <a:off x="2857095" y="984250"/>
            <a:ext cx="1007399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Mercados</a:t>
            </a:r>
          </a:p>
        </p:txBody>
      </p:sp>
      <p:sp>
        <p:nvSpPr>
          <p:cNvPr id="410" name="Shape 410"/>
          <p:cNvSpPr txBox="1"/>
          <p:nvPr/>
        </p:nvSpPr>
        <p:spPr>
          <a:xfrm>
            <a:off x="3676751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Adecua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ducto</a:t>
            </a:r>
          </a:p>
        </p:txBody>
      </p:sp>
      <p:sp>
        <p:nvSpPr>
          <p:cNvPr id="411" name="Shape 411"/>
          <p:cNvSpPr txBox="1"/>
          <p:nvPr/>
        </p:nvSpPr>
        <p:spPr>
          <a:xfrm>
            <a:off x="4495114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apacidad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producción</a:t>
            </a:r>
          </a:p>
        </p:txBody>
      </p:sp>
      <p:sp>
        <p:nvSpPr>
          <p:cNvPr id="412" name="Shape 412"/>
          <p:cNvSpPr txBox="1"/>
          <p:nvPr/>
        </p:nvSpPr>
        <p:spPr>
          <a:xfrm>
            <a:off x="5432300" y="984250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Negocios</a:t>
            </a:r>
          </a:p>
        </p:txBody>
      </p:sp>
      <p:sp>
        <p:nvSpPr>
          <p:cNvPr id="413" name="Shape 413"/>
          <p:cNvSpPr txBox="1"/>
          <p:nvPr/>
        </p:nvSpPr>
        <p:spPr>
          <a:xfrm>
            <a:off x="6240512" y="981739"/>
            <a:ext cx="839399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Logística</a:t>
            </a:r>
          </a:p>
        </p:txBody>
      </p:sp>
      <p:sp>
        <p:nvSpPr>
          <p:cNvPr id="414" name="Shape 414"/>
          <p:cNvSpPr txBox="1"/>
          <p:nvPr/>
        </p:nvSpPr>
        <p:spPr>
          <a:xfrm>
            <a:off x="7073664" y="996318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 dirty="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branza</a:t>
            </a:r>
          </a:p>
        </p:txBody>
      </p:sp>
      <p:sp>
        <p:nvSpPr>
          <p:cNvPr id="415" name="Shape 415"/>
          <p:cNvSpPr/>
          <p:nvPr/>
        </p:nvSpPr>
        <p:spPr>
          <a:xfrm>
            <a:off x="5308540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6" name="Shape 416"/>
          <p:cNvSpPr/>
          <p:nvPr/>
        </p:nvSpPr>
        <p:spPr>
          <a:xfrm>
            <a:off x="4501084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7" name="Shape 417"/>
          <p:cNvSpPr/>
          <p:nvPr/>
        </p:nvSpPr>
        <p:spPr>
          <a:xfrm>
            <a:off x="3655288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8" name="Shape 418"/>
          <p:cNvSpPr/>
          <p:nvPr/>
        </p:nvSpPr>
        <p:spPr>
          <a:xfrm>
            <a:off x="2814192" y="15399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99999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9" name="Shape 419"/>
          <p:cNvSpPr/>
          <p:nvPr/>
        </p:nvSpPr>
        <p:spPr>
          <a:xfrm>
            <a:off x="2257381" y="15399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Shape 420"/>
          <p:cNvSpPr/>
          <p:nvPr/>
        </p:nvSpPr>
        <p:spPr>
          <a:xfrm>
            <a:off x="1954497" y="1542794"/>
            <a:ext cx="608400" cy="589500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1" name="Shape 421"/>
          <p:cNvSpPr txBox="1"/>
          <p:nvPr/>
        </p:nvSpPr>
        <p:spPr>
          <a:xfrm>
            <a:off x="1946150" y="1668481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ormación</a:t>
            </a:r>
          </a:p>
        </p:txBody>
      </p:sp>
      <p:sp>
        <p:nvSpPr>
          <p:cNvPr id="422" name="Shape 422"/>
          <p:cNvSpPr txBox="1"/>
          <p:nvPr/>
        </p:nvSpPr>
        <p:spPr>
          <a:xfrm>
            <a:off x="2815064" y="1629756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Inteligencia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</p:txBody>
      </p:sp>
      <p:sp>
        <p:nvSpPr>
          <p:cNvPr id="423" name="Shape 423"/>
          <p:cNvSpPr txBox="1"/>
          <p:nvPr/>
        </p:nvSpPr>
        <p:spPr>
          <a:xfrm>
            <a:off x="3698374" y="1667308"/>
            <a:ext cx="9642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ertificaciones</a:t>
            </a:r>
          </a:p>
        </p:txBody>
      </p:sp>
      <p:sp>
        <p:nvSpPr>
          <p:cNvPr id="424" name="Shape 424"/>
          <p:cNvSpPr txBox="1"/>
          <p:nvPr/>
        </p:nvSpPr>
        <p:spPr>
          <a:xfrm>
            <a:off x="4479614" y="1667300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inanciamiento</a:t>
            </a:r>
          </a:p>
        </p:txBody>
      </p:sp>
      <p:sp>
        <p:nvSpPr>
          <p:cNvPr id="425" name="Shape 425"/>
          <p:cNvSpPr txBox="1"/>
          <p:nvPr/>
        </p:nvSpPr>
        <p:spPr>
          <a:xfrm>
            <a:off x="5265472" y="1634141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 dirty="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mo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 dirty="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800" b="0" i="0" u="none" strike="noStrike" cap="none" dirty="0">
              <a:solidFill>
                <a:srgbClr val="FFFFFF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426" name="Shape 426"/>
          <p:cNvSpPr/>
          <p:nvPr/>
        </p:nvSpPr>
        <p:spPr>
          <a:xfrm>
            <a:off x="1946152" y="2217800"/>
            <a:ext cx="4325700" cy="333300"/>
          </a:xfrm>
          <a:prstGeom prst="roundRect">
            <a:avLst>
              <a:gd name="adj" fmla="val 50000"/>
            </a:avLst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  <p:sp>
        <p:nvSpPr>
          <p:cNvPr id="427" name="Shape 427"/>
          <p:cNvSpPr/>
          <p:nvPr/>
        </p:nvSpPr>
        <p:spPr>
          <a:xfrm>
            <a:off x="5690050" y="29153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ct val="25000"/>
              <a:buFont typeface="Montserrat"/>
              <a:buNone/>
            </a:pPr>
            <a:r>
              <a:rPr lang="es" sz="1000" b="1" i="0" u="none" strike="noStrike" cap="none" dirty="0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Acciones AAICI 2018</a:t>
            </a:r>
          </a:p>
        </p:txBody>
      </p:sp>
      <p:cxnSp>
        <p:nvCxnSpPr>
          <p:cNvPr id="428" name="Shape 428"/>
          <p:cNvCxnSpPr/>
          <p:nvPr/>
        </p:nvCxnSpPr>
        <p:spPr>
          <a:xfrm rot="10800000" flipH="1">
            <a:off x="5746150" y="3119127"/>
            <a:ext cx="2568000" cy="330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29" name="Shape 429"/>
          <p:cNvSpPr txBox="1"/>
          <p:nvPr/>
        </p:nvSpPr>
        <p:spPr>
          <a:xfrm>
            <a:off x="5625475" y="3097650"/>
            <a:ext cx="3552600" cy="1500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2413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9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esa de coordinación interministerial y federal</a:t>
            </a:r>
          </a:p>
          <a:p>
            <a:pPr marL="241300" marR="0" lvl="0" indent="-215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9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lataforma de Acceso a Mercados</a:t>
            </a:r>
          </a:p>
          <a:p>
            <a:pPr marL="241300" marR="0" lvl="0" indent="-215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9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apa y monitor de las Exportaciones</a:t>
            </a:r>
          </a:p>
        </p:txBody>
      </p:sp>
      <p:cxnSp>
        <p:nvCxnSpPr>
          <p:cNvPr id="430" name="Shape 430"/>
          <p:cNvCxnSpPr/>
          <p:nvPr/>
        </p:nvCxnSpPr>
        <p:spPr>
          <a:xfrm rot="10800000">
            <a:off x="3295200" y="3296341"/>
            <a:ext cx="0" cy="318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triangle" w="lg" len="lg"/>
            <a:tailEnd type="none" w="med" len="med"/>
          </a:ln>
        </p:spPr>
      </p:cxnSp>
      <p:cxnSp>
        <p:nvCxnSpPr>
          <p:cNvPr id="431" name="Shape 431"/>
          <p:cNvCxnSpPr/>
          <p:nvPr/>
        </p:nvCxnSpPr>
        <p:spPr>
          <a:xfrm>
            <a:off x="3295200" y="3296341"/>
            <a:ext cx="936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32" name="Shape 432"/>
          <p:cNvCxnSpPr/>
          <p:nvPr/>
        </p:nvCxnSpPr>
        <p:spPr>
          <a:xfrm rot="10800000">
            <a:off x="4231200" y="3296341"/>
            <a:ext cx="0" cy="318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triangle" w="lg" len="lg"/>
            <a:tailEnd type="none" w="med" len="med"/>
          </a:ln>
        </p:spPr>
      </p:cxnSp>
      <p:sp>
        <p:nvSpPr>
          <p:cNvPr id="433" name="Shape 433"/>
          <p:cNvSpPr/>
          <p:nvPr/>
        </p:nvSpPr>
        <p:spPr>
          <a:xfrm>
            <a:off x="3106950" y="3610691"/>
            <a:ext cx="376500" cy="376500"/>
          </a:xfrm>
          <a:prstGeom prst="ellipse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4" name="Shape 434"/>
          <p:cNvSpPr/>
          <p:nvPr/>
        </p:nvSpPr>
        <p:spPr>
          <a:xfrm>
            <a:off x="4042950" y="3610691"/>
            <a:ext cx="376500" cy="376500"/>
          </a:xfrm>
          <a:prstGeom prst="ellipse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5" name="Shape 435"/>
          <p:cNvSpPr/>
          <p:nvPr/>
        </p:nvSpPr>
        <p:spPr>
          <a:xfrm>
            <a:off x="3574950" y="2877741"/>
            <a:ext cx="376500" cy="376500"/>
          </a:xfrm>
          <a:prstGeom prst="ellipse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36" name="Shape 436"/>
          <p:cNvCxnSpPr/>
          <p:nvPr/>
        </p:nvCxnSpPr>
        <p:spPr>
          <a:xfrm>
            <a:off x="4231200" y="4058841"/>
            <a:ext cx="0" cy="1932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37" name="Shape 437"/>
          <p:cNvCxnSpPr/>
          <p:nvPr/>
        </p:nvCxnSpPr>
        <p:spPr>
          <a:xfrm rot="10800000">
            <a:off x="3295200" y="4252041"/>
            <a:ext cx="936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38" name="Shape 438"/>
          <p:cNvCxnSpPr/>
          <p:nvPr/>
        </p:nvCxnSpPr>
        <p:spPr>
          <a:xfrm>
            <a:off x="3295200" y="4058841"/>
            <a:ext cx="0" cy="1932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39" name="Shape 439"/>
          <p:cNvCxnSpPr/>
          <p:nvPr/>
        </p:nvCxnSpPr>
        <p:spPr>
          <a:xfrm rot="10800000">
            <a:off x="3763200" y="4252866"/>
            <a:ext cx="0" cy="1470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triangle" w="lg" len="lg"/>
            <a:tailEnd type="none" w="med" len="med"/>
          </a:ln>
        </p:spPr>
      </p:cxnSp>
      <p:sp>
        <p:nvSpPr>
          <p:cNvPr id="440" name="Shape 440"/>
          <p:cNvSpPr/>
          <p:nvPr/>
        </p:nvSpPr>
        <p:spPr>
          <a:xfrm>
            <a:off x="3574950" y="4401616"/>
            <a:ext cx="376500" cy="376500"/>
          </a:xfrm>
          <a:prstGeom prst="ellipse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1" name="Shape 441"/>
          <p:cNvSpPr txBox="1"/>
          <p:nvPr/>
        </p:nvSpPr>
        <p:spPr>
          <a:xfrm>
            <a:off x="4042950" y="2943516"/>
            <a:ext cx="1250700" cy="1386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DA4"/>
              </a:buClr>
              <a:buSzPct val="25000"/>
              <a:buFont typeface="Montserrat"/>
              <a:buNone/>
            </a:pPr>
            <a:r>
              <a:rPr lang="es" sz="800" b="1" i="0" u="none" strike="noStrike" cap="none">
                <a:solidFill>
                  <a:srgbClr val="005DA4"/>
                </a:solidFill>
                <a:latin typeface="Montserrat"/>
                <a:ea typeface="Montserrat"/>
                <a:cs typeface="Montserrat"/>
                <a:sym typeface="Montserrat"/>
              </a:rPr>
              <a:t>Información Ordenada</a:t>
            </a:r>
          </a:p>
        </p:txBody>
      </p:sp>
      <p:sp>
        <p:nvSpPr>
          <p:cNvPr id="442" name="Shape 442"/>
          <p:cNvSpPr txBox="1"/>
          <p:nvPr/>
        </p:nvSpPr>
        <p:spPr>
          <a:xfrm>
            <a:off x="4527175" y="3686600"/>
            <a:ext cx="1250700" cy="1386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DA4"/>
              </a:buClr>
              <a:buSzPct val="25000"/>
              <a:buFont typeface="Montserrat"/>
              <a:buNone/>
            </a:pPr>
            <a:r>
              <a:rPr lang="es" sz="800" b="1" i="0" u="none" strike="noStrike" cap="none">
                <a:solidFill>
                  <a:srgbClr val="005DA4"/>
                </a:solidFill>
                <a:latin typeface="Montserrat"/>
                <a:ea typeface="Montserrat"/>
                <a:cs typeface="Montserrat"/>
                <a:sym typeface="Montserrat"/>
              </a:rPr>
              <a:t>Estado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DA4"/>
              </a:buClr>
              <a:buSzPct val="25000"/>
              <a:buFont typeface="Montserrat"/>
              <a:buNone/>
            </a:pPr>
            <a:r>
              <a:rPr lang="es" sz="800" b="1" i="0" u="none" strike="noStrike" cap="none">
                <a:solidFill>
                  <a:srgbClr val="005DA4"/>
                </a:solidFill>
                <a:latin typeface="Montserrat"/>
                <a:ea typeface="Montserrat"/>
                <a:cs typeface="Montserrat"/>
                <a:sym typeface="Montserrat"/>
              </a:rPr>
              <a:t>+Inteligente</a:t>
            </a:r>
          </a:p>
        </p:txBody>
      </p:sp>
      <p:sp>
        <p:nvSpPr>
          <p:cNvPr id="443" name="Shape 443"/>
          <p:cNvSpPr txBox="1"/>
          <p:nvPr/>
        </p:nvSpPr>
        <p:spPr>
          <a:xfrm>
            <a:off x="4042950" y="4505866"/>
            <a:ext cx="1250700" cy="1386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DA4"/>
              </a:buClr>
              <a:buSzPct val="25000"/>
              <a:buFont typeface="Montserrat"/>
              <a:buNone/>
            </a:pPr>
            <a:r>
              <a:rPr lang="es" sz="800" b="1" i="0" u="none" strike="noStrike" cap="none">
                <a:solidFill>
                  <a:srgbClr val="005DA4"/>
                </a:solidFill>
                <a:latin typeface="Montserrat"/>
                <a:ea typeface="Montserrat"/>
                <a:cs typeface="Montserrat"/>
                <a:sym typeface="Montserrat"/>
              </a:rPr>
              <a:t>Inserción inteligente</a:t>
            </a:r>
          </a:p>
        </p:txBody>
      </p:sp>
      <p:cxnSp>
        <p:nvCxnSpPr>
          <p:cNvPr id="444" name="Shape 444"/>
          <p:cNvCxnSpPr/>
          <p:nvPr/>
        </p:nvCxnSpPr>
        <p:spPr>
          <a:xfrm>
            <a:off x="2473250" y="2677311"/>
            <a:ext cx="678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45" name="Shape 445"/>
          <p:cNvCxnSpPr/>
          <p:nvPr/>
        </p:nvCxnSpPr>
        <p:spPr>
          <a:xfrm>
            <a:off x="2473250" y="2790311"/>
            <a:ext cx="678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46" name="Shape 446"/>
          <p:cNvCxnSpPr/>
          <p:nvPr/>
        </p:nvCxnSpPr>
        <p:spPr>
          <a:xfrm>
            <a:off x="2473250" y="2908661"/>
            <a:ext cx="678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47" name="Shape 447"/>
          <p:cNvSpPr txBox="1"/>
          <p:nvPr/>
        </p:nvSpPr>
        <p:spPr>
          <a:xfrm>
            <a:off x="1174375" y="2608056"/>
            <a:ext cx="1250700" cy="6881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DA4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005DA4"/>
                </a:solidFill>
                <a:latin typeface="Montserrat"/>
                <a:ea typeface="Montserrat"/>
                <a:cs typeface="Montserrat"/>
                <a:sym typeface="Montserrat"/>
              </a:rPr>
              <a:t>Red Externa</a:t>
            </a:r>
          </a:p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DA4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005DA4"/>
                </a:solidFill>
                <a:latin typeface="Montserrat"/>
                <a:ea typeface="Montserrat"/>
                <a:cs typeface="Montserrat"/>
                <a:sym typeface="Montserrat"/>
              </a:rPr>
              <a:t>Agroindustria</a:t>
            </a:r>
          </a:p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DA4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005DA4"/>
                </a:solidFill>
                <a:latin typeface="Montserrat"/>
                <a:ea typeface="Montserrat"/>
                <a:cs typeface="Montserrat"/>
                <a:sym typeface="Montserrat"/>
              </a:rPr>
              <a:t>Producción</a:t>
            </a:r>
          </a:p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DA4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005DA4"/>
                </a:solidFill>
                <a:latin typeface="Montserrat"/>
                <a:ea typeface="Montserrat"/>
                <a:cs typeface="Montserrat"/>
                <a:sym typeface="Montserrat"/>
              </a:rPr>
              <a:t>Agencias Provinciales</a:t>
            </a:r>
          </a:p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DA4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005DA4"/>
                </a:solidFill>
                <a:latin typeface="Montserrat"/>
                <a:ea typeface="Montserrat"/>
                <a:cs typeface="Montserrat"/>
                <a:sym typeface="Montserrat"/>
              </a:rPr>
              <a:t>Academia</a:t>
            </a:r>
          </a:p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800" b="0" i="0" u="none" strike="noStrike" cap="none">
              <a:solidFill>
                <a:srgbClr val="005DA4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800" b="0" i="0" u="none" strike="noStrike" cap="none">
              <a:solidFill>
                <a:srgbClr val="005DA4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448" name="Shape 448"/>
          <p:cNvCxnSpPr/>
          <p:nvPr/>
        </p:nvCxnSpPr>
        <p:spPr>
          <a:xfrm>
            <a:off x="2473250" y="3032436"/>
            <a:ext cx="678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49" name="Shape 449"/>
          <p:cNvCxnSpPr/>
          <p:nvPr/>
        </p:nvCxnSpPr>
        <p:spPr>
          <a:xfrm>
            <a:off x="2473250" y="3140061"/>
            <a:ext cx="6780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450" name="Shape 45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96500" y="2913837"/>
            <a:ext cx="333395" cy="318899"/>
          </a:xfrm>
          <a:prstGeom prst="rect">
            <a:avLst/>
          </a:prstGeom>
          <a:noFill/>
          <a:ln>
            <a:noFill/>
          </a:ln>
        </p:spPr>
      </p:pic>
      <p:pic>
        <p:nvPicPr>
          <p:cNvPr id="451" name="Shape 45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064500" y="3639500"/>
            <a:ext cx="333395" cy="318899"/>
          </a:xfrm>
          <a:prstGeom prst="rect">
            <a:avLst/>
          </a:prstGeom>
          <a:noFill/>
          <a:ln>
            <a:noFill/>
          </a:ln>
        </p:spPr>
      </p:pic>
      <p:pic>
        <p:nvPicPr>
          <p:cNvPr id="452" name="Shape 45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596500" y="4445373"/>
            <a:ext cx="333395" cy="318899"/>
          </a:xfrm>
          <a:prstGeom prst="rect">
            <a:avLst/>
          </a:prstGeom>
          <a:noFill/>
          <a:ln>
            <a:noFill/>
          </a:ln>
        </p:spPr>
      </p:pic>
      <p:pic>
        <p:nvPicPr>
          <p:cNvPr id="453" name="Shape 45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132225" y="3634925"/>
            <a:ext cx="333395" cy="318899"/>
          </a:xfrm>
          <a:prstGeom prst="rect">
            <a:avLst/>
          </a:prstGeom>
          <a:noFill/>
          <a:ln>
            <a:noFill/>
          </a:ln>
        </p:spPr>
      </p:pic>
      <p:sp>
        <p:nvSpPr>
          <p:cNvPr id="454" name="Shape 454"/>
          <p:cNvSpPr txBox="1"/>
          <p:nvPr/>
        </p:nvSpPr>
        <p:spPr>
          <a:xfrm>
            <a:off x="1789400" y="3599900"/>
            <a:ext cx="1250700" cy="3765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DA4"/>
              </a:buClr>
              <a:buSzPct val="25000"/>
              <a:buFont typeface="Montserrat"/>
              <a:buNone/>
            </a:pPr>
            <a:r>
              <a:rPr lang="es" sz="800" b="1" i="0" u="none" strike="noStrike" cap="none">
                <a:solidFill>
                  <a:srgbClr val="005DA4"/>
                </a:solidFill>
                <a:latin typeface="Montserrat"/>
                <a:ea typeface="Montserrat"/>
                <a:cs typeface="Montserrat"/>
                <a:sym typeface="Montserrat"/>
              </a:rPr>
              <a:t>Mejores</a:t>
            </a:r>
          </a:p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DA4"/>
              </a:buClr>
              <a:buSzPct val="25000"/>
              <a:buFont typeface="Montserrat"/>
              <a:buNone/>
            </a:pPr>
            <a:r>
              <a:rPr lang="es" sz="800" b="1" i="0" u="none" strike="noStrike" cap="none">
                <a:solidFill>
                  <a:srgbClr val="005DA4"/>
                </a:solidFill>
                <a:latin typeface="Montserrat"/>
                <a:ea typeface="Montserrat"/>
                <a:cs typeface="Montserrat"/>
                <a:sym typeface="Montserrat"/>
              </a:rPr>
              <a:t>herramientas</a:t>
            </a:r>
          </a:p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DA4"/>
              </a:buClr>
              <a:buSzPct val="25000"/>
              <a:buFont typeface="Montserrat"/>
              <a:buNone/>
            </a:pPr>
            <a:r>
              <a:rPr lang="es" sz="800" b="1" i="0" u="none" strike="noStrike" cap="none">
                <a:solidFill>
                  <a:srgbClr val="005DA4"/>
                </a:solidFill>
                <a:latin typeface="Montserrat"/>
                <a:ea typeface="Montserrat"/>
                <a:cs typeface="Montserrat"/>
                <a:sym typeface="Montserrat"/>
              </a:rPr>
              <a:t>para PyMEs</a:t>
            </a:r>
          </a:p>
        </p:txBody>
      </p:sp>
      <p:cxnSp>
        <p:nvCxnSpPr>
          <p:cNvPr id="455" name="Shape 455"/>
          <p:cNvCxnSpPr/>
          <p:nvPr/>
        </p:nvCxnSpPr>
        <p:spPr>
          <a:xfrm>
            <a:off x="3160700" y="2675293"/>
            <a:ext cx="0" cy="4704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6" name="Shape 456"/>
          <p:cNvCxnSpPr/>
          <p:nvPr/>
        </p:nvCxnSpPr>
        <p:spPr>
          <a:xfrm rot="10800000" flipH="1">
            <a:off x="3168625" y="2801391"/>
            <a:ext cx="594600" cy="27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lg" len="lg"/>
          </a:ln>
        </p:spPr>
      </p:cxnSp>
      <p:cxnSp>
        <p:nvCxnSpPr>
          <p:cNvPr id="457" name="Shape 457"/>
          <p:cNvCxnSpPr/>
          <p:nvPr/>
        </p:nvCxnSpPr>
        <p:spPr>
          <a:xfrm>
            <a:off x="1129300" y="4828900"/>
            <a:ext cx="7620300" cy="0"/>
          </a:xfrm>
          <a:prstGeom prst="straightConnector1">
            <a:avLst/>
          </a:prstGeom>
          <a:noFill/>
          <a:ln w="38100" cap="flat" cmpd="sng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58" name="Shape 458"/>
          <p:cNvCxnSpPr/>
          <p:nvPr/>
        </p:nvCxnSpPr>
        <p:spPr>
          <a:xfrm>
            <a:off x="711596" y="832784"/>
            <a:ext cx="0" cy="1160100"/>
          </a:xfrm>
          <a:prstGeom prst="straightConnector1">
            <a:avLst/>
          </a:prstGeom>
          <a:noFill/>
          <a:ln w="9525" cap="flat" cmpd="sng">
            <a:solidFill>
              <a:srgbClr val="37475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9" name="Shape 459"/>
          <p:cNvSpPr txBox="1"/>
          <p:nvPr/>
        </p:nvSpPr>
        <p:spPr>
          <a:xfrm>
            <a:off x="218550" y="794800"/>
            <a:ext cx="450000" cy="179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fld id="{00000000-1234-1234-1234-123412341234}" type="slidenum"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74756"/>
                </a:buClr>
                <a:buSzPct val="25000"/>
                <a:buFont typeface="Montserrat"/>
                <a:buNone/>
              </a:pPr>
              <a:t>6</a:t>
            </a:fld>
            <a:endParaRPr lang="es" sz="1200" b="0" i="0" u="none" strike="noStrike" cap="none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460" name="Shape 460"/>
          <p:cNvSpPr/>
          <p:nvPr/>
        </p:nvSpPr>
        <p:spPr>
          <a:xfrm>
            <a:off x="1946149" y="2217800"/>
            <a:ext cx="5127600" cy="333300"/>
          </a:xfrm>
          <a:prstGeom prst="roundRect">
            <a:avLst>
              <a:gd name="adj" fmla="val 50000"/>
            </a:avLst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FEFEF"/>
        </a:solidFill>
        <a:effectLst/>
      </p:bgPr>
    </p:bg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Shape 465"/>
          <p:cNvSpPr txBox="1"/>
          <p:nvPr/>
        </p:nvSpPr>
        <p:spPr>
          <a:xfrm>
            <a:off x="1092574" y="2120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cxnSp>
        <p:nvCxnSpPr>
          <p:cNvPr id="466" name="Shape 466"/>
          <p:cNvCxnSpPr/>
          <p:nvPr/>
        </p:nvCxnSpPr>
        <p:spPr>
          <a:xfrm>
            <a:off x="1129300" y="4828900"/>
            <a:ext cx="7620300" cy="0"/>
          </a:xfrm>
          <a:prstGeom prst="straightConnector1">
            <a:avLst/>
          </a:prstGeom>
          <a:noFill/>
          <a:ln w="38100" cap="flat" cmpd="sng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67" name="Shape 467"/>
          <p:cNvSpPr txBox="1"/>
          <p:nvPr/>
        </p:nvSpPr>
        <p:spPr>
          <a:xfrm>
            <a:off x="1129300" y="984250"/>
            <a:ext cx="7746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E</a:t>
            </a:r>
          </a:p>
        </p:txBody>
      </p:sp>
      <p:sp>
        <p:nvSpPr>
          <p:cNvPr id="468" name="Shape 468"/>
          <p:cNvSpPr txBox="1"/>
          <p:nvPr/>
        </p:nvSpPr>
        <p:spPr>
          <a:xfrm>
            <a:off x="8351075" y="212050"/>
            <a:ext cx="450000" cy="2544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2018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469" name="Shape 469"/>
          <p:cNvSpPr txBox="1"/>
          <p:nvPr/>
        </p:nvSpPr>
        <p:spPr>
          <a:xfrm>
            <a:off x="1092575" y="212050"/>
            <a:ext cx="44100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COMPAÑAMIENTO EN PROCESO EXPORTADO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470" name="Shape 470"/>
          <p:cNvSpPr txBox="1"/>
          <p:nvPr/>
        </p:nvSpPr>
        <p:spPr>
          <a:xfrm>
            <a:off x="7855125" y="984250"/>
            <a:ext cx="9150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</a:t>
            </a:r>
            <a:r>
              <a:rPr lang="es" sz="1400" b="1" i="0" u="none" strike="noStrike" cap="none">
                <a:solidFill>
                  <a:srgbClr val="00BCF1"/>
                </a:solidFill>
                <a:latin typeface="Montserrat"/>
                <a:ea typeface="Montserrat"/>
                <a:cs typeface="Montserrat"/>
                <a:sym typeface="Montserrat"/>
              </a:rPr>
              <a:t>Ex</a:t>
            </a:r>
          </a:p>
        </p:txBody>
      </p:sp>
      <p:sp>
        <p:nvSpPr>
          <p:cNvPr id="471" name="Shape 471"/>
          <p:cNvSpPr/>
          <p:nvPr/>
        </p:nvSpPr>
        <p:spPr>
          <a:xfrm>
            <a:off x="6961821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>
            <a:noFill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2" name="Shape 472"/>
          <p:cNvSpPr/>
          <p:nvPr/>
        </p:nvSpPr>
        <p:spPr>
          <a:xfrm>
            <a:off x="6133115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3" name="Shape 473"/>
          <p:cNvSpPr/>
          <p:nvPr/>
        </p:nvSpPr>
        <p:spPr>
          <a:xfrm>
            <a:off x="5308540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4" name="Shape 474"/>
          <p:cNvSpPr/>
          <p:nvPr/>
        </p:nvSpPr>
        <p:spPr>
          <a:xfrm>
            <a:off x="4501084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5" name="Shape 475"/>
          <p:cNvSpPr/>
          <p:nvPr/>
        </p:nvSpPr>
        <p:spPr>
          <a:xfrm>
            <a:off x="3655288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6" name="Shape 476"/>
          <p:cNvSpPr/>
          <p:nvPr/>
        </p:nvSpPr>
        <p:spPr>
          <a:xfrm>
            <a:off x="2814192" y="8620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7" name="Shape 477"/>
          <p:cNvSpPr/>
          <p:nvPr/>
        </p:nvSpPr>
        <p:spPr>
          <a:xfrm>
            <a:off x="2257381" y="8620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8" name="Shape 478"/>
          <p:cNvSpPr/>
          <p:nvPr/>
        </p:nvSpPr>
        <p:spPr>
          <a:xfrm>
            <a:off x="1954497" y="864894"/>
            <a:ext cx="608400" cy="589500"/>
          </a:xfrm>
          <a:prstGeom prst="ellipse">
            <a:avLst/>
          </a:prstGeom>
          <a:solidFill>
            <a:srgbClr val="B8E4FA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9" name="Shape 479"/>
          <p:cNvSpPr txBox="1"/>
          <p:nvPr/>
        </p:nvSpPr>
        <p:spPr>
          <a:xfrm>
            <a:off x="1946162" y="916150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Vis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exportadora</a:t>
            </a:r>
          </a:p>
        </p:txBody>
      </p:sp>
      <p:sp>
        <p:nvSpPr>
          <p:cNvPr id="480" name="Shape 480"/>
          <p:cNvSpPr txBox="1"/>
          <p:nvPr/>
        </p:nvSpPr>
        <p:spPr>
          <a:xfrm>
            <a:off x="2857095" y="984250"/>
            <a:ext cx="1007399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Mercados</a:t>
            </a:r>
          </a:p>
        </p:txBody>
      </p:sp>
      <p:sp>
        <p:nvSpPr>
          <p:cNvPr id="481" name="Shape 481"/>
          <p:cNvSpPr txBox="1"/>
          <p:nvPr/>
        </p:nvSpPr>
        <p:spPr>
          <a:xfrm>
            <a:off x="3676751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Adecua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ducto</a:t>
            </a:r>
          </a:p>
        </p:txBody>
      </p:sp>
      <p:sp>
        <p:nvSpPr>
          <p:cNvPr id="482" name="Shape 482"/>
          <p:cNvSpPr txBox="1"/>
          <p:nvPr/>
        </p:nvSpPr>
        <p:spPr>
          <a:xfrm>
            <a:off x="4495114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apacidad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producción</a:t>
            </a:r>
          </a:p>
        </p:txBody>
      </p:sp>
      <p:sp>
        <p:nvSpPr>
          <p:cNvPr id="483" name="Shape 483"/>
          <p:cNvSpPr txBox="1"/>
          <p:nvPr/>
        </p:nvSpPr>
        <p:spPr>
          <a:xfrm>
            <a:off x="5432300" y="984250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Negocios</a:t>
            </a:r>
          </a:p>
        </p:txBody>
      </p:sp>
      <p:sp>
        <p:nvSpPr>
          <p:cNvPr id="484" name="Shape 484"/>
          <p:cNvSpPr txBox="1"/>
          <p:nvPr/>
        </p:nvSpPr>
        <p:spPr>
          <a:xfrm>
            <a:off x="6240512" y="984239"/>
            <a:ext cx="839399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Logística</a:t>
            </a:r>
          </a:p>
        </p:txBody>
      </p:sp>
      <p:sp>
        <p:nvSpPr>
          <p:cNvPr id="485" name="Shape 485"/>
          <p:cNvSpPr txBox="1"/>
          <p:nvPr/>
        </p:nvSpPr>
        <p:spPr>
          <a:xfrm>
            <a:off x="7073664" y="996318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branza</a:t>
            </a:r>
          </a:p>
        </p:txBody>
      </p:sp>
      <p:sp>
        <p:nvSpPr>
          <p:cNvPr id="486" name="Shape 486"/>
          <p:cNvSpPr/>
          <p:nvPr/>
        </p:nvSpPr>
        <p:spPr>
          <a:xfrm>
            <a:off x="5308540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7" name="Shape 487"/>
          <p:cNvSpPr/>
          <p:nvPr/>
        </p:nvSpPr>
        <p:spPr>
          <a:xfrm>
            <a:off x="4501084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8" name="Shape 488"/>
          <p:cNvSpPr/>
          <p:nvPr/>
        </p:nvSpPr>
        <p:spPr>
          <a:xfrm>
            <a:off x="3655288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99999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9" name="Shape 489"/>
          <p:cNvSpPr/>
          <p:nvPr/>
        </p:nvSpPr>
        <p:spPr>
          <a:xfrm>
            <a:off x="2814192" y="15399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0" name="Shape 490"/>
          <p:cNvSpPr/>
          <p:nvPr/>
        </p:nvSpPr>
        <p:spPr>
          <a:xfrm>
            <a:off x="2257381" y="15399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1" name="Shape 491"/>
          <p:cNvSpPr/>
          <p:nvPr/>
        </p:nvSpPr>
        <p:spPr>
          <a:xfrm>
            <a:off x="1954497" y="1542794"/>
            <a:ext cx="608400" cy="589500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2" name="Shape 492"/>
          <p:cNvSpPr txBox="1"/>
          <p:nvPr/>
        </p:nvSpPr>
        <p:spPr>
          <a:xfrm>
            <a:off x="1946150" y="1668481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ormación</a:t>
            </a:r>
          </a:p>
        </p:txBody>
      </p:sp>
      <p:sp>
        <p:nvSpPr>
          <p:cNvPr id="493" name="Shape 493"/>
          <p:cNvSpPr txBox="1"/>
          <p:nvPr/>
        </p:nvSpPr>
        <p:spPr>
          <a:xfrm>
            <a:off x="2815064" y="1629756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Inteligencia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</p:txBody>
      </p:sp>
      <p:sp>
        <p:nvSpPr>
          <p:cNvPr id="494" name="Shape 494"/>
          <p:cNvSpPr txBox="1"/>
          <p:nvPr/>
        </p:nvSpPr>
        <p:spPr>
          <a:xfrm>
            <a:off x="3698374" y="1667308"/>
            <a:ext cx="9642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ertificaciones</a:t>
            </a:r>
          </a:p>
        </p:txBody>
      </p:sp>
      <p:sp>
        <p:nvSpPr>
          <p:cNvPr id="495" name="Shape 495"/>
          <p:cNvSpPr txBox="1"/>
          <p:nvPr/>
        </p:nvSpPr>
        <p:spPr>
          <a:xfrm>
            <a:off x="4479614" y="1667300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inanciamiento</a:t>
            </a:r>
          </a:p>
        </p:txBody>
      </p:sp>
      <p:sp>
        <p:nvSpPr>
          <p:cNvPr id="496" name="Shape 496"/>
          <p:cNvSpPr txBox="1"/>
          <p:nvPr/>
        </p:nvSpPr>
        <p:spPr>
          <a:xfrm>
            <a:off x="5265472" y="1634141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mo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800" b="0" i="0" u="none" strike="noStrike" cap="none">
              <a:solidFill>
                <a:srgbClr val="FFFFFF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497" name="Shape 497"/>
          <p:cNvSpPr/>
          <p:nvPr/>
        </p:nvSpPr>
        <p:spPr>
          <a:xfrm>
            <a:off x="1946152" y="2217800"/>
            <a:ext cx="4325700" cy="333300"/>
          </a:xfrm>
          <a:prstGeom prst="roundRect">
            <a:avLst>
              <a:gd name="adj" fmla="val 50000"/>
            </a:avLst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  <p:sp>
        <p:nvSpPr>
          <p:cNvPr id="498" name="Shape 498"/>
          <p:cNvSpPr/>
          <p:nvPr/>
        </p:nvSpPr>
        <p:spPr>
          <a:xfrm>
            <a:off x="2106900" y="28378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ct val="25000"/>
              <a:buFont typeface="Montserrat"/>
              <a:buNone/>
            </a:pPr>
            <a:r>
              <a:rPr lang="es" sz="1200" b="1" i="0" u="none" strike="noStrike" cap="none" dirty="0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Acciones AAICI 2018</a:t>
            </a:r>
          </a:p>
        </p:txBody>
      </p:sp>
      <p:cxnSp>
        <p:nvCxnSpPr>
          <p:cNvPr id="499" name="Shape 499"/>
          <p:cNvCxnSpPr/>
          <p:nvPr/>
        </p:nvCxnSpPr>
        <p:spPr>
          <a:xfrm>
            <a:off x="2163000" y="3121127"/>
            <a:ext cx="35526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0" name="Shape 500"/>
          <p:cNvSpPr txBox="1"/>
          <p:nvPr/>
        </p:nvSpPr>
        <p:spPr>
          <a:xfrm>
            <a:off x="2042325" y="3096350"/>
            <a:ext cx="3918900" cy="786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2413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rograma de certificaciones en el país y en el exterior</a:t>
            </a:r>
          </a:p>
          <a:p>
            <a:pPr marL="241300" marR="0" lvl="0" indent="-215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Exportar Buen Diseño</a:t>
            </a:r>
          </a:p>
        </p:txBody>
      </p:sp>
      <p:sp>
        <p:nvSpPr>
          <p:cNvPr id="501" name="Shape 501"/>
          <p:cNvSpPr/>
          <p:nvPr/>
        </p:nvSpPr>
        <p:spPr>
          <a:xfrm>
            <a:off x="5821400" y="3231225"/>
            <a:ext cx="2033700" cy="1380000"/>
          </a:xfrm>
          <a:prstGeom prst="roundRect">
            <a:avLst>
              <a:gd name="adj" fmla="val 8977"/>
            </a:avLst>
          </a:prstGeom>
          <a:solidFill>
            <a:srgbClr val="FFFFFF"/>
          </a:solidFill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200" b="1" i="0" u="none" strike="noStrike" cap="none">
              <a:solidFill>
                <a:srgbClr val="44546A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502" name="Shape 502"/>
          <p:cNvCxnSpPr/>
          <p:nvPr/>
        </p:nvCxnSpPr>
        <p:spPr>
          <a:xfrm>
            <a:off x="5821400" y="3126612"/>
            <a:ext cx="20337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3" name="Shape 503"/>
          <p:cNvSpPr/>
          <p:nvPr/>
        </p:nvSpPr>
        <p:spPr>
          <a:xfrm>
            <a:off x="5821399" y="2843337"/>
            <a:ext cx="2787000" cy="2055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ct val="25000"/>
              <a:buFont typeface="Montserrat"/>
              <a:buNone/>
            </a:pPr>
            <a:r>
              <a:rPr lang="es" sz="1200" b="1" i="0" u="none" strike="noStrike" cap="none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Organismos articulados</a:t>
            </a:r>
          </a:p>
        </p:txBody>
      </p:sp>
      <p:pic>
        <p:nvPicPr>
          <p:cNvPr id="504" name="Shape 504" descr="Resultado de imagen para sello buen diseño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77900" y="3973517"/>
            <a:ext cx="1074000" cy="521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05" name="Shape 505" descr="Resultado de imagen para inti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442862" y="3382525"/>
            <a:ext cx="333300" cy="333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06" name="Shape 506" descr="Imagen relacionada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028824" y="3973517"/>
            <a:ext cx="483600" cy="483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07" name="Shape 507" descr="Resultado de imagen para ministerio de produccion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910550" y="3402382"/>
            <a:ext cx="1451700" cy="2574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08" name="Shape 508"/>
          <p:cNvCxnSpPr/>
          <p:nvPr/>
        </p:nvCxnSpPr>
        <p:spPr>
          <a:xfrm>
            <a:off x="711596" y="832784"/>
            <a:ext cx="0" cy="1160100"/>
          </a:xfrm>
          <a:prstGeom prst="straightConnector1">
            <a:avLst/>
          </a:prstGeom>
          <a:noFill/>
          <a:ln w="9525" cap="flat" cmpd="sng">
            <a:solidFill>
              <a:srgbClr val="37475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09" name="Shape 509"/>
          <p:cNvSpPr txBox="1"/>
          <p:nvPr/>
        </p:nvSpPr>
        <p:spPr>
          <a:xfrm>
            <a:off x="218550" y="794800"/>
            <a:ext cx="450000" cy="179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fld id="{00000000-1234-1234-1234-123412341234}" type="slidenum"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74756"/>
                </a:buClr>
                <a:buSzPct val="25000"/>
                <a:buFont typeface="Montserrat"/>
                <a:buNone/>
              </a:pPr>
              <a:t>7</a:t>
            </a:fld>
            <a:endParaRPr lang="es" sz="1200" b="0" i="0" u="none" strike="noStrike" cap="none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510" name="Shape 510"/>
          <p:cNvSpPr/>
          <p:nvPr/>
        </p:nvSpPr>
        <p:spPr>
          <a:xfrm>
            <a:off x="1946149" y="2217800"/>
            <a:ext cx="5127600" cy="333300"/>
          </a:xfrm>
          <a:prstGeom prst="roundRect">
            <a:avLst>
              <a:gd name="adj" fmla="val 50000"/>
            </a:avLst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6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9" name="Shape 639"/>
          <p:cNvSpPr txBox="1"/>
          <p:nvPr/>
        </p:nvSpPr>
        <p:spPr>
          <a:xfrm>
            <a:off x="1092574" y="2120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lIns="41575" tIns="41575" rIns="41575" bIns="41575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cxnSp>
        <p:nvCxnSpPr>
          <p:cNvPr id="640" name="Shape 640"/>
          <p:cNvCxnSpPr/>
          <p:nvPr/>
        </p:nvCxnSpPr>
        <p:spPr>
          <a:xfrm>
            <a:off x="1129300" y="4828900"/>
            <a:ext cx="7620300" cy="0"/>
          </a:xfrm>
          <a:prstGeom prst="straightConnector1">
            <a:avLst/>
          </a:prstGeom>
          <a:noFill/>
          <a:ln w="38100" cap="flat" cmpd="sng">
            <a:solidFill>
              <a:srgbClr val="CCCCCC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41" name="Shape 641"/>
          <p:cNvSpPr txBox="1"/>
          <p:nvPr/>
        </p:nvSpPr>
        <p:spPr>
          <a:xfrm>
            <a:off x="1129300" y="984250"/>
            <a:ext cx="774600" cy="353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s" b="1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E</a:t>
            </a:r>
          </a:p>
        </p:txBody>
      </p:sp>
      <p:sp>
        <p:nvSpPr>
          <p:cNvPr id="642" name="Shape 642"/>
          <p:cNvSpPr txBox="1"/>
          <p:nvPr/>
        </p:nvSpPr>
        <p:spPr>
          <a:xfrm>
            <a:off x="8351075" y="212050"/>
            <a:ext cx="450000" cy="254400"/>
          </a:xfrm>
          <a:prstGeom prst="rect">
            <a:avLst/>
          </a:prstGeom>
          <a:noFill/>
          <a:ln>
            <a:noFill/>
          </a:ln>
        </p:spPr>
        <p:txBody>
          <a:bodyPr lIns="41575" tIns="41575" rIns="41575" bIns="41575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2018</a:t>
            </a: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643" name="Shape 643"/>
          <p:cNvSpPr txBox="1"/>
          <p:nvPr/>
        </p:nvSpPr>
        <p:spPr>
          <a:xfrm>
            <a:off x="1092575" y="212050"/>
            <a:ext cx="4410000" cy="205500"/>
          </a:xfrm>
          <a:prstGeom prst="rect">
            <a:avLst/>
          </a:prstGeom>
          <a:noFill/>
          <a:ln>
            <a:noFill/>
          </a:ln>
        </p:spPr>
        <p:txBody>
          <a:bodyPr lIns="41575" tIns="41575" rIns="41575" bIns="41575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COMPAÑAMIENTO EN PROCESO EXPORTADOR</a:t>
            </a:r>
          </a:p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644" name="Shape 644"/>
          <p:cNvSpPr txBox="1"/>
          <p:nvPr/>
        </p:nvSpPr>
        <p:spPr>
          <a:xfrm>
            <a:off x="7855125" y="984250"/>
            <a:ext cx="915000" cy="353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s" b="1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</a:t>
            </a:r>
            <a:r>
              <a:rPr lang="es" b="1">
                <a:solidFill>
                  <a:srgbClr val="27B2E5"/>
                </a:solidFill>
                <a:latin typeface="Montserrat"/>
                <a:ea typeface="Montserrat"/>
                <a:cs typeface="Montserrat"/>
                <a:sym typeface="Montserrat"/>
              </a:rPr>
              <a:t>Ex</a:t>
            </a:r>
          </a:p>
        </p:txBody>
      </p:sp>
      <p:sp>
        <p:nvSpPr>
          <p:cNvPr id="645" name="Shape 645"/>
          <p:cNvSpPr/>
          <p:nvPr/>
        </p:nvSpPr>
        <p:spPr>
          <a:xfrm>
            <a:off x="6961821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>
            <a:noFill/>
          </a:ln>
        </p:spPr>
        <p:txBody>
          <a:bodyPr lIns="79125" tIns="39550" rIns="0" bIns="39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6" name="Shape 646"/>
          <p:cNvSpPr/>
          <p:nvPr/>
        </p:nvSpPr>
        <p:spPr>
          <a:xfrm>
            <a:off x="6133115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79125" tIns="39550" rIns="0" bIns="39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/>
          <p:nvPr/>
        </p:nvSpPr>
        <p:spPr>
          <a:xfrm>
            <a:off x="5308540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79125" tIns="39550" rIns="0" bIns="39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8" name="Shape 648"/>
          <p:cNvSpPr/>
          <p:nvPr/>
        </p:nvSpPr>
        <p:spPr>
          <a:xfrm>
            <a:off x="4501084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79125" tIns="39550" rIns="0" bIns="39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9" name="Shape 649"/>
          <p:cNvSpPr/>
          <p:nvPr/>
        </p:nvSpPr>
        <p:spPr>
          <a:xfrm>
            <a:off x="3655288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79125" tIns="39550" rIns="0" bIns="39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0" name="Shape 650"/>
          <p:cNvSpPr/>
          <p:nvPr/>
        </p:nvSpPr>
        <p:spPr>
          <a:xfrm>
            <a:off x="2814192" y="8620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79125" tIns="39550" rIns="0" bIns="39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1" name="Shape 651"/>
          <p:cNvSpPr/>
          <p:nvPr/>
        </p:nvSpPr>
        <p:spPr>
          <a:xfrm>
            <a:off x="2257381" y="8620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79125" tIns="39550" rIns="0" bIns="39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2" name="Shape 652"/>
          <p:cNvSpPr/>
          <p:nvPr/>
        </p:nvSpPr>
        <p:spPr>
          <a:xfrm>
            <a:off x="1954497" y="864894"/>
            <a:ext cx="608400" cy="589500"/>
          </a:xfrm>
          <a:prstGeom prst="ellipse">
            <a:avLst/>
          </a:prstGeom>
          <a:solidFill>
            <a:srgbClr val="B8E4FA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653" name="Shape 653"/>
          <p:cNvSpPr txBox="1"/>
          <p:nvPr/>
        </p:nvSpPr>
        <p:spPr>
          <a:xfrm>
            <a:off x="1946162" y="916150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10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Vis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10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exportadora</a:t>
            </a:r>
          </a:p>
        </p:txBody>
      </p:sp>
      <p:sp>
        <p:nvSpPr>
          <p:cNvPr id="654" name="Shape 654"/>
          <p:cNvSpPr txBox="1"/>
          <p:nvPr/>
        </p:nvSpPr>
        <p:spPr>
          <a:xfrm>
            <a:off x="2857095" y="984250"/>
            <a:ext cx="1007399" cy="49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10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Mercados</a:t>
            </a:r>
          </a:p>
        </p:txBody>
      </p:sp>
      <p:sp>
        <p:nvSpPr>
          <p:cNvPr id="655" name="Shape 655"/>
          <p:cNvSpPr txBox="1"/>
          <p:nvPr/>
        </p:nvSpPr>
        <p:spPr>
          <a:xfrm>
            <a:off x="3676751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10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Adecua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10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10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ducto</a:t>
            </a:r>
          </a:p>
        </p:txBody>
      </p:sp>
      <p:sp>
        <p:nvSpPr>
          <p:cNvPr id="656" name="Shape 656"/>
          <p:cNvSpPr txBox="1"/>
          <p:nvPr/>
        </p:nvSpPr>
        <p:spPr>
          <a:xfrm>
            <a:off x="4495114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10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apacidad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10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producción</a:t>
            </a:r>
          </a:p>
        </p:txBody>
      </p:sp>
      <p:sp>
        <p:nvSpPr>
          <p:cNvPr id="657" name="Shape 657"/>
          <p:cNvSpPr txBox="1"/>
          <p:nvPr/>
        </p:nvSpPr>
        <p:spPr>
          <a:xfrm>
            <a:off x="5432300" y="984250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10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Negocios</a:t>
            </a:r>
          </a:p>
        </p:txBody>
      </p:sp>
      <p:sp>
        <p:nvSpPr>
          <p:cNvPr id="658" name="Shape 658"/>
          <p:cNvSpPr txBox="1"/>
          <p:nvPr/>
        </p:nvSpPr>
        <p:spPr>
          <a:xfrm>
            <a:off x="6318262" y="984239"/>
            <a:ext cx="839399" cy="288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10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Logística</a:t>
            </a:r>
          </a:p>
        </p:txBody>
      </p:sp>
      <p:sp>
        <p:nvSpPr>
          <p:cNvPr id="659" name="Shape 659"/>
          <p:cNvSpPr txBox="1"/>
          <p:nvPr/>
        </p:nvSpPr>
        <p:spPr>
          <a:xfrm>
            <a:off x="7073664" y="996318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10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branza</a:t>
            </a:r>
          </a:p>
        </p:txBody>
      </p:sp>
      <p:sp>
        <p:nvSpPr>
          <p:cNvPr id="660" name="Shape 660"/>
          <p:cNvSpPr/>
          <p:nvPr/>
        </p:nvSpPr>
        <p:spPr>
          <a:xfrm>
            <a:off x="5308540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79125" tIns="39550" rIns="0" bIns="39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1" name="Shape 661"/>
          <p:cNvSpPr/>
          <p:nvPr/>
        </p:nvSpPr>
        <p:spPr>
          <a:xfrm>
            <a:off x="4501084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99999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79125" tIns="39550" rIns="0" bIns="39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2" name="Shape 662"/>
          <p:cNvSpPr/>
          <p:nvPr/>
        </p:nvSpPr>
        <p:spPr>
          <a:xfrm>
            <a:off x="3655288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79125" tIns="39550" rIns="0" bIns="39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3" name="Shape 663"/>
          <p:cNvSpPr/>
          <p:nvPr/>
        </p:nvSpPr>
        <p:spPr>
          <a:xfrm>
            <a:off x="2814192" y="15399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79125" tIns="39550" rIns="0" bIns="39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4" name="Shape 664"/>
          <p:cNvSpPr/>
          <p:nvPr/>
        </p:nvSpPr>
        <p:spPr>
          <a:xfrm>
            <a:off x="2257381" y="15399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79125" tIns="39550" rIns="0" bIns="39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0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5" name="Shape 665"/>
          <p:cNvSpPr/>
          <p:nvPr/>
        </p:nvSpPr>
        <p:spPr>
          <a:xfrm>
            <a:off x="1954497" y="1542794"/>
            <a:ext cx="608400" cy="589500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666" name="Shape 666"/>
          <p:cNvSpPr txBox="1"/>
          <p:nvPr/>
        </p:nvSpPr>
        <p:spPr>
          <a:xfrm>
            <a:off x="1946150" y="1668481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8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ormación</a:t>
            </a:r>
          </a:p>
        </p:txBody>
      </p:sp>
      <p:sp>
        <p:nvSpPr>
          <p:cNvPr id="667" name="Shape 667"/>
          <p:cNvSpPr txBox="1"/>
          <p:nvPr/>
        </p:nvSpPr>
        <p:spPr>
          <a:xfrm>
            <a:off x="2815064" y="1629756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8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Inteligencia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8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</p:txBody>
      </p:sp>
      <p:sp>
        <p:nvSpPr>
          <p:cNvPr id="668" name="Shape 668"/>
          <p:cNvSpPr txBox="1"/>
          <p:nvPr/>
        </p:nvSpPr>
        <p:spPr>
          <a:xfrm>
            <a:off x="3698374" y="1667308"/>
            <a:ext cx="964200" cy="254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8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ertificaciones</a:t>
            </a:r>
          </a:p>
        </p:txBody>
      </p:sp>
      <p:sp>
        <p:nvSpPr>
          <p:cNvPr id="669" name="Shape 669"/>
          <p:cNvSpPr txBox="1"/>
          <p:nvPr/>
        </p:nvSpPr>
        <p:spPr>
          <a:xfrm>
            <a:off x="4479614" y="1667300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8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inanciamiento</a:t>
            </a:r>
          </a:p>
        </p:txBody>
      </p:sp>
      <p:sp>
        <p:nvSpPr>
          <p:cNvPr id="670" name="Shape 670"/>
          <p:cNvSpPr txBox="1"/>
          <p:nvPr/>
        </p:nvSpPr>
        <p:spPr>
          <a:xfrm>
            <a:off x="5265472" y="1634141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8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mo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s" sz="8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rgbClr val="FFFFFF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671" name="Shape 671"/>
          <p:cNvSpPr/>
          <p:nvPr/>
        </p:nvSpPr>
        <p:spPr>
          <a:xfrm>
            <a:off x="1946152" y="2217800"/>
            <a:ext cx="4325700" cy="333300"/>
          </a:xfrm>
          <a:prstGeom prst="roundRect">
            <a:avLst>
              <a:gd name="adj" fmla="val 50000"/>
            </a:avLst>
          </a:prstGeom>
          <a:solidFill>
            <a:srgbClr val="D9D9D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s" sz="10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  <p:sp>
        <p:nvSpPr>
          <p:cNvPr id="672" name="Shape 672"/>
          <p:cNvSpPr/>
          <p:nvPr/>
        </p:nvSpPr>
        <p:spPr>
          <a:xfrm>
            <a:off x="2106900" y="28378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lIns="79125" tIns="39550" rIns="79125" bIns="39550" anchor="ctr" anchorCtr="0">
            <a:noAutofit/>
          </a:bodyPr>
          <a:lstStyle/>
          <a:p>
            <a:pPr marL="0" marR="0" lvl="0" indent="0" rtl="0">
              <a:spcBef>
                <a:spcPts val="0"/>
              </a:spcBef>
              <a:buSzPct val="25000"/>
              <a:buNone/>
            </a:pPr>
            <a:r>
              <a:rPr lang="es" sz="1200" b="1" dirty="0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Acciones AAICI 2018</a:t>
            </a:r>
          </a:p>
        </p:txBody>
      </p:sp>
      <p:cxnSp>
        <p:nvCxnSpPr>
          <p:cNvPr id="673" name="Shape 673"/>
          <p:cNvCxnSpPr/>
          <p:nvPr/>
        </p:nvCxnSpPr>
        <p:spPr>
          <a:xfrm>
            <a:off x="2163000" y="3121127"/>
            <a:ext cx="35526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74" name="Shape 674"/>
          <p:cNvSpPr txBox="1"/>
          <p:nvPr/>
        </p:nvSpPr>
        <p:spPr>
          <a:xfrm>
            <a:off x="2042325" y="3096350"/>
            <a:ext cx="3918900" cy="786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marL="241300" lvl="0" indent="-215900" rtl="0">
              <a:spcBef>
                <a:spcPts val="500"/>
              </a:spcBef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-AR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Líneas financiamiento</a:t>
            </a:r>
            <a:r>
              <a:rPr lang="es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BICE</a:t>
            </a:r>
          </a:p>
          <a:p>
            <a:pPr marL="241300" lvl="0" indent="-215900" rtl="0">
              <a:spcBef>
                <a:spcPts val="500"/>
              </a:spcBef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Menú de oferta de financiamiento público y privado</a:t>
            </a:r>
          </a:p>
        </p:txBody>
      </p:sp>
      <p:sp>
        <p:nvSpPr>
          <p:cNvPr id="675" name="Shape 675"/>
          <p:cNvSpPr/>
          <p:nvPr/>
        </p:nvSpPr>
        <p:spPr>
          <a:xfrm>
            <a:off x="5821400" y="3231225"/>
            <a:ext cx="2033700" cy="1380000"/>
          </a:xfrm>
          <a:prstGeom prst="roundRect">
            <a:avLst>
              <a:gd name="adj" fmla="val 8977"/>
            </a:avLst>
          </a:prstGeom>
          <a:solidFill>
            <a:srgbClr val="FFFFFF"/>
          </a:solidFill>
          <a:ln>
            <a:noFill/>
          </a:ln>
        </p:spPr>
        <p:txBody>
          <a:bodyPr lIns="79125" tIns="39550" rIns="79125" bIns="3955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200" b="1">
              <a:solidFill>
                <a:srgbClr val="44546A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676" name="Shape 676"/>
          <p:cNvCxnSpPr/>
          <p:nvPr/>
        </p:nvCxnSpPr>
        <p:spPr>
          <a:xfrm>
            <a:off x="5821400" y="3126612"/>
            <a:ext cx="20337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77" name="Shape 677"/>
          <p:cNvSpPr/>
          <p:nvPr/>
        </p:nvSpPr>
        <p:spPr>
          <a:xfrm>
            <a:off x="5821399" y="2843337"/>
            <a:ext cx="2787000" cy="205500"/>
          </a:xfrm>
          <a:prstGeom prst="rect">
            <a:avLst/>
          </a:prstGeom>
          <a:noFill/>
          <a:ln>
            <a:noFill/>
          </a:ln>
        </p:spPr>
        <p:txBody>
          <a:bodyPr lIns="79125" tIns="39550" rIns="79125" bIns="39550" anchor="ctr" anchorCtr="0">
            <a:noAutofit/>
          </a:bodyPr>
          <a:lstStyle/>
          <a:p>
            <a:pPr marL="0" marR="0" lvl="0" indent="0" rtl="0">
              <a:spcBef>
                <a:spcPts val="0"/>
              </a:spcBef>
              <a:buSzPct val="25000"/>
              <a:buNone/>
            </a:pPr>
            <a:r>
              <a:rPr lang="es" sz="1200" b="1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Organismos articulados</a:t>
            </a:r>
          </a:p>
        </p:txBody>
      </p:sp>
      <p:pic>
        <p:nvPicPr>
          <p:cNvPr id="678" name="Shape 678" descr="Resultado de imagen para bic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49211" y="3232798"/>
            <a:ext cx="1221000" cy="661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79" name="Shape 679" descr="Resultado de imagen para banco provincia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998939" y="3260766"/>
            <a:ext cx="558600" cy="55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80" name="Shape 680" descr="Resultado de imagen para banco nacion"/>
          <p:cNvPicPr preferRelativeResize="0"/>
          <p:nvPr/>
        </p:nvPicPr>
        <p:blipFill rotWithShape="1">
          <a:blip r:embed="rId5">
            <a:alphaModFix/>
          </a:blip>
          <a:srcRect l="11317" t="35694" r="10195" b="33404"/>
          <a:stretch/>
        </p:blipFill>
        <p:spPr>
          <a:xfrm>
            <a:off x="6031940" y="3819386"/>
            <a:ext cx="1637700" cy="294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81" name="Shape 681" descr="Resultado de imagen para ministerio de produccion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060204" y="4223599"/>
            <a:ext cx="1556100" cy="2757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711596" y="832784"/>
            <a:ext cx="0" cy="1160100"/>
          </a:xfrm>
          <a:prstGeom prst="straightConnector1">
            <a:avLst/>
          </a:prstGeom>
          <a:noFill/>
          <a:ln w="9525" cap="flat" cmpd="sng">
            <a:solidFill>
              <a:srgbClr val="37475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83" name="Shape 683"/>
          <p:cNvSpPr txBox="1"/>
          <p:nvPr/>
        </p:nvSpPr>
        <p:spPr>
          <a:xfrm>
            <a:off x="218550" y="794800"/>
            <a:ext cx="450000" cy="179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r" rtl="0">
              <a:spcBef>
                <a:spcPts val="0"/>
              </a:spcBef>
              <a:buNone/>
            </a:pPr>
            <a:fld id="{00000000-1234-1234-1234-123412341234}" type="slidenum">
              <a:rPr lang="es" sz="120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pPr lvl="0" algn="r" rtl="0">
                <a:spcBef>
                  <a:spcPts val="0"/>
                </a:spcBef>
                <a:buNone/>
              </a:pPr>
              <a:t>8</a:t>
            </a:fld>
            <a:endParaRPr lang="es" sz="1200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684" name="Shape 684"/>
          <p:cNvSpPr/>
          <p:nvPr/>
        </p:nvSpPr>
        <p:spPr>
          <a:xfrm>
            <a:off x="1946149" y="2217800"/>
            <a:ext cx="5127600" cy="333300"/>
          </a:xfrm>
          <a:prstGeom prst="roundRect">
            <a:avLst>
              <a:gd name="adj" fmla="val 50000"/>
            </a:avLst>
          </a:prstGeom>
          <a:solidFill>
            <a:srgbClr val="D9D9D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r>
              <a:rPr lang="es" sz="10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</p:spTree>
    <p:extLst>
      <p:ext uri="{BB962C8B-B14F-4D97-AF65-F5344CB8AC3E}">
        <p14:creationId xmlns:p14="http://schemas.microsoft.com/office/powerpoint/2010/main" xmlns="" val="311593116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rgbClr val="EFEFEF"/>
        </a:solidFill>
        <a:effectLst/>
      </p:bgPr>
    </p:bg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Shape 603"/>
          <p:cNvSpPr txBox="1"/>
          <p:nvPr/>
        </p:nvSpPr>
        <p:spPr>
          <a:xfrm>
            <a:off x="1092574" y="2120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cxnSp>
        <p:nvCxnSpPr>
          <p:cNvPr id="604" name="Shape 604"/>
          <p:cNvCxnSpPr/>
          <p:nvPr/>
        </p:nvCxnSpPr>
        <p:spPr>
          <a:xfrm>
            <a:off x="1129300" y="4828900"/>
            <a:ext cx="7620300" cy="0"/>
          </a:xfrm>
          <a:prstGeom prst="straightConnector1">
            <a:avLst/>
          </a:prstGeom>
          <a:noFill/>
          <a:ln w="38100" cap="flat" cmpd="sng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05" name="Shape 605"/>
          <p:cNvSpPr txBox="1"/>
          <p:nvPr/>
        </p:nvSpPr>
        <p:spPr>
          <a:xfrm>
            <a:off x="1129300" y="984250"/>
            <a:ext cx="7746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E</a:t>
            </a:r>
          </a:p>
        </p:txBody>
      </p:sp>
      <p:sp>
        <p:nvSpPr>
          <p:cNvPr id="606" name="Shape 606"/>
          <p:cNvSpPr txBox="1"/>
          <p:nvPr/>
        </p:nvSpPr>
        <p:spPr>
          <a:xfrm>
            <a:off x="8351075" y="212050"/>
            <a:ext cx="450000" cy="2544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 dirty="0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2018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607" name="Shape 607"/>
          <p:cNvSpPr txBox="1"/>
          <p:nvPr/>
        </p:nvSpPr>
        <p:spPr>
          <a:xfrm>
            <a:off x="1092575" y="212050"/>
            <a:ext cx="4410000" cy="205500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ACOMPAÑAMIENTO EN PROCESO EXPORTADO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608" name="Shape 608"/>
          <p:cNvSpPr txBox="1"/>
          <p:nvPr/>
        </p:nvSpPr>
        <p:spPr>
          <a:xfrm>
            <a:off x="7855125" y="984250"/>
            <a:ext cx="915000" cy="353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r>
              <a:rPr lang="es" sz="1400" b="1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t>PyM</a:t>
            </a:r>
            <a:r>
              <a:rPr lang="es" sz="1400" b="1" i="0" u="none" strike="noStrike" cap="none">
                <a:solidFill>
                  <a:srgbClr val="27B2E5"/>
                </a:solidFill>
                <a:latin typeface="Montserrat"/>
                <a:ea typeface="Montserrat"/>
                <a:cs typeface="Montserrat"/>
                <a:sym typeface="Montserrat"/>
              </a:rPr>
              <a:t>Ex</a:t>
            </a:r>
          </a:p>
        </p:txBody>
      </p:sp>
      <p:sp>
        <p:nvSpPr>
          <p:cNvPr id="609" name="Shape 609"/>
          <p:cNvSpPr/>
          <p:nvPr/>
        </p:nvSpPr>
        <p:spPr>
          <a:xfrm>
            <a:off x="6961821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>
            <a:noFill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0" name="Shape 610"/>
          <p:cNvSpPr/>
          <p:nvPr/>
        </p:nvSpPr>
        <p:spPr>
          <a:xfrm>
            <a:off x="6133115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1" name="Shape 611"/>
          <p:cNvSpPr/>
          <p:nvPr/>
        </p:nvSpPr>
        <p:spPr>
          <a:xfrm>
            <a:off x="5308540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0991D1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2" name="Shape 612"/>
          <p:cNvSpPr/>
          <p:nvPr/>
        </p:nvSpPr>
        <p:spPr>
          <a:xfrm>
            <a:off x="4501084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3" name="Shape 613"/>
          <p:cNvSpPr/>
          <p:nvPr/>
        </p:nvSpPr>
        <p:spPr>
          <a:xfrm>
            <a:off x="3655288" y="8620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4" name="Shape 614"/>
          <p:cNvSpPr/>
          <p:nvPr/>
        </p:nvSpPr>
        <p:spPr>
          <a:xfrm>
            <a:off x="2814192" y="8620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5" name="Shape 615"/>
          <p:cNvSpPr/>
          <p:nvPr/>
        </p:nvSpPr>
        <p:spPr>
          <a:xfrm>
            <a:off x="2257381" y="8620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B8E4FA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6" name="Shape 616"/>
          <p:cNvSpPr/>
          <p:nvPr/>
        </p:nvSpPr>
        <p:spPr>
          <a:xfrm>
            <a:off x="1954497" y="864894"/>
            <a:ext cx="608400" cy="589500"/>
          </a:xfrm>
          <a:prstGeom prst="ellipse">
            <a:avLst/>
          </a:prstGeom>
          <a:solidFill>
            <a:srgbClr val="B8E4FA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7" name="Shape 617"/>
          <p:cNvSpPr txBox="1"/>
          <p:nvPr/>
        </p:nvSpPr>
        <p:spPr>
          <a:xfrm>
            <a:off x="1946162" y="916150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Vis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exportadora</a:t>
            </a:r>
          </a:p>
        </p:txBody>
      </p:sp>
      <p:sp>
        <p:nvSpPr>
          <p:cNvPr id="618" name="Shape 618"/>
          <p:cNvSpPr txBox="1"/>
          <p:nvPr/>
        </p:nvSpPr>
        <p:spPr>
          <a:xfrm>
            <a:off x="2857095" y="984250"/>
            <a:ext cx="1007399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Mercados</a:t>
            </a:r>
          </a:p>
        </p:txBody>
      </p:sp>
      <p:sp>
        <p:nvSpPr>
          <p:cNvPr id="619" name="Shape 619"/>
          <p:cNvSpPr txBox="1"/>
          <p:nvPr/>
        </p:nvSpPr>
        <p:spPr>
          <a:xfrm>
            <a:off x="3676751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Adecua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ducto</a:t>
            </a:r>
          </a:p>
        </p:txBody>
      </p:sp>
      <p:sp>
        <p:nvSpPr>
          <p:cNvPr id="620" name="Shape 620"/>
          <p:cNvSpPr txBox="1"/>
          <p:nvPr/>
        </p:nvSpPr>
        <p:spPr>
          <a:xfrm>
            <a:off x="4495114" y="845706"/>
            <a:ext cx="1007400" cy="492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apacidad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 producción</a:t>
            </a:r>
          </a:p>
        </p:txBody>
      </p:sp>
      <p:sp>
        <p:nvSpPr>
          <p:cNvPr id="621" name="Shape 621"/>
          <p:cNvSpPr txBox="1"/>
          <p:nvPr/>
        </p:nvSpPr>
        <p:spPr>
          <a:xfrm>
            <a:off x="5432300" y="984250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Negocios</a:t>
            </a:r>
          </a:p>
        </p:txBody>
      </p:sp>
      <p:sp>
        <p:nvSpPr>
          <p:cNvPr id="622" name="Shape 622"/>
          <p:cNvSpPr txBox="1"/>
          <p:nvPr/>
        </p:nvSpPr>
        <p:spPr>
          <a:xfrm>
            <a:off x="6259137" y="984239"/>
            <a:ext cx="839399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Logística</a:t>
            </a:r>
          </a:p>
        </p:txBody>
      </p:sp>
      <p:sp>
        <p:nvSpPr>
          <p:cNvPr id="623" name="Shape 623"/>
          <p:cNvSpPr txBox="1"/>
          <p:nvPr/>
        </p:nvSpPr>
        <p:spPr>
          <a:xfrm>
            <a:off x="7073664" y="996318"/>
            <a:ext cx="839400" cy="288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branza</a:t>
            </a:r>
          </a:p>
        </p:txBody>
      </p:sp>
      <p:sp>
        <p:nvSpPr>
          <p:cNvPr id="624" name="Shape 624"/>
          <p:cNvSpPr/>
          <p:nvPr/>
        </p:nvSpPr>
        <p:spPr>
          <a:xfrm>
            <a:off x="5308540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99999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5" name="Shape 625"/>
          <p:cNvSpPr/>
          <p:nvPr/>
        </p:nvSpPr>
        <p:spPr>
          <a:xfrm>
            <a:off x="4501084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6" name="Shape 626"/>
          <p:cNvSpPr/>
          <p:nvPr/>
        </p:nvSpPr>
        <p:spPr>
          <a:xfrm>
            <a:off x="3655288" y="1539900"/>
            <a:ext cx="9642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7" name="Shape 627"/>
          <p:cNvSpPr/>
          <p:nvPr/>
        </p:nvSpPr>
        <p:spPr>
          <a:xfrm>
            <a:off x="2814192" y="1539900"/>
            <a:ext cx="964199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8" name="Shape 628"/>
          <p:cNvSpPr/>
          <p:nvPr/>
        </p:nvSpPr>
        <p:spPr>
          <a:xfrm>
            <a:off x="2257381" y="1539900"/>
            <a:ext cx="708900" cy="597900"/>
          </a:xfrm>
          <a:prstGeom prst="homePlate">
            <a:avLst>
              <a:gd name="adj" fmla="val 13793"/>
            </a:avLst>
          </a:prstGeom>
          <a:solidFill>
            <a:srgbClr val="D9D9D9"/>
          </a:solidFill>
          <a:ln w="12700" cap="flat" cmpd="sng">
            <a:solidFill>
              <a:srgbClr val="EFEFE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79125" tIns="39550" rIns="0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9" name="Shape 629"/>
          <p:cNvSpPr/>
          <p:nvPr/>
        </p:nvSpPr>
        <p:spPr>
          <a:xfrm>
            <a:off x="1954497" y="1542794"/>
            <a:ext cx="608400" cy="589500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0" name="Shape 630"/>
          <p:cNvSpPr txBox="1"/>
          <p:nvPr/>
        </p:nvSpPr>
        <p:spPr>
          <a:xfrm>
            <a:off x="1946150" y="1668481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ormación</a:t>
            </a:r>
          </a:p>
        </p:txBody>
      </p:sp>
      <p:sp>
        <p:nvSpPr>
          <p:cNvPr id="631" name="Shape 631"/>
          <p:cNvSpPr txBox="1"/>
          <p:nvPr/>
        </p:nvSpPr>
        <p:spPr>
          <a:xfrm>
            <a:off x="2815064" y="1629756"/>
            <a:ext cx="10074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Inteligencia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</p:txBody>
      </p:sp>
      <p:sp>
        <p:nvSpPr>
          <p:cNvPr id="632" name="Shape 632"/>
          <p:cNvSpPr txBox="1"/>
          <p:nvPr/>
        </p:nvSpPr>
        <p:spPr>
          <a:xfrm>
            <a:off x="3698374" y="1667308"/>
            <a:ext cx="9642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ertificaciones</a:t>
            </a:r>
          </a:p>
        </p:txBody>
      </p:sp>
      <p:sp>
        <p:nvSpPr>
          <p:cNvPr id="633" name="Shape 633"/>
          <p:cNvSpPr txBox="1"/>
          <p:nvPr/>
        </p:nvSpPr>
        <p:spPr>
          <a:xfrm>
            <a:off x="4479614" y="1667300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Financiamiento</a:t>
            </a:r>
          </a:p>
        </p:txBody>
      </p:sp>
      <p:sp>
        <p:nvSpPr>
          <p:cNvPr id="634" name="Shape 634"/>
          <p:cNvSpPr txBox="1"/>
          <p:nvPr/>
        </p:nvSpPr>
        <p:spPr>
          <a:xfrm>
            <a:off x="5265472" y="1634141"/>
            <a:ext cx="1126500" cy="25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Promoción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8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Comercial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800" b="0" i="0" u="none" strike="noStrike" cap="none">
              <a:solidFill>
                <a:srgbClr val="FFFFFF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635" name="Shape 635"/>
          <p:cNvSpPr/>
          <p:nvPr/>
        </p:nvSpPr>
        <p:spPr>
          <a:xfrm>
            <a:off x="1946152" y="2217800"/>
            <a:ext cx="4325700" cy="333300"/>
          </a:xfrm>
          <a:prstGeom prst="roundRect">
            <a:avLst>
              <a:gd name="adj" fmla="val 50000"/>
            </a:avLst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  <p:sp>
        <p:nvSpPr>
          <p:cNvPr id="636" name="Shape 636"/>
          <p:cNvSpPr/>
          <p:nvPr/>
        </p:nvSpPr>
        <p:spPr>
          <a:xfrm>
            <a:off x="2106900" y="2837850"/>
            <a:ext cx="3671100" cy="2055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ct val="25000"/>
              <a:buFont typeface="Montserrat"/>
              <a:buNone/>
            </a:pPr>
            <a:r>
              <a:rPr lang="es" sz="1200" b="1" i="0" u="none" strike="noStrike" cap="none" dirty="0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Acciones AAICI 2018</a:t>
            </a:r>
          </a:p>
        </p:txBody>
      </p:sp>
      <p:cxnSp>
        <p:nvCxnSpPr>
          <p:cNvPr id="637" name="Shape 637"/>
          <p:cNvCxnSpPr/>
          <p:nvPr/>
        </p:nvCxnSpPr>
        <p:spPr>
          <a:xfrm>
            <a:off x="2163000" y="3121127"/>
            <a:ext cx="35526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38" name="Shape 638"/>
          <p:cNvSpPr txBox="1"/>
          <p:nvPr/>
        </p:nvSpPr>
        <p:spPr>
          <a:xfrm>
            <a:off x="2042325" y="3096350"/>
            <a:ext cx="3918900" cy="786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2413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-AR" sz="1000" b="0" i="0" u="none" strike="noStrike" cap="none" dirty="0" err="1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BuyArgentina</a:t>
            </a:r>
            <a:endParaRPr lang="es" sz="1000" b="0" i="0" u="none" strike="noStrike" cap="none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241300" marR="0" lvl="0" indent="-215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Desarrollo canal </a:t>
            </a:r>
            <a:r>
              <a:rPr lang="es-AR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E</a:t>
            </a:r>
            <a:r>
              <a:rPr lang="es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-commerce</a:t>
            </a:r>
          </a:p>
          <a:p>
            <a:pPr marL="241300" marR="0" lvl="0" indent="-215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79</a:t>
            </a:r>
            <a:r>
              <a:rPr lang="es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Ferias + 40 Rondas inversas + </a:t>
            </a:r>
            <a:r>
              <a:rPr lang="es" sz="10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44</a:t>
            </a:r>
            <a:r>
              <a:rPr lang="es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Misiones</a:t>
            </a:r>
          </a:p>
          <a:p>
            <a:pPr marL="241300" marR="0" lvl="0" indent="-215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Cluster Equipamiento Médico en Alemania</a:t>
            </a:r>
          </a:p>
          <a:p>
            <a:pPr marL="241300" marR="0" lvl="0" indent="-215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Montserrat"/>
              <a:buChar char="•"/>
            </a:pPr>
            <a:r>
              <a:rPr lang="es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Grupos Exportadores </a:t>
            </a:r>
            <a:r>
              <a:rPr lang="es-AR" sz="1000" b="0" i="0" u="none" strike="noStrike" cap="none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Extendidos</a:t>
            </a:r>
            <a:endParaRPr lang="es" sz="1000" b="0" i="0" u="none" strike="noStrike" cap="none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639" name="Shape 639"/>
          <p:cNvSpPr/>
          <p:nvPr/>
        </p:nvSpPr>
        <p:spPr>
          <a:xfrm>
            <a:off x="5821400" y="3231225"/>
            <a:ext cx="2033700" cy="1380000"/>
          </a:xfrm>
          <a:prstGeom prst="roundRect">
            <a:avLst>
              <a:gd name="adj" fmla="val 8977"/>
            </a:avLst>
          </a:prstGeom>
          <a:solidFill>
            <a:srgbClr val="FFFFFF"/>
          </a:solidFill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200" b="1" i="0" u="none" strike="noStrike" cap="none">
              <a:solidFill>
                <a:srgbClr val="44546A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640" name="Shape 640"/>
          <p:cNvCxnSpPr/>
          <p:nvPr/>
        </p:nvCxnSpPr>
        <p:spPr>
          <a:xfrm>
            <a:off x="5821400" y="3126612"/>
            <a:ext cx="2033700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41" name="Shape 641"/>
          <p:cNvSpPr/>
          <p:nvPr/>
        </p:nvSpPr>
        <p:spPr>
          <a:xfrm>
            <a:off x="5821399" y="2843337"/>
            <a:ext cx="2787000" cy="205500"/>
          </a:xfrm>
          <a:prstGeom prst="rect">
            <a:avLst/>
          </a:prstGeom>
          <a:noFill/>
          <a:ln>
            <a:noFill/>
          </a:ln>
        </p:spPr>
        <p:txBody>
          <a:bodyPr wrap="square" lIns="79125" tIns="39550" rIns="79125" bIns="395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ct val="25000"/>
              <a:buFont typeface="Montserrat"/>
              <a:buNone/>
            </a:pPr>
            <a:r>
              <a:rPr lang="es" sz="1200" b="1" i="0" u="none" strike="noStrike" cap="none">
                <a:solidFill>
                  <a:srgbClr val="44546A"/>
                </a:solidFill>
                <a:latin typeface="Montserrat"/>
                <a:ea typeface="Montserrat"/>
                <a:cs typeface="Montserrat"/>
                <a:sym typeface="Montserrat"/>
              </a:rPr>
              <a:t>Organismos articulados</a:t>
            </a:r>
          </a:p>
        </p:txBody>
      </p:sp>
      <p:pic>
        <p:nvPicPr>
          <p:cNvPr id="642" name="Shape 642" descr="Resultado de imagen para alibaba"/>
          <p:cNvPicPr preferRelativeResize="0"/>
          <p:nvPr/>
        </p:nvPicPr>
        <p:blipFill rotWithShape="1">
          <a:blip r:embed="rId3">
            <a:alphaModFix/>
          </a:blip>
          <a:srcRect l="-1768" t="24586" r="2983" b="18246"/>
          <a:stretch/>
        </p:blipFill>
        <p:spPr>
          <a:xfrm>
            <a:off x="5821400" y="3402650"/>
            <a:ext cx="859800" cy="40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3" name="Shape 643" descr="Imagen relacionada"/>
          <p:cNvPicPr preferRelativeResize="0"/>
          <p:nvPr/>
        </p:nvPicPr>
        <p:blipFill rotWithShape="1">
          <a:blip r:embed="rId4">
            <a:alphaModFix/>
          </a:blip>
          <a:srcRect t="32831" b="33933"/>
          <a:stretch/>
        </p:blipFill>
        <p:spPr>
          <a:xfrm>
            <a:off x="6786759" y="3471652"/>
            <a:ext cx="1060200" cy="286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4" name="Shape 644" descr="Resultado de imagen para university mannheim"/>
          <p:cNvPicPr preferRelativeResize="0"/>
          <p:nvPr/>
        </p:nvPicPr>
        <p:blipFill rotWithShape="1">
          <a:blip r:embed="rId5">
            <a:alphaModFix/>
          </a:blip>
          <a:srcRect l="9629" t="18508" r="9247" b="22262"/>
          <a:stretch/>
        </p:blipFill>
        <p:spPr>
          <a:xfrm>
            <a:off x="6090500" y="3974387"/>
            <a:ext cx="1495500" cy="3534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5" name="Shape 645"/>
          <p:cNvCxnSpPr/>
          <p:nvPr/>
        </p:nvCxnSpPr>
        <p:spPr>
          <a:xfrm>
            <a:off x="711596" y="832784"/>
            <a:ext cx="0" cy="1160100"/>
          </a:xfrm>
          <a:prstGeom prst="straightConnector1">
            <a:avLst/>
          </a:prstGeom>
          <a:noFill/>
          <a:ln w="9525" cap="flat" cmpd="sng">
            <a:solidFill>
              <a:srgbClr val="374756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46" name="Shape 646"/>
          <p:cNvSpPr txBox="1"/>
          <p:nvPr/>
        </p:nvSpPr>
        <p:spPr>
          <a:xfrm>
            <a:off x="218550" y="794800"/>
            <a:ext cx="450000" cy="1791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4756"/>
              </a:buClr>
              <a:buSzPct val="25000"/>
              <a:buFont typeface="Montserrat"/>
              <a:buNone/>
            </a:pPr>
            <a:fld id="{00000000-1234-1234-1234-123412341234}" type="slidenum">
              <a:rPr lang="es" sz="1200" b="0" i="0" u="none" strike="noStrike" cap="none">
                <a:solidFill>
                  <a:srgbClr val="374756"/>
                </a:solidFill>
                <a:latin typeface="Montserrat"/>
                <a:ea typeface="Montserrat"/>
                <a:cs typeface="Montserrat"/>
                <a:sym typeface="Montserrat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74756"/>
                </a:buClr>
                <a:buSzPct val="25000"/>
                <a:buFont typeface="Montserrat"/>
                <a:buNone/>
              </a:pPr>
              <a:t>9</a:t>
            </a:fld>
            <a:endParaRPr lang="es" sz="1200" b="0" i="0" u="none" strike="noStrike" cap="none">
              <a:solidFill>
                <a:srgbClr val="374756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647" name="Shape 647"/>
          <p:cNvSpPr/>
          <p:nvPr/>
        </p:nvSpPr>
        <p:spPr>
          <a:xfrm>
            <a:off x="1946149" y="2217800"/>
            <a:ext cx="5127600" cy="333300"/>
          </a:xfrm>
          <a:prstGeom prst="roundRect">
            <a:avLst>
              <a:gd name="adj" fmla="val 50000"/>
            </a:avLst>
          </a:prstGeom>
          <a:solidFill>
            <a:srgbClr val="D9D9D9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Montserrat"/>
              <a:buNone/>
            </a:pPr>
            <a:r>
              <a:rPr lang="es" sz="1000" b="0" i="0" u="none" strike="noStrike" cap="none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Desburocratización y facilitación 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Custom Design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42</TotalTime>
  <Words>881</Words>
  <Application>Microsoft Office PowerPoint</Application>
  <PresentationFormat>Presentación en pantalla (16:9)</PresentationFormat>
  <Paragraphs>386</Paragraphs>
  <Slides>16</Slides>
  <Notes>16</Notes>
  <HiddenSlides>7</HiddenSlides>
  <MMClips>0</MMClips>
  <ScaleCrop>false</ScaleCrop>
  <HeadingPairs>
    <vt:vector size="6" baseType="variant">
      <vt:variant>
        <vt:lpstr>Fue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Títulos de diapositiva</vt:lpstr>
      </vt:variant>
      <vt:variant>
        <vt:i4>16</vt:i4>
      </vt:variant>
    </vt:vector>
  </HeadingPairs>
  <TitlesOfParts>
    <vt:vector size="29" baseType="lpstr">
      <vt:lpstr>Arial</vt:lpstr>
      <vt:lpstr>tahoma</vt:lpstr>
      <vt:lpstr>tahoma, arial, helvetica, sans-serif</vt:lpstr>
      <vt:lpstr>Lato</vt:lpstr>
      <vt:lpstr>Montserrat</vt:lpstr>
      <vt:lpstr>Montserrat ExtraLight</vt:lpstr>
      <vt:lpstr>Basic</vt:lpstr>
      <vt:lpstr>Montserrat Black</vt:lpstr>
      <vt:lpstr>Roboto</vt:lpstr>
      <vt:lpstr>Source Sans Pro</vt:lpstr>
      <vt:lpstr>Calibri</vt:lpstr>
      <vt:lpstr>Simple Light</vt:lpstr>
      <vt:lpstr>5_Custom Design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  <vt:lpstr>Diapositiva 11</vt:lpstr>
      <vt:lpstr>Diapositiva 12</vt:lpstr>
      <vt:lpstr>Diapositiva 13</vt:lpstr>
      <vt:lpstr>Diapositiva 14</vt:lpstr>
      <vt:lpstr>Diapositiva 15</vt:lpstr>
      <vt:lpstr>Diapositiva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uan I. González</dc:creator>
  <cp:lastModifiedBy>Guadalupe</cp:lastModifiedBy>
  <cp:revision>28</cp:revision>
  <dcterms:modified xsi:type="dcterms:W3CDTF">2018-08-27T19:47:31Z</dcterms:modified>
</cp:coreProperties>
</file>